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wdp" ContentType="image/vnd.ms-photo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4"/>
  </p:notesMasterIdLst>
  <p:sldIdLst>
    <p:sldId id="256" r:id="rId3"/>
    <p:sldId id="269" r:id="rId4"/>
    <p:sldId id="258" r:id="rId5"/>
    <p:sldId id="1654" r:id="rId6"/>
    <p:sldId id="1655" r:id="rId7"/>
    <p:sldId id="1656" r:id="rId8"/>
    <p:sldId id="1693" r:id="rId9"/>
    <p:sldId id="1691" r:id="rId10"/>
    <p:sldId id="1692" r:id="rId11"/>
    <p:sldId id="1663" r:id="rId12"/>
    <p:sldId id="1707" r:id="rId13"/>
    <p:sldId id="1708" r:id="rId14"/>
    <p:sldId id="1694" r:id="rId15"/>
    <p:sldId id="1695" r:id="rId16"/>
    <p:sldId id="1696" r:id="rId17"/>
    <p:sldId id="1697" r:id="rId18"/>
    <p:sldId id="1698" r:id="rId19"/>
    <p:sldId id="1699" r:id="rId20"/>
    <p:sldId id="1700" r:id="rId21"/>
    <p:sldId id="1701" r:id="rId22"/>
    <p:sldId id="261" r:id="rId2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201" autoAdjust="0"/>
  </p:normalViewPr>
  <p:slideViewPr>
    <p:cSldViewPr snapToGrid="0">
      <p:cViewPr varScale="1">
        <p:scale>
          <a:sx n="36" d="100"/>
          <a:sy n="36" d="100"/>
        </p:scale>
        <p:origin x="90" y="87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7" Type="http://schemas.openxmlformats.org/officeDocument/2006/relationships/tableStyles" Target="tableStyles.xml"/><Relationship Id="rId26" Type="http://schemas.openxmlformats.org/officeDocument/2006/relationships/viewProps" Target="viewProps.xml"/><Relationship Id="rId25" Type="http://schemas.openxmlformats.org/officeDocument/2006/relationships/presProps" Target="presProps.xml"/><Relationship Id="rId24" Type="http://schemas.openxmlformats.org/officeDocument/2006/relationships/notesMaster" Target="notesMasters/notesMaster1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5" Type="http://schemas.microsoft.com/office/2007/relationships/hdphoto" Target="../media/hdphoto1.wdp"/><Relationship Id="rId4" Type="http://schemas.openxmlformats.org/officeDocument/2006/relationships/image" Target="../media/image3.png"/><Relationship Id="rId3" Type="http://schemas.openxmlformats.org/officeDocument/2006/relationships/hyperlink" Target="http://www.officeplus.cn/Template/Home.shtml" TargetMode="Externa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7" Type="http://schemas.microsoft.com/office/2007/relationships/hdphoto" Target="../media/hdphoto1.wdp"/><Relationship Id="rId6" Type="http://schemas.openxmlformats.org/officeDocument/2006/relationships/image" Target="../media/image3.png"/><Relationship Id="rId5" Type="http://schemas.openxmlformats.org/officeDocument/2006/relationships/hyperlink" Target="http://www.officeplus.cn/Template/Home.shtml" TargetMode="External"/><Relationship Id="rId4" Type="http://schemas.openxmlformats.org/officeDocument/2006/relationships/image" Target="../media/image6.png"/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 userDrawn="1"/>
        </p:nvGrpSpPr>
        <p:grpSpPr>
          <a:xfrm>
            <a:off x="511999" y="-152963"/>
            <a:ext cx="11425198" cy="6981935"/>
            <a:chOff x="511999" y="-152963"/>
            <a:chExt cx="11425198" cy="6981935"/>
          </a:xfrm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6013179" y="178450"/>
              <a:ext cx="5924018" cy="5733530"/>
            </a:xfrm>
            <a:custGeom>
              <a:avLst/>
              <a:gdLst>
                <a:gd name="T0" fmla="*/ 3633 w 4801"/>
                <a:gd name="T1" fmla="*/ 2897 h 4654"/>
                <a:gd name="T2" fmla="*/ 3704 w 4801"/>
                <a:gd name="T3" fmla="*/ 2737 h 4654"/>
                <a:gd name="T4" fmla="*/ 3740 w 4801"/>
                <a:gd name="T5" fmla="*/ 2230 h 4654"/>
                <a:gd name="T6" fmla="*/ 3898 w 4801"/>
                <a:gd name="T7" fmla="*/ 1478 h 4654"/>
                <a:gd name="T8" fmla="*/ 4299 w 4801"/>
                <a:gd name="T9" fmla="*/ 1825 h 4654"/>
                <a:gd name="T10" fmla="*/ 4550 w 4801"/>
                <a:gd name="T11" fmla="*/ 1723 h 4654"/>
                <a:gd name="T12" fmla="*/ 4579 w 4801"/>
                <a:gd name="T13" fmla="*/ 1360 h 4654"/>
                <a:gd name="T14" fmla="*/ 4397 w 4801"/>
                <a:gd name="T15" fmla="*/ 1377 h 4654"/>
                <a:gd name="T16" fmla="*/ 4323 w 4801"/>
                <a:gd name="T17" fmla="*/ 1724 h 4654"/>
                <a:gd name="T18" fmla="*/ 4249 w 4801"/>
                <a:gd name="T19" fmla="*/ 1301 h 4654"/>
                <a:gd name="T20" fmla="*/ 4056 w 4801"/>
                <a:gd name="T21" fmla="*/ 710 h 4654"/>
                <a:gd name="T22" fmla="*/ 4471 w 4801"/>
                <a:gd name="T23" fmla="*/ 828 h 4654"/>
                <a:gd name="T24" fmla="*/ 4643 w 4801"/>
                <a:gd name="T25" fmla="*/ 853 h 4654"/>
                <a:gd name="T26" fmla="*/ 4708 w 4801"/>
                <a:gd name="T27" fmla="*/ 659 h 4654"/>
                <a:gd name="T28" fmla="*/ 4435 w 4801"/>
                <a:gd name="T29" fmla="*/ 321 h 4654"/>
                <a:gd name="T30" fmla="*/ 3167 w 4801"/>
                <a:gd name="T31" fmla="*/ 186 h 4654"/>
                <a:gd name="T32" fmla="*/ 2257 w 4801"/>
                <a:gd name="T33" fmla="*/ 180 h 4654"/>
                <a:gd name="T34" fmla="*/ 1751 w 4801"/>
                <a:gd name="T35" fmla="*/ 327 h 4654"/>
                <a:gd name="T36" fmla="*/ 1588 w 4801"/>
                <a:gd name="T37" fmla="*/ 361 h 4654"/>
                <a:gd name="T38" fmla="*/ 1454 w 4801"/>
                <a:gd name="T39" fmla="*/ 532 h 4654"/>
                <a:gd name="T40" fmla="*/ 1383 w 4801"/>
                <a:gd name="T41" fmla="*/ 431 h 4654"/>
                <a:gd name="T42" fmla="*/ 1333 w 4801"/>
                <a:gd name="T43" fmla="*/ 330 h 4654"/>
                <a:gd name="T44" fmla="*/ 766 w 4801"/>
                <a:gd name="T45" fmla="*/ 532 h 4654"/>
                <a:gd name="T46" fmla="*/ 938 w 4801"/>
                <a:gd name="T47" fmla="*/ 777 h 4654"/>
                <a:gd name="T48" fmla="*/ 1125 w 4801"/>
                <a:gd name="T49" fmla="*/ 473 h 4654"/>
                <a:gd name="T50" fmla="*/ 1053 w 4801"/>
                <a:gd name="T51" fmla="*/ 845 h 4654"/>
                <a:gd name="T52" fmla="*/ 630 w 4801"/>
                <a:gd name="T53" fmla="*/ 988 h 4654"/>
                <a:gd name="T54" fmla="*/ 501 w 4801"/>
                <a:gd name="T55" fmla="*/ 1174 h 4654"/>
                <a:gd name="T56" fmla="*/ 358 w 4801"/>
                <a:gd name="T57" fmla="*/ 1673 h 4654"/>
                <a:gd name="T58" fmla="*/ 143 w 4801"/>
                <a:gd name="T59" fmla="*/ 1985 h 4654"/>
                <a:gd name="T60" fmla="*/ 86 w 4801"/>
                <a:gd name="T61" fmla="*/ 2644 h 4654"/>
                <a:gd name="T62" fmla="*/ 530 w 4801"/>
                <a:gd name="T63" fmla="*/ 2940 h 4654"/>
                <a:gd name="T64" fmla="*/ 802 w 4801"/>
                <a:gd name="T65" fmla="*/ 2914 h 4654"/>
                <a:gd name="T66" fmla="*/ 924 w 4801"/>
                <a:gd name="T67" fmla="*/ 3505 h 4654"/>
                <a:gd name="T68" fmla="*/ 1110 w 4801"/>
                <a:gd name="T69" fmla="*/ 4527 h 4654"/>
                <a:gd name="T70" fmla="*/ 1605 w 4801"/>
                <a:gd name="T71" fmla="*/ 3978 h 4654"/>
                <a:gd name="T72" fmla="*/ 1705 w 4801"/>
                <a:gd name="T73" fmla="*/ 3320 h 4654"/>
                <a:gd name="T74" fmla="*/ 1841 w 4801"/>
                <a:gd name="T75" fmla="*/ 2686 h 4654"/>
                <a:gd name="T76" fmla="*/ 2287 w 4801"/>
                <a:gd name="T77" fmla="*/ 2348 h 4654"/>
                <a:gd name="T78" fmla="*/ 3052 w 4801"/>
                <a:gd name="T79" fmla="*/ 2855 h 4654"/>
                <a:gd name="T80" fmla="*/ 3210 w 4801"/>
                <a:gd name="T81" fmla="*/ 2213 h 4654"/>
                <a:gd name="T82" fmla="*/ 3404 w 4801"/>
                <a:gd name="T83" fmla="*/ 2948 h 4654"/>
                <a:gd name="T84" fmla="*/ 4027 w 4801"/>
                <a:gd name="T85" fmla="*/ 3438 h 4654"/>
                <a:gd name="T86" fmla="*/ 4205 w 4801"/>
                <a:gd name="T87" fmla="*/ 3242 h 4654"/>
                <a:gd name="T88" fmla="*/ 4205 w 4801"/>
                <a:gd name="T89" fmla="*/ 3242 h 4654"/>
                <a:gd name="T90" fmla="*/ 4205 w 4801"/>
                <a:gd name="T91" fmla="*/ 3242 h 4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01" h="4654">
                  <a:moveTo>
                    <a:pt x="3869" y="3345"/>
                  </a:moveTo>
                  <a:cubicBezTo>
                    <a:pt x="3869" y="3320"/>
                    <a:pt x="3683" y="3075"/>
                    <a:pt x="3633" y="2897"/>
                  </a:cubicBezTo>
                  <a:cubicBezTo>
                    <a:pt x="3583" y="2720"/>
                    <a:pt x="3490" y="2602"/>
                    <a:pt x="3547" y="2576"/>
                  </a:cubicBezTo>
                  <a:cubicBezTo>
                    <a:pt x="3604" y="2551"/>
                    <a:pt x="3590" y="2804"/>
                    <a:pt x="3704" y="2737"/>
                  </a:cubicBezTo>
                  <a:cubicBezTo>
                    <a:pt x="3819" y="2669"/>
                    <a:pt x="4034" y="2703"/>
                    <a:pt x="3726" y="2348"/>
                  </a:cubicBezTo>
                  <a:cubicBezTo>
                    <a:pt x="3740" y="2230"/>
                    <a:pt x="3740" y="2230"/>
                    <a:pt x="3740" y="2230"/>
                  </a:cubicBezTo>
                  <a:cubicBezTo>
                    <a:pt x="3740" y="2230"/>
                    <a:pt x="4027" y="2230"/>
                    <a:pt x="4070" y="2019"/>
                  </a:cubicBezTo>
                  <a:cubicBezTo>
                    <a:pt x="4113" y="1808"/>
                    <a:pt x="3869" y="1512"/>
                    <a:pt x="3898" y="1478"/>
                  </a:cubicBezTo>
                  <a:cubicBezTo>
                    <a:pt x="3927" y="1445"/>
                    <a:pt x="4052" y="1512"/>
                    <a:pt x="4075" y="1546"/>
                  </a:cubicBezTo>
                  <a:cubicBezTo>
                    <a:pt x="4099" y="1580"/>
                    <a:pt x="4206" y="1842"/>
                    <a:pt x="4299" y="1825"/>
                  </a:cubicBezTo>
                  <a:cubicBezTo>
                    <a:pt x="4328" y="1819"/>
                    <a:pt x="4335" y="1791"/>
                    <a:pt x="4328" y="1749"/>
                  </a:cubicBezTo>
                  <a:cubicBezTo>
                    <a:pt x="4342" y="1770"/>
                    <a:pt x="4390" y="1788"/>
                    <a:pt x="4550" y="1723"/>
                  </a:cubicBezTo>
                  <a:cubicBezTo>
                    <a:pt x="4801" y="1622"/>
                    <a:pt x="4507" y="1495"/>
                    <a:pt x="4507" y="1495"/>
                  </a:cubicBezTo>
                  <a:cubicBezTo>
                    <a:pt x="4579" y="1360"/>
                    <a:pt x="4579" y="1360"/>
                    <a:pt x="4579" y="1360"/>
                  </a:cubicBezTo>
                  <a:cubicBezTo>
                    <a:pt x="4472" y="1267"/>
                    <a:pt x="4472" y="1267"/>
                    <a:pt x="4472" y="1267"/>
                  </a:cubicBezTo>
                  <a:cubicBezTo>
                    <a:pt x="4397" y="1377"/>
                    <a:pt x="4397" y="1377"/>
                    <a:pt x="4397" y="1377"/>
                  </a:cubicBezTo>
                  <a:cubicBezTo>
                    <a:pt x="4397" y="1377"/>
                    <a:pt x="4378" y="1706"/>
                    <a:pt x="4323" y="1723"/>
                  </a:cubicBezTo>
                  <a:cubicBezTo>
                    <a:pt x="4323" y="1723"/>
                    <a:pt x="4323" y="1724"/>
                    <a:pt x="4323" y="1724"/>
                  </a:cubicBezTo>
                  <a:cubicBezTo>
                    <a:pt x="4299" y="1625"/>
                    <a:pt x="4223" y="1469"/>
                    <a:pt x="4163" y="1335"/>
                  </a:cubicBezTo>
                  <a:cubicBezTo>
                    <a:pt x="4134" y="1269"/>
                    <a:pt x="4207" y="1354"/>
                    <a:pt x="4249" y="1301"/>
                  </a:cubicBezTo>
                  <a:cubicBezTo>
                    <a:pt x="4343" y="1184"/>
                    <a:pt x="4500" y="1124"/>
                    <a:pt x="4170" y="896"/>
                  </a:cubicBezTo>
                  <a:cubicBezTo>
                    <a:pt x="4020" y="921"/>
                    <a:pt x="3934" y="693"/>
                    <a:pt x="4056" y="710"/>
                  </a:cubicBezTo>
                  <a:cubicBezTo>
                    <a:pt x="4177" y="727"/>
                    <a:pt x="4388" y="642"/>
                    <a:pt x="4438" y="650"/>
                  </a:cubicBezTo>
                  <a:cubicBezTo>
                    <a:pt x="4489" y="659"/>
                    <a:pt x="4471" y="828"/>
                    <a:pt x="4471" y="828"/>
                  </a:cubicBezTo>
                  <a:cubicBezTo>
                    <a:pt x="4471" y="828"/>
                    <a:pt x="4619" y="1031"/>
                    <a:pt x="4636" y="1065"/>
                  </a:cubicBezTo>
                  <a:cubicBezTo>
                    <a:pt x="4653" y="1098"/>
                    <a:pt x="4643" y="853"/>
                    <a:pt x="4643" y="853"/>
                  </a:cubicBezTo>
                  <a:cubicBezTo>
                    <a:pt x="4643" y="853"/>
                    <a:pt x="4478" y="744"/>
                    <a:pt x="4529" y="693"/>
                  </a:cubicBezTo>
                  <a:cubicBezTo>
                    <a:pt x="4579" y="642"/>
                    <a:pt x="4658" y="684"/>
                    <a:pt x="4708" y="659"/>
                  </a:cubicBezTo>
                  <a:cubicBezTo>
                    <a:pt x="4758" y="634"/>
                    <a:pt x="4708" y="490"/>
                    <a:pt x="4708" y="490"/>
                  </a:cubicBezTo>
                  <a:cubicBezTo>
                    <a:pt x="4708" y="490"/>
                    <a:pt x="4478" y="389"/>
                    <a:pt x="4435" y="321"/>
                  </a:cubicBezTo>
                  <a:cubicBezTo>
                    <a:pt x="4392" y="254"/>
                    <a:pt x="4063" y="254"/>
                    <a:pt x="3898" y="271"/>
                  </a:cubicBezTo>
                  <a:cubicBezTo>
                    <a:pt x="3733" y="195"/>
                    <a:pt x="3167" y="186"/>
                    <a:pt x="3167" y="186"/>
                  </a:cubicBezTo>
                  <a:cubicBezTo>
                    <a:pt x="2257" y="0"/>
                    <a:pt x="2257" y="0"/>
                    <a:pt x="2257" y="0"/>
                  </a:cubicBezTo>
                  <a:cubicBezTo>
                    <a:pt x="2257" y="0"/>
                    <a:pt x="2324" y="147"/>
                    <a:pt x="2257" y="180"/>
                  </a:cubicBezTo>
                  <a:cubicBezTo>
                    <a:pt x="2190" y="214"/>
                    <a:pt x="2037" y="113"/>
                    <a:pt x="2009" y="180"/>
                  </a:cubicBezTo>
                  <a:cubicBezTo>
                    <a:pt x="1980" y="248"/>
                    <a:pt x="1779" y="304"/>
                    <a:pt x="1751" y="327"/>
                  </a:cubicBezTo>
                  <a:cubicBezTo>
                    <a:pt x="1722" y="349"/>
                    <a:pt x="1646" y="451"/>
                    <a:pt x="1646" y="451"/>
                  </a:cubicBezTo>
                  <a:cubicBezTo>
                    <a:pt x="1588" y="361"/>
                    <a:pt x="1588" y="361"/>
                    <a:pt x="1588" y="361"/>
                  </a:cubicBezTo>
                  <a:cubicBezTo>
                    <a:pt x="1555" y="451"/>
                    <a:pt x="1555" y="451"/>
                    <a:pt x="1555" y="451"/>
                  </a:cubicBezTo>
                  <a:cubicBezTo>
                    <a:pt x="1454" y="532"/>
                    <a:pt x="1454" y="532"/>
                    <a:pt x="1454" y="532"/>
                  </a:cubicBezTo>
                  <a:cubicBezTo>
                    <a:pt x="1411" y="472"/>
                    <a:pt x="1411" y="472"/>
                    <a:pt x="1411" y="472"/>
                  </a:cubicBezTo>
                  <a:cubicBezTo>
                    <a:pt x="1383" y="431"/>
                    <a:pt x="1383" y="431"/>
                    <a:pt x="1383" y="431"/>
                  </a:cubicBezTo>
                  <a:cubicBezTo>
                    <a:pt x="1497" y="431"/>
                    <a:pt x="1497" y="431"/>
                    <a:pt x="1497" y="431"/>
                  </a:cubicBezTo>
                  <a:cubicBezTo>
                    <a:pt x="1497" y="431"/>
                    <a:pt x="1548" y="304"/>
                    <a:pt x="1333" y="330"/>
                  </a:cubicBezTo>
                  <a:cubicBezTo>
                    <a:pt x="1139" y="245"/>
                    <a:pt x="996" y="296"/>
                    <a:pt x="931" y="347"/>
                  </a:cubicBezTo>
                  <a:cubicBezTo>
                    <a:pt x="867" y="397"/>
                    <a:pt x="824" y="507"/>
                    <a:pt x="766" y="532"/>
                  </a:cubicBezTo>
                  <a:cubicBezTo>
                    <a:pt x="709" y="558"/>
                    <a:pt x="716" y="777"/>
                    <a:pt x="766" y="777"/>
                  </a:cubicBezTo>
                  <a:cubicBezTo>
                    <a:pt x="938" y="777"/>
                    <a:pt x="938" y="777"/>
                    <a:pt x="938" y="777"/>
                  </a:cubicBezTo>
                  <a:cubicBezTo>
                    <a:pt x="1003" y="701"/>
                    <a:pt x="1003" y="701"/>
                    <a:pt x="1003" y="701"/>
                  </a:cubicBezTo>
                  <a:cubicBezTo>
                    <a:pt x="1003" y="701"/>
                    <a:pt x="1089" y="380"/>
                    <a:pt x="1125" y="473"/>
                  </a:cubicBezTo>
                  <a:cubicBezTo>
                    <a:pt x="1161" y="566"/>
                    <a:pt x="953" y="668"/>
                    <a:pt x="1254" y="668"/>
                  </a:cubicBezTo>
                  <a:cubicBezTo>
                    <a:pt x="1163" y="803"/>
                    <a:pt x="1053" y="845"/>
                    <a:pt x="1053" y="845"/>
                  </a:cubicBezTo>
                  <a:cubicBezTo>
                    <a:pt x="867" y="845"/>
                    <a:pt x="867" y="845"/>
                    <a:pt x="867" y="845"/>
                  </a:cubicBezTo>
                  <a:cubicBezTo>
                    <a:pt x="867" y="845"/>
                    <a:pt x="666" y="963"/>
                    <a:pt x="630" y="988"/>
                  </a:cubicBezTo>
                  <a:cubicBezTo>
                    <a:pt x="595" y="1014"/>
                    <a:pt x="458" y="845"/>
                    <a:pt x="458" y="845"/>
                  </a:cubicBezTo>
                  <a:cubicBezTo>
                    <a:pt x="458" y="845"/>
                    <a:pt x="501" y="1065"/>
                    <a:pt x="501" y="1174"/>
                  </a:cubicBezTo>
                  <a:cubicBezTo>
                    <a:pt x="501" y="1284"/>
                    <a:pt x="322" y="1318"/>
                    <a:pt x="322" y="1318"/>
                  </a:cubicBezTo>
                  <a:cubicBezTo>
                    <a:pt x="322" y="1318"/>
                    <a:pt x="351" y="1554"/>
                    <a:pt x="358" y="1673"/>
                  </a:cubicBezTo>
                  <a:cubicBezTo>
                    <a:pt x="272" y="1757"/>
                    <a:pt x="272" y="1909"/>
                    <a:pt x="272" y="1909"/>
                  </a:cubicBezTo>
                  <a:cubicBezTo>
                    <a:pt x="143" y="1985"/>
                    <a:pt x="143" y="1985"/>
                    <a:pt x="143" y="1985"/>
                  </a:cubicBezTo>
                  <a:cubicBezTo>
                    <a:pt x="86" y="2450"/>
                    <a:pt x="86" y="2450"/>
                    <a:pt x="86" y="2450"/>
                  </a:cubicBezTo>
                  <a:cubicBezTo>
                    <a:pt x="86" y="2450"/>
                    <a:pt x="0" y="2593"/>
                    <a:pt x="86" y="2644"/>
                  </a:cubicBezTo>
                  <a:cubicBezTo>
                    <a:pt x="172" y="2695"/>
                    <a:pt x="315" y="2940"/>
                    <a:pt x="315" y="2940"/>
                  </a:cubicBezTo>
                  <a:cubicBezTo>
                    <a:pt x="315" y="2940"/>
                    <a:pt x="466" y="2973"/>
                    <a:pt x="530" y="2940"/>
                  </a:cubicBezTo>
                  <a:cubicBezTo>
                    <a:pt x="595" y="2906"/>
                    <a:pt x="623" y="2711"/>
                    <a:pt x="709" y="2889"/>
                  </a:cubicBezTo>
                  <a:cubicBezTo>
                    <a:pt x="795" y="3066"/>
                    <a:pt x="802" y="2914"/>
                    <a:pt x="802" y="2914"/>
                  </a:cubicBezTo>
                  <a:cubicBezTo>
                    <a:pt x="802" y="2914"/>
                    <a:pt x="917" y="2990"/>
                    <a:pt x="838" y="3193"/>
                  </a:cubicBezTo>
                  <a:cubicBezTo>
                    <a:pt x="888" y="3252"/>
                    <a:pt x="924" y="3328"/>
                    <a:pt x="924" y="3505"/>
                  </a:cubicBezTo>
                  <a:cubicBezTo>
                    <a:pt x="924" y="3869"/>
                    <a:pt x="924" y="3869"/>
                    <a:pt x="924" y="3869"/>
                  </a:cubicBezTo>
                  <a:cubicBezTo>
                    <a:pt x="924" y="3869"/>
                    <a:pt x="1153" y="4401"/>
                    <a:pt x="1110" y="4527"/>
                  </a:cubicBezTo>
                  <a:cubicBezTo>
                    <a:pt x="1067" y="4654"/>
                    <a:pt x="1268" y="4485"/>
                    <a:pt x="1340" y="4527"/>
                  </a:cubicBezTo>
                  <a:cubicBezTo>
                    <a:pt x="1411" y="4570"/>
                    <a:pt x="1634" y="4130"/>
                    <a:pt x="1605" y="3978"/>
                  </a:cubicBezTo>
                  <a:cubicBezTo>
                    <a:pt x="1576" y="3826"/>
                    <a:pt x="1784" y="3767"/>
                    <a:pt x="1798" y="3691"/>
                  </a:cubicBezTo>
                  <a:cubicBezTo>
                    <a:pt x="1813" y="3615"/>
                    <a:pt x="1784" y="3387"/>
                    <a:pt x="1705" y="3320"/>
                  </a:cubicBezTo>
                  <a:cubicBezTo>
                    <a:pt x="1626" y="3252"/>
                    <a:pt x="2192" y="2771"/>
                    <a:pt x="2099" y="2635"/>
                  </a:cubicBezTo>
                  <a:cubicBezTo>
                    <a:pt x="2006" y="2500"/>
                    <a:pt x="1913" y="2728"/>
                    <a:pt x="1841" y="2686"/>
                  </a:cubicBezTo>
                  <a:cubicBezTo>
                    <a:pt x="1770" y="2644"/>
                    <a:pt x="1791" y="2559"/>
                    <a:pt x="1791" y="2559"/>
                  </a:cubicBezTo>
                  <a:cubicBezTo>
                    <a:pt x="1791" y="2559"/>
                    <a:pt x="2216" y="2526"/>
                    <a:pt x="2287" y="2348"/>
                  </a:cubicBezTo>
                  <a:cubicBezTo>
                    <a:pt x="2357" y="2171"/>
                    <a:pt x="2429" y="1901"/>
                    <a:pt x="2665" y="2323"/>
                  </a:cubicBezTo>
                  <a:cubicBezTo>
                    <a:pt x="2902" y="2745"/>
                    <a:pt x="2995" y="2914"/>
                    <a:pt x="3052" y="2855"/>
                  </a:cubicBezTo>
                  <a:cubicBezTo>
                    <a:pt x="3110" y="2796"/>
                    <a:pt x="2909" y="2450"/>
                    <a:pt x="3052" y="2407"/>
                  </a:cubicBezTo>
                  <a:cubicBezTo>
                    <a:pt x="3196" y="2365"/>
                    <a:pt x="3103" y="2213"/>
                    <a:pt x="3210" y="2213"/>
                  </a:cubicBezTo>
                  <a:cubicBezTo>
                    <a:pt x="3318" y="2213"/>
                    <a:pt x="3733" y="3159"/>
                    <a:pt x="3597" y="3024"/>
                  </a:cubicBezTo>
                  <a:cubicBezTo>
                    <a:pt x="3461" y="2889"/>
                    <a:pt x="3404" y="2948"/>
                    <a:pt x="3404" y="2948"/>
                  </a:cubicBezTo>
                  <a:cubicBezTo>
                    <a:pt x="3404" y="2948"/>
                    <a:pt x="3590" y="3134"/>
                    <a:pt x="3733" y="3429"/>
                  </a:cubicBezTo>
                  <a:cubicBezTo>
                    <a:pt x="3826" y="3421"/>
                    <a:pt x="4027" y="3438"/>
                    <a:pt x="4027" y="3438"/>
                  </a:cubicBezTo>
                  <a:cubicBezTo>
                    <a:pt x="4027" y="3438"/>
                    <a:pt x="3869" y="3370"/>
                    <a:pt x="3869" y="3345"/>
                  </a:cubicBezTo>
                  <a:close/>
                  <a:moveTo>
                    <a:pt x="4205" y="3242"/>
                  </a:moveTo>
                  <a:cubicBezTo>
                    <a:pt x="4256" y="3345"/>
                    <a:pt x="4256" y="3345"/>
                    <a:pt x="4256" y="3345"/>
                  </a:cubicBezTo>
                  <a:cubicBezTo>
                    <a:pt x="4256" y="3345"/>
                    <a:pt x="4263" y="3268"/>
                    <a:pt x="4205" y="3242"/>
                  </a:cubicBezTo>
                  <a:close/>
                  <a:moveTo>
                    <a:pt x="4205" y="3242"/>
                  </a:moveTo>
                  <a:cubicBezTo>
                    <a:pt x="4205" y="3242"/>
                    <a:pt x="4205" y="3242"/>
                    <a:pt x="4205" y="3242"/>
                  </a:cubicBezTo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511999" y="-152963"/>
              <a:ext cx="10593334" cy="6981935"/>
            </a:xfrm>
            <a:custGeom>
              <a:avLst/>
              <a:gdLst>
                <a:gd name="T0" fmla="*/ 7337 w 8586"/>
                <a:gd name="T1" fmla="*/ 3294 h 5667"/>
                <a:gd name="T2" fmla="*/ 7666 w 8586"/>
                <a:gd name="T3" fmla="*/ 3512 h 5667"/>
                <a:gd name="T4" fmla="*/ 7509 w 8586"/>
                <a:gd name="T5" fmla="*/ 3125 h 5667"/>
                <a:gd name="T6" fmla="*/ 8326 w 8586"/>
                <a:gd name="T7" fmla="*/ 3683 h 5667"/>
                <a:gd name="T8" fmla="*/ 8191 w 8586"/>
                <a:gd name="T9" fmla="*/ 3421 h 5667"/>
                <a:gd name="T10" fmla="*/ 7990 w 8586"/>
                <a:gd name="T11" fmla="*/ 3590 h 5667"/>
                <a:gd name="T12" fmla="*/ 8191 w 8586"/>
                <a:gd name="T13" fmla="*/ 3775 h 5667"/>
                <a:gd name="T14" fmla="*/ 8061 w 8586"/>
                <a:gd name="T15" fmla="*/ 3995 h 5667"/>
                <a:gd name="T16" fmla="*/ 7560 w 8586"/>
                <a:gd name="T17" fmla="*/ 4206 h 5667"/>
                <a:gd name="T18" fmla="*/ 7373 w 8586"/>
                <a:gd name="T19" fmla="*/ 4333 h 5667"/>
                <a:gd name="T20" fmla="*/ 7373 w 8586"/>
                <a:gd name="T21" fmla="*/ 4527 h 5667"/>
                <a:gd name="T22" fmla="*/ 7832 w 8586"/>
                <a:gd name="T23" fmla="*/ 4713 h 5667"/>
                <a:gd name="T24" fmla="*/ 8018 w 8586"/>
                <a:gd name="T25" fmla="*/ 5169 h 5667"/>
                <a:gd name="T26" fmla="*/ 8477 w 8586"/>
                <a:gd name="T27" fmla="*/ 4460 h 5667"/>
                <a:gd name="T28" fmla="*/ 2859 w 8586"/>
                <a:gd name="T29" fmla="*/ 785 h 5667"/>
                <a:gd name="T30" fmla="*/ 3554 w 8586"/>
                <a:gd name="T31" fmla="*/ 631 h 5667"/>
                <a:gd name="T32" fmla="*/ 2751 w 8586"/>
                <a:gd name="T33" fmla="*/ 270 h 5667"/>
                <a:gd name="T34" fmla="*/ 2393 w 8586"/>
                <a:gd name="T35" fmla="*/ 228 h 5667"/>
                <a:gd name="T36" fmla="*/ 1913 w 8586"/>
                <a:gd name="T37" fmla="*/ 372 h 5667"/>
                <a:gd name="T38" fmla="*/ 1117 w 8586"/>
                <a:gd name="T39" fmla="*/ 573 h 5667"/>
                <a:gd name="T40" fmla="*/ 200 w 8586"/>
                <a:gd name="T41" fmla="*/ 853 h 5667"/>
                <a:gd name="T42" fmla="*/ 480 w 8586"/>
                <a:gd name="T43" fmla="*/ 954 h 5667"/>
                <a:gd name="T44" fmla="*/ 802 w 8586"/>
                <a:gd name="T45" fmla="*/ 2424 h 5667"/>
                <a:gd name="T46" fmla="*/ 1605 w 8586"/>
                <a:gd name="T47" fmla="*/ 3041 h 5667"/>
                <a:gd name="T48" fmla="*/ 1698 w 8586"/>
                <a:gd name="T49" fmla="*/ 3801 h 5667"/>
                <a:gd name="T50" fmla="*/ 2364 w 8586"/>
                <a:gd name="T51" fmla="*/ 5667 h 5667"/>
                <a:gd name="T52" fmla="*/ 2436 w 8586"/>
                <a:gd name="T53" fmla="*/ 4966 h 5667"/>
                <a:gd name="T54" fmla="*/ 2859 w 8586"/>
                <a:gd name="T55" fmla="*/ 4262 h 5667"/>
                <a:gd name="T56" fmla="*/ 2981 w 8586"/>
                <a:gd name="T57" fmla="*/ 3657 h 5667"/>
                <a:gd name="T58" fmla="*/ 2422 w 8586"/>
                <a:gd name="T59" fmla="*/ 3125 h 5667"/>
                <a:gd name="T60" fmla="*/ 1942 w 8586"/>
                <a:gd name="T61" fmla="*/ 2921 h 5667"/>
                <a:gd name="T62" fmla="*/ 1533 w 8586"/>
                <a:gd name="T63" fmla="*/ 2728 h 5667"/>
                <a:gd name="T64" fmla="*/ 1447 w 8586"/>
                <a:gd name="T65" fmla="*/ 2483 h 5667"/>
                <a:gd name="T66" fmla="*/ 1146 w 8586"/>
                <a:gd name="T67" fmla="*/ 2280 h 5667"/>
                <a:gd name="T68" fmla="*/ 1691 w 8586"/>
                <a:gd name="T69" fmla="*/ 2373 h 5667"/>
                <a:gd name="T70" fmla="*/ 1994 w 8586"/>
                <a:gd name="T71" fmla="*/ 1788 h 5667"/>
                <a:gd name="T72" fmla="*/ 2665 w 8586"/>
                <a:gd name="T73" fmla="*/ 1495 h 5667"/>
                <a:gd name="T74" fmla="*/ 2680 w 8586"/>
                <a:gd name="T75" fmla="*/ 760 h 5667"/>
                <a:gd name="T76" fmla="*/ 2400 w 8586"/>
                <a:gd name="T77" fmla="*/ 422 h 5667"/>
                <a:gd name="T78" fmla="*/ 2859 w 8586"/>
                <a:gd name="T79" fmla="*/ 566 h 5667"/>
                <a:gd name="T80" fmla="*/ 2859 w 8586"/>
                <a:gd name="T81" fmla="*/ 785 h 5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86" h="5667">
                  <a:moveTo>
                    <a:pt x="7509" y="3125"/>
                  </a:moveTo>
                  <a:cubicBezTo>
                    <a:pt x="7509" y="3125"/>
                    <a:pt x="7381" y="3260"/>
                    <a:pt x="7337" y="3294"/>
                  </a:cubicBezTo>
                  <a:cubicBezTo>
                    <a:pt x="7294" y="3328"/>
                    <a:pt x="7388" y="3564"/>
                    <a:pt x="7560" y="3514"/>
                  </a:cubicBezTo>
                  <a:cubicBezTo>
                    <a:pt x="7609" y="3499"/>
                    <a:pt x="7643" y="3502"/>
                    <a:pt x="7666" y="3512"/>
                  </a:cubicBezTo>
                  <a:cubicBezTo>
                    <a:pt x="7595" y="3370"/>
                    <a:pt x="7595" y="3370"/>
                    <a:pt x="7595" y="3370"/>
                  </a:cubicBezTo>
                  <a:cubicBezTo>
                    <a:pt x="7595" y="3370"/>
                    <a:pt x="7638" y="3125"/>
                    <a:pt x="7509" y="3125"/>
                  </a:cubicBezTo>
                  <a:close/>
                  <a:moveTo>
                    <a:pt x="8269" y="3877"/>
                  </a:moveTo>
                  <a:cubicBezTo>
                    <a:pt x="8326" y="3683"/>
                    <a:pt x="8326" y="3683"/>
                    <a:pt x="8326" y="3683"/>
                  </a:cubicBezTo>
                  <a:cubicBezTo>
                    <a:pt x="8477" y="3775"/>
                    <a:pt x="8477" y="3775"/>
                    <a:pt x="8477" y="3775"/>
                  </a:cubicBezTo>
                  <a:cubicBezTo>
                    <a:pt x="8477" y="3775"/>
                    <a:pt x="8586" y="3691"/>
                    <a:pt x="8191" y="3421"/>
                  </a:cubicBezTo>
                  <a:cubicBezTo>
                    <a:pt x="8191" y="3421"/>
                    <a:pt x="8018" y="3454"/>
                    <a:pt x="7990" y="3370"/>
                  </a:cubicBezTo>
                  <a:cubicBezTo>
                    <a:pt x="7961" y="3286"/>
                    <a:pt x="7990" y="3590"/>
                    <a:pt x="7990" y="3590"/>
                  </a:cubicBezTo>
                  <a:cubicBezTo>
                    <a:pt x="8112" y="3615"/>
                    <a:pt x="8112" y="3615"/>
                    <a:pt x="8112" y="3615"/>
                  </a:cubicBezTo>
                  <a:cubicBezTo>
                    <a:pt x="8191" y="3775"/>
                    <a:pt x="8191" y="3775"/>
                    <a:pt x="8191" y="3775"/>
                  </a:cubicBezTo>
                  <a:cubicBezTo>
                    <a:pt x="8191" y="3775"/>
                    <a:pt x="8321" y="4164"/>
                    <a:pt x="8191" y="4080"/>
                  </a:cubicBezTo>
                  <a:cubicBezTo>
                    <a:pt x="8061" y="3995"/>
                    <a:pt x="8047" y="4096"/>
                    <a:pt x="8061" y="3995"/>
                  </a:cubicBezTo>
                  <a:cubicBezTo>
                    <a:pt x="8076" y="3894"/>
                    <a:pt x="7999" y="3809"/>
                    <a:pt x="7948" y="3860"/>
                  </a:cubicBezTo>
                  <a:cubicBezTo>
                    <a:pt x="7896" y="3911"/>
                    <a:pt x="7631" y="4046"/>
                    <a:pt x="7560" y="4206"/>
                  </a:cubicBezTo>
                  <a:cubicBezTo>
                    <a:pt x="7488" y="4367"/>
                    <a:pt x="7466" y="4206"/>
                    <a:pt x="7466" y="4206"/>
                  </a:cubicBezTo>
                  <a:cubicBezTo>
                    <a:pt x="7373" y="4333"/>
                    <a:pt x="7373" y="4333"/>
                    <a:pt x="7373" y="4333"/>
                  </a:cubicBezTo>
                  <a:cubicBezTo>
                    <a:pt x="7452" y="4434"/>
                    <a:pt x="7452" y="4434"/>
                    <a:pt x="7452" y="4434"/>
                  </a:cubicBezTo>
                  <a:cubicBezTo>
                    <a:pt x="7373" y="4527"/>
                    <a:pt x="7373" y="4527"/>
                    <a:pt x="7373" y="4527"/>
                  </a:cubicBezTo>
                  <a:cubicBezTo>
                    <a:pt x="7373" y="4527"/>
                    <a:pt x="7245" y="4747"/>
                    <a:pt x="7327" y="4789"/>
                  </a:cubicBezTo>
                  <a:cubicBezTo>
                    <a:pt x="7409" y="4831"/>
                    <a:pt x="7832" y="4713"/>
                    <a:pt x="7832" y="4713"/>
                  </a:cubicBezTo>
                  <a:cubicBezTo>
                    <a:pt x="7948" y="4941"/>
                    <a:pt x="7948" y="4941"/>
                    <a:pt x="7948" y="4941"/>
                  </a:cubicBezTo>
                  <a:cubicBezTo>
                    <a:pt x="7948" y="4941"/>
                    <a:pt x="7968" y="5161"/>
                    <a:pt x="8018" y="5169"/>
                  </a:cubicBezTo>
                  <a:cubicBezTo>
                    <a:pt x="8068" y="5178"/>
                    <a:pt x="8149" y="4949"/>
                    <a:pt x="8191" y="4907"/>
                  </a:cubicBezTo>
                  <a:cubicBezTo>
                    <a:pt x="8233" y="4865"/>
                    <a:pt x="8391" y="4814"/>
                    <a:pt x="8477" y="4460"/>
                  </a:cubicBezTo>
                  <a:cubicBezTo>
                    <a:pt x="8563" y="4105"/>
                    <a:pt x="8269" y="3877"/>
                    <a:pt x="8269" y="3877"/>
                  </a:cubicBezTo>
                  <a:close/>
                  <a:moveTo>
                    <a:pt x="2859" y="785"/>
                  </a:moveTo>
                  <a:cubicBezTo>
                    <a:pt x="2945" y="895"/>
                    <a:pt x="3009" y="971"/>
                    <a:pt x="3031" y="971"/>
                  </a:cubicBezTo>
                  <a:cubicBezTo>
                    <a:pt x="3052" y="971"/>
                    <a:pt x="3554" y="631"/>
                    <a:pt x="3554" y="631"/>
                  </a:cubicBezTo>
                  <a:cubicBezTo>
                    <a:pt x="3554" y="631"/>
                    <a:pt x="3792" y="439"/>
                    <a:pt x="3740" y="290"/>
                  </a:cubicBezTo>
                  <a:cubicBezTo>
                    <a:pt x="3554" y="0"/>
                    <a:pt x="2887" y="228"/>
                    <a:pt x="2751" y="270"/>
                  </a:cubicBezTo>
                  <a:cubicBezTo>
                    <a:pt x="2615" y="313"/>
                    <a:pt x="2837" y="177"/>
                    <a:pt x="2837" y="177"/>
                  </a:cubicBezTo>
                  <a:cubicBezTo>
                    <a:pt x="2837" y="177"/>
                    <a:pt x="2487" y="160"/>
                    <a:pt x="2393" y="228"/>
                  </a:cubicBezTo>
                  <a:cubicBezTo>
                    <a:pt x="2300" y="296"/>
                    <a:pt x="2106" y="448"/>
                    <a:pt x="2078" y="448"/>
                  </a:cubicBezTo>
                  <a:cubicBezTo>
                    <a:pt x="2049" y="448"/>
                    <a:pt x="1913" y="372"/>
                    <a:pt x="1913" y="372"/>
                  </a:cubicBezTo>
                  <a:cubicBezTo>
                    <a:pt x="1426" y="473"/>
                    <a:pt x="1426" y="473"/>
                    <a:pt x="1426" y="473"/>
                  </a:cubicBezTo>
                  <a:cubicBezTo>
                    <a:pt x="1426" y="473"/>
                    <a:pt x="1246" y="564"/>
                    <a:pt x="1117" y="573"/>
                  </a:cubicBezTo>
                  <a:cubicBezTo>
                    <a:pt x="988" y="583"/>
                    <a:pt x="609" y="481"/>
                    <a:pt x="609" y="481"/>
                  </a:cubicBezTo>
                  <a:cubicBezTo>
                    <a:pt x="609" y="481"/>
                    <a:pt x="243" y="853"/>
                    <a:pt x="200" y="853"/>
                  </a:cubicBezTo>
                  <a:cubicBezTo>
                    <a:pt x="157" y="853"/>
                    <a:pt x="0" y="1005"/>
                    <a:pt x="43" y="1030"/>
                  </a:cubicBezTo>
                  <a:cubicBezTo>
                    <a:pt x="86" y="1056"/>
                    <a:pt x="272" y="785"/>
                    <a:pt x="480" y="954"/>
                  </a:cubicBezTo>
                  <a:cubicBezTo>
                    <a:pt x="688" y="1123"/>
                    <a:pt x="774" y="1182"/>
                    <a:pt x="695" y="1444"/>
                  </a:cubicBezTo>
                  <a:cubicBezTo>
                    <a:pt x="616" y="1706"/>
                    <a:pt x="659" y="2264"/>
                    <a:pt x="802" y="2424"/>
                  </a:cubicBezTo>
                  <a:cubicBezTo>
                    <a:pt x="945" y="2585"/>
                    <a:pt x="1182" y="2542"/>
                    <a:pt x="1282" y="2711"/>
                  </a:cubicBezTo>
                  <a:cubicBezTo>
                    <a:pt x="1383" y="2880"/>
                    <a:pt x="1469" y="2998"/>
                    <a:pt x="1605" y="3041"/>
                  </a:cubicBezTo>
                  <a:cubicBezTo>
                    <a:pt x="1741" y="3083"/>
                    <a:pt x="1562" y="3378"/>
                    <a:pt x="1598" y="3488"/>
                  </a:cubicBezTo>
                  <a:cubicBezTo>
                    <a:pt x="1633" y="3598"/>
                    <a:pt x="1698" y="3801"/>
                    <a:pt x="1698" y="3801"/>
                  </a:cubicBezTo>
                  <a:cubicBezTo>
                    <a:pt x="1698" y="3801"/>
                    <a:pt x="1791" y="4020"/>
                    <a:pt x="1942" y="4122"/>
                  </a:cubicBezTo>
                  <a:cubicBezTo>
                    <a:pt x="2092" y="4223"/>
                    <a:pt x="1770" y="5591"/>
                    <a:pt x="2364" y="5667"/>
                  </a:cubicBezTo>
                  <a:cubicBezTo>
                    <a:pt x="2235" y="5270"/>
                    <a:pt x="2185" y="5034"/>
                    <a:pt x="2286" y="5000"/>
                  </a:cubicBezTo>
                  <a:cubicBezTo>
                    <a:pt x="2386" y="4966"/>
                    <a:pt x="2436" y="4966"/>
                    <a:pt x="2436" y="4966"/>
                  </a:cubicBezTo>
                  <a:cubicBezTo>
                    <a:pt x="2694" y="4316"/>
                    <a:pt x="2694" y="4316"/>
                    <a:pt x="2694" y="4316"/>
                  </a:cubicBezTo>
                  <a:cubicBezTo>
                    <a:pt x="2694" y="4316"/>
                    <a:pt x="2873" y="4276"/>
                    <a:pt x="2859" y="4262"/>
                  </a:cubicBezTo>
                  <a:cubicBezTo>
                    <a:pt x="2844" y="4248"/>
                    <a:pt x="2902" y="3902"/>
                    <a:pt x="2916" y="3877"/>
                  </a:cubicBezTo>
                  <a:cubicBezTo>
                    <a:pt x="2930" y="3851"/>
                    <a:pt x="3024" y="3725"/>
                    <a:pt x="2981" y="3657"/>
                  </a:cubicBezTo>
                  <a:cubicBezTo>
                    <a:pt x="2938" y="3590"/>
                    <a:pt x="2830" y="3480"/>
                    <a:pt x="2658" y="3421"/>
                  </a:cubicBezTo>
                  <a:cubicBezTo>
                    <a:pt x="2579" y="3355"/>
                    <a:pt x="2515" y="3150"/>
                    <a:pt x="2422" y="3125"/>
                  </a:cubicBezTo>
                  <a:cubicBezTo>
                    <a:pt x="2329" y="3100"/>
                    <a:pt x="2192" y="2921"/>
                    <a:pt x="2192" y="2921"/>
                  </a:cubicBezTo>
                  <a:cubicBezTo>
                    <a:pt x="2192" y="2921"/>
                    <a:pt x="2071" y="2981"/>
                    <a:pt x="1942" y="2921"/>
                  </a:cubicBezTo>
                  <a:cubicBezTo>
                    <a:pt x="1813" y="2862"/>
                    <a:pt x="1540" y="2965"/>
                    <a:pt x="1540" y="2965"/>
                  </a:cubicBezTo>
                  <a:cubicBezTo>
                    <a:pt x="1540" y="2965"/>
                    <a:pt x="1576" y="2813"/>
                    <a:pt x="1533" y="2728"/>
                  </a:cubicBezTo>
                  <a:cubicBezTo>
                    <a:pt x="1490" y="2644"/>
                    <a:pt x="1426" y="2745"/>
                    <a:pt x="1426" y="2745"/>
                  </a:cubicBezTo>
                  <a:cubicBezTo>
                    <a:pt x="1426" y="2745"/>
                    <a:pt x="1476" y="2576"/>
                    <a:pt x="1447" y="2483"/>
                  </a:cubicBezTo>
                  <a:cubicBezTo>
                    <a:pt x="1418" y="2390"/>
                    <a:pt x="1274" y="2558"/>
                    <a:pt x="1274" y="2558"/>
                  </a:cubicBezTo>
                  <a:cubicBezTo>
                    <a:pt x="1274" y="2558"/>
                    <a:pt x="1132" y="2517"/>
                    <a:pt x="1146" y="2280"/>
                  </a:cubicBezTo>
                  <a:cubicBezTo>
                    <a:pt x="1160" y="2044"/>
                    <a:pt x="1662" y="2179"/>
                    <a:pt x="1662" y="2179"/>
                  </a:cubicBezTo>
                  <a:cubicBezTo>
                    <a:pt x="1691" y="2373"/>
                    <a:pt x="1691" y="2373"/>
                    <a:pt x="1691" y="2373"/>
                  </a:cubicBezTo>
                  <a:cubicBezTo>
                    <a:pt x="1755" y="2038"/>
                    <a:pt x="1755" y="2038"/>
                    <a:pt x="1755" y="2038"/>
                  </a:cubicBezTo>
                  <a:cubicBezTo>
                    <a:pt x="1994" y="1788"/>
                    <a:pt x="1994" y="1788"/>
                    <a:pt x="1994" y="1788"/>
                  </a:cubicBezTo>
                  <a:cubicBezTo>
                    <a:pt x="2472" y="1351"/>
                    <a:pt x="2472" y="1351"/>
                    <a:pt x="2472" y="1351"/>
                  </a:cubicBezTo>
                  <a:cubicBezTo>
                    <a:pt x="2472" y="1351"/>
                    <a:pt x="2608" y="1596"/>
                    <a:pt x="2665" y="1495"/>
                  </a:cubicBezTo>
                  <a:cubicBezTo>
                    <a:pt x="2627" y="1418"/>
                    <a:pt x="2572" y="1326"/>
                    <a:pt x="2629" y="1233"/>
                  </a:cubicBezTo>
                  <a:cubicBezTo>
                    <a:pt x="2328" y="769"/>
                    <a:pt x="2680" y="760"/>
                    <a:pt x="2680" y="760"/>
                  </a:cubicBezTo>
                  <a:cubicBezTo>
                    <a:pt x="2479" y="507"/>
                    <a:pt x="2479" y="507"/>
                    <a:pt x="2479" y="507"/>
                  </a:cubicBezTo>
                  <a:cubicBezTo>
                    <a:pt x="2479" y="507"/>
                    <a:pt x="2364" y="439"/>
                    <a:pt x="2400" y="422"/>
                  </a:cubicBezTo>
                  <a:cubicBezTo>
                    <a:pt x="2436" y="405"/>
                    <a:pt x="2486" y="228"/>
                    <a:pt x="2615" y="313"/>
                  </a:cubicBezTo>
                  <a:cubicBezTo>
                    <a:pt x="2744" y="397"/>
                    <a:pt x="2859" y="566"/>
                    <a:pt x="2859" y="566"/>
                  </a:cubicBezTo>
                  <a:cubicBezTo>
                    <a:pt x="2859" y="566"/>
                    <a:pt x="2773" y="676"/>
                    <a:pt x="2859" y="785"/>
                  </a:cubicBezTo>
                  <a:close/>
                  <a:moveTo>
                    <a:pt x="2859" y="785"/>
                  </a:moveTo>
                  <a:cubicBezTo>
                    <a:pt x="2859" y="785"/>
                    <a:pt x="2859" y="785"/>
                    <a:pt x="2859" y="785"/>
                  </a:cubicBezTo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/>
            </a:p>
          </p:txBody>
        </p:sp>
      </p:grpSp>
      <p:sp>
        <p:nvSpPr>
          <p:cNvPr id="18" name="任意多边形: 形状 17"/>
          <p:cNvSpPr/>
          <p:nvPr userDrawn="1"/>
        </p:nvSpPr>
        <p:spPr bwMode="auto">
          <a:xfrm>
            <a:off x="5295900" y="665692"/>
            <a:ext cx="6896100" cy="5363632"/>
          </a:xfrm>
          <a:custGeom>
            <a:avLst/>
            <a:gdLst>
              <a:gd name="connsiteX0" fmla="*/ 2611195 w 6896100"/>
              <a:gd name="connsiteY0" fmla="*/ 3329760 h 5363632"/>
              <a:gd name="connsiteX1" fmla="*/ 3787028 w 6896100"/>
              <a:gd name="connsiteY1" fmla="*/ 3329760 h 5363632"/>
              <a:gd name="connsiteX2" fmla="*/ 4374944 w 6896100"/>
              <a:gd name="connsiteY2" fmla="*/ 4346696 h 5363632"/>
              <a:gd name="connsiteX3" fmla="*/ 3787028 w 6896100"/>
              <a:gd name="connsiteY3" fmla="*/ 5363632 h 5363632"/>
              <a:gd name="connsiteX4" fmla="*/ 2611195 w 6896100"/>
              <a:gd name="connsiteY4" fmla="*/ 5363632 h 5363632"/>
              <a:gd name="connsiteX5" fmla="*/ 2023279 w 6896100"/>
              <a:gd name="connsiteY5" fmla="*/ 4346696 h 5363632"/>
              <a:gd name="connsiteX6" fmla="*/ 6587135 w 6896100"/>
              <a:gd name="connsiteY6" fmla="*/ 3319167 h 5363632"/>
              <a:gd name="connsiteX7" fmla="*/ 6896100 w 6896100"/>
              <a:gd name="connsiteY7" fmla="*/ 3319167 h 5363632"/>
              <a:gd name="connsiteX8" fmla="*/ 6896100 w 6896100"/>
              <a:gd name="connsiteY8" fmla="*/ 5351274 h 5363632"/>
              <a:gd name="connsiteX9" fmla="*/ 6587135 w 6896100"/>
              <a:gd name="connsiteY9" fmla="*/ 5351274 h 5363632"/>
              <a:gd name="connsiteX10" fmla="*/ 6000984 w 6896100"/>
              <a:gd name="connsiteY10" fmla="*/ 4336103 h 5363632"/>
              <a:gd name="connsiteX11" fmla="*/ 587916 w 6896100"/>
              <a:gd name="connsiteY11" fmla="*/ 2229844 h 5363632"/>
              <a:gd name="connsiteX12" fmla="*/ 1765514 w 6896100"/>
              <a:gd name="connsiteY12" fmla="*/ 2229844 h 5363632"/>
              <a:gd name="connsiteX13" fmla="*/ 2353431 w 6896100"/>
              <a:gd name="connsiteY13" fmla="*/ 3246780 h 5363632"/>
              <a:gd name="connsiteX14" fmla="*/ 1765514 w 6896100"/>
              <a:gd name="connsiteY14" fmla="*/ 4263716 h 5363632"/>
              <a:gd name="connsiteX15" fmla="*/ 587916 w 6896100"/>
              <a:gd name="connsiteY15" fmla="*/ 4263716 h 5363632"/>
              <a:gd name="connsiteX16" fmla="*/ 0 w 6896100"/>
              <a:gd name="connsiteY16" fmla="*/ 3246780 h 5363632"/>
              <a:gd name="connsiteX17" fmla="*/ 4611524 w 6896100"/>
              <a:gd name="connsiteY17" fmla="*/ 2224548 h 5363632"/>
              <a:gd name="connsiteX18" fmla="*/ 5785592 w 6896100"/>
              <a:gd name="connsiteY18" fmla="*/ 2224548 h 5363632"/>
              <a:gd name="connsiteX19" fmla="*/ 6373508 w 6896100"/>
              <a:gd name="connsiteY19" fmla="*/ 3241484 h 5363632"/>
              <a:gd name="connsiteX20" fmla="*/ 5785592 w 6896100"/>
              <a:gd name="connsiteY20" fmla="*/ 4258420 h 5363632"/>
              <a:gd name="connsiteX21" fmla="*/ 4611524 w 6896100"/>
              <a:gd name="connsiteY21" fmla="*/ 4258420 h 5363632"/>
              <a:gd name="connsiteX22" fmla="*/ 4023608 w 6896100"/>
              <a:gd name="connsiteY22" fmla="*/ 3241484 h 5363632"/>
              <a:gd name="connsiteX23" fmla="*/ 2588244 w 6896100"/>
              <a:gd name="connsiteY23" fmla="*/ 1131694 h 5363632"/>
              <a:gd name="connsiteX24" fmla="*/ 3764077 w 6896100"/>
              <a:gd name="connsiteY24" fmla="*/ 1131694 h 5363632"/>
              <a:gd name="connsiteX25" fmla="*/ 4351993 w 6896100"/>
              <a:gd name="connsiteY25" fmla="*/ 2146865 h 5363632"/>
              <a:gd name="connsiteX26" fmla="*/ 3764077 w 6896100"/>
              <a:gd name="connsiteY26" fmla="*/ 3163801 h 5363632"/>
              <a:gd name="connsiteX27" fmla="*/ 2588244 w 6896100"/>
              <a:gd name="connsiteY27" fmla="*/ 3163801 h 5363632"/>
              <a:gd name="connsiteX28" fmla="*/ 2000328 w 6896100"/>
              <a:gd name="connsiteY28" fmla="*/ 2146865 h 5363632"/>
              <a:gd name="connsiteX29" fmla="*/ 4622117 w 6896100"/>
              <a:gd name="connsiteY29" fmla="*/ 0 h 5363632"/>
              <a:gd name="connsiteX30" fmla="*/ 5796185 w 6896100"/>
              <a:gd name="connsiteY30" fmla="*/ 0 h 5363632"/>
              <a:gd name="connsiteX31" fmla="*/ 6384101 w 6896100"/>
              <a:gd name="connsiteY31" fmla="*/ 1015171 h 5363632"/>
              <a:gd name="connsiteX32" fmla="*/ 5796185 w 6896100"/>
              <a:gd name="connsiteY32" fmla="*/ 2032107 h 5363632"/>
              <a:gd name="connsiteX33" fmla="*/ 4622117 w 6896100"/>
              <a:gd name="connsiteY33" fmla="*/ 2032107 h 5363632"/>
              <a:gd name="connsiteX34" fmla="*/ 4034201 w 6896100"/>
              <a:gd name="connsiteY34" fmla="*/ 1015171 h 5363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896100" h="5363632">
                <a:moveTo>
                  <a:pt x="2611195" y="3329760"/>
                </a:moveTo>
                <a:lnTo>
                  <a:pt x="3787028" y="3329760"/>
                </a:lnTo>
                <a:lnTo>
                  <a:pt x="4374944" y="4346696"/>
                </a:lnTo>
                <a:lnTo>
                  <a:pt x="3787028" y="5363632"/>
                </a:lnTo>
                <a:lnTo>
                  <a:pt x="2611195" y="5363632"/>
                </a:lnTo>
                <a:lnTo>
                  <a:pt x="2023279" y="4346696"/>
                </a:lnTo>
                <a:close/>
                <a:moveTo>
                  <a:pt x="6587135" y="3319167"/>
                </a:moveTo>
                <a:lnTo>
                  <a:pt x="6896100" y="3319167"/>
                </a:lnTo>
                <a:lnTo>
                  <a:pt x="6896100" y="5351274"/>
                </a:lnTo>
                <a:lnTo>
                  <a:pt x="6587135" y="5351274"/>
                </a:lnTo>
                <a:lnTo>
                  <a:pt x="6000984" y="4336103"/>
                </a:lnTo>
                <a:close/>
                <a:moveTo>
                  <a:pt x="587916" y="2229844"/>
                </a:moveTo>
                <a:lnTo>
                  <a:pt x="1765514" y="2229844"/>
                </a:lnTo>
                <a:lnTo>
                  <a:pt x="2353431" y="3246780"/>
                </a:lnTo>
                <a:lnTo>
                  <a:pt x="1765514" y="4263716"/>
                </a:lnTo>
                <a:lnTo>
                  <a:pt x="587916" y="4263716"/>
                </a:lnTo>
                <a:lnTo>
                  <a:pt x="0" y="3246780"/>
                </a:lnTo>
                <a:close/>
                <a:moveTo>
                  <a:pt x="4611524" y="2224548"/>
                </a:moveTo>
                <a:lnTo>
                  <a:pt x="5785592" y="2224548"/>
                </a:lnTo>
                <a:lnTo>
                  <a:pt x="6373508" y="3241484"/>
                </a:lnTo>
                <a:lnTo>
                  <a:pt x="5785592" y="4258420"/>
                </a:lnTo>
                <a:lnTo>
                  <a:pt x="4611524" y="4258420"/>
                </a:lnTo>
                <a:lnTo>
                  <a:pt x="4023608" y="3241484"/>
                </a:lnTo>
                <a:close/>
                <a:moveTo>
                  <a:pt x="2588244" y="1131694"/>
                </a:moveTo>
                <a:lnTo>
                  <a:pt x="3764077" y="1131694"/>
                </a:lnTo>
                <a:lnTo>
                  <a:pt x="4351993" y="2146865"/>
                </a:lnTo>
                <a:lnTo>
                  <a:pt x="3764077" y="3163801"/>
                </a:lnTo>
                <a:lnTo>
                  <a:pt x="2588244" y="3163801"/>
                </a:lnTo>
                <a:lnTo>
                  <a:pt x="2000328" y="2146865"/>
                </a:lnTo>
                <a:close/>
                <a:moveTo>
                  <a:pt x="4622117" y="0"/>
                </a:moveTo>
                <a:lnTo>
                  <a:pt x="5796185" y="0"/>
                </a:lnTo>
                <a:lnTo>
                  <a:pt x="6384101" y="1015171"/>
                </a:lnTo>
                <a:lnTo>
                  <a:pt x="5796185" y="2032107"/>
                </a:lnTo>
                <a:lnTo>
                  <a:pt x="4622117" y="2032107"/>
                </a:lnTo>
                <a:lnTo>
                  <a:pt x="4034201" y="1015171"/>
                </a:lnTo>
                <a:close/>
              </a:path>
            </a:pathLst>
          </a:custGeom>
          <a:blipFill>
            <a:blip r:embed="rId2"/>
            <a:srcRect/>
            <a:stretch>
              <a:fillRect l="-1336" r="-15332"/>
            </a:stretch>
          </a:blipFill>
          <a:ln w="476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102" y="2792943"/>
            <a:ext cx="5103413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102" y="1332490"/>
            <a:ext cx="5103413" cy="1443583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46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1" y="4775977"/>
            <a:ext cx="510341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47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072248"/>
            <a:ext cx="510341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158709" y="2000012"/>
            <a:ext cx="636066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159825" y="2895362"/>
            <a:ext cx="636066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27" name="Freeform 9"/>
          <p:cNvSpPr/>
          <p:nvPr userDrawn="1"/>
        </p:nvSpPr>
        <p:spPr bwMode="auto">
          <a:xfrm flipH="1">
            <a:off x="2544107" y="1922420"/>
            <a:ext cx="2351665" cy="2032107"/>
          </a:xfrm>
          <a:custGeom>
            <a:avLst/>
            <a:gdLst>
              <a:gd name="T0" fmla="*/ 999 w 1332"/>
              <a:gd name="T1" fmla="*/ 0 h 1151"/>
              <a:gd name="T2" fmla="*/ 333 w 1332"/>
              <a:gd name="T3" fmla="*/ 0 h 1151"/>
              <a:gd name="T4" fmla="*/ 0 w 1332"/>
              <a:gd name="T5" fmla="*/ 575 h 1151"/>
              <a:gd name="T6" fmla="*/ 333 w 1332"/>
              <a:gd name="T7" fmla="*/ 1151 h 1151"/>
              <a:gd name="T8" fmla="*/ 999 w 1332"/>
              <a:gd name="T9" fmla="*/ 1151 h 1151"/>
              <a:gd name="T10" fmla="*/ 1332 w 1332"/>
              <a:gd name="T11" fmla="*/ 575 h 1151"/>
              <a:gd name="T12" fmla="*/ 999 w 1332"/>
              <a:gd name="T13" fmla="*/ 0 h 1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2" h="1151">
                <a:moveTo>
                  <a:pt x="999" y="0"/>
                </a:moveTo>
                <a:lnTo>
                  <a:pt x="333" y="0"/>
                </a:lnTo>
                <a:lnTo>
                  <a:pt x="0" y="575"/>
                </a:lnTo>
                <a:lnTo>
                  <a:pt x="333" y="1151"/>
                </a:lnTo>
                <a:lnTo>
                  <a:pt x="999" y="1151"/>
                </a:lnTo>
                <a:lnTo>
                  <a:pt x="1332" y="575"/>
                </a:lnTo>
                <a:lnTo>
                  <a:pt x="999" y="0"/>
                </a:lnTo>
                <a:close/>
              </a:path>
            </a:pathLst>
          </a:custGeom>
          <a:solidFill>
            <a:schemeClr val="accent1"/>
          </a:solidFill>
          <a:ln w="476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8" name="Freeform 10"/>
          <p:cNvSpPr/>
          <p:nvPr userDrawn="1"/>
        </p:nvSpPr>
        <p:spPr bwMode="auto">
          <a:xfrm flipH="1">
            <a:off x="522592" y="3015274"/>
            <a:ext cx="2349900" cy="2033872"/>
          </a:xfrm>
          <a:custGeom>
            <a:avLst/>
            <a:gdLst>
              <a:gd name="T0" fmla="*/ 998 w 1331"/>
              <a:gd name="T1" fmla="*/ 0 h 1152"/>
              <a:gd name="T2" fmla="*/ 333 w 1331"/>
              <a:gd name="T3" fmla="*/ 0 h 1152"/>
              <a:gd name="T4" fmla="*/ 0 w 1331"/>
              <a:gd name="T5" fmla="*/ 576 h 1152"/>
              <a:gd name="T6" fmla="*/ 333 w 1331"/>
              <a:gd name="T7" fmla="*/ 1152 h 1152"/>
              <a:gd name="T8" fmla="*/ 998 w 1331"/>
              <a:gd name="T9" fmla="*/ 1152 h 1152"/>
              <a:gd name="T10" fmla="*/ 1331 w 1331"/>
              <a:gd name="T11" fmla="*/ 576 h 1152"/>
              <a:gd name="T12" fmla="*/ 998 w 1331"/>
              <a:gd name="T13" fmla="*/ 0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1" h="1152">
                <a:moveTo>
                  <a:pt x="998" y="0"/>
                </a:moveTo>
                <a:lnTo>
                  <a:pt x="333" y="0"/>
                </a:lnTo>
                <a:lnTo>
                  <a:pt x="0" y="576"/>
                </a:lnTo>
                <a:lnTo>
                  <a:pt x="333" y="1152"/>
                </a:lnTo>
                <a:lnTo>
                  <a:pt x="998" y="1152"/>
                </a:lnTo>
                <a:lnTo>
                  <a:pt x="1331" y="576"/>
                </a:lnTo>
                <a:lnTo>
                  <a:pt x="998" y="0"/>
                </a:lnTo>
                <a:close/>
              </a:path>
            </a:pathLst>
          </a:custGeom>
          <a:solidFill>
            <a:schemeClr val="accent2"/>
          </a:solidFill>
          <a:ln w="476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9" name="Freeform 11"/>
          <p:cNvSpPr/>
          <p:nvPr userDrawn="1"/>
        </p:nvSpPr>
        <p:spPr bwMode="auto">
          <a:xfrm flipH="1">
            <a:off x="0" y="4109893"/>
            <a:ext cx="895116" cy="2032107"/>
          </a:xfrm>
          <a:custGeom>
            <a:avLst/>
            <a:gdLst>
              <a:gd name="T0" fmla="*/ 507 w 507"/>
              <a:gd name="T1" fmla="*/ 0 h 1151"/>
              <a:gd name="T2" fmla="*/ 332 w 507"/>
              <a:gd name="T3" fmla="*/ 0 h 1151"/>
              <a:gd name="T4" fmla="*/ 0 w 507"/>
              <a:gd name="T5" fmla="*/ 576 h 1151"/>
              <a:gd name="T6" fmla="*/ 332 w 507"/>
              <a:gd name="T7" fmla="*/ 1151 h 1151"/>
              <a:gd name="T8" fmla="*/ 507 w 507"/>
              <a:gd name="T9" fmla="*/ 1151 h 1151"/>
              <a:gd name="T10" fmla="*/ 507 w 507"/>
              <a:gd name="T11" fmla="*/ 0 h 1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07" h="1151">
                <a:moveTo>
                  <a:pt x="507" y="0"/>
                </a:moveTo>
                <a:lnTo>
                  <a:pt x="332" y="0"/>
                </a:lnTo>
                <a:lnTo>
                  <a:pt x="0" y="576"/>
                </a:lnTo>
                <a:lnTo>
                  <a:pt x="332" y="1151"/>
                </a:lnTo>
                <a:lnTo>
                  <a:pt x="507" y="1151"/>
                </a:lnTo>
                <a:lnTo>
                  <a:pt x="507" y="0"/>
                </a:lnTo>
                <a:close/>
              </a:path>
            </a:pathLst>
          </a:custGeom>
          <a:solidFill>
            <a:schemeClr val="accent2"/>
          </a:solidFill>
          <a:ln w="476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0" name="Freeform 12"/>
          <p:cNvSpPr/>
          <p:nvPr userDrawn="1"/>
        </p:nvSpPr>
        <p:spPr bwMode="auto">
          <a:xfrm flipH="1">
            <a:off x="511999" y="790726"/>
            <a:ext cx="2349900" cy="2032107"/>
          </a:xfrm>
          <a:custGeom>
            <a:avLst/>
            <a:gdLst>
              <a:gd name="T0" fmla="*/ 998 w 1331"/>
              <a:gd name="T1" fmla="*/ 0 h 1151"/>
              <a:gd name="T2" fmla="*/ 333 w 1331"/>
              <a:gd name="T3" fmla="*/ 0 h 1151"/>
              <a:gd name="T4" fmla="*/ 0 w 1331"/>
              <a:gd name="T5" fmla="*/ 575 h 1151"/>
              <a:gd name="T6" fmla="*/ 333 w 1331"/>
              <a:gd name="T7" fmla="*/ 1151 h 1151"/>
              <a:gd name="T8" fmla="*/ 998 w 1331"/>
              <a:gd name="T9" fmla="*/ 1151 h 1151"/>
              <a:gd name="T10" fmla="*/ 1331 w 1331"/>
              <a:gd name="T11" fmla="*/ 575 h 1151"/>
              <a:gd name="T12" fmla="*/ 998 w 1331"/>
              <a:gd name="T13" fmla="*/ 0 h 1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1" h="1151">
                <a:moveTo>
                  <a:pt x="998" y="0"/>
                </a:moveTo>
                <a:lnTo>
                  <a:pt x="333" y="0"/>
                </a:lnTo>
                <a:lnTo>
                  <a:pt x="0" y="575"/>
                </a:lnTo>
                <a:lnTo>
                  <a:pt x="333" y="1151"/>
                </a:lnTo>
                <a:lnTo>
                  <a:pt x="998" y="1151"/>
                </a:lnTo>
                <a:lnTo>
                  <a:pt x="1331" y="575"/>
                </a:lnTo>
                <a:lnTo>
                  <a:pt x="998" y="0"/>
                </a:lnTo>
                <a:close/>
              </a:path>
            </a:pathLst>
          </a:custGeom>
          <a:solidFill>
            <a:schemeClr val="accent1"/>
          </a:solidFill>
          <a:ln w="476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5"/>
          <p:cNvSpPr>
            <a:spLocks noEditPoints="1"/>
          </p:cNvSpPr>
          <p:nvPr userDrawn="1"/>
        </p:nvSpPr>
        <p:spPr bwMode="auto">
          <a:xfrm>
            <a:off x="6013179" y="178450"/>
            <a:ext cx="5924018" cy="5733530"/>
          </a:xfrm>
          <a:custGeom>
            <a:avLst/>
            <a:gdLst>
              <a:gd name="T0" fmla="*/ 3633 w 4801"/>
              <a:gd name="T1" fmla="*/ 2897 h 4654"/>
              <a:gd name="T2" fmla="*/ 3704 w 4801"/>
              <a:gd name="T3" fmla="*/ 2737 h 4654"/>
              <a:gd name="T4" fmla="*/ 3740 w 4801"/>
              <a:gd name="T5" fmla="*/ 2230 h 4654"/>
              <a:gd name="T6" fmla="*/ 3898 w 4801"/>
              <a:gd name="T7" fmla="*/ 1478 h 4654"/>
              <a:gd name="T8" fmla="*/ 4299 w 4801"/>
              <a:gd name="T9" fmla="*/ 1825 h 4654"/>
              <a:gd name="T10" fmla="*/ 4550 w 4801"/>
              <a:gd name="T11" fmla="*/ 1723 h 4654"/>
              <a:gd name="T12" fmla="*/ 4579 w 4801"/>
              <a:gd name="T13" fmla="*/ 1360 h 4654"/>
              <a:gd name="T14" fmla="*/ 4397 w 4801"/>
              <a:gd name="T15" fmla="*/ 1377 h 4654"/>
              <a:gd name="T16" fmla="*/ 4323 w 4801"/>
              <a:gd name="T17" fmla="*/ 1724 h 4654"/>
              <a:gd name="T18" fmla="*/ 4249 w 4801"/>
              <a:gd name="T19" fmla="*/ 1301 h 4654"/>
              <a:gd name="T20" fmla="*/ 4056 w 4801"/>
              <a:gd name="T21" fmla="*/ 710 h 4654"/>
              <a:gd name="T22" fmla="*/ 4471 w 4801"/>
              <a:gd name="T23" fmla="*/ 828 h 4654"/>
              <a:gd name="T24" fmla="*/ 4643 w 4801"/>
              <a:gd name="T25" fmla="*/ 853 h 4654"/>
              <a:gd name="T26" fmla="*/ 4708 w 4801"/>
              <a:gd name="T27" fmla="*/ 659 h 4654"/>
              <a:gd name="T28" fmla="*/ 4435 w 4801"/>
              <a:gd name="T29" fmla="*/ 321 h 4654"/>
              <a:gd name="T30" fmla="*/ 3167 w 4801"/>
              <a:gd name="T31" fmla="*/ 186 h 4654"/>
              <a:gd name="T32" fmla="*/ 2257 w 4801"/>
              <a:gd name="T33" fmla="*/ 180 h 4654"/>
              <a:gd name="T34" fmla="*/ 1751 w 4801"/>
              <a:gd name="T35" fmla="*/ 327 h 4654"/>
              <a:gd name="T36" fmla="*/ 1588 w 4801"/>
              <a:gd name="T37" fmla="*/ 361 h 4654"/>
              <a:gd name="T38" fmla="*/ 1454 w 4801"/>
              <a:gd name="T39" fmla="*/ 532 h 4654"/>
              <a:gd name="T40" fmla="*/ 1383 w 4801"/>
              <a:gd name="T41" fmla="*/ 431 h 4654"/>
              <a:gd name="T42" fmla="*/ 1333 w 4801"/>
              <a:gd name="T43" fmla="*/ 330 h 4654"/>
              <a:gd name="T44" fmla="*/ 766 w 4801"/>
              <a:gd name="T45" fmla="*/ 532 h 4654"/>
              <a:gd name="T46" fmla="*/ 938 w 4801"/>
              <a:gd name="T47" fmla="*/ 777 h 4654"/>
              <a:gd name="T48" fmla="*/ 1125 w 4801"/>
              <a:gd name="T49" fmla="*/ 473 h 4654"/>
              <a:gd name="T50" fmla="*/ 1053 w 4801"/>
              <a:gd name="T51" fmla="*/ 845 h 4654"/>
              <a:gd name="T52" fmla="*/ 630 w 4801"/>
              <a:gd name="T53" fmla="*/ 988 h 4654"/>
              <a:gd name="T54" fmla="*/ 501 w 4801"/>
              <a:gd name="T55" fmla="*/ 1174 h 4654"/>
              <a:gd name="T56" fmla="*/ 358 w 4801"/>
              <a:gd name="T57" fmla="*/ 1673 h 4654"/>
              <a:gd name="T58" fmla="*/ 143 w 4801"/>
              <a:gd name="T59" fmla="*/ 1985 h 4654"/>
              <a:gd name="T60" fmla="*/ 86 w 4801"/>
              <a:gd name="T61" fmla="*/ 2644 h 4654"/>
              <a:gd name="T62" fmla="*/ 530 w 4801"/>
              <a:gd name="T63" fmla="*/ 2940 h 4654"/>
              <a:gd name="T64" fmla="*/ 802 w 4801"/>
              <a:gd name="T65" fmla="*/ 2914 h 4654"/>
              <a:gd name="T66" fmla="*/ 924 w 4801"/>
              <a:gd name="T67" fmla="*/ 3505 h 4654"/>
              <a:gd name="T68" fmla="*/ 1110 w 4801"/>
              <a:gd name="T69" fmla="*/ 4527 h 4654"/>
              <a:gd name="T70" fmla="*/ 1605 w 4801"/>
              <a:gd name="T71" fmla="*/ 3978 h 4654"/>
              <a:gd name="T72" fmla="*/ 1705 w 4801"/>
              <a:gd name="T73" fmla="*/ 3320 h 4654"/>
              <a:gd name="T74" fmla="*/ 1841 w 4801"/>
              <a:gd name="T75" fmla="*/ 2686 h 4654"/>
              <a:gd name="T76" fmla="*/ 2287 w 4801"/>
              <a:gd name="T77" fmla="*/ 2348 h 4654"/>
              <a:gd name="T78" fmla="*/ 3052 w 4801"/>
              <a:gd name="T79" fmla="*/ 2855 h 4654"/>
              <a:gd name="T80" fmla="*/ 3210 w 4801"/>
              <a:gd name="T81" fmla="*/ 2213 h 4654"/>
              <a:gd name="T82" fmla="*/ 3404 w 4801"/>
              <a:gd name="T83" fmla="*/ 2948 h 4654"/>
              <a:gd name="T84" fmla="*/ 4027 w 4801"/>
              <a:gd name="T85" fmla="*/ 3438 h 4654"/>
              <a:gd name="T86" fmla="*/ 4205 w 4801"/>
              <a:gd name="T87" fmla="*/ 3242 h 4654"/>
              <a:gd name="T88" fmla="*/ 4205 w 4801"/>
              <a:gd name="T89" fmla="*/ 3242 h 4654"/>
              <a:gd name="T90" fmla="*/ 4205 w 4801"/>
              <a:gd name="T91" fmla="*/ 3242 h 46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801" h="4654">
                <a:moveTo>
                  <a:pt x="3869" y="3345"/>
                </a:moveTo>
                <a:cubicBezTo>
                  <a:pt x="3869" y="3320"/>
                  <a:pt x="3683" y="3075"/>
                  <a:pt x="3633" y="2897"/>
                </a:cubicBezTo>
                <a:cubicBezTo>
                  <a:pt x="3583" y="2720"/>
                  <a:pt x="3490" y="2602"/>
                  <a:pt x="3547" y="2576"/>
                </a:cubicBezTo>
                <a:cubicBezTo>
                  <a:pt x="3604" y="2551"/>
                  <a:pt x="3590" y="2804"/>
                  <a:pt x="3704" y="2737"/>
                </a:cubicBezTo>
                <a:cubicBezTo>
                  <a:pt x="3819" y="2669"/>
                  <a:pt x="4034" y="2703"/>
                  <a:pt x="3726" y="2348"/>
                </a:cubicBezTo>
                <a:cubicBezTo>
                  <a:pt x="3740" y="2230"/>
                  <a:pt x="3740" y="2230"/>
                  <a:pt x="3740" y="2230"/>
                </a:cubicBezTo>
                <a:cubicBezTo>
                  <a:pt x="3740" y="2230"/>
                  <a:pt x="4027" y="2230"/>
                  <a:pt x="4070" y="2019"/>
                </a:cubicBezTo>
                <a:cubicBezTo>
                  <a:pt x="4113" y="1808"/>
                  <a:pt x="3869" y="1512"/>
                  <a:pt x="3898" y="1478"/>
                </a:cubicBezTo>
                <a:cubicBezTo>
                  <a:pt x="3927" y="1445"/>
                  <a:pt x="4052" y="1512"/>
                  <a:pt x="4075" y="1546"/>
                </a:cubicBezTo>
                <a:cubicBezTo>
                  <a:pt x="4099" y="1580"/>
                  <a:pt x="4206" y="1842"/>
                  <a:pt x="4299" y="1825"/>
                </a:cubicBezTo>
                <a:cubicBezTo>
                  <a:pt x="4328" y="1819"/>
                  <a:pt x="4335" y="1791"/>
                  <a:pt x="4328" y="1749"/>
                </a:cubicBezTo>
                <a:cubicBezTo>
                  <a:pt x="4342" y="1770"/>
                  <a:pt x="4390" y="1788"/>
                  <a:pt x="4550" y="1723"/>
                </a:cubicBezTo>
                <a:cubicBezTo>
                  <a:pt x="4801" y="1622"/>
                  <a:pt x="4507" y="1495"/>
                  <a:pt x="4507" y="1495"/>
                </a:cubicBezTo>
                <a:cubicBezTo>
                  <a:pt x="4579" y="1360"/>
                  <a:pt x="4579" y="1360"/>
                  <a:pt x="4579" y="1360"/>
                </a:cubicBezTo>
                <a:cubicBezTo>
                  <a:pt x="4472" y="1267"/>
                  <a:pt x="4472" y="1267"/>
                  <a:pt x="4472" y="1267"/>
                </a:cubicBezTo>
                <a:cubicBezTo>
                  <a:pt x="4397" y="1377"/>
                  <a:pt x="4397" y="1377"/>
                  <a:pt x="4397" y="1377"/>
                </a:cubicBezTo>
                <a:cubicBezTo>
                  <a:pt x="4397" y="1377"/>
                  <a:pt x="4378" y="1706"/>
                  <a:pt x="4323" y="1723"/>
                </a:cubicBezTo>
                <a:cubicBezTo>
                  <a:pt x="4323" y="1723"/>
                  <a:pt x="4323" y="1724"/>
                  <a:pt x="4323" y="1724"/>
                </a:cubicBezTo>
                <a:cubicBezTo>
                  <a:pt x="4299" y="1625"/>
                  <a:pt x="4223" y="1469"/>
                  <a:pt x="4163" y="1335"/>
                </a:cubicBezTo>
                <a:cubicBezTo>
                  <a:pt x="4134" y="1269"/>
                  <a:pt x="4207" y="1354"/>
                  <a:pt x="4249" y="1301"/>
                </a:cubicBezTo>
                <a:cubicBezTo>
                  <a:pt x="4343" y="1184"/>
                  <a:pt x="4500" y="1124"/>
                  <a:pt x="4170" y="896"/>
                </a:cubicBezTo>
                <a:cubicBezTo>
                  <a:pt x="4020" y="921"/>
                  <a:pt x="3934" y="693"/>
                  <a:pt x="4056" y="710"/>
                </a:cubicBezTo>
                <a:cubicBezTo>
                  <a:pt x="4177" y="727"/>
                  <a:pt x="4388" y="642"/>
                  <a:pt x="4438" y="650"/>
                </a:cubicBezTo>
                <a:cubicBezTo>
                  <a:pt x="4489" y="659"/>
                  <a:pt x="4471" y="828"/>
                  <a:pt x="4471" y="828"/>
                </a:cubicBezTo>
                <a:cubicBezTo>
                  <a:pt x="4471" y="828"/>
                  <a:pt x="4619" y="1031"/>
                  <a:pt x="4636" y="1065"/>
                </a:cubicBezTo>
                <a:cubicBezTo>
                  <a:pt x="4653" y="1098"/>
                  <a:pt x="4643" y="853"/>
                  <a:pt x="4643" y="853"/>
                </a:cubicBezTo>
                <a:cubicBezTo>
                  <a:pt x="4643" y="853"/>
                  <a:pt x="4478" y="744"/>
                  <a:pt x="4529" y="693"/>
                </a:cubicBezTo>
                <a:cubicBezTo>
                  <a:pt x="4579" y="642"/>
                  <a:pt x="4658" y="684"/>
                  <a:pt x="4708" y="659"/>
                </a:cubicBezTo>
                <a:cubicBezTo>
                  <a:pt x="4758" y="634"/>
                  <a:pt x="4708" y="490"/>
                  <a:pt x="4708" y="490"/>
                </a:cubicBezTo>
                <a:cubicBezTo>
                  <a:pt x="4708" y="490"/>
                  <a:pt x="4478" y="389"/>
                  <a:pt x="4435" y="321"/>
                </a:cubicBezTo>
                <a:cubicBezTo>
                  <a:pt x="4392" y="254"/>
                  <a:pt x="4063" y="254"/>
                  <a:pt x="3898" y="271"/>
                </a:cubicBezTo>
                <a:cubicBezTo>
                  <a:pt x="3733" y="195"/>
                  <a:pt x="3167" y="186"/>
                  <a:pt x="3167" y="186"/>
                </a:cubicBezTo>
                <a:cubicBezTo>
                  <a:pt x="2257" y="0"/>
                  <a:pt x="2257" y="0"/>
                  <a:pt x="2257" y="0"/>
                </a:cubicBezTo>
                <a:cubicBezTo>
                  <a:pt x="2257" y="0"/>
                  <a:pt x="2324" y="147"/>
                  <a:pt x="2257" y="180"/>
                </a:cubicBezTo>
                <a:cubicBezTo>
                  <a:pt x="2190" y="214"/>
                  <a:pt x="2037" y="113"/>
                  <a:pt x="2009" y="180"/>
                </a:cubicBezTo>
                <a:cubicBezTo>
                  <a:pt x="1980" y="248"/>
                  <a:pt x="1779" y="304"/>
                  <a:pt x="1751" y="327"/>
                </a:cubicBezTo>
                <a:cubicBezTo>
                  <a:pt x="1722" y="349"/>
                  <a:pt x="1646" y="451"/>
                  <a:pt x="1646" y="451"/>
                </a:cubicBezTo>
                <a:cubicBezTo>
                  <a:pt x="1588" y="361"/>
                  <a:pt x="1588" y="361"/>
                  <a:pt x="1588" y="361"/>
                </a:cubicBezTo>
                <a:cubicBezTo>
                  <a:pt x="1555" y="451"/>
                  <a:pt x="1555" y="451"/>
                  <a:pt x="1555" y="451"/>
                </a:cubicBezTo>
                <a:cubicBezTo>
                  <a:pt x="1454" y="532"/>
                  <a:pt x="1454" y="532"/>
                  <a:pt x="1454" y="532"/>
                </a:cubicBezTo>
                <a:cubicBezTo>
                  <a:pt x="1411" y="472"/>
                  <a:pt x="1411" y="472"/>
                  <a:pt x="1411" y="472"/>
                </a:cubicBezTo>
                <a:cubicBezTo>
                  <a:pt x="1383" y="431"/>
                  <a:pt x="1383" y="431"/>
                  <a:pt x="1383" y="431"/>
                </a:cubicBezTo>
                <a:cubicBezTo>
                  <a:pt x="1497" y="431"/>
                  <a:pt x="1497" y="431"/>
                  <a:pt x="1497" y="431"/>
                </a:cubicBezTo>
                <a:cubicBezTo>
                  <a:pt x="1497" y="431"/>
                  <a:pt x="1548" y="304"/>
                  <a:pt x="1333" y="330"/>
                </a:cubicBezTo>
                <a:cubicBezTo>
                  <a:pt x="1139" y="245"/>
                  <a:pt x="996" y="296"/>
                  <a:pt x="931" y="347"/>
                </a:cubicBezTo>
                <a:cubicBezTo>
                  <a:pt x="867" y="397"/>
                  <a:pt x="824" y="507"/>
                  <a:pt x="766" y="532"/>
                </a:cubicBezTo>
                <a:cubicBezTo>
                  <a:pt x="709" y="558"/>
                  <a:pt x="716" y="777"/>
                  <a:pt x="766" y="777"/>
                </a:cubicBezTo>
                <a:cubicBezTo>
                  <a:pt x="938" y="777"/>
                  <a:pt x="938" y="777"/>
                  <a:pt x="938" y="777"/>
                </a:cubicBezTo>
                <a:cubicBezTo>
                  <a:pt x="1003" y="701"/>
                  <a:pt x="1003" y="701"/>
                  <a:pt x="1003" y="701"/>
                </a:cubicBezTo>
                <a:cubicBezTo>
                  <a:pt x="1003" y="701"/>
                  <a:pt x="1089" y="380"/>
                  <a:pt x="1125" y="473"/>
                </a:cubicBezTo>
                <a:cubicBezTo>
                  <a:pt x="1161" y="566"/>
                  <a:pt x="953" y="668"/>
                  <a:pt x="1254" y="668"/>
                </a:cubicBezTo>
                <a:cubicBezTo>
                  <a:pt x="1163" y="803"/>
                  <a:pt x="1053" y="845"/>
                  <a:pt x="1053" y="845"/>
                </a:cubicBezTo>
                <a:cubicBezTo>
                  <a:pt x="867" y="845"/>
                  <a:pt x="867" y="845"/>
                  <a:pt x="867" y="845"/>
                </a:cubicBezTo>
                <a:cubicBezTo>
                  <a:pt x="867" y="845"/>
                  <a:pt x="666" y="963"/>
                  <a:pt x="630" y="988"/>
                </a:cubicBezTo>
                <a:cubicBezTo>
                  <a:pt x="595" y="1014"/>
                  <a:pt x="458" y="845"/>
                  <a:pt x="458" y="845"/>
                </a:cubicBezTo>
                <a:cubicBezTo>
                  <a:pt x="458" y="845"/>
                  <a:pt x="501" y="1065"/>
                  <a:pt x="501" y="1174"/>
                </a:cubicBezTo>
                <a:cubicBezTo>
                  <a:pt x="501" y="1284"/>
                  <a:pt x="322" y="1318"/>
                  <a:pt x="322" y="1318"/>
                </a:cubicBezTo>
                <a:cubicBezTo>
                  <a:pt x="322" y="1318"/>
                  <a:pt x="351" y="1554"/>
                  <a:pt x="358" y="1673"/>
                </a:cubicBezTo>
                <a:cubicBezTo>
                  <a:pt x="272" y="1757"/>
                  <a:pt x="272" y="1909"/>
                  <a:pt x="272" y="1909"/>
                </a:cubicBezTo>
                <a:cubicBezTo>
                  <a:pt x="143" y="1985"/>
                  <a:pt x="143" y="1985"/>
                  <a:pt x="143" y="1985"/>
                </a:cubicBezTo>
                <a:cubicBezTo>
                  <a:pt x="86" y="2450"/>
                  <a:pt x="86" y="2450"/>
                  <a:pt x="86" y="2450"/>
                </a:cubicBezTo>
                <a:cubicBezTo>
                  <a:pt x="86" y="2450"/>
                  <a:pt x="0" y="2593"/>
                  <a:pt x="86" y="2644"/>
                </a:cubicBezTo>
                <a:cubicBezTo>
                  <a:pt x="172" y="2695"/>
                  <a:pt x="315" y="2940"/>
                  <a:pt x="315" y="2940"/>
                </a:cubicBezTo>
                <a:cubicBezTo>
                  <a:pt x="315" y="2940"/>
                  <a:pt x="466" y="2973"/>
                  <a:pt x="530" y="2940"/>
                </a:cubicBezTo>
                <a:cubicBezTo>
                  <a:pt x="595" y="2906"/>
                  <a:pt x="623" y="2711"/>
                  <a:pt x="709" y="2889"/>
                </a:cubicBezTo>
                <a:cubicBezTo>
                  <a:pt x="795" y="3066"/>
                  <a:pt x="802" y="2914"/>
                  <a:pt x="802" y="2914"/>
                </a:cubicBezTo>
                <a:cubicBezTo>
                  <a:pt x="802" y="2914"/>
                  <a:pt x="917" y="2990"/>
                  <a:pt x="838" y="3193"/>
                </a:cubicBezTo>
                <a:cubicBezTo>
                  <a:pt x="888" y="3252"/>
                  <a:pt x="924" y="3328"/>
                  <a:pt x="924" y="3505"/>
                </a:cubicBezTo>
                <a:cubicBezTo>
                  <a:pt x="924" y="3869"/>
                  <a:pt x="924" y="3869"/>
                  <a:pt x="924" y="3869"/>
                </a:cubicBezTo>
                <a:cubicBezTo>
                  <a:pt x="924" y="3869"/>
                  <a:pt x="1153" y="4401"/>
                  <a:pt x="1110" y="4527"/>
                </a:cubicBezTo>
                <a:cubicBezTo>
                  <a:pt x="1067" y="4654"/>
                  <a:pt x="1268" y="4485"/>
                  <a:pt x="1340" y="4527"/>
                </a:cubicBezTo>
                <a:cubicBezTo>
                  <a:pt x="1411" y="4570"/>
                  <a:pt x="1634" y="4130"/>
                  <a:pt x="1605" y="3978"/>
                </a:cubicBezTo>
                <a:cubicBezTo>
                  <a:pt x="1576" y="3826"/>
                  <a:pt x="1784" y="3767"/>
                  <a:pt x="1798" y="3691"/>
                </a:cubicBezTo>
                <a:cubicBezTo>
                  <a:pt x="1813" y="3615"/>
                  <a:pt x="1784" y="3387"/>
                  <a:pt x="1705" y="3320"/>
                </a:cubicBezTo>
                <a:cubicBezTo>
                  <a:pt x="1626" y="3252"/>
                  <a:pt x="2192" y="2771"/>
                  <a:pt x="2099" y="2635"/>
                </a:cubicBezTo>
                <a:cubicBezTo>
                  <a:pt x="2006" y="2500"/>
                  <a:pt x="1913" y="2728"/>
                  <a:pt x="1841" y="2686"/>
                </a:cubicBezTo>
                <a:cubicBezTo>
                  <a:pt x="1770" y="2644"/>
                  <a:pt x="1791" y="2559"/>
                  <a:pt x="1791" y="2559"/>
                </a:cubicBezTo>
                <a:cubicBezTo>
                  <a:pt x="1791" y="2559"/>
                  <a:pt x="2216" y="2526"/>
                  <a:pt x="2287" y="2348"/>
                </a:cubicBezTo>
                <a:cubicBezTo>
                  <a:pt x="2357" y="2171"/>
                  <a:pt x="2429" y="1901"/>
                  <a:pt x="2665" y="2323"/>
                </a:cubicBezTo>
                <a:cubicBezTo>
                  <a:pt x="2902" y="2745"/>
                  <a:pt x="2995" y="2914"/>
                  <a:pt x="3052" y="2855"/>
                </a:cubicBezTo>
                <a:cubicBezTo>
                  <a:pt x="3110" y="2796"/>
                  <a:pt x="2909" y="2450"/>
                  <a:pt x="3052" y="2407"/>
                </a:cubicBezTo>
                <a:cubicBezTo>
                  <a:pt x="3196" y="2365"/>
                  <a:pt x="3103" y="2213"/>
                  <a:pt x="3210" y="2213"/>
                </a:cubicBezTo>
                <a:cubicBezTo>
                  <a:pt x="3318" y="2213"/>
                  <a:pt x="3733" y="3159"/>
                  <a:pt x="3597" y="3024"/>
                </a:cubicBezTo>
                <a:cubicBezTo>
                  <a:pt x="3461" y="2889"/>
                  <a:pt x="3404" y="2948"/>
                  <a:pt x="3404" y="2948"/>
                </a:cubicBezTo>
                <a:cubicBezTo>
                  <a:pt x="3404" y="2948"/>
                  <a:pt x="3590" y="3134"/>
                  <a:pt x="3733" y="3429"/>
                </a:cubicBezTo>
                <a:cubicBezTo>
                  <a:pt x="3826" y="3421"/>
                  <a:pt x="4027" y="3438"/>
                  <a:pt x="4027" y="3438"/>
                </a:cubicBezTo>
                <a:cubicBezTo>
                  <a:pt x="4027" y="3438"/>
                  <a:pt x="3869" y="3370"/>
                  <a:pt x="3869" y="3345"/>
                </a:cubicBezTo>
                <a:close/>
                <a:moveTo>
                  <a:pt x="4205" y="3242"/>
                </a:moveTo>
                <a:cubicBezTo>
                  <a:pt x="4256" y="3345"/>
                  <a:pt x="4256" y="3345"/>
                  <a:pt x="4256" y="3345"/>
                </a:cubicBezTo>
                <a:cubicBezTo>
                  <a:pt x="4256" y="3345"/>
                  <a:pt x="4263" y="3268"/>
                  <a:pt x="4205" y="3242"/>
                </a:cubicBezTo>
                <a:close/>
                <a:moveTo>
                  <a:pt x="4205" y="3242"/>
                </a:moveTo>
                <a:cubicBezTo>
                  <a:pt x="4205" y="3242"/>
                  <a:pt x="4205" y="3242"/>
                  <a:pt x="4205" y="3242"/>
                </a:cubicBezTo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1" name="Freeform 6"/>
          <p:cNvSpPr>
            <a:spLocks noEditPoints="1"/>
          </p:cNvSpPr>
          <p:nvPr userDrawn="1"/>
        </p:nvSpPr>
        <p:spPr bwMode="auto">
          <a:xfrm>
            <a:off x="511999" y="-152963"/>
            <a:ext cx="10593334" cy="6981935"/>
          </a:xfrm>
          <a:custGeom>
            <a:avLst/>
            <a:gdLst>
              <a:gd name="T0" fmla="*/ 7337 w 8586"/>
              <a:gd name="T1" fmla="*/ 3294 h 5667"/>
              <a:gd name="T2" fmla="*/ 7666 w 8586"/>
              <a:gd name="T3" fmla="*/ 3512 h 5667"/>
              <a:gd name="T4" fmla="*/ 7509 w 8586"/>
              <a:gd name="T5" fmla="*/ 3125 h 5667"/>
              <a:gd name="T6" fmla="*/ 8326 w 8586"/>
              <a:gd name="T7" fmla="*/ 3683 h 5667"/>
              <a:gd name="T8" fmla="*/ 8191 w 8586"/>
              <a:gd name="T9" fmla="*/ 3421 h 5667"/>
              <a:gd name="T10" fmla="*/ 7990 w 8586"/>
              <a:gd name="T11" fmla="*/ 3590 h 5667"/>
              <a:gd name="T12" fmla="*/ 8191 w 8586"/>
              <a:gd name="T13" fmla="*/ 3775 h 5667"/>
              <a:gd name="T14" fmla="*/ 8061 w 8586"/>
              <a:gd name="T15" fmla="*/ 3995 h 5667"/>
              <a:gd name="T16" fmla="*/ 7560 w 8586"/>
              <a:gd name="T17" fmla="*/ 4206 h 5667"/>
              <a:gd name="T18" fmla="*/ 7373 w 8586"/>
              <a:gd name="T19" fmla="*/ 4333 h 5667"/>
              <a:gd name="T20" fmla="*/ 7373 w 8586"/>
              <a:gd name="T21" fmla="*/ 4527 h 5667"/>
              <a:gd name="T22" fmla="*/ 7832 w 8586"/>
              <a:gd name="T23" fmla="*/ 4713 h 5667"/>
              <a:gd name="T24" fmla="*/ 8018 w 8586"/>
              <a:gd name="T25" fmla="*/ 5169 h 5667"/>
              <a:gd name="T26" fmla="*/ 8477 w 8586"/>
              <a:gd name="T27" fmla="*/ 4460 h 5667"/>
              <a:gd name="T28" fmla="*/ 2859 w 8586"/>
              <a:gd name="T29" fmla="*/ 785 h 5667"/>
              <a:gd name="T30" fmla="*/ 3554 w 8586"/>
              <a:gd name="T31" fmla="*/ 631 h 5667"/>
              <a:gd name="T32" fmla="*/ 2751 w 8586"/>
              <a:gd name="T33" fmla="*/ 270 h 5667"/>
              <a:gd name="T34" fmla="*/ 2393 w 8586"/>
              <a:gd name="T35" fmla="*/ 228 h 5667"/>
              <a:gd name="T36" fmla="*/ 1913 w 8586"/>
              <a:gd name="T37" fmla="*/ 372 h 5667"/>
              <a:gd name="T38" fmla="*/ 1117 w 8586"/>
              <a:gd name="T39" fmla="*/ 573 h 5667"/>
              <a:gd name="T40" fmla="*/ 200 w 8586"/>
              <a:gd name="T41" fmla="*/ 853 h 5667"/>
              <a:gd name="T42" fmla="*/ 480 w 8586"/>
              <a:gd name="T43" fmla="*/ 954 h 5667"/>
              <a:gd name="T44" fmla="*/ 802 w 8586"/>
              <a:gd name="T45" fmla="*/ 2424 h 5667"/>
              <a:gd name="T46" fmla="*/ 1605 w 8586"/>
              <a:gd name="T47" fmla="*/ 3041 h 5667"/>
              <a:gd name="T48" fmla="*/ 1698 w 8586"/>
              <a:gd name="T49" fmla="*/ 3801 h 5667"/>
              <a:gd name="T50" fmla="*/ 2364 w 8586"/>
              <a:gd name="T51" fmla="*/ 5667 h 5667"/>
              <a:gd name="T52" fmla="*/ 2436 w 8586"/>
              <a:gd name="T53" fmla="*/ 4966 h 5667"/>
              <a:gd name="T54" fmla="*/ 2859 w 8586"/>
              <a:gd name="T55" fmla="*/ 4262 h 5667"/>
              <a:gd name="T56" fmla="*/ 2981 w 8586"/>
              <a:gd name="T57" fmla="*/ 3657 h 5667"/>
              <a:gd name="T58" fmla="*/ 2422 w 8586"/>
              <a:gd name="T59" fmla="*/ 3125 h 5667"/>
              <a:gd name="T60" fmla="*/ 1942 w 8586"/>
              <a:gd name="T61" fmla="*/ 2921 h 5667"/>
              <a:gd name="T62" fmla="*/ 1533 w 8586"/>
              <a:gd name="T63" fmla="*/ 2728 h 5667"/>
              <a:gd name="T64" fmla="*/ 1447 w 8586"/>
              <a:gd name="T65" fmla="*/ 2483 h 5667"/>
              <a:gd name="T66" fmla="*/ 1146 w 8586"/>
              <a:gd name="T67" fmla="*/ 2280 h 5667"/>
              <a:gd name="T68" fmla="*/ 1691 w 8586"/>
              <a:gd name="T69" fmla="*/ 2373 h 5667"/>
              <a:gd name="T70" fmla="*/ 1994 w 8586"/>
              <a:gd name="T71" fmla="*/ 1788 h 5667"/>
              <a:gd name="T72" fmla="*/ 2665 w 8586"/>
              <a:gd name="T73" fmla="*/ 1495 h 5667"/>
              <a:gd name="T74" fmla="*/ 2680 w 8586"/>
              <a:gd name="T75" fmla="*/ 760 h 5667"/>
              <a:gd name="T76" fmla="*/ 2400 w 8586"/>
              <a:gd name="T77" fmla="*/ 422 h 5667"/>
              <a:gd name="T78" fmla="*/ 2859 w 8586"/>
              <a:gd name="T79" fmla="*/ 566 h 5667"/>
              <a:gd name="T80" fmla="*/ 2859 w 8586"/>
              <a:gd name="T81" fmla="*/ 785 h 5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86" h="5667">
                <a:moveTo>
                  <a:pt x="7509" y="3125"/>
                </a:moveTo>
                <a:cubicBezTo>
                  <a:pt x="7509" y="3125"/>
                  <a:pt x="7381" y="3260"/>
                  <a:pt x="7337" y="3294"/>
                </a:cubicBezTo>
                <a:cubicBezTo>
                  <a:pt x="7294" y="3328"/>
                  <a:pt x="7388" y="3564"/>
                  <a:pt x="7560" y="3514"/>
                </a:cubicBezTo>
                <a:cubicBezTo>
                  <a:pt x="7609" y="3499"/>
                  <a:pt x="7643" y="3502"/>
                  <a:pt x="7666" y="3512"/>
                </a:cubicBezTo>
                <a:cubicBezTo>
                  <a:pt x="7595" y="3370"/>
                  <a:pt x="7595" y="3370"/>
                  <a:pt x="7595" y="3370"/>
                </a:cubicBezTo>
                <a:cubicBezTo>
                  <a:pt x="7595" y="3370"/>
                  <a:pt x="7638" y="3125"/>
                  <a:pt x="7509" y="3125"/>
                </a:cubicBezTo>
                <a:close/>
                <a:moveTo>
                  <a:pt x="8269" y="3877"/>
                </a:moveTo>
                <a:cubicBezTo>
                  <a:pt x="8326" y="3683"/>
                  <a:pt x="8326" y="3683"/>
                  <a:pt x="8326" y="3683"/>
                </a:cubicBezTo>
                <a:cubicBezTo>
                  <a:pt x="8477" y="3775"/>
                  <a:pt x="8477" y="3775"/>
                  <a:pt x="8477" y="3775"/>
                </a:cubicBezTo>
                <a:cubicBezTo>
                  <a:pt x="8477" y="3775"/>
                  <a:pt x="8586" y="3691"/>
                  <a:pt x="8191" y="3421"/>
                </a:cubicBezTo>
                <a:cubicBezTo>
                  <a:pt x="8191" y="3421"/>
                  <a:pt x="8018" y="3454"/>
                  <a:pt x="7990" y="3370"/>
                </a:cubicBezTo>
                <a:cubicBezTo>
                  <a:pt x="7961" y="3286"/>
                  <a:pt x="7990" y="3590"/>
                  <a:pt x="7990" y="3590"/>
                </a:cubicBezTo>
                <a:cubicBezTo>
                  <a:pt x="8112" y="3615"/>
                  <a:pt x="8112" y="3615"/>
                  <a:pt x="8112" y="3615"/>
                </a:cubicBezTo>
                <a:cubicBezTo>
                  <a:pt x="8191" y="3775"/>
                  <a:pt x="8191" y="3775"/>
                  <a:pt x="8191" y="3775"/>
                </a:cubicBezTo>
                <a:cubicBezTo>
                  <a:pt x="8191" y="3775"/>
                  <a:pt x="8321" y="4164"/>
                  <a:pt x="8191" y="4080"/>
                </a:cubicBezTo>
                <a:cubicBezTo>
                  <a:pt x="8061" y="3995"/>
                  <a:pt x="8047" y="4096"/>
                  <a:pt x="8061" y="3995"/>
                </a:cubicBezTo>
                <a:cubicBezTo>
                  <a:pt x="8076" y="3894"/>
                  <a:pt x="7999" y="3809"/>
                  <a:pt x="7948" y="3860"/>
                </a:cubicBezTo>
                <a:cubicBezTo>
                  <a:pt x="7896" y="3911"/>
                  <a:pt x="7631" y="4046"/>
                  <a:pt x="7560" y="4206"/>
                </a:cubicBezTo>
                <a:cubicBezTo>
                  <a:pt x="7488" y="4367"/>
                  <a:pt x="7466" y="4206"/>
                  <a:pt x="7466" y="4206"/>
                </a:cubicBezTo>
                <a:cubicBezTo>
                  <a:pt x="7373" y="4333"/>
                  <a:pt x="7373" y="4333"/>
                  <a:pt x="7373" y="4333"/>
                </a:cubicBezTo>
                <a:cubicBezTo>
                  <a:pt x="7452" y="4434"/>
                  <a:pt x="7452" y="4434"/>
                  <a:pt x="7452" y="4434"/>
                </a:cubicBezTo>
                <a:cubicBezTo>
                  <a:pt x="7373" y="4527"/>
                  <a:pt x="7373" y="4527"/>
                  <a:pt x="7373" y="4527"/>
                </a:cubicBezTo>
                <a:cubicBezTo>
                  <a:pt x="7373" y="4527"/>
                  <a:pt x="7245" y="4747"/>
                  <a:pt x="7327" y="4789"/>
                </a:cubicBezTo>
                <a:cubicBezTo>
                  <a:pt x="7409" y="4831"/>
                  <a:pt x="7832" y="4713"/>
                  <a:pt x="7832" y="4713"/>
                </a:cubicBezTo>
                <a:cubicBezTo>
                  <a:pt x="7948" y="4941"/>
                  <a:pt x="7948" y="4941"/>
                  <a:pt x="7948" y="4941"/>
                </a:cubicBezTo>
                <a:cubicBezTo>
                  <a:pt x="7948" y="4941"/>
                  <a:pt x="7968" y="5161"/>
                  <a:pt x="8018" y="5169"/>
                </a:cubicBezTo>
                <a:cubicBezTo>
                  <a:pt x="8068" y="5178"/>
                  <a:pt x="8149" y="4949"/>
                  <a:pt x="8191" y="4907"/>
                </a:cubicBezTo>
                <a:cubicBezTo>
                  <a:pt x="8233" y="4865"/>
                  <a:pt x="8391" y="4814"/>
                  <a:pt x="8477" y="4460"/>
                </a:cubicBezTo>
                <a:cubicBezTo>
                  <a:pt x="8563" y="4105"/>
                  <a:pt x="8269" y="3877"/>
                  <a:pt x="8269" y="3877"/>
                </a:cubicBezTo>
                <a:close/>
                <a:moveTo>
                  <a:pt x="2859" y="785"/>
                </a:moveTo>
                <a:cubicBezTo>
                  <a:pt x="2945" y="895"/>
                  <a:pt x="3009" y="971"/>
                  <a:pt x="3031" y="971"/>
                </a:cubicBezTo>
                <a:cubicBezTo>
                  <a:pt x="3052" y="971"/>
                  <a:pt x="3554" y="631"/>
                  <a:pt x="3554" y="631"/>
                </a:cubicBezTo>
                <a:cubicBezTo>
                  <a:pt x="3554" y="631"/>
                  <a:pt x="3792" y="439"/>
                  <a:pt x="3740" y="290"/>
                </a:cubicBezTo>
                <a:cubicBezTo>
                  <a:pt x="3554" y="0"/>
                  <a:pt x="2887" y="228"/>
                  <a:pt x="2751" y="270"/>
                </a:cubicBezTo>
                <a:cubicBezTo>
                  <a:pt x="2615" y="313"/>
                  <a:pt x="2837" y="177"/>
                  <a:pt x="2837" y="177"/>
                </a:cubicBezTo>
                <a:cubicBezTo>
                  <a:pt x="2837" y="177"/>
                  <a:pt x="2487" y="160"/>
                  <a:pt x="2393" y="228"/>
                </a:cubicBezTo>
                <a:cubicBezTo>
                  <a:pt x="2300" y="296"/>
                  <a:pt x="2106" y="448"/>
                  <a:pt x="2078" y="448"/>
                </a:cubicBezTo>
                <a:cubicBezTo>
                  <a:pt x="2049" y="448"/>
                  <a:pt x="1913" y="372"/>
                  <a:pt x="1913" y="372"/>
                </a:cubicBezTo>
                <a:cubicBezTo>
                  <a:pt x="1426" y="473"/>
                  <a:pt x="1426" y="473"/>
                  <a:pt x="1426" y="473"/>
                </a:cubicBezTo>
                <a:cubicBezTo>
                  <a:pt x="1426" y="473"/>
                  <a:pt x="1246" y="564"/>
                  <a:pt x="1117" y="573"/>
                </a:cubicBezTo>
                <a:cubicBezTo>
                  <a:pt x="988" y="583"/>
                  <a:pt x="609" y="481"/>
                  <a:pt x="609" y="481"/>
                </a:cubicBezTo>
                <a:cubicBezTo>
                  <a:pt x="609" y="481"/>
                  <a:pt x="243" y="853"/>
                  <a:pt x="200" y="853"/>
                </a:cubicBezTo>
                <a:cubicBezTo>
                  <a:pt x="157" y="853"/>
                  <a:pt x="0" y="1005"/>
                  <a:pt x="43" y="1030"/>
                </a:cubicBezTo>
                <a:cubicBezTo>
                  <a:pt x="86" y="1056"/>
                  <a:pt x="272" y="785"/>
                  <a:pt x="480" y="954"/>
                </a:cubicBezTo>
                <a:cubicBezTo>
                  <a:pt x="688" y="1123"/>
                  <a:pt x="774" y="1182"/>
                  <a:pt x="695" y="1444"/>
                </a:cubicBezTo>
                <a:cubicBezTo>
                  <a:pt x="616" y="1706"/>
                  <a:pt x="659" y="2264"/>
                  <a:pt x="802" y="2424"/>
                </a:cubicBezTo>
                <a:cubicBezTo>
                  <a:pt x="945" y="2585"/>
                  <a:pt x="1182" y="2542"/>
                  <a:pt x="1282" y="2711"/>
                </a:cubicBezTo>
                <a:cubicBezTo>
                  <a:pt x="1383" y="2880"/>
                  <a:pt x="1469" y="2998"/>
                  <a:pt x="1605" y="3041"/>
                </a:cubicBezTo>
                <a:cubicBezTo>
                  <a:pt x="1741" y="3083"/>
                  <a:pt x="1562" y="3378"/>
                  <a:pt x="1598" y="3488"/>
                </a:cubicBezTo>
                <a:cubicBezTo>
                  <a:pt x="1633" y="3598"/>
                  <a:pt x="1698" y="3801"/>
                  <a:pt x="1698" y="3801"/>
                </a:cubicBezTo>
                <a:cubicBezTo>
                  <a:pt x="1698" y="3801"/>
                  <a:pt x="1791" y="4020"/>
                  <a:pt x="1942" y="4122"/>
                </a:cubicBezTo>
                <a:cubicBezTo>
                  <a:pt x="2092" y="4223"/>
                  <a:pt x="1770" y="5591"/>
                  <a:pt x="2364" y="5667"/>
                </a:cubicBezTo>
                <a:cubicBezTo>
                  <a:pt x="2235" y="5270"/>
                  <a:pt x="2185" y="5034"/>
                  <a:pt x="2286" y="5000"/>
                </a:cubicBezTo>
                <a:cubicBezTo>
                  <a:pt x="2386" y="4966"/>
                  <a:pt x="2436" y="4966"/>
                  <a:pt x="2436" y="4966"/>
                </a:cubicBezTo>
                <a:cubicBezTo>
                  <a:pt x="2694" y="4316"/>
                  <a:pt x="2694" y="4316"/>
                  <a:pt x="2694" y="4316"/>
                </a:cubicBezTo>
                <a:cubicBezTo>
                  <a:pt x="2694" y="4316"/>
                  <a:pt x="2873" y="4276"/>
                  <a:pt x="2859" y="4262"/>
                </a:cubicBezTo>
                <a:cubicBezTo>
                  <a:pt x="2844" y="4248"/>
                  <a:pt x="2902" y="3902"/>
                  <a:pt x="2916" y="3877"/>
                </a:cubicBezTo>
                <a:cubicBezTo>
                  <a:pt x="2930" y="3851"/>
                  <a:pt x="3024" y="3725"/>
                  <a:pt x="2981" y="3657"/>
                </a:cubicBezTo>
                <a:cubicBezTo>
                  <a:pt x="2938" y="3590"/>
                  <a:pt x="2830" y="3480"/>
                  <a:pt x="2658" y="3421"/>
                </a:cubicBezTo>
                <a:cubicBezTo>
                  <a:pt x="2579" y="3355"/>
                  <a:pt x="2515" y="3150"/>
                  <a:pt x="2422" y="3125"/>
                </a:cubicBezTo>
                <a:cubicBezTo>
                  <a:pt x="2329" y="3100"/>
                  <a:pt x="2192" y="2921"/>
                  <a:pt x="2192" y="2921"/>
                </a:cubicBezTo>
                <a:cubicBezTo>
                  <a:pt x="2192" y="2921"/>
                  <a:pt x="2071" y="2981"/>
                  <a:pt x="1942" y="2921"/>
                </a:cubicBezTo>
                <a:cubicBezTo>
                  <a:pt x="1813" y="2862"/>
                  <a:pt x="1540" y="2965"/>
                  <a:pt x="1540" y="2965"/>
                </a:cubicBezTo>
                <a:cubicBezTo>
                  <a:pt x="1540" y="2965"/>
                  <a:pt x="1576" y="2813"/>
                  <a:pt x="1533" y="2728"/>
                </a:cubicBezTo>
                <a:cubicBezTo>
                  <a:pt x="1490" y="2644"/>
                  <a:pt x="1426" y="2745"/>
                  <a:pt x="1426" y="2745"/>
                </a:cubicBezTo>
                <a:cubicBezTo>
                  <a:pt x="1426" y="2745"/>
                  <a:pt x="1476" y="2576"/>
                  <a:pt x="1447" y="2483"/>
                </a:cubicBezTo>
                <a:cubicBezTo>
                  <a:pt x="1418" y="2390"/>
                  <a:pt x="1274" y="2558"/>
                  <a:pt x="1274" y="2558"/>
                </a:cubicBezTo>
                <a:cubicBezTo>
                  <a:pt x="1274" y="2558"/>
                  <a:pt x="1132" y="2517"/>
                  <a:pt x="1146" y="2280"/>
                </a:cubicBezTo>
                <a:cubicBezTo>
                  <a:pt x="1160" y="2044"/>
                  <a:pt x="1662" y="2179"/>
                  <a:pt x="1662" y="2179"/>
                </a:cubicBezTo>
                <a:cubicBezTo>
                  <a:pt x="1691" y="2373"/>
                  <a:pt x="1691" y="2373"/>
                  <a:pt x="1691" y="2373"/>
                </a:cubicBezTo>
                <a:cubicBezTo>
                  <a:pt x="1755" y="2038"/>
                  <a:pt x="1755" y="2038"/>
                  <a:pt x="1755" y="2038"/>
                </a:cubicBezTo>
                <a:cubicBezTo>
                  <a:pt x="1994" y="1788"/>
                  <a:pt x="1994" y="1788"/>
                  <a:pt x="1994" y="1788"/>
                </a:cubicBezTo>
                <a:cubicBezTo>
                  <a:pt x="2472" y="1351"/>
                  <a:pt x="2472" y="1351"/>
                  <a:pt x="2472" y="1351"/>
                </a:cubicBezTo>
                <a:cubicBezTo>
                  <a:pt x="2472" y="1351"/>
                  <a:pt x="2608" y="1596"/>
                  <a:pt x="2665" y="1495"/>
                </a:cubicBezTo>
                <a:cubicBezTo>
                  <a:pt x="2627" y="1418"/>
                  <a:pt x="2572" y="1326"/>
                  <a:pt x="2629" y="1233"/>
                </a:cubicBezTo>
                <a:cubicBezTo>
                  <a:pt x="2328" y="769"/>
                  <a:pt x="2680" y="760"/>
                  <a:pt x="2680" y="760"/>
                </a:cubicBezTo>
                <a:cubicBezTo>
                  <a:pt x="2479" y="507"/>
                  <a:pt x="2479" y="507"/>
                  <a:pt x="2479" y="507"/>
                </a:cubicBezTo>
                <a:cubicBezTo>
                  <a:pt x="2479" y="507"/>
                  <a:pt x="2364" y="439"/>
                  <a:pt x="2400" y="422"/>
                </a:cubicBezTo>
                <a:cubicBezTo>
                  <a:pt x="2436" y="405"/>
                  <a:pt x="2486" y="228"/>
                  <a:pt x="2615" y="313"/>
                </a:cubicBezTo>
                <a:cubicBezTo>
                  <a:pt x="2744" y="397"/>
                  <a:pt x="2859" y="566"/>
                  <a:pt x="2859" y="566"/>
                </a:cubicBezTo>
                <a:cubicBezTo>
                  <a:pt x="2859" y="566"/>
                  <a:pt x="2773" y="676"/>
                  <a:pt x="2859" y="785"/>
                </a:cubicBezTo>
                <a:close/>
                <a:moveTo>
                  <a:pt x="2859" y="785"/>
                </a:moveTo>
                <a:cubicBezTo>
                  <a:pt x="2859" y="785"/>
                  <a:pt x="2859" y="785"/>
                  <a:pt x="2859" y="785"/>
                </a:cubicBezTo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084955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9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391191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2" y="4094920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关注服务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: 圆角 3"/>
          <p:cNvSpPr/>
          <p:nvPr userDrawn="1"/>
        </p:nvSpPr>
        <p:spPr>
          <a:xfrm>
            <a:off x="1079465" y="1527629"/>
            <a:ext cx="3802742" cy="3802742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 descr="图片包含 纵横字谜, 文字&#10;&#10;已生成极高可信度的说明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08065" y="1756229"/>
            <a:ext cx="3345542" cy="3345542"/>
          </a:xfrm>
          <a:prstGeom prst="rect">
            <a:avLst/>
          </a:prstGeom>
        </p:spPr>
      </p:pic>
      <p:sp>
        <p:nvSpPr>
          <p:cNvPr id="6" name="文本框 5"/>
          <p:cNvSpPr txBox="1"/>
          <p:nvPr userDrawn="1"/>
        </p:nvSpPr>
        <p:spPr>
          <a:xfrm>
            <a:off x="5239657" y="1566506"/>
            <a:ext cx="6013185" cy="35492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办公模板更新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软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信扫码关注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「 微软</a:t>
            </a:r>
            <a:r>
              <a:rPr lang="en-US" altLang="zh-CN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服务号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7" name="图片 6">
            <a:hlinkClick r:id="rId3"/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使用小程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0" y="657288"/>
            <a:ext cx="12192000" cy="0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 userDrawn="1"/>
        </p:nvSpPr>
        <p:spPr>
          <a:xfrm>
            <a:off x="0" y="3091547"/>
            <a:ext cx="12192000" cy="3766453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: 圆角 7"/>
          <p:cNvSpPr/>
          <p:nvPr userDrawn="1"/>
        </p:nvSpPr>
        <p:spPr>
          <a:xfrm>
            <a:off x="621395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: 圆角 8"/>
          <p:cNvSpPr/>
          <p:nvPr userDrawn="1"/>
        </p:nvSpPr>
        <p:spPr>
          <a:xfrm>
            <a:off x="4374467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 userDrawn="1"/>
        </p:nvSpPr>
        <p:spPr>
          <a:xfrm>
            <a:off x="1656327" y="286129"/>
            <a:ext cx="8879354" cy="6701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600"/>
              </a:spcBef>
            </a:pPr>
            <a:r>
              <a:rPr lang="zh-CN" altLang="en-US" sz="3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微信扫描小程序码，使用微软移动办公黑科技 </a:t>
            </a:r>
            <a:endParaRPr lang="en-US" sz="3200" b="1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1" name="直接连接符 10"/>
          <p:cNvCxnSpPr/>
          <p:nvPr userDrawn="1"/>
        </p:nvCxnSpPr>
        <p:spPr>
          <a:xfrm flipH="1">
            <a:off x="1523089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 userDrawn="1"/>
        </p:nvCxnSpPr>
        <p:spPr>
          <a:xfrm flipH="1">
            <a:off x="10402443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: 圆角 12"/>
          <p:cNvSpPr/>
          <p:nvPr userDrawn="1"/>
        </p:nvSpPr>
        <p:spPr>
          <a:xfrm>
            <a:off x="8159751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924" t="13924" r="13924" b="13924"/>
          <a:stretch>
            <a:fillRect/>
          </a:stretch>
        </p:blipFill>
        <p:spPr>
          <a:xfrm>
            <a:off x="4705130" y="1673081"/>
            <a:ext cx="2743200" cy="274320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439" r="14439"/>
          <a:stretch>
            <a:fillRect/>
          </a:stretch>
        </p:blipFill>
        <p:spPr>
          <a:xfrm>
            <a:off x="8519321" y="1673081"/>
            <a:ext cx="2743200" cy="27432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80965" y="1673081"/>
            <a:ext cx="2743200" cy="2743200"/>
          </a:xfrm>
          <a:prstGeom prst="rect">
            <a:avLst/>
          </a:prstGeom>
        </p:spPr>
      </p:pic>
      <p:sp>
        <p:nvSpPr>
          <p:cNvPr id="17" name="文本框 16"/>
          <p:cNvSpPr txBox="1"/>
          <p:nvPr userDrawn="1"/>
        </p:nvSpPr>
        <p:spPr>
          <a:xfrm>
            <a:off x="987447" y="5138740"/>
            <a:ext cx="2730235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在微信访问</a:t>
            </a:r>
            <a:r>
              <a:rPr lang="en-US" altLang="zh-CN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neDrive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</a:t>
            </a:r>
            <a:endParaRPr lang="en-US" sz="20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文本框 17"/>
          <p:cNvSpPr txBox="1"/>
          <p:nvPr userDrawn="1"/>
        </p:nvSpPr>
        <p:spPr>
          <a:xfrm>
            <a:off x="4862328" y="5138740"/>
            <a:ext cx="2467342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让你的文档会说话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听听文档 」</a:t>
            </a:r>
            <a:endParaRPr lang="zh-CN" altLang="en-US" sz="20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9" name="文本框 18"/>
          <p:cNvSpPr txBox="1"/>
          <p:nvPr userDrawn="1"/>
        </p:nvSpPr>
        <p:spPr>
          <a:xfrm>
            <a:off x="8644425" y="5138740"/>
            <a:ext cx="2492990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你的文档创作小助手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小蜜 」</a:t>
            </a:r>
            <a:endParaRPr lang="zh-CN" altLang="en-US" sz="20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20" name="直接连接符 19"/>
          <p:cNvCxnSpPr/>
          <p:nvPr userDrawn="1"/>
        </p:nvCxnSpPr>
        <p:spPr>
          <a:xfrm>
            <a:off x="419803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 userDrawn="1"/>
        </p:nvCxnSpPr>
        <p:spPr>
          <a:xfrm>
            <a:off x="797621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图片 21">
            <a:hlinkClick r:id="rId5"/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12.jpeg"/><Relationship Id="rId1" Type="http://schemas.openxmlformats.org/officeDocument/2006/relationships/tags" Target="../tags/tag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6.xml"/><Relationship Id="rId1" Type="http://schemas.openxmlformats.org/officeDocument/2006/relationships/tags" Target="../tags/tag9.xml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7.xml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2.xml"/><Relationship Id="rId2" Type="http://schemas.openxmlformats.org/officeDocument/2006/relationships/image" Target="../media/image8.jpeg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11.xml"/><Relationship Id="rId4" Type="http://schemas.openxmlformats.org/officeDocument/2006/relationships/tags" Target="../tags/tag1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9.png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10.png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73100" y="2855595"/>
            <a:ext cx="5103495" cy="2393315"/>
          </a:xfrm>
        </p:spPr>
        <p:txBody>
          <a:bodyPr>
            <a:noAutofit/>
          </a:bodyPr>
          <a:lstStyle/>
          <a:p>
            <a:pPr algn="ctr"/>
            <a:r>
              <a:rPr lang="en-US" altLang="zh-CN" sz="14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+mn-ea"/>
              </a:rPr>
              <a:t>Professor : Mahmood Al-Khassaweneh</a:t>
            </a:r>
            <a:endParaRPr lang="en-US" altLang="zh-CN" sz="14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sym typeface="+mn-ea"/>
            </a:endParaRPr>
          </a:p>
          <a:p>
            <a:pPr algn="ctr"/>
            <a:r>
              <a:rPr lang="en-US" altLang="zh-CN" sz="14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+mn-ea"/>
              </a:rPr>
              <a:t>TAs : Samar Bayan; Melvin Manual.</a:t>
            </a:r>
            <a:endParaRPr lang="en-US" altLang="zh-CN" sz="14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sym typeface="+mn-ea"/>
            </a:endParaRPr>
          </a:p>
          <a:p>
            <a:pPr algn="ctr"/>
            <a:r>
              <a:rPr lang="en-US" altLang="zh-CN" sz="14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+mn-ea"/>
              </a:rPr>
              <a:t>Group numbers : YANYU ZHANG</a:t>
            </a:r>
            <a:endParaRPr lang="en-US" altLang="zh-CN" sz="14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en-US" altLang="zh-CN" sz="14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+mn-ea"/>
              </a:rPr>
              <a:t>XUAN WU</a:t>
            </a:r>
            <a:endParaRPr lang="en-US" altLang="zh-CN" sz="14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en-US" altLang="zh-CN" sz="14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+mn-ea"/>
              </a:rPr>
              <a:t>WENJING ZHANG</a:t>
            </a:r>
            <a:endParaRPr lang="en-US" altLang="zh-CN" sz="14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en-US" altLang="zh-CN" sz="14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+mn-ea"/>
              </a:rPr>
              <a:t>MEIQIAN JIANG</a:t>
            </a:r>
            <a:endParaRPr lang="en-US" altLang="zh-CN" sz="14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en-US" altLang="zh-CN" sz="140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+mn-ea"/>
              </a:rPr>
              <a:t>XIU WANG</a:t>
            </a:r>
            <a:endParaRPr lang="en-US" altLang="zh-CN" sz="14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endParaRPr lang="en-US" altLang="zh-CN" sz="140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3100" y="1332230"/>
            <a:ext cx="5986780" cy="1443355"/>
          </a:xfrm>
        </p:spPr>
        <p:txBody>
          <a:bodyPr>
            <a:normAutofit/>
          </a:bodyPr>
          <a:lstStyle/>
          <a:p>
            <a:r>
              <a:rPr lang="en-US" altLang="zh-CN" dirty="0"/>
              <a:t>Intelligent Hotel Robot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332105" y="6259063"/>
            <a:ext cx="5103413" cy="296271"/>
          </a:xfrm>
        </p:spPr>
        <p:txBody>
          <a:bodyPr/>
          <a:lstStyle/>
          <a:p>
            <a:r>
              <a:rPr lang="en-US" altLang="zh-CN" dirty="0"/>
              <a:t>University of Detroit Mercy</a:t>
            </a:r>
            <a:endParaRPr lang="en-US" altLang="en-US" dirty="0"/>
          </a:p>
        </p:txBody>
      </p:sp>
      <p:grpSp>
        <p:nvGrpSpPr>
          <p:cNvPr id="8" name="组合 7"/>
          <p:cNvGrpSpPr/>
          <p:nvPr/>
        </p:nvGrpSpPr>
        <p:grpSpPr>
          <a:xfrm>
            <a:off x="9658095" y="1423869"/>
            <a:ext cx="1708405" cy="626831"/>
            <a:chOff x="675908" y="693106"/>
            <a:chExt cx="9053516" cy="3321826"/>
          </a:xfrm>
        </p:grpSpPr>
        <p:sp>
          <p:nvSpPr>
            <p:cNvPr id="9" name="文本框 8"/>
            <p:cNvSpPr txBox="1"/>
            <p:nvPr/>
          </p:nvSpPr>
          <p:spPr>
            <a:xfrm>
              <a:off x="675908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bg1">
                      <a:alpha val="33000"/>
                    </a:schemeClr>
                  </a:solidFill>
                  <a:latin typeface="Impact" panose="020B0806030902050204" pitchFamily="34" charset="0"/>
                </a:rPr>
                <a:t>2</a:t>
              </a:r>
              <a:endParaRPr lang="zh-CN" altLang="en-US" sz="9600" dirty="0">
                <a:solidFill>
                  <a:schemeClr val="bg1">
                    <a:alpha val="33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2770637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bg1">
                      <a:alpha val="33000"/>
                    </a:schemeClr>
                  </a:solidFill>
                  <a:latin typeface="Impact" panose="020B0806030902050204" pitchFamily="34" charset="0"/>
                </a:rPr>
                <a:t>0</a:t>
              </a:r>
              <a:endParaRPr lang="zh-CN" altLang="en-US" sz="9600" dirty="0">
                <a:solidFill>
                  <a:schemeClr val="bg1">
                    <a:alpha val="33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4865366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bg1">
                      <a:alpha val="33000"/>
                    </a:schemeClr>
                  </a:solidFill>
                  <a:latin typeface="Impact" panose="020B0806030902050204" pitchFamily="34" charset="0"/>
                </a:rPr>
                <a:t>1</a:t>
              </a:r>
              <a:endParaRPr lang="zh-CN" altLang="en-US" sz="9600" dirty="0">
                <a:solidFill>
                  <a:schemeClr val="bg1">
                    <a:alpha val="33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6960096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bg1">
                      <a:alpha val="33000"/>
                    </a:schemeClr>
                  </a:solidFill>
                  <a:latin typeface="Impact" panose="020B0806030902050204" pitchFamily="34" charset="0"/>
                </a:rPr>
                <a:t>8</a:t>
              </a:r>
              <a:endParaRPr lang="zh-CN" altLang="en-US" sz="9600" dirty="0">
                <a:solidFill>
                  <a:schemeClr val="bg1">
                    <a:alpha val="33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3200"/>
              <a:t>Softawre</a:t>
            </a:r>
            <a:endParaRPr lang="en-US" altLang="zh-CN" sz="32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400"/>
              <a:t>XIU WANG</a:t>
            </a:r>
            <a:endParaRPr lang="en-US" sz="1400" dirty="0"/>
          </a:p>
        </p:txBody>
      </p:sp>
      <p:sp>
        <p:nvSpPr>
          <p:cNvPr id="9" name="文本框 8"/>
          <p:cNvSpPr txBox="1"/>
          <p:nvPr/>
        </p:nvSpPr>
        <p:spPr>
          <a:xfrm>
            <a:off x="3121655" y="2548160"/>
            <a:ext cx="1029773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ym typeface="+mn-ea"/>
              </a:rPr>
              <a:t>Software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5" name="e387484c-6468-4da9-bc90-b5ff7f67368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4" y="1595791"/>
            <a:ext cx="10686415" cy="3914775"/>
            <a:chOff x="670134" y="1471613"/>
            <a:chExt cx="10686415" cy="3914775"/>
          </a:xfrm>
        </p:grpSpPr>
        <p:grpSp>
          <p:nvGrpSpPr>
            <p:cNvPr id="6" name="îṣľîḓe"/>
            <p:cNvGrpSpPr/>
            <p:nvPr/>
          </p:nvGrpSpPr>
          <p:grpSpPr>
            <a:xfrm>
              <a:off x="5334632" y="1471613"/>
              <a:ext cx="1594972" cy="3914775"/>
              <a:chOff x="5334632" y="1471613"/>
              <a:chExt cx="1594972" cy="3914775"/>
            </a:xfrm>
          </p:grpSpPr>
          <p:sp>
            <p:nvSpPr>
              <p:cNvPr id="14" name="iṧlíḍè"/>
              <p:cNvSpPr/>
              <p:nvPr/>
            </p:nvSpPr>
            <p:spPr bwMode="auto">
              <a:xfrm>
                <a:off x="5334632" y="4598150"/>
                <a:ext cx="1594972" cy="788238"/>
              </a:xfrm>
              <a:custGeom>
                <a:avLst/>
                <a:gdLst>
                  <a:gd name="T0" fmla="*/ 1594788 w 6658"/>
                  <a:gd name="T1" fmla="*/ 0 h 3291"/>
                  <a:gd name="T2" fmla="*/ 1594788 w 6658"/>
                  <a:gd name="T3" fmla="*/ 0 h 3291"/>
                  <a:gd name="T4" fmla="*/ 788411 w 6658"/>
                  <a:gd name="T5" fmla="*/ 9099 h 3291"/>
                  <a:gd name="T6" fmla="*/ 788411 w 6658"/>
                  <a:gd name="T7" fmla="*/ 9099 h 3291"/>
                  <a:gd name="T8" fmla="*/ 0 w 6658"/>
                  <a:gd name="T9" fmla="*/ 0 h 3291"/>
                  <a:gd name="T10" fmla="*/ 132240 w 6658"/>
                  <a:gd name="T11" fmla="*/ 318699 h 3291"/>
                  <a:gd name="T12" fmla="*/ 282687 w 6658"/>
                  <a:gd name="T13" fmla="*/ 728625 h 3291"/>
                  <a:gd name="T14" fmla="*/ 797514 w 6658"/>
                  <a:gd name="T15" fmla="*/ 787768 h 3291"/>
                  <a:gd name="T16" fmla="*/ 1312101 w 6658"/>
                  <a:gd name="T17" fmla="*/ 728625 h 3291"/>
                  <a:gd name="T18" fmla="*/ 1457996 w 6658"/>
                  <a:gd name="T19" fmla="*/ 318699 h 3291"/>
                  <a:gd name="T20" fmla="*/ 1594788 w 6658"/>
                  <a:gd name="T21" fmla="*/ 0 h 329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658" h="3291">
                    <a:moveTo>
                      <a:pt x="6657" y="0"/>
                    </a:moveTo>
                    <a:lnTo>
                      <a:pt x="6657" y="0"/>
                    </a:lnTo>
                    <a:cubicBezTo>
                      <a:pt x="3291" y="38"/>
                      <a:pt x="3291" y="38"/>
                      <a:pt x="3291" y="3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552" y="494"/>
                      <a:pt x="552" y="1331"/>
                    </a:cubicBezTo>
                    <a:cubicBezTo>
                      <a:pt x="552" y="1788"/>
                      <a:pt x="495" y="2758"/>
                      <a:pt x="1180" y="3043"/>
                    </a:cubicBezTo>
                    <a:cubicBezTo>
                      <a:pt x="1674" y="3252"/>
                      <a:pt x="1978" y="3290"/>
                      <a:pt x="3329" y="3290"/>
                    </a:cubicBezTo>
                    <a:cubicBezTo>
                      <a:pt x="4679" y="3290"/>
                      <a:pt x="4963" y="3252"/>
                      <a:pt x="5477" y="3043"/>
                    </a:cubicBezTo>
                    <a:cubicBezTo>
                      <a:pt x="6143" y="2758"/>
                      <a:pt x="6086" y="1788"/>
                      <a:pt x="6086" y="1331"/>
                    </a:cubicBezTo>
                    <a:cubicBezTo>
                      <a:pt x="6086" y="494"/>
                      <a:pt x="6657" y="0"/>
                      <a:pt x="6657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" name="îšḻîḑe"/>
              <p:cNvSpPr/>
              <p:nvPr/>
            </p:nvSpPr>
            <p:spPr bwMode="auto">
              <a:xfrm>
                <a:off x="5334632" y="1471613"/>
                <a:ext cx="1594972" cy="789295"/>
              </a:xfrm>
              <a:custGeom>
                <a:avLst/>
                <a:gdLst>
                  <a:gd name="T0" fmla="*/ 1594788 w 6658"/>
                  <a:gd name="T1" fmla="*/ 788824 h 3292"/>
                  <a:gd name="T2" fmla="*/ 1594788 w 6658"/>
                  <a:gd name="T3" fmla="*/ 788824 h 3292"/>
                  <a:gd name="T4" fmla="*/ 788411 w 6658"/>
                  <a:gd name="T5" fmla="*/ 779716 h 3292"/>
                  <a:gd name="T6" fmla="*/ 788411 w 6658"/>
                  <a:gd name="T7" fmla="*/ 779716 h 3292"/>
                  <a:gd name="T8" fmla="*/ 0 w 6658"/>
                  <a:gd name="T9" fmla="*/ 788824 h 3292"/>
                  <a:gd name="T10" fmla="*/ 132240 w 6658"/>
                  <a:gd name="T11" fmla="*/ 465001 h 3292"/>
                  <a:gd name="T12" fmla="*/ 282687 w 6658"/>
                  <a:gd name="T13" fmla="*/ 59204 h 3292"/>
                  <a:gd name="T14" fmla="*/ 797514 w 6658"/>
                  <a:gd name="T15" fmla="*/ 0 h 3292"/>
                  <a:gd name="T16" fmla="*/ 1312101 w 6658"/>
                  <a:gd name="T17" fmla="*/ 59204 h 3292"/>
                  <a:gd name="T18" fmla="*/ 1457996 w 6658"/>
                  <a:gd name="T19" fmla="*/ 469555 h 3292"/>
                  <a:gd name="T20" fmla="*/ 1594788 w 6658"/>
                  <a:gd name="T21" fmla="*/ 788824 h 329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658" h="3292">
                    <a:moveTo>
                      <a:pt x="6657" y="3291"/>
                    </a:moveTo>
                    <a:lnTo>
                      <a:pt x="6657" y="3291"/>
                    </a:lnTo>
                    <a:cubicBezTo>
                      <a:pt x="3291" y="3253"/>
                      <a:pt x="3291" y="3253"/>
                      <a:pt x="3291" y="3253"/>
                    </a:cubicBezTo>
                    <a:cubicBezTo>
                      <a:pt x="0" y="3291"/>
                      <a:pt x="0" y="3291"/>
                      <a:pt x="0" y="3291"/>
                    </a:cubicBezTo>
                    <a:cubicBezTo>
                      <a:pt x="0" y="3291"/>
                      <a:pt x="552" y="2796"/>
                      <a:pt x="552" y="1940"/>
                    </a:cubicBezTo>
                    <a:cubicBezTo>
                      <a:pt x="552" y="1503"/>
                      <a:pt x="495" y="533"/>
                      <a:pt x="1180" y="247"/>
                    </a:cubicBezTo>
                    <a:cubicBezTo>
                      <a:pt x="1674" y="19"/>
                      <a:pt x="1978" y="0"/>
                      <a:pt x="3329" y="0"/>
                    </a:cubicBezTo>
                    <a:cubicBezTo>
                      <a:pt x="4679" y="0"/>
                      <a:pt x="4963" y="38"/>
                      <a:pt x="5477" y="247"/>
                    </a:cubicBezTo>
                    <a:cubicBezTo>
                      <a:pt x="6143" y="533"/>
                      <a:pt x="6086" y="1503"/>
                      <a:pt x="6086" y="1959"/>
                    </a:cubicBezTo>
                    <a:cubicBezTo>
                      <a:pt x="6086" y="2796"/>
                      <a:pt x="6657" y="3291"/>
                      <a:pt x="6657" y="3291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</p:grpSp>
        <p:sp>
          <p:nvSpPr>
            <p:cNvPr id="10" name="íṥḻíďè"/>
            <p:cNvSpPr/>
            <p:nvPr/>
          </p:nvSpPr>
          <p:spPr bwMode="auto">
            <a:xfrm>
              <a:off x="7672279" y="2399983"/>
              <a:ext cx="3684270" cy="1982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90204" pitchFamily="34" charset="0"/>
                <a:buChar char="•"/>
              </a:pPr>
              <a:r>
                <a:rPr lang="en-US" altLang="zh-CN" sz="1400" dirty="0"/>
                <a:t>D * algorithm</a:t>
              </a:r>
              <a:endParaRPr lang="en-US" altLang="zh-CN" sz="1400" dirty="0"/>
            </a:p>
            <a:p>
              <a:pPr fontAlgn="t"/>
              <a:br>
                <a:rPr lang="en-US" sz="1400" dirty="0"/>
              </a:br>
              <a:r>
                <a:rPr lang="en-US" sz="1400" dirty="0"/>
                <a:t>Think of the map as a grid map.</a:t>
              </a:r>
              <a:endParaRPr lang="en-US" sz="1400" dirty="0"/>
            </a:p>
            <a:p>
              <a:pPr fontAlgn="t"/>
              <a:br>
                <a:rPr lang="en-US" sz="1400" dirty="0"/>
              </a:br>
              <a:r>
                <a:rPr lang="en-US" sz="1400" dirty="0"/>
                <a:t>After setting the start and end points, you get the first point closest to the end point around the starting point.</a:t>
              </a:r>
              <a:endParaRPr lang="en-US" sz="1400" dirty="0"/>
            </a:p>
            <a:p>
              <a:pPr fontAlgn="t"/>
              <a:br>
                <a:rPr lang="en-US" sz="1400" dirty="0"/>
              </a:br>
              <a:r>
                <a:rPr lang="en-US" sz="1400" dirty="0"/>
                <a:t>Get the second point closest to the end point around the first point.</a:t>
              </a:r>
              <a:endParaRPr lang="en-US" sz="1400" dirty="0"/>
            </a:p>
            <a:p>
              <a:pPr fontAlgn="t"/>
              <a:br>
                <a:rPr lang="en-US" sz="1400" dirty="0"/>
              </a:br>
              <a:r>
                <a:rPr lang="en-US" sz="1400" dirty="0" smtClean="0"/>
                <a:t> And </a:t>
              </a:r>
              <a:r>
                <a:rPr lang="en-US" sz="1400" dirty="0"/>
                <a:t>so on.</a:t>
              </a:r>
              <a:endParaRPr lang="en-US" sz="1400" dirty="0"/>
            </a:p>
          </p:txBody>
        </p:sp>
        <p:grpSp>
          <p:nvGrpSpPr>
            <p:cNvPr id="11" name="iŝlídè"/>
            <p:cNvGrpSpPr/>
            <p:nvPr/>
          </p:nvGrpSpPr>
          <p:grpSpPr>
            <a:xfrm>
              <a:off x="670134" y="1646228"/>
              <a:ext cx="3895725" cy="3171825"/>
              <a:chOff x="671698" y="1834772"/>
              <a:chExt cx="3540225" cy="3171825"/>
            </a:xfrm>
          </p:grpSpPr>
          <p:sp>
            <p:nvSpPr>
              <p:cNvPr id="12" name="îṥḻídé"/>
              <p:cNvSpPr/>
              <p:nvPr/>
            </p:nvSpPr>
            <p:spPr>
              <a:xfrm>
                <a:off x="687278" y="2427862"/>
                <a:ext cx="3524645" cy="2578735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0000" anchor="t" anchorCtr="0"/>
              <a:lstStyle/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endParaRPr lang="en-US" altLang="zh-CN" sz="1400" dirty="0" smtClean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endParaRPr lang="en-US" altLang="zh-CN" sz="1400" dirty="0"/>
              </a:p>
            </p:txBody>
          </p:sp>
          <p:sp>
            <p:nvSpPr>
              <p:cNvPr id="13" name="iṣľïdé"/>
              <p:cNvSpPr txBox="1"/>
              <p:nvPr/>
            </p:nvSpPr>
            <p:spPr bwMode="auto">
              <a:xfrm>
                <a:off x="671698" y="1834772"/>
                <a:ext cx="352477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/>
                  <a:t>Navigation principle</a:t>
                </a:r>
                <a:endParaRPr lang="en-US" altLang="zh-CN" sz="2000" b="1" dirty="0"/>
              </a:p>
            </p:txBody>
          </p:sp>
        </p:grpSp>
      </p:grpSp>
      <p:sp>
        <p:nvSpPr>
          <p:cNvPr id="40" name="AutoShape 12" descr="https://wx2.qq.com/cgi-bin/mmwebwx-bin/webwxgetmsgimg?&amp;MsgID=8140060388653898064&amp;skey=%40crypt_dfe77ffa_880007bfc10027de6cd5be4927ceacf0&amp;type=slav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1434" y="2536371"/>
            <a:ext cx="3029061" cy="1997145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460375" y="2630751"/>
            <a:ext cx="42245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We use Navigation in avoiding obstacles.</a:t>
            </a:r>
            <a:endParaRPr lang="en-US" dirty="0"/>
          </a:p>
        </p:txBody>
      </p:sp>
      <p:cxnSp>
        <p:nvCxnSpPr>
          <p:cNvPr id="1025" name="Straight Arrow Connector 6"/>
          <p:cNvCxnSpPr/>
          <p:nvPr/>
        </p:nvCxnSpPr>
        <p:spPr>
          <a:xfrm>
            <a:off x="287338" y="107950"/>
            <a:ext cx="142875" cy="152400"/>
          </a:xfrm>
          <a:prstGeom prst="straightConnector1">
            <a:avLst/>
          </a:prstGeom>
          <a:ln w="6350" cap="flat" cmpd="sng">
            <a:solidFill>
              <a:srgbClr val="ED7D31"/>
            </a:solidFill>
            <a:prstDash val="solid"/>
            <a:miter/>
            <a:headEnd type="none" w="med" len="med"/>
            <a:tailEnd type="triangle" w="med" len="med"/>
          </a:ln>
        </p:spPr>
      </p:cxnSp>
      <p:cxnSp>
        <p:nvCxnSpPr>
          <p:cNvPr id="1026" name="Straight Arrow Connector 10"/>
          <p:cNvCxnSpPr/>
          <p:nvPr/>
        </p:nvCxnSpPr>
        <p:spPr>
          <a:xfrm>
            <a:off x="111125" y="149225"/>
            <a:ext cx="142875" cy="114300"/>
          </a:xfrm>
          <a:prstGeom prst="straightConnector1">
            <a:avLst/>
          </a:prstGeom>
          <a:ln w="6350" cap="flat" cmpd="sng">
            <a:solidFill>
              <a:srgbClr val="ED7D31"/>
            </a:solidFill>
            <a:prstDash val="solid"/>
            <a:miter/>
            <a:headEnd type="none" w="med" len="med"/>
            <a:tailEnd type="triangle" w="med" len="med"/>
          </a:ln>
        </p:spPr>
      </p:cxnSp>
      <p:cxnSp>
        <p:nvCxnSpPr>
          <p:cNvPr id="1027" name="Straight Arrow Connector 11"/>
          <p:cNvCxnSpPr/>
          <p:nvPr/>
        </p:nvCxnSpPr>
        <p:spPr>
          <a:xfrm>
            <a:off x="130175" y="134938"/>
            <a:ext cx="133350" cy="123825"/>
          </a:xfrm>
          <a:prstGeom prst="straightConnector1">
            <a:avLst/>
          </a:prstGeom>
          <a:ln w="6350" cap="flat" cmpd="sng">
            <a:solidFill>
              <a:srgbClr val="ED7D31"/>
            </a:solidFill>
            <a:prstDash val="solid"/>
            <a:miter/>
            <a:headEnd type="none" w="med" len="med"/>
            <a:tailEnd type="triangle" w="med" len="med"/>
          </a:ln>
        </p:spPr>
      </p:cxnSp>
      <p:cxnSp>
        <p:nvCxnSpPr>
          <p:cNvPr id="1028" name="Straight Arrow Connector 12"/>
          <p:cNvCxnSpPr/>
          <p:nvPr/>
        </p:nvCxnSpPr>
        <p:spPr>
          <a:xfrm>
            <a:off x="142875" y="101600"/>
            <a:ext cx="133350" cy="0"/>
          </a:xfrm>
          <a:prstGeom prst="straightConnector1">
            <a:avLst/>
          </a:prstGeom>
          <a:ln w="6350" cap="flat" cmpd="sng">
            <a:solidFill>
              <a:srgbClr val="ED7D31"/>
            </a:solidFill>
            <a:prstDash val="solid"/>
            <a:miter/>
            <a:headEnd type="none" w="med" len="med"/>
            <a:tailEnd type="triangle" w="med" len="med"/>
          </a:ln>
        </p:spPr>
      </p:cxnSp>
      <p:cxnSp>
        <p:nvCxnSpPr>
          <p:cNvPr id="1029" name="Straight Arrow Connector 13"/>
          <p:cNvCxnSpPr/>
          <p:nvPr/>
        </p:nvCxnSpPr>
        <p:spPr>
          <a:xfrm>
            <a:off x="130175" y="130175"/>
            <a:ext cx="133350" cy="95250"/>
          </a:xfrm>
          <a:prstGeom prst="straightConnector1">
            <a:avLst/>
          </a:prstGeom>
          <a:ln w="6350" cap="flat" cmpd="sng">
            <a:solidFill>
              <a:srgbClr val="ED7D31"/>
            </a:solidFill>
            <a:prstDash val="solid"/>
            <a:miter/>
            <a:headEnd type="none" w="med" len="med"/>
            <a:tailEnd type="triangle" w="med" len="med"/>
          </a:ln>
        </p:spPr>
      </p:cxnSp>
      <p:cxnSp>
        <p:nvCxnSpPr>
          <p:cNvPr id="1030" name="Elbow Connector 1029"/>
          <p:cNvCxnSpPr/>
          <p:nvPr/>
        </p:nvCxnSpPr>
        <p:spPr>
          <a:xfrm rot="-5400000" flipH="1">
            <a:off x="282575" y="112713"/>
            <a:ext cx="152400" cy="142875"/>
          </a:xfrm>
          <a:prstGeom prst="bentConnector3">
            <a:avLst>
              <a:gd name="adj1" fmla="val 50000"/>
            </a:avLst>
          </a:prstGeom>
          <a:ln w="6350" cap="flat" cmpd="sng">
            <a:solidFill>
              <a:srgbClr val="ED7D31"/>
            </a:solidFill>
            <a:prstDash val="solid"/>
            <a:miter/>
            <a:headEnd type="none" w="med" len="med"/>
            <a:tailEnd type="triangle" w="med" len="med"/>
          </a:ln>
        </p:spPr>
      </p:cxnSp>
      <p:cxnSp>
        <p:nvCxnSpPr>
          <p:cNvPr id="1031" name="Elbow Connector 1030"/>
          <p:cNvCxnSpPr/>
          <p:nvPr/>
        </p:nvCxnSpPr>
        <p:spPr>
          <a:xfrm>
            <a:off x="111125" y="149225"/>
            <a:ext cx="142875" cy="114300"/>
          </a:xfrm>
          <a:prstGeom prst="bentConnector3">
            <a:avLst>
              <a:gd name="adj1" fmla="val 50000"/>
            </a:avLst>
          </a:prstGeom>
          <a:ln w="6350" cap="flat" cmpd="sng">
            <a:solidFill>
              <a:srgbClr val="ED7D31"/>
            </a:solidFill>
            <a:prstDash val="solid"/>
            <a:miter/>
            <a:headEnd type="none" w="med" len="med"/>
            <a:tailEnd type="triangle" w="med" len="med"/>
          </a:ln>
        </p:spPr>
      </p:cxnSp>
      <p:cxnSp>
        <p:nvCxnSpPr>
          <p:cNvPr id="1032" name="Elbow Connector 1031"/>
          <p:cNvCxnSpPr/>
          <p:nvPr/>
        </p:nvCxnSpPr>
        <p:spPr>
          <a:xfrm>
            <a:off x="130175" y="134938"/>
            <a:ext cx="133350" cy="123825"/>
          </a:xfrm>
          <a:prstGeom prst="bentConnector3">
            <a:avLst>
              <a:gd name="adj1" fmla="val 50000"/>
            </a:avLst>
          </a:prstGeom>
          <a:ln w="6350" cap="flat" cmpd="sng">
            <a:solidFill>
              <a:srgbClr val="ED7D31"/>
            </a:solidFill>
            <a:prstDash val="solid"/>
            <a:miter/>
            <a:headEnd type="none" w="med" len="med"/>
            <a:tailEnd type="triangle" w="med" len="med"/>
          </a:ln>
        </p:spPr>
      </p:cxnSp>
      <p:cxnSp>
        <p:nvCxnSpPr>
          <p:cNvPr id="1033" name="Straight Arrow Connector 1032"/>
          <p:cNvCxnSpPr/>
          <p:nvPr/>
        </p:nvCxnSpPr>
        <p:spPr>
          <a:xfrm>
            <a:off x="142875" y="101600"/>
            <a:ext cx="133350" cy="0"/>
          </a:xfrm>
          <a:prstGeom prst="straightConnector1">
            <a:avLst/>
          </a:prstGeom>
          <a:ln w="6350" cap="flat" cmpd="sng">
            <a:solidFill>
              <a:srgbClr val="ED7D31"/>
            </a:solidFill>
            <a:prstDash val="solid"/>
            <a:miter/>
            <a:headEnd type="none" w="med" len="med"/>
            <a:tailEnd type="triangle" w="med" len="med"/>
          </a:ln>
        </p:spPr>
      </p:cxnSp>
      <p:cxnSp>
        <p:nvCxnSpPr>
          <p:cNvPr id="1034" name="Elbow Connector 1033"/>
          <p:cNvCxnSpPr/>
          <p:nvPr/>
        </p:nvCxnSpPr>
        <p:spPr>
          <a:xfrm>
            <a:off x="130175" y="130175"/>
            <a:ext cx="133350" cy="95250"/>
          </a:xfrm>
          <a:prstGeom prst="bentConnector3">
            <a:avLst>
              <a:gd name="adj1" fmla="val 50000"/>
            </a:avLst>
          </a:prstGeom>
          <a:ln w="6350" cap="flat" cmpd="sng">
            <a:solidFill>
              <a:srgbClr val="ED7D31"/>
            </a:solidFill>
            <a:prstDash val="solid"/>
            <a:miter/>
            <a:headEnd type="none" w="med" len="med"/>
            <a:tailEnd type="triangle" w="med" len="med"/>
          </a:ln>
        </p:spPr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oftware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5" name="8402682c-468d-4696-8521-21f368aafe1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4" y="1497722"/>
            <a:ext cx="10850563" cy="4657015"/>
            <a:chOff x="669925" y="1507247"/>
            <a:chExt cx="10850563" cy="4657015"/>
          </a:xfrm>
        </p:grpSpPr>
        <p:cxnSp>
          <p:nvCxnSpPr>
            <p:cNvPr id="8" name="直接连接符 7"/>
            <p:cNvCxnSpPr/>
            <p:nvPr/>
          </p:nvCxnSpPr>
          <p:spPr>
            <a:xfrm>
              <a:off x="669925" y="2671503"/>
              <a:ext cx="1085056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îṧ1iḓé"/>
            <p:cNvSpPr/>
            <p:nvPr/>
          </p:nvSpPr>
          <p:spPr bwMode="auto">
            <a:xfrm>
              <a:off x="672344" y="1507247"/>
              <a:ext cx="1239704" cy="1164254"/>
            </a:xfrm>
            <a:prstGeom prst="rect">
              <a:avLst/>
            </a:prstGeom>
            <a:noFill/>
            <a:ln w="28575" algn="ctr">
              <a:noFill/>
              <a:rou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lvl="0" algn="ctr">
                <a:defRPr/>
              </a:pPr>
              <a:r>
                <a:rPr lang="en-US" altLang="zh-CN" sz="1400" b="1" kern="0" dirty="0"/>
                <a:t>Set the room matrix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cxnSp>
          <p:nvCxnSpPr>
            <p:cNvPr id="12" name="直接连接符 11"/>
            <p:cNvCxnSpPr/>
            <p:nvPr/>
          </p:nvCxnSpPr>
          <p:spPr>
            <a:xfrm>
              <a:off x="669925" y="3835756"/>
              <a:ext cx="1085056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íṧḷîḍé"/>
            <p:cNvSpPr/>
            <p:nvPr/>
          </p:nvSpPr>
          <p:spPr bwMode="auto">
            <a:xfrm>
              <a:off x="672344" y="2671501"/>
              <a:ext cx="1239704" cy="1164254"/>
            </a:xfrm>
            <a:prstGeom prst="rect">
              <a:avLst/>
            </a:prstGeom>
            <a:noFill/>
            <a:ln w="28575" algn="ctr">
              <a:noFill/>
              <a:rou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lvl="0" algn="ctr">
                <a:defRPr/>
              </a:pPr>
              <a:r>
                <a:rPr lang="en-US" altLang="zh-CN" sz="1400" b="1" kern="0" dirty="0"/>
                <a:t>How to get to the room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cxnSp>
          <p:nvCxnSpPr>
            <p:cNvPr id="16" name="直接连接符 15"/>
            <p:cNvCxnSpPr/>
            <p:nvPr/>
          </p:nvCxnSpPr>
          <p:spPr>
            <a:xfrm>
              <a:off x="669925" y="5000009"/>
              <a:ext cx="1085056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íṧļïḑe"/>
            <p:cNvSpPr/>
            <p:nvPr/>
          </p:nvSpPr>
          <p:spPr bwMode="auto">
            <a:xfrm>
              <a:off x="672344" y="3835754"/>
              <a:ext cx="1239704" cy="1164254"/>
            </a:xfrm>
            <a:prstGeom prst="rect">
              <a:avLst/>
            </a:prstGeom>
            <a:noFill/>
            <a:ln w="28575" algn="ctr">
              <a:noFill/>
              <a:rou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lvl="0" algn="ctr">
                <a:defRPr/>
              </a:pPr>
              <a:r>
                <a:rPr lang="en-US" altLang="zh-CN" sz="1400" b="1" kern="0" dirty="0"/>
                <a:t>Judging the condition of the elevator door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cxnSp>
          <p:nvCxnSpPr>
            <p:cNvPr id="20" name="直接连接符 19"/>
            <p:cNvCxnSpPr/>
            <p:nvPr/>
          </p:nvCxnSpPr>
          <p:spPr>
            <a:xfrm>
              <a:off x="669925" y="6164262"/>
              <a:ext cx="1085056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iSlîḓê"/>
            <p:cNvSpPr/>
            <p:nvPr/>
          </p:nvSpPr>
          <p:spPr bwMode="auto">
            <a:xfrm>
              <a:off x="672344" y="5000007"/>
              <a:ext cx="1239704" cy="1164254"/>
            </a:xfrm>
            <a:prstGeom prst="rect">
              <a:avLst/>
            </a:prstGeom>
            <a:noFill/>
            <a:ln w="28575" algn="ctr">
              <a:noFill/>
              <a:rou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lvl="0" algn="ctr">
                <a:defRPr/>
              </a:pPr>
              <a:r>
                <a:rPr lang="en-US" altLang="zh-CN" sz="1400" b="1" kern="0" dirty="0"/>
                <a:t>Voice command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sp>
        <p:nvSpPr>
          <p:cNvPr id="24" name="Rectangle 23"/>
          <p:cNvSpPr/>
          <p:nvPr/>
        </p:nvSpPr>
        <p:spPr>
          <a:xfrm>
            <a:off x="3048000" y="2690336"/>
            <a:ext cx="78457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Let the robot go to the first </a:t>
            </a:r>
            <a:r>
              <a:rPr lang="en-US" dirty="0" smtClean="0"/>
              <a:t>point</a:t>
            </a:r>
            <a:endParaRPr lang="en-US" dirty="0"/>
          </a:p>
          <a:p>
            <a:r>
              <a:rPr lang="en-US" dirty="0"/>
              <a:t>When the distance from the first point is small to a certain extent, the second point is reached.</a:t>
            </a:r>
            <a:endParaRPr lang="en-US" dirty="0"/>
          </a:p>
          <a:p>
            <a:r>
              <a:rPr lang="en-US" dirty="0"/>
              <a:t>And so on.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3047205" y="3976390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When there is no obstacle two meters in front of the robot, it is judged that the elevator door is open.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3047205" y="1795263"/>
            <a:ext cx="54296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Set multiple coordinate points in the expected route</a:t>
            </a:r>
            <a:endParaRPr lang="en-US" dirty="0"/>
          </a:p>
        </p:txBody>
      </p:sp>
      <p:sp>
        <p:nvSpPr>
          <p:cNvPr id="28" name="Rectangle 27"/>
          <p:cNvSpPr/>
          <p:nvPr/>
        </p:nvSpPr>
        <p:spPr>
          <a:xfrm>
            <a:off x="3047205" y="5026560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Add </a:t>
            </a:r>
            <a:r>
              <a:rPr lang="en-US" dirty="0" smtClean="0"/>
              <a:t> </a:t>
            </a:r>
            <a:r>
              <a:rPr lang="en-US" dirty="0"/>
              <a:t>voice </a:t>
            </a:r>
            <a:r>
              <a:rPr lang="en-US" dirty="0" smtClean="0"/>
              <a:t>files </a:t>
            </a:r>
            <a:r>
              <a:rPr lang="en-US" dirty="0"/>
              <a:t>to the </a:t>
            </a:r>
            <a:r>
              <a:rPr lang="en-US" dirty="0" err="1"/>
              <a:t>matlab</a:t>
            </a:r>
            <a:r>
              <a:rPr lang="en-US" dirty="0"/>
              <a:t> folder and run the corresponding voice when the robot reaches a certain point.</a:t>
            </a:r>
            <a:endParaRPr lang="en-US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17465" y="608965"/>
            <a:ext cx="6360795" cy="535940"/>
          </a:xfrm>
        </p:spPr>
        <p:txBody>
          <a:bodyPr>
            <a:noAutofit/>
          </a:bodyPr>
          <a:lstStyle/>
          <a:p>
            <a:r>
              <a:rPr lang="en-US" altLang="zh-CN" sz="3600" dirty="0"/>
              <a:t>Execute and test</a:t>
            </a:r>
            <a:endParaRPr lang="en-US" altLang="zh-CN" sz="3600" dirty="0"/>
          </a:p>
        </p:txBody>
      </p:sp>
      <p:sp>
        <p:nvSpPr>
          <p:cNvPr id="9" name="文本框 8"/>
          <p:cNvSpPr txBox="1"/>
          <p:nvPr/>
        </p:nvSpPr>
        <p:spPr>
          <a:xfrm>
            <a:off x="3121655" y="2548160"/>
            <a:ext cx="1029773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  <p:grpSp>
        <p:nvGrpSpPr>
          <p:cNvPr id="3" name="1dfcbc56-e15c-4753-b6d9-324abaf426d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117465" y="1356360"/>
            <a:ext cx="6426835" cy="4974590"/>
            <a:chOff x="5106000" y="1143002"/>
            <a:chExt cx="6414488" cy="4992686"/>
          </a:xfrm>
        </p:grpSpPr>
        <p:grpSp>
          <p:nvGrpSpPr>
            <p:cNvPr id="7" name="íšļiḑé"/>
            <p:cNvGrpSpPr/>
            <p:nvPr/>
          </p:nvGrpSpPr>
          <p:grpSpPr>
            <a:xfrm>
              <a:off x="6466013" y="1920558"/>
              <a:ext cx="559156" cy="532273"/>
              <a:chOff x="10755344" y="220662"/>
              <a:chExt cx="990603" cy="942971"/>
            </a:xfrm>
            <a:solidFill>
              <a:schemeClr val="accent1"/>
            </a:solidFill>
          </p:grpSpPr>
          <p:sp>
            <p:nvSpPr>
              <p:cNvPr id="35" name="iṧļíḓê"/>
              <p:cNvSpPr/>
              <p:nvPr/>
            </p:nvSpPr>
            <p:spPr bwMode="auto">
              <a:xfrm>
                <a:off x="10755344" y="220662"/>
                <a:ext cx="990603" cy="942971"/>
              </a:xfrm>
              <a:custGeom>
                <a:avLst/>
                <a:gdLst>
                  <a:gd name="T0" fmla="*/ 239 w 261"/>
                  <a:gd name="T1" fmla="*/ 0 h 248"/>
                  <a:gd name="T2" fmla="*/ 22 w 261"/>
                  <a:gd name="T3" fmla="*/ 0 h 248"/>
                  <a:gd name="T4" fmla="*/ 0 w 261"/>
                  <a:gd name="T5" fmla="*/ 22 h 248"/>
                  <a:gd name="T6" fmla="*/ 0 w 261"/>
                  <a:gd name="T7" fmla="*/ 190 h 248"/>
                  <a:gd name="T8" fmla="*/ 22 w 261"/>
                  <a:gd name="T9" fmla="*/ 212 h 248"/>
                  <a:gd name="T10" fmla="*/ 88 w 261"/>
                  <a:gd name="T11" fmla="*/ 212 h 248"/>
                  <a:gd name="T12" fmla="*/ 76 w 261"/>
                  <a:gd name="T13" fmla="*/ 224 h 248"/>
                  <a:gd name="T14" fmla="*/ 70 w 261"/>
                  <a:gd name="T15" fmla="*/ 231 h 248"/>
                  <a:gd name="T16" fmla="*/ 70 w 261"/>
                  <a:gd name="T17" fmla="*/ 241 h 248"/>
                  <a:gd name="T18" fmla="*/ 86 w 261"/>
                  <a:gd name="T19" fmla="*/ 248 h 248"/>
                  <a:gd name="T20" fmla="*/ 175 w 261"/>
                  <a:gd name="T21" fmla="*/ 248 h 248"/>
                  <a:gd name="T22" fmla="*/ 191 w 261"/>
                  <a:gd name="T23" fmla="*/ 241 h 248"/>
                  <a:gd name="T24" fmla="*/ 191 w 261"/>
                  <a:gd name="T25" fmla="*/ 231 h 248"/>
                  <a:gd name="T26" fmla="*/ 185 w 261"/>
                  <a:gd name="T27" fmla="*/ 224 h 248"/>
                  <a:gd name="T28" fmla="*/ 173 w 261"/>
                  <a:gd name="T29" fmla="*/ 212 h 248"/>
                  <a:gd name="T30" fmla="*/ 239 w 261"/>
                  <a:gd name="T31" fmla="*/ 212 h 248"/>
                  <a:gd name="T32" fmla="*/ 261 w 261"/>
                  <a:gd name="T33" fmla="*/ 190 h 248"/>
                  <a:gd name="T34" fmla="*/ 261 w 261"/>
                  <a:gd name="T35" fmla="*/ 22 h 248"/>
                  <a:gd name="T36" fmla="*/ 239 w 261"/>
                  <a:gd name="T37" fmla="*/ 0 h 248"/>
                  <a:gd name="T38" fmla="*/ 179 w 261"/>
                  <a:gd name="T39" fmla="*/ 230 h 248"/>
                  <a:gd name="T40" fmla="*/ 184 w 261"/>
                  <a:gd name="T41" fmla="*/ 236 h 248"/>
                  <a:gd name="T42" fmla="*/ 184 w 261"/>
                  <a:gd name="T43" fmla="*/ 238 h 248"/>
                  <a:gd name="T44" fmla="*/ 175 w 261"/>
                  <a:gd name="T45" fmla="*/ 240 h 248"/>
                  <a:gd name="T46" fmla="*/ 86 w 261"/>
                  <a:gd name="T47" fmla="*/ 240 h 248"/>
                  <a:gd name="T48" fmla="*/ 77 w 261"/>
                  <a:gd name="T49" fmla="*/ 238 h 248"/>
                  <a:gd name="T50" fmla="*/ 77 w 261"/>
                  <a:gd name="T51" fmla="*/ 236 h 248"/>
                  <a:gd name="T52" fmla="*/ 77 w 261"/>
                  <a:gd name="T53" fmla="*/ 236 h 248"/>
                  <a:gd name="T54" fmla="*/ 82 w 261"/>
                  <a:gd name="T55" fmla="*/ 230 h 248"/>
                  <a:gd name="T56" fmla="*/ 98 w 261"/>
                  <a:gd name="T57" fmla="*/ 212 h 248"/>
                  <a:gd name="T58" fmla="*/ 163 w 261"/>
                  <a:gd name="T59" fmla="*/ 212 h 248"/>
                  <a:gd name="T60" fmla="*/ 179 w 261"/>
                  <a:gd name="T61" fmla="*/ 230 h 248"/>
                  <a:gd name="T62" fmla="*/ 245 w 261"/>
                  <a:gd name="T63" fmla="*/ 190 h 248"/>
                  <a:gd name="T64" fmla="*/ 239 w 261"/>
                  <a:gd name="T65" fmla="*/ 196 h 248"/>
                  <a:gd name="T66" fmla="*/ 22 w 261"/>
                  <a:gd name="T67" fmla="*/ 196 h 248"/>
                  <a:gd name="T68" fmla="*/ 16 w 261"/>
                  <a:gd name="T69" fmla="*/ 190 h 248"/>
                  <a:gd name="T70" fmla="*/ 16 w 261"/>
                  <a:gd name="T71" fmla="*/ 22 h 248"/>
                  <a:gd name="T72" fmla="*/ 22 w 261"/>
                  <a:gd name="T73" fmla="*/ 16 h 248"/>
                  <a:gd name="T74" fmla="*/ 239 w 261"/>
                  <a:gd name="T75" fmla="*/ 16 h 248"/>
                  <a:gd name="T76" fmla="*/ 245 w 261"/>
                  <a:gd name="T77" fmla="*/ 22 h 248"/>
                  <a:gd name="T78" fmla="*/ 245 w 261"/>
                  <a:gd name="T79" fmla="*/ 19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61" h="248">
                    <a:moveTo>
                      <a:pt x="239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0" y="202"/>
                      <a:pt x="10" y="212"/>
                      <a:pt x="22" y="212"/>
                    </a:cubicBezTo>
                    <a:cubicBezTo>
                      <a:pt x="88" y="212"/>
                      <a:pt x="88" y="212"/>
                      <a:pt x="88" y="212"/>
                    </a:cubicBezTo>
                    <a:cubicBezTo>
                      <a:pt x="85" y="216"/>
                      <a:pt x="79" y="222"/>
                      <a:pt x="76" y="224"/>
                    </a:cubicBezTo>
                    <a:cubicBezTo>
                      <a:pt x="74" y="227"/>
                      <a:pt x="71" y="229"/>
                      <a:pt x="70" y="231"/>
                    </a:cubicBezTo>
                    <a:cubicBezTo>
                      <a:pt x="69" y="233"/>
                      <a:pt x="68" y="237"/>
                      <a:pt x="70" y="241"/>
                    </a:cubicBezTo>
                    <a:cubicBezTo>
                      <a:pt x="71" y="244"/>
                      <a:pt x="76" y="248"/>
                      <a:pt x="86" y="248"/>
                    </a:cubicBezTo>
                    <a:cubicBezTo>
                      <a:pt x="175" y="248"/>
                      <a:pt x="175" y="248"/>
                      <a:pt x="175" y="248"/>
                    </a:cubicBezTo>
                    <a:cubicBezTo>
                      <a:pt x="185" y="248"/>
                      <a:pt x="190" y="244"/>
                      <a:pt x="191" y="241"/>
                    </a:cubicBezTo>
                    <a:cubicBezTo>
                      <a:pt x="193" y="237"/>
                      <a:pt x="192" y="233"/>
                      <a:pt x="191" y="231"/>
                    </a:cubicBezTo>
                    <a:cubicBezTo>
                      <a:pt x="190" y="229"/>
                      <a:pt x="187" y="227"/>
                      <a:pt x="185" y="224"/>
                    </a:cubicBezTo>
                    <a:cubicBezTo>
                      <a:pt x="182" y="222"/>
                      <a:pt x="176" y="216"/>
                      <a:pt x="173" y="212"/>
                    </a:cubicBezTo>
                    <a:cubicBezTo>
                      <a:pt x="239" y="212"/>
                      <a:pt x="239" y="212"/>
                      <a:pt x="239" y="212"/>
                    </a:cubicBezTo>
                    <a:cubicBezTo>
                      <a:pt x="251" y="212"/>
                      <a:pt x="261" y="202"/>
                      <a:pt x="261" y="190"/>
                    </a:cubicBezTo>
                    <a:cubicBezTo>
                      <a:pt x="261" y="22"/>
                      <a:pt x="261" y="22"/>
                      <a:pt x="261" y="22"/>
                    </a:cubicBezTo>
                    <a:cubicBezTo>
                      <a:pt x="261" y="10"/>
                      <a:pt x="251" y="0"/>
                      <a:pt x="239" y="0"/>
                    </a:cubicBezTo>
                    <a:close/>
                    <a:moveTo>
                      <a:pt x="179" y="230"/>
                    </a:moveTo>
                    <a:cubicBezTo>
                      <a:pt x="181" y="233"/>
                      <a:pt x="183" y="235"/>
                      <a:pt x="184" y="236"/>
                    </a:cubicBezTo>
                    <a:cubicBezTo>
                      <a:pt x="184" y="236"/>
                      <a:pt x="185" y="237"/>
                      <a:pt x="184" y="238"/>
                    </a:cubicBezTo>
                    <a:cubicBezTo>
                      <a:pt x="183" y="239"/>
                      <a:pt x="179" y="240"/>
                      <a:pt x="175" y="240"/>
                    </a:cubicBezTo>
                    <a:cubicBezTo>
                      <a:pt x="86" y="240"/>
                      <a:pt x="86" y="240"/>
                      <a:pt x="86" y="240"/>
                    </a:cubicBezTo>
                    <a:cubicBezTo>
                      <a:pt x="82" y="240"/>
                      <a:pt x="78" y="239"/>
                      <a:pt x="77" y="238"/>
                    </a:cubicBezTo>
                    <a:cubicBezTo>
                      <a:pt x="77" y="237"/>
                      <a:pt x="77" y="236"/>
                      <a:pt x="77" y="236"/>
                    </a:cubicBezTo>
                    <a:cubicBezTo>
                      <a:pt x="77" y="236"/>
                      <a:pt x="77" y="236"/>
                      <a:pt x="77" y="236"/>
                    </a:cubicBezTo>
                    <a:cubicBezTo>
                      <a:pt x="78" y="235"/>
                      <a:pt x="80" y="233"/>
                      <a:pt x="82" y="230"/>
                    </a:cubicBezTo>
                    <a:cubicBezTo>
                      <a:pt x="89" y="223"/>
                      <a:pt x="95" y="217"/>
                      <a:pt x="98" y="212"/>
                    </a:cubicBezTo>
                    <a:cubicBezTo>
                      <a:pt x="163" y="212"/>
                      <a:pt x="163" y="212"/>
                      <a:pt x="163" y="212"/>
                    </a:cubicBezTo>
                    <a:cubicBezTo>
                      <a:pt x="166" y="217"/>
                      <a:pt x="172" y="223"/>
                      <a:pt x="179" y="230"/>
                    </a:cubicBezTo>
                    <a:close/>
                    <a:moveTo>
                      <a:pt x="245" y="190"/>
                    </a:moveTo>
                    <a:cubicBezTo>
                      <a:pt x="245" y="193"/>
                      <a:pt x="242" y="196"/>
                      <a:pt x="239" y="196"/>
                    </a:cubicBezTo>
                    <a:cubicBezTo>
                      <a:pt x="22" y="196"/>
                      <a:pt x="22" y="196"/>
                      <a:pt x="22" y="196"/>
                    </a:cubicBezTo>
                    <a:cubicBezTo>
                      <a:pt x="19" y="196"/>
                      <a:pt x="16" y="193"/>
                      <a:pt x="16" y="190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19"/>
                      <a:pt x="19" y="16"/>
                      <a:pt x="22" y="16"/>
                    </a:cubicBezTo>
                    <a:cubicBezTo>
                      <a:pt x="239" y="16"/>
                      <a:pt x="239" y="16"/>
                      <a:pt x="239" y="16"/>
                    </a:cubicBezTo>
                    <a:cubicBezTo>
                      <a:pt x="242" y="16"/>
                      <a:pt x="245" y="19"/>
                      <a:pt x="245" y="22"/>
                    </a:cubicBezTo>
                    <a:lnTo>
                      <a:pt x="245" y="19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36" name="išḷíḑè"/>
              <p:cNvSpPr/>
              <p:nvPr/>
            </p:nvSpPr>
            <p:spPr bwMode="auto">
              <a:xfrm>
                <a:off x="10879190" y="342900"/>
                <a:ext cx="741367" cy="498473"/>
              </a:xfrm>
              <a:custGeom>
                <a:avLst/>
                <a:gdLst>
                  <a:gd name="T0" fmla="*/ 182 w 195"/>
                  <a:gd name="T1" fmla="*/ 0 h 131"/>
                  <a:gd name="T2" fmla="*/ 13 w 195"/>
                  <a:gd name="T3" fmla="*/ 0 h 131"/>
                  <a:gd name="T4" fmla="*/ 0 w 195"/>
                  <a:gd name="T5" fmla="*/ 14 h 131"/>
                  <a:gd name="T6" fmla="*/ 0 w 195"/>
                  <a:gd name="T7" fmla="*/ 117 h 131"/>
                  <a:gd name="T8" fmla="*/ 13 w 195"/>
                  <a:gd name="T9" fmla="*/ 131 h 131"/>
                  <a:gd name="T10" fmla="*/ 182 w 195"/>
                  <a:gd name="T11" fmla="*/ 131 h 131"/>
                  <a:gd name="T12" fmla="*/ 195 w 195"/>
                  <a:gd name="T13" fmla="*/ 117 h 131"/>
                  <a:gd name="T14" fmla="*/ 195 w 195"/>
                  <a:gd name="T15" fmla="*/ 14 h 131"/>
                  <a:gd name="T16" fmla="*/ 182 w 195"/>
                  <a:gd name="T17" fmla="*/ 0 h 131"/>
                  <a:gd name="T18" fmla="*/ 13 w 195"/>
                  <a:gd name="T19" fmla="*/ 9 h 131"/>
                  <a:gd name="T20" fmla="*/ 182 w 195"/>
                  <a:gd name="T21" fmla="*/ 9 h 131"/>
                  <a:gd name="T22" fmla="*/ 187 w 195"/>
                  <a:gd name="T23" fmla="*/ 14 h 131"/>
                  <a:gd name="T24" fmla="*/ 187 w 195"/>
                  <a:gd name="T25" fmla="*/ 48 h 131"/>
                  <a:gd name="T26" fmla="*/ 154 w 195"/>
                  <a:gd name="T27" fmla="*/ 85 h 131"/>
                  <a:gd name="T28" fmla="*/ 125 w 195"/>
                  <a:gd name="T29" fmla="*/ 47 h 131"/>
                  <a:gd name="T30" fmla="*/ 122 w 195"/>
                  <a:gd name="T31" fmla="*/ 45 h 131"/>
                  <a:gd name="T32" fmla="*/ 119 w 195"/>
                  <a:gd name="T33" fmla="*/ 47 h 131"/>
                  <a:gd name="T34" fmla="*/ 81 w 195"/>
                  <a:gd name="T35" fmla="*/ 100 h 131"/>
                  <a:gd name="T36" fmla="*/ 51 w 195"/>
                  <a:gd name="T37" fmla="*/ 71 h 131"/>
                  <a:gd name="T38" fmla="*/ 46 w 195"/>
                  <a:gd name="T39" fmla="*/ 71 h 131"/>
                  <a:gd name="T40" fmla="*/ 8 w 195"/>
                  <a:gd name="T41" fmla="*/ 105 h 131"/>
                  <a:gd name="T42" fmla="*/ 8 w 195"/>
                  <a:gd name="T43" fmla="*/ 14 h 131"/>
                  <a:gd name="T44" fmla="*/ 13 w 195"/>
                  <a:gd name="T45" fmla="*/ 9 h 131"/>
                  <a:gd name="T46" fmla="*/ 182 w 195"/>
                  <a:gd name="T47" fmla="*/ 123 h 131"/>
                  <a:gd name="T48" fmla="*/ 13 w 195"/>
                  <a:gd name="T49" fmla="*/ 123 h 131"/>
                  <a:gd name="T50" fmla="*/ 8 w 195"/>
                  <a:gd name="T51" fmla="*/ 117 h 131"/>
                  <a:gd name="T52" fmla="*/ 8 w 195"/>
                  <a:gd name="T53" fmla="*/ 116 h 131"/>
                  <a:gd name="T54" fmla="*/ 48 w 195"/>
                  <a:gd name="T55" fmla="*/ 79 h 131"/>
                  <a:gd name="T56" fmla="*/ 78 w 195"/>
                  <a:gd name="T57" fmla="*/ 109 h 131"/>
                  <a:gd name="T58" fmla="*/ 82 w 195"/>
                  <a:gd name="T59" fmla="*/ 110 h 131"/>
                  <a:gd name="T60" fmla="*/ 85 w 195"/>
                  <a:gd name="T61" fmla="*/ 109 h 131"/>
                  <a:gd name="T62" fmla="*/ 122 w 195"/>
                  <a:gd name="T63" fmla="*/ 56 h 131"/>
                  <a:gd name="T64" fmla="*/ 151 w 195"/>
                  <a:gd name="T65" fmla="*/ 94 h 131"/>
                  <a:gd name="T66" fmla="*/ 154 w 195"/>
                  <a:gd name="T67" fmla="*/ 95 h 131"/>
                  <a:gd name="T68" fmla="*/ 157 w 195"/>
                  <a:gd name="T69" fmla="*/ 94 h 131"/>
                  <a:gd name="T70" fmla="*/ 187 w 195"/>
                  <a:gd name="T71" fmla="*/ 60 h 131"/>
                  <a:gd name="T72" fmla="*/ 187 w 195"/>
                  <a:gd name="T73" fmla="*/ 117 h 131"/>
                  <a:gd name="T74" fmla="*/ 182 w 195"/>
                  <a:gd name="T75" fmla="*/ 123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5" h="131">
                    <a:moveTo>
                      <a:pt x="182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7"/>
                      <a:pt x="0" y="14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5"/>
                      <a:pt x="6" y="131"/>
                      <a:pt x="13" y="131"/>
                    </a:cubicBezTo>
                    <a:cubicBezTo>
                      <a:pt x="182" y="131"/>
                      <a:pt x="182" y="131"/>
                      <a:pt x="182" y="131"/>
                    </a:cubicBezTo>
                    <a:cubicBezTo>
                      <a:pt x="189" y="131"/>
                      <a:pt x="195" y="125"/>
                      <a:pt x="195" y="117"/>
                    </a:cubicBezTo>
                    <a:cubicBezTo>
                      <a:pt x="195" y="14"/>
                      <a:pt x="195" y="14"/>
                      <a:pt x="195" y="14"/>
                    </a:cubicBezTo>
                    <a:cubicBezTo>
                      <a:pt x="195" y="7"/>
                      <a:pt x="189" y="0"/>
                      <a:pt x="182" y="0"/>
                    </a:cubicBezTo>
                    <a:close/>
                    <a:moveTo>
                      <a:pt x="13" y="9"/>
                    </a:moveTo>
                    <a:cubicBezTo>
                      <a:pt x="182" y="9"/>
                      <a:pt x="182" y="9"/>
                      <a:pt x="182" y="9"/>
                    </a:cubicBezTo>
                    <a:cubicBezTo>
                      <a:pt x="185" y="9"/>
                      <a:pt x="187" y="11"/>
                      <a:pt x="187" y="14"/>
                    </a:cubicBezTo>
                    <a:cubicBezTo>
                      <a:pt x="187" y="48"/>
                      <a:pt x="187" y="48"/>
                      <a:pt x="187" y="48"/>
                    </a:cubicBezTo>
                    <a:cubicBezTo>
                      <a:pt x="154" y="85"/>
                      <a:pt x="154" y="85"/>
                      <a:pt x="154" y="85"/>
                    </a:cubicBezTo>
                    <a:cubicBezTo>
                      <a:pt x="125" y="47"/>
                      <a:pt x="125" y="47"/>
                      <a:pt x="125" y="47"/>
                    </a:cubicBezTo>
                    <a:cubicBezTo>
                      <a:pt x="124" y="46"/>
                      <a:pt x="123" y="45"/>
                      <a:pt x="122" y="45"/>
                    </a:cubicBezTo>
                    <a:cubicBezTo>
                      <a:pt x="121" y="45"/>
                      <a:pt x="119" y="46"/>
                      <a:pt x="119" y="47"/>
                    </a:cubicBezTo>
                    <a:cubicBezTo>
                      <a:pt x="81" y="100"/>
                      <a:pt x="81" y="100"/>
                      <a:pt x="81" y="100"/>
                    </a:cubicBezTo>
                    <a:cubicBezTo>
                      <a:pt x="51" y="71"/>
                      <a:pt x="51" y="71"/>
                      <a:pt x="51" y="71"/>
                    </a:cubicBezTo>
                    <a:cubicBezTo>
                      <a:pt x="50" y="69"/>
                      <a:pt x="47" y="69"/>
                      <a:pt x="46" y="71"/>
                    </a:cubicBezTo>
                    <a:cubicBezTo>
                      <a:pt x="8" y="105"/>
                      <a:pt x="8" y="105"/>
                      <a:pt x="8" y="105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1"/>
                      <a:pt x="10" y="9"/>
                      <a:pt x="13" y="9"/>
                    </a:cubicBezTo>
                    <a:close/>
                    <a:moveTo>
                      <a:pt x="182" y="123"/>
                    </a:moveTo>
                    <a:cubicBezTo>
                      <a:pt x="13" y="123"/>
                      <a:pt x="13" y="123"/>
                      <a:pt x="13" y="123"/>
                    </a:cubicBezTo>
                    <a:cubicBezTo>
                      <a:pt x="10" y="123"/>
                      <a:pt x="8" y="120"/>
                      <a:pt x="8" y="117"/>
                    </a:cubicBezTo>
                    <a:cubicBezTo>
                      <a:pt x="8" y="116"/>
                      <a:pt x="8" y="116"/>
                      <a:pt x="8" y="11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78" y="109"/>
                      <a:pt x="78" y="109"/>
                      <a:pt x="78" y="109"/>
                    </a:cubicBezTo>
                    <a:cubicBezTo>
                      <a:pt x="79" y="110"/>
                      <a:pt x="80" y="111"/>
                      <a:pt x="82" y="110"/>
                    </a:cubicBezTo>
                    <a:cubicBezTo>
                      <a:pt x="83" y="110"/>
                      <a:pt x="84" y="110"/>
                      <a:pt x="85" y="109"/>
                    </a:cubicBezTo>
                    <a:cubicBezTo>
                      <a:pt x="122" y="56"/>
                      <a:pt x="122" y="56"/>
                      <a:pt x="122" y="56"/>
                    </a:cubicBezTo>
                    <a:cubicBezTo>
                      <a:pt x="151" y="94"/>
                      <a:pt x="151" y="94"/>
                      <a:pt x="151" y="94"/>
                    </a:cubicBezTo>
                    <a:cubicBezTo>
                      <a:pt x="152" y="95"/>
                      <a:pt x="153" y="95"/>
                      <a:pt x="154" y="95"/>
                    </a:cubicBezTo>
                    <a:cubicBezTo>
                      <a:pt x="155" y="95"/>
                      <a:pt x="156" y="95"/>
                      <a:pt x="157" y="94"/>
                    </a:cubicBezTo>
                    <a:cubicBezTo>
                      <a:pt x="187" y="60"/>
                      <a:pt x="187" y="60"/>
                      <a:pt x="187" y="60"/>
                    </a:cubicBezTo>
                    <a:cubicBezTo>
                      <a:pt x="187" y="117"/>
                      <a:pt x="187" y="117"/>
                      <a:pt x="187" y="117"/>
                    </a:cubicBezTo>
                    <a:cubicBezTo>
                      <a:pt x="187" y="120"/>
                      <a:pt x="185" y="123"/>
                      <a:pt x="182" y="1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37" name="ísļïḍê"/>
              <p:cNvSpPr/>
              <p:nvPr/>
            </p:nvSpPr>
            <p:spPr bwMode="auto">
              <a:xfrm>
                <a:off x="11202988" y="855663"/>
                <a:ext cx="93663" cy="92075"/>
              </a:xfrm>
              <a:custGeom>
                <a:avLst/>
                <a:gdLst>
                  <a:gd name="T0" fmla="*/ 13 w 25"/>
                  <a:gd name="T1" fmla="*/ 0 h 24"/>
                  <a:gd name="T2" fmla="*/ 0 w 25"/>
                  <a:gd name="T3" fmla="*/ 12 h 24"/>
                  <a:gd name="T4" fmla="*/ 13 w 25"/>
                  <a:gd name="T5" fmla="*/ 24 h 24"/>
                  <a:gd name="T6" fmla="*/ 25 w 25"/>
                  <a:gd name="T7" fmla="*/ 12 h 24"/>
                  <a:gd name="T8" fmla="*/ 13 w 25"/>
                  <a:gd name="T9" fmla="*/ 0 h 24"/>
                  <a:gd name="T10" fmla="*/ 13 w 25"/>
                  <a:gd name="T11" fmla="*/ 16 h 24"/>
                  <a:gd name="T12" fmla="*/ 8 w 25"/>
                  <a:gd name="T13" fmla="*/ 12 h 24"/>
                  <a:gd name="T14" fmla="*/ 13 w 25"/>
                  <a:gd name="T15" fmla="*/ 8 h 24"/>
                  <a:gd name="T16" fmla="*/ 17 w 25"/>
                  <a:gd name="T17" fmla="*/ 12 h 24"/>
                  <a:gd name="T18" fmla="*/ 13 w 25"/>
                  <a:gd name="T19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4">
                    <a:moveTo>
                      <a:pt x="13" y="0"/>
                    </a:moveTo>
                    <a:cubicBezTo>
                      <a:pt x="6" y="0"/>
                      <a:pt x="0" y="5"/>
                      <a:pt x="0" y="12"/>
                    </a:cubicBezTo>
                    <a:cubicBezTo>
                      <a:pt x="0" y="19"/>
                      <a:pt x="6" y="24"/>
                      <a:pt x="13" y="24"/>
                    </a:cubicBezTo>
                    <a:cubicBezTo>
                      <a:pt x="19" y="24"/>
                      <a:pt x="25" y="19"/>
                      <a:pt x="25" y="12"/>
                    </a:cubicBezTo>
                    <a:cubicBezTo>
                      <a:pt x="25" y="5"/>
                      <a:pt x="19" y="0"/>
                      <a:pt x="13" y="0"/>
                    </a:cubicBezTo>
                    <a:close/>
                    <a:moveTo>
                      <a:pt x="13" y="16"/>
                    </a:moveTo>
                    <a:cubicBezTo>
                      <a:pt x="10" y="16"/>
                      <a:pt x="8" y="14"/>
                      <a:pt x="8" y="12"/>
                    </a:cubicBezTo>
                    <a:cubicBezTo>
                      <a:pt x="8" y="10"/>
                      <a:pt x="10" y="8"/>
                      <a:pt x="13" y="8"/>
                    </a:cubicBezTo>
                    <a:cubicBezTo>
                      <a:pt x="15" y="8"/>
                      <a:pt x="17" y="10"/>
                      <a:pt x="17" y="12"/>
                    </a:cubicBezTo>
                    <a:cubicBezTo>
                      <a:pt x="17" y="14"/>
                      <a:pt x="15" y="16"/>
                      <a:pt x="1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</p:grpSp>
        <p:sp>
          <p:nvSpPr>
            <p:cNvPr id="8" name="ïSľîḋè"/>
            <p:cNvSpPr txBox="1"/>
            <p:nvPr/>
          </p:nvSpPr>
          <p:spPr>
            <a:xfrm>
              <a:off x="7033921" y="1823633"/>
              <a:ext cx="3607079" cy="369332"/>
            </a:xfrm>
            <a:prstGeom prst="rect">
              <a:avLst/>
            </a:prstGeom>
            <a:noFill/>
          </p:spPr>
          <p:txBody>
            <a:bodyPr wrap="none">
              <a:normAutofit/>
            </a:bodyPr>
            <a:p>
              <a:r>
                <a:rPr lang="en-US" b="1" dirty="0"/>
                <a:t>Set the orginal point</a:t>
              </a:r>
              <a:endParaRPr lang="en-US" b="1" dirty="0"/>
            </a:p>
          </p:txBody>
        </p:sp>
        <p:grpSp>
          <p:nvGrpSpPr>
            <p:cNvPr id="10" name="ïSḻiḋê"/>
            <p:cNvGrpSpPr/>
            <p:nvPr/>
          </p:nvGrpSpPr>
          <p:grpSpPr>
            <a:xfrm>
              <a:off x="6496557" y="3055368"/>
              <a:ext cx="538275" cy="371299"/>
              <a:chOff x="4763" y="4763"/>
              <a:chExt cx="1212850" cy="836612"/>
            </a:xfrm>
            <a:solidFill>
              <a:schemeClr val="accent2"/>
            </a:solidFill>
          </p:grpSpPr>
          <p:sp>
            <p:nvSpPr>
              <p:cNvPr id="30" name="iśḻïḍê"/>
              <p:cNvSpPr/>
              <p:nvPr/>
            </p:nvSpPr>
            <p:spPr bwMode="auto">
              <a:xfrm>
                <a:off x="152400" y="157163"/>
                <a:ext cx="355600" cy="322262"/>
              </a:xfrm>
              <a:custGeom>
                <a:avLst/>
                <a:gdLst>
                  <a:gd name="T0" fmla="*/ 93 w 94"/>
                  <a:gd name="T1" fmla="*/ 85 h 85"/>
                  <a:gd name="T2" fmla="*/ 91 w 94"/>
                  <a:gd name="T3" fmla="*/ 72 h 85"/>
                  <a:gd name="T4" fmla="*/ 70 w 94"/>
                  <a:gd name="T5" fmla="*/ 61 h 85"/>
                  <a:gd name="T6" fmla="*/ 59 w 94"/>
                  <a:gd name="T7" fmla="*/ 56 h 85"/>
                  <a:gd name="T8" fmla="*/ 59 w 94"/>
                  <a:gd name="T9" fmla="*/ 47 h 85"/>
                  <a:gd name="T10" fmla="*/ 63 w 94"/>
                  <a:gd name="T11" fmla="*/ 36 h 85"/>
                  <a:gd name="T12" fmla="*/ 68 w 94"/>
                  <a:gd name="T13" fmla="*/ 31 h 85"/>
                  <a:gd name="T14" fmla="*/ 65 w 94"/>
                  <a:gd name="T15" fmla="*/ 24 h 85"/>
                  <a:gd name="T16" fmla="*/ 66 w 94"/>
                  <a:gd name="T17" fmla="*/ 15 h 85"/>
                  <a:gd name="T18" fmla="*/ 47 w 94"/>
                  <a:gd name="T19" fmla="*/ 0 h 85"/>
                  <a:gd name="T20" fmla="*/ 29 w 94"/>
                  <a:gd name="T21" fmla="*/ 15 h 85"/>
                  <a:gd name="T22" fmla="*/ 29 w 94"/>
                  <a:gd name="T23" fmla="*/ 24 h 85"/>
                  <a:gd name="T24" fmla="*/ 27 w 94"/>
                  <a:gd name="T25" fmla="*/ 31 h 85"/>
                  <a:gd name="T26" fmla="*/ 31 w 94"/>
                  <a:gd name="T27" fmla="*/ 36 h 85"/>
                  <a:gd name="T28" fmla="*/ 36 w 94"/>
                  <a:gd name="T29" fmla="*/ 47 h 85"/>
                  <a:gd name="T30" fmla="*/ 36 w 94"/>
                  <a:gd name="T31" fmla="*/ 56 h 85"/>
                  <a:gd name="T32" fmla="*/ 24 w 94"/>
                  <a:gd name="T33" fmla="*/ 61 h 85"/>
                  <a:gd name="T34" fmla="*/ 3 w 94"/>
                  <a:gd name="T35" fmla="*/ 72 h 85"/>
                  <a:gd name="T36" fmla="*/ 1 w 94"/>
                  <a:gd name="T37" fmla="*/ 85 h 85"/>
                  <a:gd name="T38" fmla="*/ 93 w 94"/>
                  <a:gd name="T3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4" h="85">
                    <a:moveTo>
                      <a:pt x="93" y="85"/>
                    </a:moveTo>
                    <a:cubicBezTo>
                      <a:pt x="93" y="85"/>
                      <a:pt x="94" y="76"/>
                      <a:pt x="91" y="72"/>
                    </a:cubicBezTo>
                    <a:cubicBezTo>
                      <a:pt x="89" y="68"/>
                      <a:pt x="79" y="65"/>
                      <a:pt x="70" y="61"/>
                    </a:cubicBezTo>
                    <a:cubicBezTo>
                      <a:pt x="61" y="57"/>
                      <a:pt x="59" y="56"/>
                      <a:pt x="59" y="56"/>
                    </a:cubicBezTo>
                    <a:cubicBezTo>
                      <a:pt x="59" y="47"/>
                      <a:pt x="59" y="47"/>
                      <a:pt x="59" y="47"/>
                    </a:cubicBezTo>
                    <a:cubicBezTo>
                      <a:pt x="59" y="47"/>
                      <a:pt x="62" y="45"/>
                      <a:pt x="63" y="36"/>
                    </a:cubicBezTo>
                    <a:cubicBezTo>
                      <a:pt x="65" y="37"/>
                      <a:pt x="68" y="33"/>
                      <a:pt x="68" y="31"/>
                    </a:cubicBezTo>
                    <a:cubicBezTo>
                      <a:pt x="68" y="29"/>
                      <a:pt x="67" y="24"/>
                      <a:pt x="65" y="24"/>
                    </a:cubicBezTo>
                    <a:cubicBezTo>
                      <a:pt x="65" y="20"/>
                      <a:pt x="66" y="17"/>
                      <a:pt x="66" y="15"/>
                    </a:cubicBezTo>
                    <a:cubicBezTo>
                      <a:pt x="65" y="7"/>
                      <a:pt x="58" y="0"/>
                      <a:pt x="47" y="0"/>
                    </a:cubicBezTo>
                    <a:cubicBezTo>
                      <a:pt x="36" y="0"/>
                      <a:pt x="29" y="7"/>
                      <a:pt x="29" y="15"/>
                    </a:cubicBezTo>
                    <a:cubicBezTo>
                      <a:pt x="29" y="17"/>
                      <a:pt x="29" y="20"/>
                      <a:pt x="29" y="24"/>
                    </a:cubicBezTo>
                    <a:cubicBezTo>
                      <a:pt x="27" y="24"/>
                      <a:pt x="26" y="29"/>
                      <a:pt x="27" y="31"/>
                    </a:cubicBezTo>
                    <a:cubicBezTo>
                      <a:pt x="27" y="33"/>
                      <a:pt x="29" y="37"/>
                      <a:pt x="31" y="36"/>
                    </a:cubicBezTo>
                    <a:cubicBezTo>
                      <a:pt x="32" y="45"/>
                      <a:pt x="36" y="47"/>
                      <a:pt x="36" y="47"/>
                    </a:cubicBezTo>
                    <a:cubicBezTo>
                      <a:pt x="36" y="56"/>
                      <a:pt x="36" y="56"/>
                      <a:pt x="36" y="56"/>
                    </a:cubicBezTo>
                    <a:cubicBezTo>
                      <a:pt x="36" y="56"/>
                      <a:pt x="33" y="57"/>
                      <a:pt x="24" y="61"/>
                    </a:cubicBezTo>
                    <a:cubicBezTo>
                      <a:pt x="15" y="65"/>
                      <a:pt x="6" y="68"/>
                      <a:pt x="3" y="72"/>
                    </a:cubicBezTo>
                    <a:cubicBezTo>
                      <a:pt x="0" y="76"/>
                      <a:pt x="1" y="85"/>
                      <a:pt x="1" y="85"/>
                    </a:cubicBezTo>
                    <a:lnTo>
                      <a:pt x="93" y="8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31" name="ï$ľîḓè"/>
              <p:cNvSpPr/>
              <p:nvPr/>
            </p:nvSpPr>
            <p:spPr bwMode="auto">
              <a:xfrm>
                <a:off x="611188" y="157163"/>
                <a:ext cx="303213" cy="7620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32" name="ïšḷíḋé"/>
              <p:cNvSpPr/>
              <p:nvPr/>
            </p:nvSpPr>
            <p:spPr bwMode="auto">
              <a:xfrm>
                <a:off x="611188" y="309563"/>
                <a:ext cx="454024" cy="7620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33" name="i$ḷíḓé"/>
              <p:cNvSpPr/>
              <p:nvPr/>
            </p:nvSpPr>
            <p:spPr bwMode="auto">
              <a:xfrm>
                <a:off x="611188" y="460374"/>
                <a:ext cx="377825" cy="7620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34" name="íṣļiḋe"/>
              <p:cNvSpPr/>
              <p:nvPr/>
            </p:nvSpPr>
            <p:spPr bwMode="auto">
              <a:xfrm>
                <a:off x="4763" y="4763"/>
                <a:ext cx="1212850" cy="836612"/>
              </a:xfrm>
              <a:custGeom>
                <a:avLst/>
                <a:gdLst>
                  <a:gd name="T0" fmla="*/ 0 w 320"/>
                  <a:gd name="T1" fmla="*/ 0 h 220"/>
                  <a:gd name="T2" fmla="*/ 0 w 320"/>
                  <a:gd name="T3" fmla="*/ 220 h 220"/>
                  <a:gd name="T4" fmla="*/ 320 w 320"/>
                  <a:gd name="T5" fmla="*/ 220 h 220"/>
                  <a:gd name="T6" fmla="*/ 320 w 320"/>
                  <a:gd name="T7" fmla="*/ 0 h 220"/>
                  <a:gd name="T8" fmla="*/ 0 w 320"/>
                  <a:gd name="T9" fmla="*/ 0 h 220"/>
                  <a:gd name="T10" fmla="*/ 300 w 320"/>
                  <a:gd name="T11" fmla="*/ 200 h 220"/>
                  <a:gd name="T12" fmla="*/ 258 w 320"/>
                  <a:gd name="T13" fmla="*/ 200 h 220"/>
                  <a:gd name="T14" fmla="*/ 260 w 320"/>
                  <a:gd name="T15" fmla="*/ 190 h 220"/>
                  <a:gd name="T16" fmla="*/ 230 w 320"/>
                  <a:gd name="T17" fmla="*/ 160 h 220"/>
                  <a:gd name="T18" fmla="*/ 200 w 320"/>
                  <a:gd name="T19" fmla="*/ 190 h 220"/>
                  <a:gd name="T20" fmla="*/ 202 w 320"/>
                  <a:gd name="T21" fmla="*/ 200 h 220"/>
                  <a:gd name="T22" fmla="*/ 118 w 320"/>
                  <a:gd name="T23" fmla="*/ 200 h 220"/>
                  <a:gd name="T24" fmla="*/ 120 w 320"/>
                  <a:gd name="T25" fmla="*/ 190 h 220"/>
                  <a:gd name="T26" fmla="*/ 90 w 320"/>
                  <a:gd name="T27" fmla="*/ 160 h 220"/>
                  <a:gd name="T28" fmla="*/ 60 w 320"/>
                  <a:gd name="T29" fmla="*/ 190 h 220"/>
                  <a:gd name="T30" fmla="*/ 62 w 320"/>
                  <a:gd name="T31" fmla="*/ 200 h 220"/>
                  <a:gd name="T32" fmla="*/ 20 w 320"/>
                  <a:gd name="T33" fmla="*/ 200 h 220"/>
                  <a:gd name="T34" fmla="*/ 20 w 320"/>
                  <a:gd name="T35" fmla="*/ 20 h 220"/>
                  <a:gd name="T36" fmla="*/ 300 w 320"/>
                  <a:gd name="T37" fmla="*/ 20 h 220"/>
                  <a:gd name="T38" fmla="*/ 300 w 320"/>
                  <a:gd name="T39" fmla="*/ 20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0" h="220">
                    <a:moveTo>
                      <a:pt x="0" y="0"/>
                    </a:moveTo>
                    <a:cubicBezTo>
                      <a:pt x="0" y="220"/>
                      <a:pt x="0" y="220"/>
                      <a:pt x="0" y="220"/>
                    </a:cubicBezTo>
                    <a:cubicBezTo>
                      <a:pt x="320" y="220"/>
                      <a:pt x="320" y="220"/>
                      <a:pt x="320" y="220"/>
                    </a:cubicBezTo>
                    <a:cubicBezTo>
                      <a:pt x="320" y="0"/>
                      <a:pt x="320" y="0"/>
                      <a:pt x="320" y="0"/>
                    </a:cubicBezTo>
                    <a:lnTo>
                      <a:pt x="0" y="0"/>
                    </a:lnTo>
                    <a:close/>
                    <a:moveTo>
                      <a:pt x="300" y="200"/>
                    </a:moveTo>
                    <a:cubicBezTo>
                      <a:pt x="258" y="200"/>
                      <a:pt x="258" y="200"/>
                      <a:pt x="258" y="200"/>
                    </a:cubicBezTo>
                    <a:cubicBezTo>
                      <a:pt x="259" y="197"/>
                      <a:pt x="260" y="194"/>
                      <a:pt x="260" y="190"/>
                    </a:cubicBezTo>
                    <a:cubicBezTo>
                      <a:pt x="260" y="173"/>
                      <a:pt x="247" y="160"/>
                      <a:pt x="230" y="160"/>
                    </a:cubicBezTo>
                    <a:cubicBezTo>
                      <a:pt x="213" y="160"/>
                      <a:pt x="200" y="173"/>
                      <a:pt x="200" y="190"/>
                    </a:cubicBezTo>
                    <a:cubicBezTo>
                      <a:pt x="200" y="194"/>
                      <a:pt x="201" y="197"/>
                      <a:pt x="202" y="200"/>
                    </a:cubicBezTo>
                    <a:cubicBezTo>
                      <a:pt x="118" y="200"/>
                      <a:pt x="118" y="200"/>
                      <a:pt x="118" y="200"/>
                    </a:cubicBezTo>
                    <a:cubicBezTo>
                      <a:pt x="119" y="197"/>
                      <a:pt x="120" y="194"/>
                      <a:pt x="120" y="190"/>
                    </a:cubicBezTo>
                    <a:cubicBezTo>
                      <a:pt x="120" y="173"/>
                      <a:pt x="107" y="160"/>
                      <a:pt x="90" y="160"/>
                    </a:cubicBezTo>
                    <a:cubicBezTo>
                      <a:pt x="73" y="160"/>
                      <a:pt x="60" y="173"/>
                      <a:pt x="60" y="190"/>
                    </a:cubicBezTo>
                    <a:cubicBezTo>
                      <a:pt x="60" y="194"/>
                      <a:pt x="61" y="197"/>
                      <a:pt x="62" y="200"/>
                    </a:cubicBezTo>
                    <a:cubicBezTo>
                      <a:pt x="20" y="200"/>
                      <a:pt x="20" y="200"/>
                      <a:pt x="20" y="200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300" y="20"/>
                      <a:pt x="300" y="20"/>
                      <a:pt x="300" y="20"/>
                    </a:cubicBezTo>
                    <a:lnTo>
                      <a:pt x="300" y="20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</p:grpSp>
        <p:sp>
          <p:nvSpPr>
            <p:cNvPr id="11" name="ïṧḷïḋè"/>
            <p:cNvSpPr txBox="1"/>
            <p:nvPr/>
          </p:nvSpPr>
          <p:spPr>
            <a:xfrm>
              <a:off x="7033921" y="2844490"/>
              <a:ext cx="3607079" cy="369332"/>
            </a:xfrm>
            <a:prstGeom prst="rect">
              <a:avLst/>
            </a:prstGeom>
            <a:noFill/>
          </p:spPr>
          <p:txBody>
            <a:bodyPr wrap="none">
              <a:normAutofit/>
            </a:bodyPr>
            <a:p>
              <a:r>
                <a:rPr lang="en-US" b="1" dirty="0"/>
                <a:t>Mark office position</a:t>
              </a:r>
              <a:endParaRPr lang="en-US" b="1" dirty="0"/>
            </a:p>
          </p:txBody>
        </p:sp>
        <p:grpSp>
          <p:nvGrpSpPr>
            <p:cNvPr id="13" name="iS1íḓè"/>
            <p:cNvGrpSpPr/>
            <p:nvPr/>
          </p:nvGrpSpPr>
          <p:grpSpPr>
            <a:xfrm>
              <a:off x="6488938" y="3978948"/>
              <a:ext cx="532633" cy="506816"/>
              <a:chOff x="1586" y="4763"/>
              <a:chExt cx="6746880" cy="6419850"/>
            </a:xfrm>
            <a:solidFill>
              <a:schemeClr val="accent3"/>
            </a:solidFill>
          </p:grpSpPr>
          <p:sp>
            <p:nvSpPr>
              <p:cNvPr id="23" name="í$liḑè"/>
              <p:cNvSpPr/>
              <p:nvPr/>
            </p:nvSpPr>
            <p:spPr bwMode="auto">
              <a:xfrm>
                <a:off x="1586" y="4763"/>
                <a:ext cx="6746880" cy="6419850"/>
              </a:xfrm>
              <a:custGeom>
                <a:avLst/>
                <a:gdLst>
                  <a:gd name="T0" fmla="*/ 1645 w 1796"/>
                  <a:gd name="T1" fmla="*/ 0 h 1709"/>
                  <a:gd name="T2" fmla="*/ 151 w 1796"/>
                  <a:gd name="T3" fmla="*/ 0 h 1709"/>
                  <a:gd name="T4" fmla="*/ 0 w 1796"/>
                  <a:gd name="T5" fmla="*/ 151 h 1709"/>
                  <a:gd name="T6" fmla="*/ 0 w 1796"/>
                  <a:gd name="T7" fmla="*/ 1307 h 1709"/>
                  <a:gd name="T8" fmla="*/ 151 w 1796"/>
                  <a:gd name="T9" fmla="*/ 1458 h 1709"/>
                  <a:gd name="T10" fmla="*/ 606 w 1796"/>
                  <a:gd name="T11" fmla="*/ 1458 h 1709"/>
                  <a:gd name="T12" fmla="*/ 526 w 1796"/>
                  <a:gd name="T13" fmla="*/ 1545 h 1709"/>
                  <a:gd name="T14" fmla="*/ 483 w 1796"/>
                  <a:gd name="T15" fmla="*/ 1590 h 1709"/>
                  <a:gd name="T16" fmla="*/ 479 w 1796"/>
                  <a:gd name="T17" fmla="*/ 1659 h 1709"/>
                  <a:gd name="T18" fmla="*/ 593 w 1796"/>
                  <a:gd name="T19" fmla="*/ 1709 h 1709"/>
                  <a:gd name="T20" fmla="*/ 1203 w 1796"/>
                  <a:gd name="T21" fmla="*/ 1709 h 1709"/>
                  <a:gd name="T22" fmla="*/ 1316 w 1796"/>
                  <a:gd name="T23" fmla="*/ 1659 h 1709"/>
                  <a:gd name="T24" fmla="*/ 1312 w 1796"/>
                  <a:gd name="T25" fmla="*/ 1590 h 1709"/>
                  <a:gd name="T26" fmla="*/ 1270 w 1796"/>
                  <a:gd name="T27" fmla="*/ 1545 h 1709"/>
                  <a:gd name="T28" fmla="*/ 1190 w 1796"/>
                  <a:gd name="T29" fmla="*/ 1458 h 1709"/>
                  <a:gd name="T30" fmla="*/ 1645 w 1796"/>
                  <a:gd name="T31" fmla="*/ 1458 h 1709"/>
                  <a:gd name="T32" fmla="*/ 1796 w 1796"/>
                  <a:gd name="T33" fmla="*/ 1307 h 1709"/>
                  <a:gd name="T34" fmla="*/ 1796 w 1796"/>
                  <a:gd name="T35" fmla="*/ 151 h 1709"/>
                  <a:gd name="T36" fmla="*/ 1645 w 1796"/>
                  <a:gd name="T37" fmla="*/ 0 h 1709"/>
                  <a:gd name="T38" fmla="*/ 1231 w 1796"/>
                  <a:gd name="T39" fmla="*/ 1585 h 1709"/>
                  <a:gd name="T40" fmla="*/ 1267 w 1796"/>
                  <a:gd name="T41" fmla="*/ 1622 h 1709"/>
                  <a:gd name="T42" fmla="*/ 1265 w 1796"/>
                  <a:gd name="T43" fmla="*/ 1635 h 1709"/>
                  <a:gd name="T44" fmla="*/ 1203 w 1796"/>
                  <a:gd name="T45" fmla="*/ 1653 h 1709"/>
                  <a:gd name="T46" fmla="*/ 593 w 1796"/>
                  <a:gd name="T47" fmla="*/ 1653 h 1709"/>
                  <a:gd name="T48" fmla="*/ 530 w 1796"/>
                  <a:gd name="T49" fmla="*/ 1635 h 1709"/>
                  <a:gd name="T50" fmla="*/ 528 w 1796"/>
                  <a:gd name="T51" fmla="*/ 1623 h 1709"/>
                  <a:gd name="T52" fmla="*/ 528 w 1796"/>
                  <a:gd name="T53" fmla="*/ 1623 h 1709"/>
                  <a:gd name="T54" fmla="*/ 565 w 1796"/>
                  <a:gd name="T55" fmla="*/ 1585 h 1709"/>
                  <a:gd name="T56" fmla="*/ 672 w 1796"/>
                  <a:gd name="T57" fmla="*/ 1458 h 1709"/>
                  <a:gd name="T58" fmla="*/ 1124 w 1796"/>
                  <a:gd name="T59" fmla="*/ 1458 h 1709"/>
                  <a:gd name="T60" fmla="*/ 1231 w 1796"/>
                  <a:gd name="T61" fmla="*/ 1585 h 1709"/>
                  <a:gd name="T62" fmla="*/ 1684 w 1796"/>
                  <a:gd name="T63" fmla="*/ 1307 h 1709"/>
                  <a:gd name="T64" fmla="*/ 1645 w 1796"/>
                  <a:gd name="T65" fmla="*/ 1346 h 1709"/>
                  <a:gd name="T66" fmla="*/ 151 w 1796"/>
                  <a:gd name="T67" fmla="*/ 1346 h 1709"/>
                  <a:gd name="T68" fmla="*/ 112 w 1796"/>
                  <a:gd name="T69" fmla="*/ 1307 h 1709"/>
                  <a:gd name="T70" fmla="*/ 112 w 1796"/>
                  <a:gd name="T71" fmla="*/ 151 h 1709"/>
                  <a:gd name="T72" fmla="*/ 151 w 1796"/>
                  <a:gd name="T73" fmla="*/ 112 h 1709"/>
                  <a:gd name="T74" fmla="*/ 1645 w 1796"/>
                  <a:gd name="T75" fmla="*/ 112 h 1709"/>
                  <a:gd name="T76" fmla="*/ 1684 w 1796"/>
                  <a:gd name="T77" fmla="*/ 151 h 1709"/>
                  <a:gd name="T78" fmla="*/ 1684 w 1796"/>
                  <a:gd name="T79" fmla="*/ 1307 h 1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796" h="1709">
                    <a:moveTo>
                      <a:pt x="1645" y="0"/>
                    </a:moveTo>
                    <a:cubicBezTo>
                      <a:pt x="151" y="0"/>
                      <a:pt x="151" y="0"/>
                      <a:pt x="151" y="0"/>
                    </a:cubicBezTo>
                    <a:cubicBezTo>
                      <a:pt x="68" y="0"/>
                      <a:pt x="0" y="67"/>
                      <a:pt x="0" y="151"/>
                    </a:cubicBezTo>
                    <a:cubicBezTo>
                      <a:pt x="0" y="1307"/>
                      <a:pt x="0" y="1307"/>
                      <a:pt x="0" y="1307"/>
                    </a:cubicBezTo>
                    <a:cubicBezTo>
                      <a:pt x="0" y="1390"/>
                      <a:pt x="68" y="1458"/>
                      <a:pt x="151" y="1458"/>
                    </a:cubicBezTo>
                    <a:cubicBezTo>
                      <a:pt x="606" y="1458"/>
                      <a:pt x="606" y="1458"/>
                      <a:pt x="606" y="1458"/>
                    </a:cubicBezTo>
                    <a:cubicBezTo>
                      <a:pt x="582" y="1488"/>
                      <a:pt x="544" y="1527"/>
                      <a:pt x="526" y="1545"/>
                    </a:cubicBezTo>
                    <a:cubicBezTo>
                      <a:pt x="506" y="1564"/>
                      <a:pt x="491" y="1579"/>
                      <a:pt x="483" y="1590"/>
                    </a:cubicBezTo>
                    <a:cubicBezTo>
                      <a:pt x="472" y="1605"/>
                      <a:pt x="467" y="1634"/>
                      <a:pt x="479" y="1659"/>
                    </a:cubicBezTo>
                    <a:cubicBezTo>
                      <a:pt x="491" y="1682"/>
                      <a:pt x="520" y="1709"/>
                      <a:pt x="593" y="1709"/>
                    </a:cubicBezTo>
                    <a:cubicBezTo>
                      <a:pt x="1203" y="1709"/>
                      <a:pt x="1203" y="1709"/>
                      <a:pt x="1203" y="1709"/>
                    </a:cubicBezTo>
                    <a:cubicBezTo>
                      <a:pt x="1276" y="1709"/>
                      <a:pt x="1305" y="1682"/>
                      <a:pt x="1316" y="1659"/>
                    </a:cubicBezTo>
                    <a:cubicBezTo>
                      <a:pt x="1329" y="1634"/>
                      <a:pt x="1324" y="1605"/>
                      <a:pt x="1312" y="1590"/>
                    </a:cubicBezTo>
                    <a:cubicBezTo>
                      <a:pt x="1304" y="1579"/>
                      <a:pt x="1289" y="1564"/>
                      <a:pt x="1270" y="1545"/>
                    </a:cubicBezTo>
                    <a:cubicBezTo>
                      <a:pt x="1252" y="1527"/>
                      <a:pt x="1213" y="1488"/>
                      <a:pt x="1190" y="1458"/>
                    </a:cubicBezTo>
                    <a:cubicBezTo>
                      <a:pt x="1645" y="1458"/>
                      <a:pt x="1645" y="1458"/>
                      <a:pt x="1645" y="1458"/>
                    </a:cubicBezTo>
                    <a:cubicBezTo>
                      <a:pt x="1728" y="1458"/>
                      <a:pt x="1796" y="1390"/>
                      <a:pt x="1796" y="1307"/>
                    </a:cubicBezTo>
                    <a:cubicBezTo>
                      <a:pt x="1796" y="151"/>
                      <a:pt x="1796" y="151"/>
                      <a:pt x="1796" y="151"/>
                    </a:cubicBezTo>
                    <a:cubicBezTo>
                      <a:pt x="1796" y="67"/>
                      <a:pt x="1728" y="0"/>
                      <a:pt x="1645" y="0"/>
                    </a:cubicBezTo>
                    <a:close/>
                    <a:moveTo>
                      <a:pt x="1231" y="1585"/>
                    </a:moveTo>
                    <a:cubicBezTo>
                      <a:pt x="1247" y="1601"/>
                      <a:pt x="1262" y="1616"/>
                      <a:pt x="1267" y="1622"/>
                    </a:cubicBezTo>
                    <a:cubicBezTo>
                      <a:pt x="1267" y="1622"/>
                      <a:pt x="1269" y="1629"/>
                      <a:pt x="1265" y="1635"/>
                    </a:cubicBezTo>
                    <a:cubicBezTo>
                      <a:pt x="1258" y="1646"/>
                      <a:pt x="1235" y="1653"/>
                      <a:pt x="1203" y="1653"/>
                    </a:cubicBezTo>
                    <a:cubicBezTo>
                      <a:pt x="593" y="1653"/>
                      <a:pt x="593" y="1653"/>
                      <a:pt x="593" y="1653"/>
                    </a:cubicBezTo>
                    <a:cubicBezTo>
                      <a:pt x="561" y="1653"/>
                      <a:pt x="538" y="1646"/>
                      <a:pt x="530" y="1635"/>
                    </a:cubicBezTo>
                    <a:cubicBezTo>
                      <a:pt x="527" y="1629"/>
                      <a:pt x="528" y="1623"/>
                      <a:pt x="528" y="1623"/>
                    </a:cubicBezTo>
                    <a:cubicBezTo>
                      <a:pt x="528" y="1623"/>
                      <a:pt x="528" y="1623"/>
                      <a:pt x="528" y="1623"/>
                    </a:cubicBezTo>
                    <a:cubicBezTo>
                      <a:pt x="534" y="1616"/>
                      <a:pt x="549" y="1601"/>
                      <a:pt x="565" y="1585"/>
                    </a:cubicBezTo>
                    <a:cubicBezTo>
                      <a:pt x="614" y="1536"/>
                      <a:pt x="654" y="1494"/>
                      <a:pt x="672" y="1458"/>
                    </a:cubicBezTo>
                    <a:cubicBezTo>
                      <a:pt x="1124" y="1458"/>
                      <a:pt x="1124" y="1458"/>
                      <a:pt x="1124" y="1458"/>
                    </a:cubicBezTo>
                    <a:cubicBezTo>
                      <a:pt x="1142" y="1494"/>
                      <a:pt x="1182" y="1536"/>
                      <a:pt x="1231" y="1585"/>
                    </a:cubicBezTo>
                    <a:close/>
                    <a:moveTo>
                      <a:pt x="1684" y="1307"/>
                    </a:moveTo>
                    <a:cubicBezTo>
                      <a:pt x="1684" y="1328"/>
                      <a:pt x="1666" y="1346"/>
                      <a:pt x="1645" y="1346"/>
                    </a:cubicBezTo>
                    <a:cubicBezTo>
                      <a:pt x="151" y="1346"/>
                      <a:pt x="151" y="1346"/>
                      <a:pt x="151" y="1346"/>
                    </a:cubicBezTo>
                    <a:cubicBezTo>
                      <a:pt x="129" y="1346"/>
                      <a:pt x="112" y="1328"/>
                      <a:pt x="112" y="1307"/>
                    </a:cubicBezTo>
                    <a:cubicBezTo>
                      <a:pt x="112" y="151"/>
                      <a:pt x="112" y="151"/>
                      <a:pt x="112" y="151"/>
                    </a:cubicBezTo>
                    <a:cubicBezTo>
                      <a:pt x="112" y="129"/>
                      <a:pt x="129" y="112"/>
                      <a:pt x="151" y="112"/>
                    </a:cubicBezTo>
                    <a:cubicBezTo>
                      <a:pt x="1645" y="112"/>
                      <a:pt x="1645" y="112"/>
                      <a:pt x="1645" y="112"/>
                    </a:cubicBezTo>
                    <a:cubicBezTo>
                      <a:pt x="1666" y="112"/>
                      <a:pt x="1684" y="129"/>
                      <a:pt x="1684" y="151"/>
                    </a:cubicBezTo>
                    <a:lnTo>
                      <a:pt x="1684" y="130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24" name="îṣlîḋê"/>
              <p:cNvSpPr/>
              <p:nvPr/>
            </p:nvSpPr>
            <p:spPr bwMode="auto">
              <a:xfrm>
                <a:off x="842956" y="846132"/>
                <a:ext cx="5064128" cy="3376611"/>
              </a:xfrm>
              <a:custGeom>
                <a:avLst/>
                <a:gdLst>
                  <a:gd name="T0" fmla="*/ 1252 w 1348"/>
                  <a:gd name="T1" fmla="*/ 0 h 899"/>
                  <a:gd name="T2" fmla="*/ 96 w 1348"/>
                  <a:gd name="T3" fmla="*/ 0 h 899"/>
                  <a:gd name="T4" fmla="*/ 0 w 1348"/>
                  <a:gd name="T5" fmla="*/ 95 h 899"/>
                  <a:gd name="T6" fmla="*/ 0 w 1348"/>
                  <a:gd name="T7" fmla="*/ 803 h 899"/>
                  <a:gd name="T8" fmla="*/ 96 w 1348"/>
                  <a:gd name="T9" fmla="*/ 899 h 899"/>
                  <a:gd name="T10" fmla="*/ 1252 w 1348"/>
                  <a:gd name="T11" fmla="*/ 899 h 899"/>
                  <a:gd name="T12" fmla="*/ 1348 w 1348"/>
                  <a:gd name="T13" fmla="*/ 803 h 899"/>
                  <a:gd name="T14" fmla="*/ 1348 w 1348"/>
                  <a:gd name="T15" fmla="*/ 95 h 899"/>
                  <a:gd name="T16" fmla="*/ 1252 w 1348"/>
                  <a:gd name="T17" fmla="*/ 0 h 899"/>
                  <a:gd name="T18" fmla="*/ 1291 w 1348"/>
                  <a:gd name="T19" fmla="*/ 803 h 899"/>
                  <a:gd name="T20" fmla="*/ 1252 w 1348"/>
                  <a:gd name="T21" fmla="*/ 843 h 899"/>
                  <a:gd name="T22" fmla="*/ 96 w 1348"/>
                  <a:gd name="T23" fmla="*/ 843 h 899"/>
                  <a:gd name="T24" fmla="*/ 56 w 1348"/>
                  <a:gd name="T25" fmla="*/ 803 h 899"/>
                  <a:gd name="T26" fmla="*/ 56 w 1348"/>
                  <a:gd name="T27" fmla="*/ 95 h 899"/>
                  <a:gd name="T28" fmla="*/ 96 w 1348"/>
                  <a:gd name="T29" fmla="*/ 56 h 899"/>
                  <a:gd name="T30" fmla="*/ 1252 w 1348"/>
                  <a:gd name="T31" fmla="*/ 56 h 899"/>
                  <a:gd name="T32" fmla="*/ 1291 w 1348"/>
                  <a:gd name="T33" fmla="*/ 95 h 899"/>
                  <a:gd name="T34" fmla="*/ 1291 w 1348"/>
                  <a:gd name="T35" fmla="*/ 803 h 8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48" h="899">
                    <a:moveTo>
                      <a:pt x="1252" y="0"/>
                    </a:moveTo>
                    <a:cubicBezTo>
                      <a:pt x="96" y="0"/>
                      <a:pt x="96" y="0"/>
                      <a:pt x="96" y="0"/>
                    </a:cubicBezTo>
                    <a:cubicBezTo>
                      <a:pt x="43" y="0"/>
                      <a:pt x="0" y="43"/>
                      <a:pt x="0" y="95"/>
                    </a:cubicBezTo>
                    <a:cubicBezTo>
                      <a:pt x="0" y="803"/>
                      <a:pt x="0" y="803"/>
                      <a:pt x="0" y="803"/>
                    </a:cubicBezTo>
                    <a:cubicBezTo>
                      <a:pt x="0" y="856"/>
                      <a:pt x="43" y="899"/>
                      <a:pt x="96" y="899"/>
                    </a:cubicBezTo>
                    <a:cubicBezTo>
                      <a:pt x="1252" y="899"/>
                      <a:pt x="1252" y="899"/>
                      <a:pt x="1252" y="899"/>
                    </a:cubicBezTo>
                    <a:cubicBezTo>
                      <a:pt x="1305" y="899"/>
                      <a:pt x="1348" y="856"/>
                      <a:pt x="1348" y="803"/>
                    </a:cubicBezTo>
                    <a:cubicBezTo>
                      <a:pt x="1348" y="95"/>
                      <a:pt x="1348" y="95"/>
                      <a:pt x="1348" y="95"/>
                    </a:cubicBezTo>
                    <a:cubicBezTo>
                      <a:pt x="1348" y="43"/>
                      <a:pt x="1305" y="0"/>
                      <a:pt x="1252" y="0"/>
                    </a:cubicBezTo>
                    <a:close/>
                    <a:moveTo>
                      <a:pt x="1291" y="803"/>
                    </a:moveTo>
                    <a:cubicBezTo>
                      <a:pt x="1291" y="825"/>
                      <a:pt x="1274" y="843"/>
                      <a:pt x="1252" y="843"/>
                    </a:cubicBezTo>
                    <a:cubicBezTo>
                      <a:pt x="96" y="843"/>
                      <a:pt x="96" y="843"/>
                      <a:pt x="96" y="843"/>
                    </a:cubicBezTo>
                    <a:cubicBezTo>
                      <a:pt x="74" y="843"/>
                      <a:pt x="56" y="825"/>
                      <a:pt x="56" y="803"/>
                    </a:cubicBezTo>
                    <a:cubicBezTo>
                      <a:pt x="56" y="95"/>
                      <a:pt x="56" y="95"/>
                      <a:pt x="56" y="95"/>
                    </a:cubicBezTo>
                    <a:cubicBezTo>
                      <a:pt x="56" y="74"/>
                      <a:pt x="74" y="56"/>
                      <a:pt x="96" y="56"/>
                    </a:cubicBezTo>
                    <a:cubicBezTo>
                      <a:pt x="1252" y="56"/>
                      <a:pt x="1252" y="56"/>
                      <a:pt x="1252" y="56"/>
                    </a:cubicBezTo>
                    <a:cubicBezTo>
                      <a:pt x="1274" y="56"/>
                      <a:pt x="1291" y="74"/>
                      <a:pt x="1291" y="95"/>
                    </a:cubicBezTo>
                    <a:lnTo>
                      <a:pt x="1291" y="8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25" name="íṣļíḍê"/>
              <p:cNvSpPr/>
              <p:nvPr/>
            </p:nvSpPr>
            <p:spPr bwMode="auto">
              <a:xfrm>
                <a:off x="3059117" y="4321178"/>
                <a:ext cx="631832" cy="630235"/>
              </a:xfrm>
              <a:custGeom>
                <a:avLst/>
                <a:gdLst>
                  <a:gd name="T0" fmla="*/ 84 w 168"/>
                  <a:gd name="T1" fmla="*/ 0 h 168"/>
                  <a:gd name="T2" fmla="*/ 0 w 168"/>
                  <a:gd name="T3" fmla="*/ 84 h 168"/>
                  <a:gd name="T4" fmla="*/ 84 w 168"/>
                  <a:gd name="T5" fmla="*/ 168 h 168"/>
                  <a:gd name="T6" fmla="*/ 168 w 168"/>
                  <a:gd name="T7" fmla="*/ 84 h 168"/>
                  <a:gd name="T8" fmla="*/ 84 w 168"/>
                  <a:gd name="T9" fmla="*/ 0 h 168"/>
                  <a:gd name="T10" fmla="*/ 84 w 168"/>
                  <a:gd name="T11" fmla="*/ 112 h 168"/>
                  <a:gd name="T12" fmla="*/ 56 w 168"/>
                  <a:gd name="T13" fmla="*/ 84 h 168"/>
                  <a:gd name="T14" fmla="*/ 84 w 168"/>
                  <a:gd name="T15" fmla="*/ 56 h 168"/>
                  <a:gd name="T16" fmla="*/ 112 w 168"/>
                  <a:gd name="T17" fmla="*/ 84 h 168"/>
                  <a:gd name="T18" fmla="*/ 84 w 168"/>
                  <a:gd name="T19" fmla="*/ 112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0"/>
                    </a:moveTo>
                    <a:cubicBezTo>
                      <a:pt x="38" y="0"/>
                      <a:pt x="0" y="38"/>
                      <a:pt x="0" y="84"/>
                    </a:cubicBezTo>
                    <a:cubicBezTo>
                      <a:pt x="0" y="131"/>
                      <a:pt x="38" y="168"/>
                      <a:pt x="84" y="168"/>
                    </a:cubicBezTo>
                    <a:cubicBezTo>
                      <a:pt x="130" y="168"/>
                      <a:pt x="168" y="131"/>
                      <a:pt x="168" y="84"/>
                    </a:cubicBezTo>
                    <a:cubicBezTo>
                      <a:pt x="168" y="38"/>
                      <a:pt x="130" y="0"/>
                      <a:pt x="84" y="0"/>
                    </a:cubicBezTo>
                    <a:close/>
                    <a:moveTo>
                      <a:pt x="84" y="112"/>
                    </a:moveTo>
                    <a:cubicBezTo>
                      <a:pt x="68" y="112"/>
                      <a:pt x="56" y="100"/>
                      <a:pt x="56" y="84"/>
                    </a:cubicBezTo>
                    <a:cubicBezTo>
                      <a:pt x="56" y="69"/>
                      <a:pt x="68" y="56"/>
                      <a:pt x="84" y="56"/>
                    </a:cubicBezTo>
                    <a:cubicBezTo>
                      <a:pt x="99" y="56"/>
                      <a:pt x="112" y="69"/>
                      <a:pt x="112" y="84"/>
                    </a:cubicBezTo>
                    <a:cubicBezTo>
                      <a:pt x="112" y="100"/>
                      <a:pt x="99" y="112"/>
                      <a:pt x="84" y="1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26" name="íšḻiḓê"/>
              <p:cNvSpPr/>
              <p:nvPr/>
            </p:nvSpPr>
            <p:spPr bwMode="auto">
              <a:xfrm>
                <a:off x="2528888" y="2533646"/>
                <a:ext cx="628652" cy="1262066"/>
              </a:xfrm>
              <a:custGeom>
                <a:avLst/>
                <a:gdLst>
                  <a:gd name="T0" fmla="*/ 125 w 167"/>
                  <a:gd name="T1" fmla="*/ 0 h 336"/>
                  <a:gd name="T2" fmla="*/ 42 w 167"/>
                  <a:gd name="T3" fmla="*/ 0 h 336"/>
                  <a:gd name="T4" fmla="*/ 0 w 167"/>
                  <a:gd name="T5" fmla="*/ 42 h 336"/>
                  <a:gd name="T6" fmla="*/ 0 w 167"/>
                  <a:gd name="T7" fmla="*/ 294 h 336"/>
                  <a:gd name="T8" fmla="*/ 42 w 167"/>
                  <a:gd name="T9" fmla="*/ 336 h 336"/>
                  <a:gd name="T10" fmla="*/ 125 w 167"/>
                  <a:gd name="T11" fmla="*/ 336 h 336"/>
                  <a:gd name="T12" fmla="*/ 167 w 167"/>
                  <a:gd name="T13" fmla="*/ 294 h 336"/>
                  <a:gd name="T14" fmla="*/ 167 w 167"/>
                  <a:gd name="T15" fmla="*/ 42 h 336"/>
                  <a:gd name="T16" fmla="*/ 125 w 167"/>
                  <a:gd name="T17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7" h="336">
                    <a:moveTo>
                      <a:pt x="125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19" y="0"/>
                      <a:pt x="0" y="18"/>
                      <a:pt x="0" y="42"/>
                    </a:cubicBezTo>
                    <a:cubicBezTo>
                      <a:pt x="0" y="294"/>
                      <a:pt x="0" y="294"/>
                      <a:pt x="0" y="294"/>
                    </a:cubicBezTo>
                    <a:cubicBezTo>
                      <a:pt x="0" y="317"/>
                      <a:pt x="19" y="336"/>
                      <a:pt x="42" y="336"/>
                    </a:cubicBezTo>
                    <a:cubicBezTo>
                      <a:pt x="125" y="336"/>
                      <a:pt x="125" y="336"/>
                      <a:pt x="125" y="336"/>
                    </a:cubicBezTo>
                    <a:cubicBezTo>
                      <a:pt x="148" y="336"/>
                      <a:pt x="167" y="317"/>
                      <a:pt x="167" y="294"/>
                    </a:cubicBezTo>
                    <a:cubicBezTo>
                      <a:pt x="167" y="42"/>
                      <a:pt x="167" y="42"/>
                      <a:pt x="167" y="42"/>
                    </a:cubicBezTo>
                    <a:cubicBezTo>
                      <a:pt x="167" y="18"/>
                      <a:pt x="148" y="0"/>
                      <a:pt x="1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27" name="îsḷíďê"/>
              <p:cNvSpPr/>
              <p:nvPr/>
            </p:nvSpPr>
            <p:spPr bwMode="auto">
              <a:xfrm>
                <a:off x="4632325" y="1266829"/>
                <a:ext cx="634998" cy="2528883"/>
              </a:xfrm>
              <a:custGeom>
                <a:avLst/>
                <a:gdLst>
                  <a:gd name="T0" fmla="*/ 126 w 169"/>
                  <a:gd name="T1" fmla="*/ 0 h 673"/>
                  <a:gd name="T2" fmla="*/ 42 w 169"/>
                  <a:gd name="T3" fmla="*/ 0 h 673"/>
                  <a:gd name="T4" fmla="*/ 0 w 169"/>
                  <a:gd name="T5" fmla="*/ 41 h 673"/>
                  <a:gd name="T6" fmla="*/ 0 w 169"/>
                  <a:gd name="T7" fmla="*/ 632 h 673"/>
                  <a:gd name="T8" fmla="*/ 42 w 169"/>
                  <a:gd name="T9" fmla="*/ 673 h 673"/>
                  <a:gd name="T10" fmla="*/ 126 w 169"/>
                  <a:gd name="T11" fmla="*/ 673 h 673"/>
                  <a:gd name="T12" fmla="*/ 169 w 169"/>
                  <a:gd name="T13" fmla="*/ 632 h 673"/>
                  <a:gd name="T14" fmla="*/ 169 w 169"/>
                  <a:gd name="T15" fmla="*/ 41 h 673"/>
                  <a:gd name="T16" fmla="*/ 126 w 169"/>
                  <a:gd name="T17" fmla="*/ 0 h 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9" h="673">
                    <a:moveTo>
                      <a:pt x="126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19" y="0"/>
                      <a:pt x="0" y="19"/>
                      <a:pt x="0" y="41"/>
                    </a:cubicBezTo>
                    <a:cubicBezTo>
                      <a:pt x="0" y="632"/>
                      <a:pt x="0" y="632"/>
                      <a:pt x="0" y="632"/>
                    </a:cubicBezTo>
                    <a:cubicBezTo>
                      <a:pt x="0" y="655"/>
                      <a:pt x="19" y="673"/>
                      <a:pt x="42" y="673"/>
                    </a:cubicBezTo>
                    <a:cubicBezTo>
                      <a:pt x="126" y="673"/>
                      <a:pt x="126" y="673"/>
                      <a:pt x="126" y="673"/>
                    </a:cubicBezTo>
                    <a:cubicBezTo>
                      <a:pt x="150" y="673"/>
                      <a:pt x="169" y="655"/>
                      <a:pt x="169" y="632"/>
                    </a:cubicBezTo>
                    <a:cubicBezTo>
                      <a:pt x="169" y="41"/>
                      <a:pt x="169" y="41"/>
                      <a:pt x="169" y="41"/>
                    </a:cubicBezTo>
                    <a:cubicBezTo>
                      <a:pt x="169" y="19"/>
                      <a:pt x="150" y="0"/>
                      <a:pt x="12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28" name="ïślîdé"/>
              <p:cNvSpPr/>
              <p:nvPr/>
            </p:nvSpPr>
            <p:spPr bwMode="auto">
              <a:xfrm>
                <a:off x="3584571" y="2112961"/>
                <a:ext cx="627069" cy="1682751"/>
              </a:xfrm>
              <a:custGeom>
                <a:avLst/>
                <a:gdLst>
                  <a:gd name="T0" fmla="*/ 125 w 167"/>
                  <a:gd name="T1" fmla="*/ 0 h 448"/>
                  <a:gd name="T2" fmla="*/ 41 w 167"/>
                  <a:gd name="T3" fmla="*/ 0 h 448"/>
                  <a:gd name="T4" fmla="*/ 0 w 167"/>
                  <a:gd name="T5" fmla="*/ 40 h 448"/>
                  <a:gd name="T6" fmla="*/ 0 w 167"/>
                  <a:gd name="T7" fmla="*/ 407 h 448"/>
                  <a:gd name="T8" fmla="*/ 41 w 167"/>
                  <a:gd name="T9" fmla="*/ 448 h 448"/>
                  <a:gd name="T10" fmla="*/ 125 w 167"/>
                  <a:gd name="T11" fmla="*/ 448 h 448"/>
                  <a:gd name="T12" fmla="*/ 167 w 167"/>
                  <a:gd name="T13" fmla="*/ 407 h 448"/>
                  <a:gd name="T14" fmla="*/ 167 w 167"/>
                  <a:gd name="T15" fmla="*/ 40 h 448"/>
                  <a:gd name="T16" fmla="*/ 125 w 167"/>
                  <a:gd name="T17" fmla="*/ 0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7" h="448">
                    <a:moveTo>
                      <a:pt x="125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407"/>
                      <a:pt x="0" y="407"/>
                      <a:pt x="0" y="407"/>
                    </a:cubicBezTo>
                    <a:cubicBezTo>
                      <a:pt x="0" y="430"/>
                      <a:pt x="18" y="448"/>
                      <a:pt x="41" y="448"/>
                    </a:cubicBezTo>
                    <a:cubicBezTo>
                      <a:pt x="125" y="448"/>
                      <a:pt x="125" y="448"/>
                      <a:pt x="125" y="448"/>
                    </a:cubicBezTo>
                    <a:cubicBezTo>
                      <a:pt x="148" y="448"/>
                      <a:pt x="167" y="430"/>
                      <a:pt x="167" y="407"/>
                    </a:cubicBezTo>
                    <a:cubicBezTo>
                      <a:pt x="167" y="40"/>
                      <a:pt x="167" y="40"/>
                      <a:pt x="167" y="40"/>
                    </a:cubicBezTo>
                    <a:cubicBezTo>
                      <a:pt x="167" y="18"/>
                      <a:pt x="148" y="0"/>
                      <a:pt x="1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  <p:sp>
            <p:nvSpPr>
              <p:cNvPr id="29" name="íṩḻíḑé"/>
              <p:cNvSpPr/>
              <p:nvPr/>
            </p:nvSpPr>
            <p:spPr bwMode="auto">
              <a:xfrm>
                <a:off x="1474788" y="1687514"/>
                <a:ext cx="633415" cy="2108198"/>
              </a:xfrm>
              <a:custGeom>
                <a:avLst/>
                <a:gdLst>
                  <a:gd name="T0" fmla="*/ 127 w 169"/>
                  <a:gd name="T1" fmla="*/ 0 h 561"/>
                  <a:gd name="T2" fmla="*/ 43 w 169"/>
                  <a:gd name="T3" fmla="*/ 0 h 561"/>
                  <a:gd name="T4" fmla="*/ 0 w 169"/>
                  <a:gd name="T5" fmla="*/ 40 h 561"/>
                  <a:gd name="T6" fmla="*/ 0 w 169"/>
                  <a:gd name="T7" fmla="*/ 521 h 561"/>
                  <a:gd name="T8" fmla="*/ 43 w 169"/>
                  <a:gd name="T9" fmla="*/ 561 h 561"/>
                  <a:gd name="T10" fmla="*/ 127 w 169"/>
                  <a:gd name="T11" fmla="*/ 561 h 561"/>
                  <a:gd name="T12" fmla="*/ 169 w 169"/>
                  <a:gd name="T13" fmla="*/ 521 h 561"/>
                  <a:gd name="T14" fmla="*/ 169 w 169"/>
                  <a:gd name="T15" fmla="*/ 40 h 561"/>
                  <a:gd name="T16" fmla="*/ 127 w 169"/>
                  <a:gd name="T17" fmla="*/ 0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9" h="561">
                    <a:moveTo>
                      <a:pt x="127" y="0"/>
                    </a:moveTo>
                    <a:cubicBezTo>
                      <a:pt x="43" y="0"/>
                      <a:pt x="43" y="0"/>
                      <a:pt x="43" y="0"/>
                    </a:cubicBezTo>
                    <a:cubicBezTo>
                      <a:pt x="19" y="0"/>
                      <a:pt x="0" y="18"/>
                      <a:pt x="0" y="40"/>
                    </a:cubicBezTo>
                    <a:cubicBezTo>
                      <a:pt x="0" y="521"/>
                      <a:pt x="0" y="521"/>
                      <a:pt x="0" y="521"/>
                    </a:cubicBezTo>
                    <a:cubicBezTo>
                      <a:pt x="0" y="543"/>
                      <a:pt x="19" y="561"/>
                      <a:pt x="43" y="561"/>
                    </a:cubicBezTo>
                    <a:cubicBezTo>
                      <a:pt x="127" y="561"/>
                      <a:pt x="127" y="561"/>
                      <a:pt x="127" y="561"/>
                    </a:cubicBezTo>
                    <a:cubicBezTo>
                      <a:pt x="150" y="561"/>
                      <a:pt x="169" y="543"/>
                      <a:pt x="169" y="521"/>
                    </a:cubicBezTo>
                    <a:cubicBezTo>
                      <a:pt x="169" y="40"/>
                      <a:pt x="169" y="40"/>
                      <a:pt x="169" y="40"/>
                    </a:cubicBezTo>
                    <a:cubicBezTo>
                      <a:pt x="169" y="18"/>
                      <a:pt x="150" y="0"/>
                      <a:pt x="12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p>
                <a:pPr algn="ctr"/>
              </a:p>
            </p:txBody>
          </p:sp>
        </p:grpSp>
        <p:sp>
          <p:nvSpPr>
            <p:cNvPr id="14" name="iśļïḑé"/>
            <p:cNvSpPr txBox="1"/>
            <p:nvPr/>
          </p:nvSpPr>
          <p:spPr>
            <a:xfrm>
              <a:off x="7033921" y="3865347"/>
              <a:ext cx="3607079" cy="369332"/>
            </a:xfrm>
            <a:prstGeom prst="rect">
              <a:avLst/>
            </a:prstGeom>
            <a:noFill/>
          </p:spPr>
          <p:txBody>
            <a:bodyPr wrap="none">
              <a:normAutofit/>
            </a:bodyPr>
            <a:p>
              <a:r>
                <a:rPr lang="en-US" b="1" dirty="0"/>
                <a:t>Choose the way</a:t>
              </a:r>
              <a:endParaRPr lang="en-US" b="1" dirty="0"/>
            </a:p>
          </p:txBody>
        </p:sp>
        <p:sp>
          <p:nvSpPr>
            <p:cNvPr id="16" name="i$ľíḋé"/>
            <p:cNvSpPr/>
            <p:nvPr/>
          </p:nvSpPr>
          <p:spPr bwMode="auto">
            <a:xfrm>
              <a:off x="6456039" y="5009097"/>
              <a:ext cx="598430" cy="48033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263" y="0"/>
                  </a:moveTo>
                  <a:cubicBezTo>
                    <a:pt x="20630" y="0"/>
                    <a:pt x="20946" y="161"/>
                    <a:pt x="21208" y="481"/>
                  </a:cubicBezTo>
                  <a:cubicBezTo>
                    <a:pt x="21470" y="798"/>
                    <a:pt x="21599" y="1177"/>
                    <a:pt x="21599" y="1618"/>
                  </a:cubicBezTo>
                  <a:lnTo>
                    <a:pt x="21599" y="19981"/>
                  </a:lnTo>
                  <a:cubicBezTo>
                    <a:pt x="21599" y="20422"/>
                    <a:pt x="21470" y="20801"/>
                    <a:pt x="21208" y="21121"/>
                  </a:cubicBezTo>
                  <a:cubicBezTo>
                    <a:pt x="20946" y="21441"/>
                    <a:pt x="20630" y="21599"/>
                    <a:pt x="20263" y="21599"/>
                  </a:cubicBezTo>
                  <a:lnTo>
                    <a:pt x="1346" y="21599"/>
                  </a:lnTo>
                  <a:cubicBezTo>
                    <a:pt x="979" y="21599"/>
                    <a:pt x="663" y="21441"/>
                    <a:pt x="399" y="21121"/>
                  </a:cubicBezTo>
                  <a:cubicBezTo>
                    <a:pt x="132" y="20801"/>
                    <a:pt x="0" y="20422"/>
                    <a:pt x="0" y="19981"/>
                  </a:cubicBezTo>
                  <a:lnTo>
                    <a:pt x="0" y="1618"/>
                  </a:lnTo>
                  <a:cubicBezTo>
                    <a:pt x="0" y="1177"/>
                    <a:pt x="132" y="798"/>
                    <a:pt x="399" y="481"/>
                  </a:cubicBezTo>
                  <a:cubicBezTo>
                    <a:pt x="663" y="161"/>
                    <a:pt x="979" y="0"/>
                    <a:pt x="1346" y="0"/>
                  </a:cubicBezTo>
                  <a:lnTo>
                    <a:pt x="20263" y="0"/>
                  </a:lnTo>
                  <a:close/>
                  <a:moveTo>
                    <a:pt x="19805" y="2252"/>
                  </a:moveTo>
                  <a:lnTo>
                    <a:pt x="8590" y="2252"/>
                  </a:lnTo>
                  <a:lnTo>
                    <a:pt x="8426" y="3545"/>
                  </a:lnTo>
                  <a:lnTo>
                    <a:pt x="1804" y="3545"/>
                  </a:lnTo>
                  <a:lnTo>
                    <a:pt x="1804" y="5501"/>
                  </a:lnTo>
                  <a:lnTo>
                    <a:pt x="19805" y="5501"/>
                  </a:lnTo>
                  <a:lnTo>
                    <a:pt x="19805" y="2252"/>
                  </a:lnTo>
                  <a:close/>
                  <a:moveTo>
                    <a:pt x="19805" y="17746"/>
                  </a:moveTo>
                  <a:lnTo>
                    <a:pt x="1804" y="17746"/>
                  </a:lnTo>
                  <a:lnTo>
                    <a:pt x="1804" y="19350"/>
                  </a:lnTo>
                  <a:lnTo>
                    <a:pt x="19805" y="19350"/>
                  </a:lnTo>
                  <a:lnTo>
                    <a:pt x="19805" y="17746"/>
                  </a:lnTo>
                  <a:close/>
                  <a:moveTo>
                    <a:pt x="3116" y="2743"/>
                  </a:moveTo>
                  <a:lnTo>
                    <a:pt x="6820" y="2743"/>
                  </a:lnTo>
                  <a:lnTo>
                    <a:pt x="6820" y="1436"/>
                  </a:lnTo>
                  <a:lnTo>
                    <a:pt x="3116" y="1436"/>
                  </a:lnTo>
                  <a:lnTo>
                    <a:pt x="3116" y="2743"/>
                  </a:lnTo>
                  <a:close/>
                  <a:moveTo>
                    <a:pt x="6529" y="11631"/>
                  </a:moveTo>
                  <a:cubicBezTo>
                    <a:pt x="6529" y="12342"/>
                    <a:pt x="6639" y="13011"/>
                    <a:pt x="6862" y="13634"/>
                  </a:cubicBezTo>
                  <a:cubicBezTo>
                    <a:pt x="7084" y="14257"/>
                    <a:pt x="7388" y="14800"/>
                    <a:pt x="7775" y="15264"/>
                  </a:cubicBezTo>
                  <a:cubicBezTo>
                    <a:pt x="8162" y="15731"/>
                    <a:pt x="8617" y="16095"/>
                    <a:pt x="9134" y="16359"/>
                  </a:cubicBezTo>
                  <a:cubicBezTo>
                    <a:pt x="9655" y="16630"/>
                    <a:pt x="10211" y="16762"/>
                    <a:pt x="10806" y="16762"/>
                  </a:cubicBezTo>
                  <a:cubicBezTo>
                    <a:pt x="11398" y="16762"/>
                    <a:pt x="11954" y="16630"/>
                    <a:pt x="12470" y="16359"/>
                  </a:cubicBezTo>
                  <a:cubicBezTo>
                    <a:pt x="12984" y="16095"/>
                    <a:pt x="13435" y="15731"/>
                    <a:pt x="13824" y="15264"/>
                  </a:cubicBezTo>
                  <a:cubicBezTo>
                    <a:pt x="14211" y="14800"/>
                    <a:pt x="14515" y="14257"/>
                    <a:pt x="14737" y="13634"/>
                  </a:cubicBezTo>
                  <a:cubicBezTo>
                    <a:pt x="14960" y="13011"/>
                    <a:pt x="15070" y="12342"/>
                    <a:pt x="15070" y="11631"/>
                  </a:cubicBezTo>
                  <a:cubicBezTo>
                    <a:pt x="15070" y="10917"/>
                    <a:pt x="14960" y="10250"/>
                    <a:pt x="14737" y="9625"/>
                  </a:cubicBezTo>
                  <a:cubicBezTo>
                    <a:pt x="14515" y="9002"/>
                    <a:pt x="14211" y="8461"/>
                    <a:pt x="13824" y="8003"/>
                  </a:cubicBezTo>
                  <a:cubicBezTo>
                    <a:pt x="13435" y="7542"/>
                    <a:pt x="12982" y="7178"/>
                    <a:pt x="12463" y="6914"/>
                  </a:cubicBezTo>
                  <a:cubicBezTo>
                    <a:pt x="11944" y="6646"/>
                    <a:pt x="11391" y="6511"/>
                    <a:pt x="10806" y="6511"/>
                  </a:cubicBezTo>
                  <a:cubicBezTo>
                    <a:pt x="10211" y="6511"/>
                    <a:pt x="9655" y="6646"/>
                    <a:pt x="9134" y="6914"/>
                  </a:cubicBezTo>
                  <a:cubicBezTo>
                    <a:pt x="8617" y="7178"/>
                    <a:pt x="8162" y="7542"/>
                    <a:pt x="7775" y="8003"/>
                  </a:cubicBezTo>
                  <a:cubicBezTo>
                    <a:pt x="7388" y="8461"/>
                    <a:pt x="7084" y="9002"/>
                    <a:pt x="6862" y="9625"/>
                  </a:cubicBezTo>
                  <a:cubicBezTo>
                    <a:pt x="6639" y="10250"/>
                    <a:pt x="6529" y="10917"/>
                    <a:pt x="6529" y="11631"/>
                  </a:cubicBezTo>
                  <a:moveTo>
                    <a:pt x="13724" y="11631"/>
                  </a:moveTo>
                  <a:cubicBezTo>
                    <a:pt x="13724" y="12109"/>
                    <a:pt x="13648" y="12565"/>
                    <a:pt x="13501" y="12999"/>
                  </a:cubicBezTo>
                  <a:cubicBezTo>
                    <a:pt x="13352" y="13434"/>
                    <a:pt x="13146" y="13813"/>
                    <a:pt x="12879" y="14127"/>
                  </a:cubicBezTo>
                  <a:cubicBezTo>
                    <a:pt x="12612" y="14439"/>
                    <a:pt x="12301" y="14688"/>
                    <a:pt x="11942" y="14870"/>
                  </a:cubicBezTo>
                  <a:cubicBezTo>
                    <a:pt x="11582" y="15052"/>
                    <a:pt x="11205" y="15144"/>
                    <a:pt x="10806" y="15144"/>
                  </a:cubicBezTo>
                  <a:cubicBezTo>
                    <a:pt x="10407" y="15144"/>
                    <a:pt x="10025" y="15052"/>
                    <a:pt x="9662" y="14870"/>
                  </a:cubicBezTo>
                  <a:cubicBezTo>
                    <a:pt x="9300" y="14688"/>
                    <a:pt x="8987" y="14439"/>
                    <a:pt x="8725" y="14127"/>
                  </a:cubicBezTo>
                  <a:cubicBezTo>
                    <a:pt x="8463" y="13813"/>
                    <a:pt x="8257" y="13440"/>
                    <a:pt x="8103" y="13008"/>
                  </a:cubicBezTo>
                  <a:cubicBezTo>
                    <a:pt x="7951" y="12579"/>
                    <a:pt x="7875" y="12118"/>
                    <a:pt x="7875" y="11631"/>
                  </a:cubicBezTo>
                  <a:cubicBezTo>
                    <a:pt x="7875" y="11152"/>
                    <a:pt x="7951" y="10700"/>
                    <a:pt x="8103" y="10265"/>
                  </a:cubicBezTo>
                  <a:cubicBezTo>
                    <a:pt x="8257" y="9836"/>
                    <a:pt x="8463" y="9460"/>
                    <a:pt x="8725" y="9140"/>
                  </a:cubicBezTo>
                  <a:cubicBezTo>
                    <a:pt x="8987" y="8823"/>
                    <a:pt x="9298" y="8576"/>
                    <a:pt x="9657" y="8394"/>
                  </a:cubicBezTo>
                  <a:cubicBezTo>
                    <a:pt x="10015" y="8218"/>
                    <a:pt x="10399" y="8130"/>
                    <a:pt x="10806" y="8130"/>
                  </a:cubicBezTo>
                  <a:cubicBezTo>
                    <a:pt x="11205" y="8130"/>
                    <a:pt x="11582" y="8218"/>
                    <a:pt x="11942" y="8394"/>
                  </a:cubicBezTo>
                  <a:cubicBezTo>
                    <a:pt x="12301" y="8576"/>
                    <a:pt x="12612" y="8823"/>
                    <a:pt x="12879" y="9140"/>
                  </a:cubicBezTo>
                  <a:cubicBezTo>
                    <a:pt x="13146" y="9460"/>
                    <a:pt x="13352" y="9836"/>
                    <a:pt x="13501" y="10265"/>
                  </a:cubicBezTo>
                  <a:cubicBezTo>
                    <a:pt x="13648" y="10700"/>
                    <a:pt x="13724" y="11152"/>
                    <a:pt x="13724" y="11631"/>
                  </a:cubicBezTo>
                  <a:moveTo>
                    <a:pt x="9692" y="11631"/>
                  </a:moveTo>
                  <a:cubicBezTo>
                    <a:pt x="9692" y="11246"/>
                    <a:pt x="9799" y="10929"/>
                    <a:pt x="10020" y="10682"/>
                  </a:cubicBezTo>
                  <a:cubicBezTo>
                    <a:pt x="10238" y="10432"/>
                    <a:pt x="10500" y="10309"/>
                    <a:pt x="10806" y="10309"/>
                  </a:cubicBezTo>
                  <a:lnTo>
                    <a:pt x="10806" y="10280"/>
                  </a:lnTo>
                  <a:cubicBezTo>
                    <a:pt x="10945" y="10280"/>
                    <a:pt x="11065" y="10224"/>
                    <a:pt x="11163" y="10109"/>
                  </a:cubicBezTo>
                  <a:cubicBezTo>
                    <a:pt x="11261" y="9998"/>
                    <a:pt x="11310" y="9862"/>
                    <a:pt x="11310" y="9704"/>
                  </a:cubicBezTo>
                  <a:cubicBezTo>
                    <a:pt x="11310" y="9533"/>
                    <a:pt x="11261" y="9392"/>
                    <a:pt x="11163" y="9275"/>
                  </a:cubicBezTo>
                  <a:cubicBezTo>
                    <a:pt x="11065" y="9157"/>
                    <a:pt x="10945" y="9096"/>
                    <a:pt x="10806" y="9096"/>
                  </a:cubicBezTo>
                  <a:cubicBezTo>
                    <a:pt x="10228" y="9096"/>
                    <a:pt x="9733" y="9348"/>
                    <a:pt x="9322" y="9848"/>
                  </a:cubicBezTo>
                  <a:cubicBezTo>
                    <a:pt x="8913" y="10350"/>
                    <a:pt x="8708" y="10943"/>
                    <a:pt x="8708" y="11628"/>
                  </a:cubicBezTo>
                  <a:cubicBezTo>
                    <a:pt x="8708" y="11777"/>
                    <a:pt x="8757" y="11913"/>
                    <a:pt x="8854" y="12027"/>
                  </a:cubicBezTo>
                  <a:cubicBezTo>
                    <a:pt x="8952" y="12147"/>
                    <a:pt x="9063" y="12206"/>
                    <a:pt x="9187" y="12206"/>
                  </a:cubicBezTo>
                  <a:cubicBezTo>
                    <a:pt x="9329" y="12206"/>
                    <a:pt x="9447" y="12148"/>
                    <a:pt x="9545" y="12027"/>
                  </a:cubicBezTo>
                  <a:cubicBezTo>
                    <a:pt x="9643" y="11916"/>
                    <a:pt x="9692" y="11780"/>
                    <a:pt x="9692" y="1163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anchor="ctr"/>
            <a:p>
              <a:pPr algn="ctr"/>
            </a:p>
          </p:txBody>
        </p:sp>
        <p:sp>
          <p:nvSpPr>
            <p:cNvPr id="17" name="îsḷíḑê"/>
            <p:cNvSpPr txBox="1"/>
            <p:nvPr/>
          </p:nvSpPr>
          <p:spPr>
            <a:xfrm>
              <a:off x="7033921" y="4886204"/>
              <a:ext cx="3607079" cy="369332"/>
            </a:xfrm>
            <a:prstGeom prst="rect">
              <a:avLst/>
            </a:prstGeom>
            <a:noFill/>
          </p:spPr>
          <p:txBody>
            <a:bodyPr wrap="none">
              <a:normAutofit/>
            </a:bodyPr>
            <a:p>
              <a:r>
                <a:rPr lang="en-US" altLang="zh-CN" b="1" dirty="0"/>
                <a:t>Avoid objects</a:t>
              </a:r>
              <a:endParaRPr lang="en-US" altLang="zh-CN" b="1" dirty="0"/>
            </a:p>
          </p:txBody>
        </p:sp>
        <p:sp>
          <p:nvSpPr>
            <p:cNvPr id="19" name="ïSľíḋé"/>
            <p:cNvSpPr/>
            <p:nvPr/>
          </p:nvSpPr>
          <p:spPr bwMode="auto">
            <a:xfrm>
              <a:off x="5106000" y="1143002"/>
              <a:ext cx="989999" cy="4992686"/>
            </a:xfrm>
            <a:prstGeom prst="rect">
              <a:avLst/>
            </a:prstGeom>
            <a:solidFill>
              <a:schemeClr val="tx2">
                <a:alpha val="70000"/>
              </a:schemeClr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endParaRPr lang="zh-CN" altLang="en-US" dirty="0">
                <a:solidFill>
                  <a:schemeClr val="dk1"/>
                </a:solidFill>
              </a:endParaRPr>
            </a:p>
          </p:txBody>
        </p:sp>
        <p:cxnSp>
          <p:nvCxnSpPr>
            <p:cNvPr id="20" name="直接连接符 19"/>
            <p:cNvCxnSpPr/>
            <p:nvPr/>
          </p:nvCxnSpPr>
          <p:spPr>
            <a:xfrm>
              <a:off x="7176000" y="2664000"/>
              <a:ext cx="4344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>
              <a:off x="7176000" y="3730800"/>
              <a:ext cx="4344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/>
          </p:nvCxnSpPr>
          <p:spPr>
            <a:xfrm>
              <a:off x="7176000" y="4734000"/>
              <a:ext cx="4344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8" descr="Screenshot from 2019-03-12 11_07_2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594985" y="1798320"/>
            <a:ext cx="6452870" cy="307911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990" y="1065530"/>
            <a:ext cx="4057650" cy="454406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Table -1"/>
          <p:cNvGraphicFramePr/>
          <p:nvPr/>
        </p:nvGraphicFramePr>
        <p:xfrm>
          <a:off x="158750" y="740410"/>
          <a:ext cx="11943715" cy="60356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82650"/>
                <a:gridCol w="913765"/>
                <a:gridCol w="1359535"/>
                <a:gridCol w="1357630"/>
                <a:gridCol w="1273175"/>
                <a:gridCol w="1496060"/>
                <a:gridCol w="1501140"/>
                <a:gridCol w="1578610"/>
                <a:gridCol w="1581150"/>
              </a:tblGrid>
              <a:tr h="84645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Room Number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imes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1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2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3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4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5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6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7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33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238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1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27,-4.6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6,-4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14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2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6,-4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27,-4.6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6,-4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085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3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6,-4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27,-4.6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6,-4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14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236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1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4,-10.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34,-10.7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97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2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4,-10.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34,10.7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4,-10.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9,0.0061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14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3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89,-5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4,-10.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34,-10.7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4,-10.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9,0.0061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14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234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1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54,17.1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9,-17.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085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2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9,-13.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54,-17.1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9,-17.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14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3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5,-7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9,-17.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54,-17.1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9,-17.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33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230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1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4,-2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4,-23.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212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2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4,-23.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4,-2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4,-23.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33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3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27,-13.7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4,-23.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4,-2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4,-23.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Table -1"/>
          <p:cNvGraphicFramePr/>
          <p:nvPr/>
        </p:nvGraphicFramePr>
        <p:xfrm>
          <a:off x="158750" y="740410"/>
          <a:ext cx="11943715" cy="60356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82650"/>
                <a:gridCol w="913765"/>
                <a:gridCol w="1359535"/>
                <a:gridCol w="1357630"/>
                <a:gridCol w="1273175"/>
                <a:gridCol w="1496060"/>
                <a:gridCol w="1501140"/>
                <a:gridCol w="1578610"/>
                <a:gridCol w="1581150"/>
              </a:tblGrid>
              <a:tr h="84645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Room Number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imes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1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2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3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4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5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6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Point 7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33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238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1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27,-4.6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6,-4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14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2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6,-4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27,-4.6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6,-4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085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3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6,-4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27,-4.6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6,-4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14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236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1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4,-10.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34,-10.7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97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2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4,-10.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34,10.7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4,-10.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9,0.0061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14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3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89,-5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4,-10.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34,-10.7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4,-10.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9,0.0061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14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234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1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54,17.1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9,-17.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085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2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9,-13.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54,-17.1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9,-17.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14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3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5,-7.56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9,-17.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3.54,-17.1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9,-17.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33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230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1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4,-2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4,-23.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212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2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4,-23.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4,-2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4,-23.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/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33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 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Travel 3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58,-0.4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27,-13.7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4,-23.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74,-23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5.14,-23.4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4.29,-0.0458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latin typeface="SimSun" charset="0"/>
                          <a:cs typeface="SimSun" charset="0"/>
                        </a:rPr>
                        <a:t>(0,0,0)</a:t>
                      </a:r>
                      <a:endParaRPr lang="en-US" altLang="zh-CN" sz="1600" b="0">
                        <a:latin typeface="SimSun" charset="0"/>
                        <a:ea typeface="SimSun" charset="0"/>
                        <a:cs typeface="SimSun" charset="0"/>
                      </a:endParaRPr>
                    </a:p>
                  </a:txBody>
                  <a:tcPr marL="0" marR="0" marT="0" marB="1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>
                <a:latin typeface="Times New Roman" panose="02020503050405090304" charset="0"/>
              </a:rPr>
              <a:t>Conclusion</a:t>
            </a:r>
            <a:endParaRPr lang="en-US" sz="3200" dirty="0">
              <a:latin typeface="Times New Roman" panose="0202050305040509030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sz="2000" dirty="0">
                <a:latin typeface="Times New Roman" panose="02020503050405090304" charset="0"/>
              </a:rPr>
              <a:t>JIANG MEIQIAN</a:t>
            </a:r>
            <a:endParaRPr lang="en-US" altLang="zh-CN" sz="2000" dirty="0">
              <a:latin typeface="Times New Roman" panose="0202050305040509030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121655" y="2548160"/>
            <a:ext cx="1029773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5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>
                <a:sym typeface="+mn-ea"/>
              </a:rPr>
            </a:br>
            <a:r>
              <a:rPr lang="en-US">
                <a:sym typeface="+mn-ea"/>
              </a:rPr>
              <a:t>Completed work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77" name="4c536999-aee8-4c7f-a1f0-8894fd67c07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45378" y="1135781"/>
            <a:ext cx="10780336" cy="5192043"/>
            <a:chOff x="761253" y="1040531"/>
            <a:chExt cx="10780336" cy="5192043"/>
          </a:xfrm>
        </p:grpSpPr>
        <p:grpSp>
          <p:nvGrpSpPr>
            <p:cNvPr id="78" name="îśḻiḓè"/>
            <p:cNvGrpSpPr/>
            <p:nvPr/>
          </p:nvGrpSpPr>
          <p:grpSpPr>
            <a:xfrm>
              <a:off x="761253" y="1040531"/>
              <a:ext cx="3661643" cy="3761661"/>
              <a:chOff x="831000" y="1038184"/>
              <a:chExt cx="3661643" cy="3761661"/>
            </a:xfrm>
          </p:grpSpPr>
          <p:sp>
            <p:nvSpPr>
              <p:cNvPr id="104" name="îşļiḋe"/>
              <p:cNvSpPr/>
              <p:nvPr/>
            </p:nvSpPr>
            <p:spPr bwMode="auto">
              <a:xfrm>
                <a:off x="1905203" y="2607276"/>
                <a:ext cx="1810688" cy="1337883"/>
              </a:xfrm>
              <a:custGeom>
                <a:avLst/>
                <a:gdLst>
                  <a:gd name="T0" fmla="*/ 8318 w 11152"/>
                  <a:gd name="T1" fmla="*/ 1102 h 8242"/>
                  <a:gd name="T2" fmla="*/ 8411 w 11152"/>
                  <a:gd name="T3" fmla="*/ 787 h 8242"/>
                  <a:gd name="T4" fmla="*/ 8442 w 11152"/>
                  <a:gd name="T5" fmla="*/ 374 h 8242"/>
                  <a:gd name="T6" fmla="*/ 8371 w 11152"/>
                  <a:gd name="T7" fmla="*/ 124 h 8242"/>
                  <a:gd name="T8" fmla="*/ 8710 w 11152"/>
                  <a:gd name="T9" fmla="*/ 11 h 8242"/>
                  <a:gd name="T10" fmla="*/ 9052 w 11152"/>
                  <a:gd name="T11" fmla="*/ 44 h 8242"/>
                  <a:gd name="T12" fmla="*/ 9237 w 11152"/>
                  <a:gd name="T13" fmla="*/ 158 h 8242"/>
                  <a:gd name="T14" fmla="*/ 9390 w 11152"/>
                  <a:gd name="T15" fmla="*/ 370 h 8242"/>
                  <a:gd name="T16" fmla="*/ 9656 w 11152"/>
                  <a:gd name="T17" fmla="*/ 690 h 8242"/>
                  <a:gd name="T18" fmla="*/ 9884 w 11152"/>
                  <a:gd name="T19" fmla="*/ 982 h 8242"/>
                  <a:gd name="T20" fmla="*/ 10107 w 11152"/>
                  <a:gd name="T21" fmla="*/ 1001 h 8242"/>
                  <a:gd name="T22" fmla="*/ 10335 w 11152"/>
                  <a:gd name="T23" fmla="*/ 1162 h 8242"/>
                  <a:gd name="T24" fmla="*/ 10436 w 11152"/>
                  <a:gd name="T25" fmla="*/ 1354 h 8242"/>
                  <a:gd name="T26" fmla="*/ 10763 w 11152"/>
                  <a:gd name="T27" fmla="*/ 1427 h 8242"/>
                  <a:gd name="T28" fmla="*/ 10988 w 11152"/>
                  <a:gd name="T29" fmla="*/ 1195 h 8242"/>
                  <a:gd name="T30" fmla="*/ 11111 w 11152"/>
                  <a:gd name="T31" fmla="*/ 1474 h 8242"/>
                  <a:gd name="T32" fmla="*/ 11127 w 11152"/>
                  <a:gd name="T33" fmla="*/ 1758 h 8242"/>
                  <a:gd name="T34" fmla="*/ 11105 w 11152"/>
                  <a:gd name="T35" fmla="*/ 2027 h 8242"/>
                  <a:gd name="T36" fmla="*/ 10821 w 11152"/>
                  <a:gd name="T37" fmla="*/ 2177 h 8242"/>
                  <a:gd name="T38" fmla="*/ 10908 w 11152"/>
                  <a:gd name="T39" fmla="*/ 2626 h 8242"/>
                  <a:gd name="T40" fmla="*/ 10073 w 11152"/>
                  <a:gd name="T41" fmla="*/ 3563 h 8242"/>
                  <a:gd name="T42" fmla="*/ 9662 w 11152"/>
                  <a:gd name="T43" fmla="*/ 3805 h 8242"/>
                  <a:gd name="T44" fmla="*/ 9666 w 11152"/>
                  <a:gd name="T45" fmla="*/ 3711 h 8242"/>
                  <a:gd name="T46" fmla="*/ 9673 w 11152"/>
                  <a:gd name="T47" fmla="*/ 3436 h 8242"/>
                  <a:gd name="T48" fmla="*/ 9281 w 11152"/>
                  <a:gd name="T49" fmla="*/ 3565 h 8242"/>
                  <a:gd name="T50" fmla="*/ 8977 w 11152"/>
                  <a:gd name="T51" fmla="*/ 3876 h 8242"/>
                  <a:gd name="T52" fmla="*/ 9222 w 11152"/>
                  <a:gd name="T53" fmla="*/ 4096 h 8242"/>
                  <a:gd name="T54" fmla="*/ 9496 w 11152"/>
                  <a:gd name="T55" fmla="*/ 4107 h 8242"/>
                  <a:gd name="T56" fmla="*/ 9893 w 11152"/>
                  <a:gd name="T57" fmla="*/ 4177 h 8242"/>
                  <a:gd name="T58" fmla="*/ 9675 w 11152"/>
                  <a:gd name="T59" fmla="*/ 4346 h 8242"/>
                  <a:gd name="T60" fmla="*/ 9465 w 11152"/>
                  <a:gd name="T61" fmla="*/ 4597 h 8242"/>
                  <a:gd name="T62" fmla="*/ 9749 w 11152"/>
                  <a:gd name="T63" fmla="*/ 5132 h 8242"/>
                  <a:gd name="T64" fmla="*/ 9835 w 11152"/>
                  <a:gd name="T65" fmla="*/ 5418 h 8242"/>
                  <a:gd name="T66" fmla="*/ 9536 w 11152"/>
                  <a:gd name="T67" fmla="*/ 5377 h 8242"/>
                  <a:gd name="T68" fmla="*/ 9965 w 11152"/>
                  <a:gd name="T69" fmla="*/ 5700 h 8242"/>
                  <a:gd name="T70" fmla="*/ 9962 w 11152"/>
                  <a:gd name="T71" fmla="*/ 5773 h 8242"/>
                  <a:gd name="T72" fmla="*/ 10114 w 11152"/>
                  <a:gd name="T73" fmla="*/ 5904 h 8242"/>
                  <a:gd name="T74" fmla="*/ 10075 w 11152"/>
                  <a:gd name="T75" fmla="*/ 6070 h 8242"/>
                  <a:gd name="T76" fmla="*/ 9999 w 11152"/>
                  <a:gd name="T77" fmla="*/ 6268 h 8242"/>
                  <a:gd name="T78" fmla="*/ 9950 w 11152"/>
                  <a:gd name="T79" fmla="*/ 6474 h 8242"/>
                  <a:gd name="T80" fmla="*/ 9841 w 11152"/>
                  <a:gd name="T81" fmla="*/ 6631 h 8242"/>
                  <a:gd name="T82" fmla="*/ 9839 w 11152"/>
                  <a:gd name="T83" fmla="*/ 6827 h 8242"/>
                  <a:gd name="T84" fmla="*/ 9723 w 11152"/>
                  <a:gd name="T85" fmla="*/ 6878 h 8242"/>
                  <a:gd name="T86" fmla="*/ 9605 w 11152"/>
                  <a:gd name="T87" fmla="*/ 7048 h 8242"/>
                  <a:gd name="T88" fmla="*/ 9486 w 11152"/>
                  <a:gd name="T89" fmla="*/ 7163 h 8242"/>
                  <a:gd name="T90" fmla="*/ 9277 w 11152"/>
                  <a:gd name="T91" fmla="*/ 7357 h 8242"/>
                  <a:gd name="T92" fmla="*/ 9025 w 11152"/>
                  <a:gd name="T93" fmla="*/ 7437 h 8242"/>
                  <a:gd name="T94" fmla="*/ 8853 w 11152"/>
                  <a:gd name="T95" fmla="*/ 7487 h 8242"/>
                  <a:gd name="T96" fmla="*/ 8520 w 11152"/>
                  <a:gd name="T97" fmla="*/ 7619 h 8242"/>
                  <a:gd name="T98" fmla="*/ 8402 w 11152"/>
                  <a:gd name="T99" fmla="*/ 7675 h 8242"/>
                  <a:gd name="T100" fmla="*/ 8330 w 11152"/>
                  <a:gd name="T101" fmla="*/ 7816 h 8242"/>
                  <a:gd name="T102" fmla="*/ 8151 w 11152"/>
                  <a:gd name="T103" fmla="*/ 7609 h 8242"/>
                  <a:gd name="T104" fmla="*/ 6860 w 11152"/>
                  <a:gd name="T105" fmla="*/ 7778 h 8242"/>
                  <a:gd name="T106" fmla="*/ 9512 w 11152"/>
                  <a:gd name="T107" fmla="*/ 7204 h 8242"/>
                  <a:gd name="T108" fmla="*/ 10150 w 11152"/>
                  <a:gd name="T109" fmla="*/ 5792 h 8242"/>
                  <a:gd name="T110" fmla="*/ 10164 w 11152"/>
                  <a:gd name="T111" fmla="*/ 7514 h 8242"/>
                  <a:gd name="T112" fmla="*/ 10286 w 11152"/>
                  <a:gd name="T113" fmla="*/ 6902 h 8242"/>
                  <a:gd name="T114" fmla="*/ 10025 w 11152"/>
                  <a:gd name="T115" fmla="*/ 7062 h 8242"/>
                  <a:gd name="T116" fmla="*/ 10137 w 11152"/>
                  <a:gd name="T117" fmla="*/ 7494 h 8242"/>
                  <a:gd name="T118" fmla="*/ 8311 w 11152"/>
                  <a:gd name="T119" fmla="*/ 7901 h 8242"/>
                  <a:gd name="T120" fmla="*/ 8344 w 11152"/>
                  <a:gd name="T121" fmla="*/ 8231 h 8242"/>
                  <a:gd name="T122" fmla="*/ 8462 w 11152"/>
                  <a:gd name="T123" fmla="*/ 7879 h 8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152" h="8242">
                    <a:moveTo>
                      <a:pt x="3380" y="1747"/>
                    </a:moveTo>
                    <a:lnTo>
                      <a:pt x="3429" y="1747"/>
                    </a:lnTo>
                    <a:lnTo>
                      <a:pt x="3464" y="1759"/>
                    </a:lnTo>
                    <a:lnTo>
                      <a:pt x="3493" y="1760"/>
                    </a:lnTo>
                    <a:lnTo>
                      <a:pt x="5000" y="1805"/>
                    </a:lnTo>
                    <a:lnTo>
                      <a:pt x="7682" y="1513"/>
                    </a:lnTo>
                    <a:lnTo>
                      <a:pt x="8013" y="1168"/>
                    </a:lnTo>
                    <a:lnTo>
                      <a:pt x="8082" y="1144"/>
                    </a:lnTo>
                    <a:lnTo>
                      <a:pt x="8106" y="1148"/>
                    </a:lnTo>
                    <a:lnTo>
                      <a:pt x="8111" y="1161"/>
                    </a:lnTo>
                    <a:lnTo>
                      <a:pt x="8142" y="1155"/>
                    </a:lnTo>
                    <a:lnTo>
                      <a:pt x="8193" y="1162"/>
                    </a:lnTo>
                    <a:lnTo>
                      <a:pt x="8217" y="1182"/>
                    </a:lnTo>
                    <a:lnTo>
                      <a:pt x="8237" y="1179"/>
                    </a:lnTo>
                    <a:lnTo>
                      <a:pt x="8318" y="1102"/>
                    </a:lnTo>
                    <a:lnTo>
                      <a:pt x="8357" y="1074"/>
                    </a:lnTo>
                    <a:lnTo>
                      <a:pt x="8418" y="1064"/>
                    </a:lnTo>
                    <a:lnTo>
                      <a:pt x="8444" y="1038"/>
                    </a:lnTo>
                    <a:lnTo>
                      <a:pt x="8455" y="1006"/>
                    </a:lnTo>
                    <a:lnTo>
                      <a:pt x="8447" y="971"/>
                    </a:lnTo>
                    <a:lnTo>
                      <a:pt x="8435" y="962"/>
                    </a:lnTo>
                    <a:lnTo>
                      <a:pt x="8421" y="973"/>
                    </a:lnTo>
                    <a:lnTo>
                      <a:pt x="8408" y="962"/>
                    </a:lnTo>
                    <a:lnTo>
                      <a:pt x="8392" y="959"/>
                    </a:lnTo>
                    <a:lnTo>
                      <a:pt x="8389" y="912"/>
                    </a:lnTo>
                    <a:lnTo>
                      <a:pt x="8398" y="898"/>
                    </a:lnTo>
                    <a:lnTo>
                      <a:pt x="8397" y="848"/>
                    </a:lnTo>
                    <a:lnTo>
                      <a:pt x="8385" y="817"/>
                    </a:lnTo>
                    <a:lnTo>
                      <a:pt x="8391" y="798"/>
                    </a:lnTo>
                    <a:lnTo>
                      <a:pt x="8411" y="787"/>
                    </a:lnTo>
                    <a:lnTo>
                      <a:pt x="8415" y="755"/>
                    </a:lnTo>
                    <a:lnTo>
                      <a:pt x="8395" y="733"/>
                    </a:lnTo>
                    <a:lnTo>
                      <a:pt x="8390" y="696"/>
                    </a:lnTo>
                    <a:lnTo>
                      <a:pt x="8396" y="678"/>
                    </a:lnTo>
                    <a:lnTo>
                      <a:pt x="8379" y="649"/>
                    </a:lnTo>
                    <a:lnTo>
                      <a:pt x="8381" y="621"/>
                    </a:lnTo>
                    <a:lnTo>
                      <a:pt x="8400" y="586"/>
                    </a:lnTo>
                    <a:lnTo>
                      <a:pt x="8422" y="569"/>
                    </a:lnTo>
                    <a:lnTo>
                      <a:pt x="8429" y="530"/>
                    </a:lnTo>
                    <a:lnTo>
                      <a:pt x="8452" y="496"/>
                    </a:lnTo>
                    <a:lnTo>
                      <a:pt x="8472" y="480"/>
                    </a:lnTo>
                    <a:lnTo>
                      <a:pt x="8474" y="439"/>
                    </a:lnTo>
                    <a:lnTo>
                      <a:pt x="8467" y="419"/>
                    </a:lnTo>
                    <a:lnTo>
                      <a:pt x="8467" y="393"/>
                    </a:lnTo>
                    <a:lnTo>
                      <a:pt x="8442" y="374"/>
                    </a:lnTo>
                    <a:lnTo>
                      <a:pt x="8429" y="342"/>
                    </a:lnTo>
                    <a:lnTo>
                      <a:pt x="8404" y="301"/>
                    </a:lnTo>
                    <a:lnTo>
                      <a:pt x="8384" y="296"/>
                    </a:lnTo>
                    <a:lnTo>
                      <a:pt x="8360" y="307"/>
                    </a:lnTo>
                    <a:lnTo>
                      <a:pt x="8322" y="330"/>
                    </a:lnTo>
                    <a:lnTo>
                      <a:pt x="8305" y="327"/>
                    </a:lnTo>
                    <a:lnTo>
                      <a:pt x="8293" y="314"/>
                    </a:lnTo>
                    <a:lnTo>
                      <a:pt x="8293" y="272"/>
                    </a:lnTo>
                    <a:lnTo>
                      <a:pt x="8305" y="257"/>
                    </a:lnTo>
                    <a:lnTo>
                      <a:pt x="8305" y="240"/>
                    </a:lnTo>
                    <a:lnTo>
                      <a:pt x="8318" y="222"/>
                    </a:lnTo>
                    <a:lnTo>
                      <a:pt x="8327" y="190"/>
                    </a:lnTo>
                    <a:lnTo>
                      <a:pt x="8353" y="161"/>
                    </a:lnTo>
                    <a:lnTo>
                      <a:pt x="8353" y="140"/>
                    </a:lnTo>
                    <a:lnTo>
                      <a:pt x="8371" y="124"/>
                    </a:lnTo>
                    <a:lnTo>
                      <a:pt x="8416" y="118"/>
                    </a:lnTo>
                    <a:lnTo>
                      <a:pt x="8436" y="111"/>
                    </a:lnTo>
                    <a:lnTo>
                      <a:pt x="8459" y="110"/>
                    </a:lnTo>
                    <a:lnTo>
                      <a:pt x="8465" y="104"/>
                    </a:lnTo>
                    <a:lnTo>
                      <a:pt x="8490" y="106"/>
                    </a:lnTo>
                    <a:lnTo>
                      <a:pt x="8515" y="96"/>
                    </a:lnTo>
                    <a:lnTo>
                      <a:pt x="8529" y="69"/>
                    </a:lnTo>
                    <a:lnTo>
                      <a:pt x="8558" y="69"/>
                    </a:lnTo>
                    <a:lnTo>
                      <a:pt x="8578" y="47"/>
                    </a:lnTo>
                    <a:lnTo>
                      <a:pt x="8615" y="54"/>
                    </a:lnTo>
                    <a:lnTo>
                      <a:pt x="8637" y="50"/>
                    </a:lnTo>
                    <a:lnTo>
                      <a:pt x="8671" y="51"/>
                    </a:lnTo>
                    <a:lnTo>
                      <a:pt x="8687" y="37"/>
                    </a:lnTo>
                    <a:lnTo>
                      <a:pt x="8700" y="37"/>
                    </a:lnTo>
                    <a:lnTo>
                      <a:pt x="8710" y="11"/>
                    </a:lnTo>
                    <a:lnTo>
                      <a:pt x="8759" y="5"/>
                    </a:lnTo>
                    <a:lnTo>
                      <a:pt x="8768" y="0"/>
                    </a:lnTo>
                    <a:lnTo>
                      <a:pt x="8788" y="5"/>
                    </a:lnTo>
                    <a:lnTo>
                      <a:pt x="8814" y="7"/>
                    </a:lnTo>
                    <a:lnTo>
                      <a:pt x="8838" y="25"/>
                    </a:lnTo>
                    <a:lnTo>
                      <a:pt x="8892" y="30"/>
                    </a:lnTo>
                    <a:lnTo>
                      <a:pt x="8915" y="48"/>
                    </a:lnTo>
                    <a:lnTo>
                      <a:pt x="8921" y="63"/>
                    </a:lnTo>
                    <a:lnTo>
                      <a:pt x="8960" y="63"/>
                    </a:lnTo>
                    <a:lnTo>
                      <a:pt x="8983" y="56"/>
                    </a:lnTo>
                    <a:lnTo>
                      <a:pt x="8993" y="67"/>
                    </a:lnTo>
                    <a:lnTo>
                      <a:pt x="9024" y="81"/>
                    </a:lnTo>
                    <a:lnTo>
                      <a:pt x="9038" y="75"/>
                    </a:lnTo>
                    <a:lnTo>
                      <a:pt x="9035" y="55"/>
                    </a:lnTo>
                    <a:lnTo>
                      <a:pt x="9052" y="44"/>
                    </a:lnTo>
                    <a:lnTo>
                      <a:pt x="9066" y="51"/>
                    </a:lnTo>
                    <a:lnTo>
                      <a:pt x="9091" y="51"/>
                    </a:lnTo>
                    <a:lnTo>
                      <a:pt x="9103" y="45"/>
                    </a:lnTo>
                    <a:lnTo>
                      <a:pt x="9121" y="65"/>
                    </a:lnTo>
                    <a:lnTo>
                      <a:pt x="9138" y="63"/>
                    </a:lnTo>
                    <a:lnTo>
                      <a:pt x="9161" y="71"/>
                    </a:lnTo>
                    <a:lnTo>
                      <a:pt x="9171" y="87"/>
                    </a:lnTo>
                    <a:lnTo>
                      <a:pt x="9167" y="104"/>
                    </a:lnTo>
                    <a:lnTo>
                      <a:pt x="9172" y="121"/>
                    </a:lnTo>
                    <a:lnTo>
                      <a:pt x="9191" y="123"/>
                    </a:lnTo>
                    <a:lnTo>
                      <a:pt x="9200" y="136"/>
                    </a:lnTo>
                    <a:lnTo>
                      <a:pt x="9217" y="121"/>
                    </a:lnTo>
                    <a:lnTo>
                      <a:pt x="9240" y="127"/>
                    </a:lnTo>
                    <a:lnTo>
                      <a:pt x="9246" y="142"/>
                    </a:lnTo>
                    <a:lnTo>
                      <a:pt x="9237" y="158"/>
                    </a:lnTo>
                    <a:lnTo>
                      <a:pt x="9245" y="174"/>
                    </a:lnTo>
                    <a:lnTo>
                      <a:pt x="9273" y="182"/>
                    </a:lnTo>
                    <a:lnTo>
                      <a:pt x="9289" y="179"/>
                    </a:lnTo>
                    <a:lnTo>
                      <a:pt x="9301" y="190"/>
                    </a:lnTo>
                    <a:lnTo>
                      <a:pt x="9301" y="207"/>
                    </a:lnTo>
                    <a:lnTo>
                      <a:pt x="9319" y="216"/>
                    </a:lnTo>
                    <a:lnTo>
                      <a:pt x="9330" y="236"/>
                    </a:lnTo>
                    <a:lnTo>
                      <a:pt x="9332" y="259"/>
                    </a:lnTo>
                    <a:lnTo>
                      <a:pt x="9340" y="280"/>
                    </a:lnTo>
                    <a:lnTo>
                      <a:pt x="9340" y="296"/>
                    </a:lnTo>
                    <a:lnTo>
                      <a:pt x="9348" y="308"/>
                    </a:lnTo>
                    <a:lnTo>
                      <a:pt x="9392" y="310"/>
                    </a:lnTo>
                    <a:lnTo>
                      <a:pt x="9396" y="329"/>
                    </a:lnTo>
                    <a:lnTo>
                      <a:pt x="9387" y="352"/>
                    </a:lnTo>
                    <a:lnTo>
                      <a:pt x="9390" y="370"/>
                    </a:lnTo>
                    <a:lnTo>
                      <a:pt x="9429" y="394"/>
                    </a:lnTo>
                    <a:lnTo>
                      <a:pt x="9443" y="423"/>
                    </a:lnTo>
                    <a:lnTo>
                      <a:pt x="9465" y="449"/>
                    </a:lnTo>
                    <a:lnTo>
                      <a:pt x="9471" y="474"/>
                    </a:lnTo>
                    <a:lnTo>
                      <a:pt x="9487" y="482"/>
                    </a:lnTo>
                    <a:lnTo>
                      <a:pt x="9499" y="511"/>
                    </a:lnTo>
                    <a:lnTo>
                      <a:pt x="9520" y="528"/>
                    </a:lnTo>
                    <a:lnTo>
                      <a:pt x="9519" y="542"/>
                    </a:lnTo>
                    <a:lnTo>
                      <a:pt x="9514" y="561"/>
                    </a:lnTo>
                    <a:lnTo>
                      <a:pt x="9524" y="567"/>
                    </a:lnTo>
                    <a:lnTo>
                      <a:pt x="9541" y="558"/>
                    </a:lnTo>
                    <a:lnTo>
                      <a:pt x="9557" y="585"/>
                    </a:lnTo>
                    <a:lnTo>
                      <a:pt x="9561" y="607"/>
                    </a:lnTo>
                    <a:lnTo>
                      <a:pt x="9594" y="650"/>
                    </a:lnTo>
                    <a:lnTo>
                      <a:pt x="9656" y="690"/>
                    </a:lnTo>
                    <a:lnTo>
                      <a:pt x="9666" y="722"/>
                    </a:lnTo>
                    <a:lnTo>
                      <a:pt x="9673" y="757"/>
                    </a:lnTo>
                    <a:lnTo>
                      <a:pt x="9686" y="767"/>
                    </a:lnTo>
                    <a:lnTo>
                      <a:pt x="9688" y="802"/>
                    </a:lnTo>
                    <a:lnTo>
                      <a:pt x="9707" y="813"/>
                    </a:lnTo>
                    <a:lnTo>
                      <a:pt x="9726" y="816"/>
                    </a:lnTo>
                    <a:lnTo>
                      <a:pt x="9733" y="846"/>
                    </a:lnTo>
                    <a:lnTo>
                      <a:pt x="9730" y="870"/>
                    </a:lnTo>
                    <a:lnTo>
                      <a:pt x="9748" y="903"/>
                    </a:lnTo>
                    <a:lnTo>
                      <a:pt x="9786" y="943"/>
                    </a:lnTo>
                    <a:lnTo>
                      <a:pt x="9815" y="952"/>
                    </a:lnTo>
                    <a:lnTo>
                      <a:pt x="9828" y="975"/>
                    </a:lnTo>
                    <a:lnTo>
                      <a:pt x="9849" y="979"/>
                    </a:lnTo>
                    <a:lnTo>
                      <a:pt x="9867" y="973"/>
                    </a:lnTo>
                    <a:lnTo>
                      <a:pt x="9884" y="982"/>
                    </a:lnTo>
                    <a:lnTo>
                      <a:pt x="9897" y="975"/>
                    </a:lnTo>
                    <a:lnTo>
                      <a:pt x="9933" y="980"/>
                    </a:lnTo>
                    <a:lnTo>
                      <a:pt x="9952" y="964"/>
                    </a:lnTo>
                    <a:lnTo>
                      <a:pt x="9975" y="964"/>
                    </a:lnTo>
                    <a:lnTo>
                      <a:pt x="9975" y="974"/>
                    </a:lnTo>
                    <a:lnTo>
                      <a:pt x="9961" y="988"/>
                    </a:lnTo>
                    <a:lnTo>
                      <a:pt x="9972" y="998"/>
                    </a:lnTo>
                    <a:lnTo>
                      <a:pt x="10010" y="1001"/>
                    </a:lnTo>
                    <a:lnTo>
                      <a:pt x="10028" y="1011"/>
                    </a:lnTo>
                    <a:lnTo>
                      <a:pt x="10039" y="1024"/>
                    </a:lnTo>
                    <a:lnTo>
                      <a:pt x="10060" y="1037"/>
                    </a:lnTo>
                    <a:lnTo>
                      <a:pt x="10065" y="1024"/>
                    </a:lnTo>
                    <a:lnTo>
                      <a:pt x="10082" y="1017"/>
                    </a:lnTo>
                    <a:lnTo>
                      <a:pt x="10100" y="1022"/>
                    </a:lnTo>
                    <a:lnTo>
                      <a:pt x="10107" y="1001"/>
                    </a:lnTo>
                    <a:lnTo>
                      <a:pt x="10124" y="999"/>
                    </a:lnTo>
                    <a:lnTo>
                      <a:pt x="10137" y="1012"/>
                    </a:lnTo>
                    <a:lnTo>
                      <a:pt x="10144" y="1031"/>
                    </a:lnTo>
                    <a:lnTo>
                      <a:pt x="10161" y="1052"/>
                    </a:lnTo>
                    <a:lnTo>
                      <a:pt x="10180" y="1054"/>
                    </a:lnTo>
                    <a:lnTo>
                      <a:pt x="10185" y="1070"/>
                    </a:lnTo>
                    <a:lnTo>
                      <a:pt x="10204" y="1086"/>
                    </a:lnTo>
                    <a:lnTo>
                      <a:pt x="10213" y="1085"/>
                    </a:lnTo>
                    <a:lnTo>
                      <a:pt x="10228" y="1101"/>
                    </a:lnTo>
                    <a:lnTo>
                      <a:pt x="10232" y="1118"/>
                    </a:lnTo>
                    <a:lnTo>
                      <a:pt x="10269" y="1134"/>
                    </a:lnTo>
                    <a:lnTo>
                      <a:pt x="10278" y="1142"/>
                    </a:lnTo>
                    <a:lnTo>
                      <a:pt x="10294" y="1144"/>
                    </a:lnTo>
                    <a:lnTo>
                      <a:pt x="10312" y="1158"/>
                    </a:lnTo>
                    <a:lnTo>
                      <a:pt x="10335" y="1162"/>
                    </a:lnTo>
                    <a:lnTo>
                      <a:pt x="10354" y="1157"/>
                    </a:lnTo>
                    <a:lnTo>
                      <a:pt x="10373" y="1155"/>
                    </a:lnTo>
                    <a:lnTo>
                      <a:pt x="10392" y="1141"/>
                    </a:lnTo>
                    <a:lnTo>
                      <a:pt x="10405" y="1138"/>
                    </a:lnTo>
                    <a:lnTo>
                      <a:pt x="10418" y="1144"/>
                    </a:lnTo>
                    <a:lnTo>
                      <a:pt x="10414" y="1167"/>
                    </a:lnTo>
                    <a:lnTo>
                      <a:pt x="10400" y="1187"/>
                    </a:lnTo>
                    <a:lnTo>
                      <a:pt x="10401" y="1211"/>
                    </a:lnTo>
                    <a:lnTo>
                      <a:pt x="10404" y="1231"/>
                    </a:lnTo>
                    <a:lnTo>
                      <a:pt x="10432" y="1229"/>
                    </a:lnTo>
                    <a:lnTo>
                      <a:pt x="10439" y="1259"/>
                    </a:lnTo>
                    <a:lnTo>
                      <a:pt x="10449" y="1287"/>
                    </a:lnTo>
                    <a:lnTo>
                      <a:pt x="10444" y="1319"/>
                    </a:lnTo>
                    <a:lnTo>
                      <a:pt x="10436" y="1329"/>
                    </a:lnTo>
                    <a:lnTo>
                      <a:pt x="10436" y="1354"/>
                    </a:lnTo>
                    <a:lnTo>
                      <a:pt x="10469" y="1395"/>
                    </a:lnTo>
                    <a:lnTo>
                      <a:pt x="10483" y="1404"/>
                    </a:lnTo>
                    <a:lnTo>
                      <a:pt x="10511" y="1438"/>
                    </a:lnTo>
                    <a:lnTo>
                      <a:pt x="10519" y="1456"/>
                    </a:lnTo>
                    <a:lnTo>
                      <a:pt x="10546" y="1449"/>
                    </a:lnTo>
                    <a:lnTo>
                      <a:pt x="10568" y="1432"/>
                    </a:lnTo>
                    <a:lnTo>
                      <a:pt x="10593" y="1432"/>
                    </a:lnTo>
                    <a:lnTo>
                      <a:pt x="10608" y="1455"/>
                    </a:lnTo>
                    <a:lnTo>
                      <a:pt x="10617" y="1477"/>
                    </a:lnTo>
                    <a:lnTo>
                      <a:pt x="10638" y="1470"/>
                    </a:lnTo>
                    <a:lnTo>
                      <a:pt x="10652" y="1456"/>
                    </a:lnTo>
                    <a:lnTo>
                      <a:pt x="10676" y="1462"/>
                    </a:lnTo>
                    <a:lnTo>
                      <a:pt x="10693" y="1456"/>
                    </a:lnTo>
                    <a:lnTo>
                      <a:pt x="10741" y="1447"/>
                    </a:lnTo>
                    <a:lnTo>
                      <a:pt x="10763" y="1427"/>
                    </a:lnTo>
                    <a:lnTo>
                      <a:pt x="10780" y="1419"/>
                    </a:lnTo>
                    <a:lnTo>
                      <a:pt x="10778" y="1400"/>
                    </a:lnTo>
                    <a:lnTo>
                      <a:pt x="10786" y="1368"/>
                    </a:lnTo>
                    <a:lnTo>
                      <a:pt x="10809" y="1357"/>
                    </a:lnTo>
                    <a:lnTo>
                      <a:pt x="10809" y="1330"/>
                    </a:lnTo>
                    <a:lnTo>
                      <a:pt x="10819" y="1305"/>
                    </a:lnTo>
                    <a:lnTo>
                      <a:pt x="10841" y="1302"/>
                    </a:lnTo>
                    <a:lnTo>
                      <a:pt x="10875" y="1302"/>
                    </a:lnTo>
                    <a:lnTo>
                      <a:pt x="10885" y="1268"/>
                    </a:lnTo>
                    <a:lnTo>
                      <a:pt x="10902" y="1264"/>
                    </a:lnTo>
                    <a:lnTo>
                      <a:pt x="10920" y="1258"/>
                    </a:lnTo>
                    <a:lnTo>
                      <a:pt x="10924" y="1232"/>
                    </a:lnTo>
                    <a:lnTo>
                      <a:pt x="10943" y="1215"/>
                    </a:lnTo>
                    <a:lnTo>
                      <a:pt x="10971" y="1212"/>
                    </a:lnTo>
                    <a:lnTo>
                      <a:pt x="10988" y="1195"/>
                    </a:lnTo>
                    <a:lnTo>
                      <a:pt x="11021" y="1207"/>
                    </a:lnTo>
                    <a:lnTo>
                      <a:pt x="11039" y="1221"/>
                    </a:lnTo>
                    <a:lnTo>
                      <a:pt x="11067" y="1222"/>
                    </a:lnTo>
                    <a:lnTo>
                      <a:pt x="11077" y="1241"/>
                    </a:lnTo>
                    <a:lnTo>
                      <a:pt x="11095" y="1272"/>
                    </a:lnTo>
                    <a:lnTo>
                      <a:pt x="11077" y="1288"/>
                    </a:lnTo>
                    <a:lnTo>
                      <a:pt x="11083" y="1306"/>
                    </a:lnTo>
                    <a:lnTo>
                      <a:pt x="11112" y="1337"/>
                    </a:lnTo>
                    <a:lnTo>
                      <a:pt x="11115" y="1361"/>
                    </a:lnTo>
                    <a:lnTo>
                      <a:pt x="11132" y="1378"/>
                    </a:lnTo>
                    <a:lnTo>
                      <a:pt x="11152" y="1390"/>
                    </a:lnTo>
                    <a:lnTo>
                      <a:pt x="11145" y="1426"/>
                    </a:lnTo>
                    <a:lnTo>
                      <a:pt x="11144" y="1456"/>
                    </a:lnTo>
                    <a:lnTo>
                      <a:pt x="11137" y="1469"/>
                    </a:lnTo>
                    <a:lnTo>
                      <a:pt x="11111" y="1474"/>
                    </a:lnTo>
                    <a:lnTo>
                      <a:pt x="11087" y="1503"/>
                    </a:lnTo>
                    <a:lnTo>
                      <a:pt x="11087" y="1518"/>
                    </a:lnTo>
                    <a:lnTo>
                      <a:pt x="11103" y="1539"/>
                    </a:lnTo>
                    <a:lnTo>
                      <a:pt x="11110" y="1547"/>
                    </a:lnTo>
                    <a:lnTo>
                      <a:pt x="11108" y="1576"/>
                    </a:lnTo>
                    <a:lnTo>
                      <a:pt x="11098" y="1601"/>
                    </a:lnTo>
                    <a:lnTo>
                      <a:pt x="11109" y="1616"/>
                    </a:lnTo>
                    <a:lnTo>
                      <a:pt x="11124" y="1626"/>
                    </a:lnTo>
                    <a:lnTo>
                      <a:pt x="11122" y="1646"/>
                    </a:lnTo>
                    <a:lnTo>
                      <a:pt x="11129" y="1658"/>
                    </a:lnTo>
                    <a:lnTo>
                      <a:pt x="11131" y="1671"/>
                    </a:lnTo>
                    <a:lnTo>
                      <a:pt x="11123" y="1678"/>
                    </a:lnTo>
                    <a:lnTo>
                      <a:pt x="11112" y="1683"/>
                    </a:lnTo>
                    <a:lnTo>
                      <a:pt x="11115" y="1723"/>
                    </a:lnTo>
                    <a:lnTo>
                      <a:pt x="11127" y="1758"/>
                    </a:lnTo>
                    <a:lnTo>
                      <a:pt x="11137" y="1776"/>
                    </a:lnTo>
                    <a:lnTo>
                      <a:pt x="11137" y="1790"/>
                    </a:lnTo>
                    <a:lnTo>
                      <a:pt x="11120" y="1802"/>
                    </a:lnTo>
                    <a:lnTo>
                      <a:pt x="11113" y="1825"/>
                    </a:lnTo>
                    <a:lnTo>
                      <a:pt x="11124" y="1843"/>
                    </a:lnTo>
                    <a:lnTo>
                      <a:pt x="11124" y="1862"/>
                    </a:lnTo>
                    <a:lnTo>
                      <a:pt x="11134" y="1878"/>
                    </a:lnTo>
                    <a:lnTo>
                      <a:pt x="11110" y="1890"/>
                    </a:lnTo>
                    <a:lnTo>
                      <a:pt x="11105" y="1900"/>
                    </a:lnTo>
                    <a:lnTo>
                      <a:pt x="11115" y="1917"/>
                    </a:lnTo>
                    <a:lnTo>
                      <a:pt x="11120" y="1944"/>
                    </a:lnTo>
                    <a:lnTo>
                      <a:pt x="11109" y="1956"/>
                    </a:lnTo>
                    <a:lnTo>
                      <a:pt x="11095" y="1990"/>
                    </a:lnTo>
                    <a:lnTo>
                      <a:pt x="11099" y="2010"/>
                    </a:lnTo>
                    <a:lnTo>
                      <a:pt x="11105" y="2027"/>
                    </a:lnTo>
                    <a:lnTo>
                      <a:pt x="11099" y="2041"/>
                    </a:lnTo>
                    <a:lnTo>
                      <a:pt x="11101" y="2058"/>
                    </a:lnTo>
                    <a:lnTo>
                      <a:pt x="11112" y="2078"/>
                    </a:lnTo>
                    <a:lnTo>
                      <a:pt x="11116" y="2102"/>
                    </a:lnTo>
                    <a:lnTo>
                      <a:pt x="11103" y="2120"/>
                    </a:lnTo>
                    <a:lnTo>
                      <a:pt x="11083" y="2120"/>
                    </a:lnTo>
                    <a:lnTo>
                      <a:pt x="11067" y="2115"/>
                    </a:lnTo>
                    <a:lnTo>
                      <a:pt x="10958" y="2094"/>
                    </a:lnTo>
                    <a:lnTo>
                      <a:pt x="10936" y="2086"/>
                    </a:lnTo>
                    <a:lnTo>
                      <a:pt x="10909" y="2079"/>
                    </a:lnTo>
                    <a:lnTo>
                      <a:pt x="10895" y="2083"/>
                    </a:lnTo>
                    <a:lnTo>
                      <a:pt x="10864" y="2131"/>
                    </a:lnTo>
                    <a:lnTo>
                      <a:pt x="10857" y="2154"/>
                    </a:lnTo>
                    <a:lnTo>
                      <a:pt x="10841" y="2175"/>
                    </a:lnTo>
                    <a:lnTo>
                      <a:pt x="10821" y="2177"/>
                    </a:lnTo>
                    <a:lnTo>
                      <a:pt x="10800" y="2192"/>
                    </a:lnTo>
                    <a:lnTo>
                      <a:pt x="10792" y="2207"/>
                    </a:lnTo>
                    <a:lnTo>
                      <a:pt x="10805" y="2235"/>
                    </a:lnTo>
                    <a:lnTo>
                      <a:pt x="10845" y="2298"/>
                    </a:lnTo>
                    <a:lnTo>
                      <a:pt x="10853" y="2323"/>
                    </a:lnTo>
                    <a:lnTo>
                      <a:pt x="10864" y="2344"/>
                    </a:lnTo>
                    <a:lnTo>
                      <a:pt x="10886" y="2374"/>
                    </a:lnTo>
                    <a:lnTo>
                      <a:pt x="10885" y="2405"/>
                    </a:lnTo>
                    <a:lnTo>
                      <a:pt x="10889" y="2446"/>
                    </a:lnTo>
                    <a:lnTo>
                      <a:pt x="10892" y="2474"/>
                    </a:lnTo>
                    <a:lnTo>
                      <a:pt x="10892" y="2533"/>
                    </a:lnTo>
                    <a:lnTo>
                      <a:pt x="10913" y="2547"/>
                    </a:lnTo>
                    <a:lnTo>
                      <a:pt x="10915" y="2578"/>
                    </a:lnTo>
                    <a:lnTo>
                      <a:pt x="10916" y="2609"/>
                    </a:lnTo>
                    <a:lnTo>
                      <a:pt x="10908" y="2626"/>
                    </a:lnTo>
                    <a:lnTo>
                      <a:pt x="10906" y="2648"/>
                    </a:lnTo>
                    <a:lnTo>
                      <a:pt x="10911" y="2666"/>
                    </a:lnTo>
                    <a:lnTo>
                      <a:pt x="10911" y="2695"/>
                    </a:lnTo>
                    <a:lnTo>
                      <a:pt x="10898" y="2699"/>
                    </a:lnTo>
                    <a:lnTo>
                      <a:pt x="10858" y="2693"/>
                    </a:lnTo>
                    <a:lnTo>
                      <a:pt x="10838" y="2706"/>
                    </a:lnTo>
                    <a:lnTo>
                      <a:pt x="10837" y="2719"/>
                    </a:lnTo>
                    <a:lnTo>
                      <a:pt x="10842" y="2748"/>
                    </a:lnTo>
                    <a:lnTo>
                      <a:pt x="10855" y="2756"/>
                    </a:lnTo>
                    <a:lnTo>
                      <a:pt x="10855" y="2776"/>
                    </a:lnTo>
                    <a:lnTo>
                      <a:pt x="10848" y="2794"/>
                    </a:lnTo>
                    <a:lnTo>
                      <a:pt x="10700" y="2911"/>
                    </a:lnTo>
                    <a:lnTo>
                      <a:pt x="10656" y="3173"/>
                    </a:lnTo>
                    <a:lnTo>
                      <a:pt x="10156" y="3524"/>
                    </a:lnTo>
                    <a:lnTo>
                      <a:pt x="10073" y="3563"/>
                    </a:lnTo>
                    <a:lnTo>
                      <a:pt x="10069" y="3563"/>
                    </a:lnTo>
                    <a:lnTo>
                      <a:pt x="10057" y="3531"/>
                    </a:lnTo>
                    <a:lnTo>
                      <a:pt x="10007" y="3589"/>
                    </a:lnTo>
                    <a:lnTo>
                      <a:pt x="9969" y="3591"/>
                    </a:lnTo>
                    <a:lnTo>
                      <a:pt x="9950" y="3598"/>
                    </a:lnTo>
                    <a:lnTo>
                      <a:pt x="9932" y="3582"/>
                    </a:lnTo>
                    <a:lnTo>
                      <a:pt x="9887" y="3614"/>
                    </a:lnTo>
                    <a:lnTo>
                      <a:pt x="9848" y="3614"/>
                    </a:lnTo>
                    <a:lnTo>
                      <a:pt x="9841" y="3649"/>
                    </a:lnTo>
                    <a:lnTo>
                      <a:pt x="9819" y="3646"/>
                    </a:lnTo>
                    <a:lnTo>
                      <a:pt x="9744" y="3704"/>
                    </a:lnTo>
                    <a:lnTo>
                      <a:pt x="9701" y="3736"/>
                    </a:lnTo>
                    <a:lnTo>
                      <a:pt x="9715" y="3770"/>
                    </a:lnTo>
                    <a:lnTo>
                      <a:pt x="9710" y="3783"/>
                    </a:lnTo>
                    <a:lnTo>
                      <a:pt x="9662" y="3805"/>
                    </a:lnTo>
                    <a:lnTo>
                      <a:pt x="9634" y="3846"/>
                    </a:lnTo>
                    <a:lnTo>
                      <a:pt x="9615" y="3846"/>
                    </a:lnTo>
                    <a:lnTo>
                      <a:pt x="9594" y="3872"/>
                    </a:lnTo>
                    <a:lnTo>
                      <a:pt x="9573" y="3876"/>
                    </a:lnTo>
                    <a:lnTo>
                      <a:pt x="9569" y="3848"/>
                    </a:lnTo>
                    <a:lnTo>
                      <a:pt x="9542" y="3830"/>
                    </a:lnTo>
                    <a:lnTo>
                      <a:pt x="9555" y="3805"/>
                    </a:lnTo>
                    <a:lnTo>
                      <a:pt x="9583" y="3803"/>
                    </a:lnTo>
                    <a:lnTo>
                      <a:pt x="9601" y="3779"/>
                    </a:lnTo>
                    <a:lnTo>
                      <a:pt x="9639" y="3784"/>
                    </a:lnTo>
                    <a:lnTo>
                      <a:pt x="9654" y="3774"/>
                    </a:lnTo>
                    <a:lnTo>
                      <a:pt x="9658" y="3754"/>
                    </a:lnTo>
                    <a:lnTo>
                      <a:pt x="9638" y="3750"/>
                    </a:lnTo>
                    <a:lnTo>
                      <a:pt x="9634" y="3734"/>
                    </a:lnTo>
                    <a:lnTo>
                      <a:pt x="9666" y="3711"/>
                    </a:lnTo>
                    <a:lnTo>
                      <a:pt x="9683" y="3680"/>
                    </a:lnTo>
                    <a:lnTo>
                      <a:pt x="9642" y="3711"/>
                    </a:lnTo>
                    <a:lnTo>
                      <a:pt x="9605" y="3724"/>
                    </a:lnTo>
                    <a:lnTo>
                      <a:pt x="9589" y="3706"/>
                    </a:lnTo>
                    <a:lnTo>
                      <a:pt x="9589" y="3685"/>
                    </a:lnTo>
                    <a:lnTo>
                      <a:pt x="9603" y="3679"/>
                    </a:lnTo>
                    <a:lnTo>
                      <a:pt x="9606" y="3656"/>
                    </a:lnTo>
                    <a:lnTo>
                      <a:pt x="9569" y="3619"/>
                    </a:lnTo>
                    <a:lnTo>
                      <a:pt x="9576" y="3574"/>
                    </a:lnTo>
                    <a:lnTo>
                      <a:pt x="9573" y="3561"/>
                    </a:lnTo>
                    <a:lnTo>
                      <a:pt x="9605" y="3560"/>
                    </a:lnTo>
                    <a:lnTo>
                      <a:pt x="9609" y="3518"/>
                    </a:lnTo>
                    <a:lnTo>
                      <a:pt x="9645" y="3471"/>
                    </a:lnTo>
                    <a:lnTo>
                      <a:pt x="9653" y="3448"/>
                    </a:lnTo>
                    <a:lnTo>
                      <a:pt x="9673" y="3436"/>
                    </a:lnTo>
                    <a:lnTo>
                      <a:pt x="9669" y="3407"/>
                    </a:lnTo>
                    <a:lnTo>
                      <a:pt x="9593" y="3362"/>
                    </a:lnTo>
                    <a:lnTo>
                      <a:pt x="9540" y="3299"/>
                    </a:lnTo>
                    <a:lnTo>
                      <a:pt x="9528" y="3332"/>
                    </a:lnTo>
                    <a:lnTo>
                      <a:pt x="9499" y="3332"/>
                    </a:lnTo>
                    <a:lnTo>
                      <a:pt x="9483" y="3322"/>
                    </a:lnTo>
                    <a:lnTo>
                      <a:pt x="9444" y="3324"/>
                    </a:lnTo>
                    <a:lnTo>
                      <a:pt x="9422" y="3361"/>
                    </a:lnTo>
                    <a:lnTo>
                      <a:pt x="9408" y="3369"/>
                    </a:lnTo>
                    <a:lnTo>
                      <a:pt x="9401" y="3407"/>
                    </a:lnTo>
                    <a:lnTo>
                      <a:pt x="9366" y="3446"/>
                    </a:lnTo>
                    <a:lnTo>
                      <a:pt x="9362" y="3514"/>
                    </a:lnTo>
                    <a:lnTo>
                      <a:pt x="9345" y="3518"/>
                    </a:lnTo>
                    <a:lnTo>
                      <a:pt x="9317" y="3564"/>
                    </a:lnTo>
                    <a:lnTo>
                      <a:pt x="9281" y="3565"/>
                    </a:lnTo>
                    <a:lnTo>
                      <a:pt x="9220" y="3599"/>
                    </a:lnTo>
                    <a:lnTo>
                      <a:pt x="9202" y="3685"/>
                    </a:lnTo>
                    <a:lnTo>
                      <a:pt x="9189" y="3705"/>
                    </a:lnTo>
                    <a:lnTo>
                      <a:pt x="9200" y="3714"/>
                    </a:lnTo>
                    <a:lnTo>
                      <a:pt x="9206" y="3755"/>
                    </a:lnTo>
                    <a:lnTo>
                      <a:pt x="9181" y="3755"/>
                    </a:lnTo>
                    <a:lnTo>
                      <a:pt x="9191" y="3773"/>
                    </a:lnTo>
                    <a:lnTo>
                      <a:pt x="9175" y="3809"/>
                    </a:lnTo>
                    <a:lnTo>
                      <a:pt x="9131" y="3810"/>
                    </a:lnTo>
                    <a:lnTo>
                      <a:pt x="9075" y="3811"/>
                    </a:lnTo>
                    <a:lnTo>
                      <a:pt x="9011" y="3788"/>
                    </a:lnTo>
                    <a:lnTo>
                      <a:pt x="9006" y="3808"/>
                    </a:lnTo>
                    <a:lnTo>
                      <a:pt x="8986" y="3823"/>
                    </a:lnTo>
                    <a:lnTo>
                      <a:pt x="8982" y="3858"/>
                    </a:lnTo>
                    <a:lnTo>
                      <a:pt x="8977" y="3876"/>
                    </a:lnTo>
                    <a:lnTo>
                      <a:pt x="8978" y="3893"/>
                    </a:lnTo>
                    <a:lnTo>
                      <a:pt x="8962" y="3907"/>
                    </a:lnTo>
                    <a:lnTo>
                      <a:pt x="8981" y="3948"/>
                    </a:lnTo>
                    <a:lnTo>
                      <a:pt x="8985" y="3985"/>
                    </a:lnTo>
                    <a:lnTo>
                      <a:pt x="9021" y="4005"/>
                    </a:lnTo>
                    <a:lnTo>
                      <a:pt x="9077" y="4044"/>
                    </a:lnTo>
                    <a:lnTo>
                      <a:pt x="9085" y="4065"/>
                    </a:lnTo>
                    <a:lnTo>
                      <a:pt x="9110" y="4109"/>
                    </a:lnTo>
                    <a:lnTo>
                      <a:pt x="9111" y="4094"/>
                    </a:lnTo>
                    <a:lnTo>
                      <a:pt x="9123" y="4112"/>
                    </a:lnTo>
                    <a:lnTo>
                      <a:pt x="9137" y="4090"/>
                    </a:lnTo>
                    <a:lnTo>
                      <a:pt x="9156" y="4090"/>
                    </a:lnTo>
                    <a:lnTo>
                      <a:pt x="9160" y="4108"/>
                    </a:lnTo>
                    <a:lnTo>
                      <a:pt x="9177" y="4098"/>
                    </a:lnTo>
                    <a:lnTo>
                      <a:pt x="9222" y="4096"/>
                    </a:lnTo>
                    <a:lnTo>
                      <a:pt x="9230" y="4128"/>
                    </a:lnTo>
                    <a:lnTo>
                      <a:pt x="9230" y="4175"/>
                    </a:lnTo>
                    <a:lnTo>
                      <a:pt x="9277" y="4266"/>
                    </a:lnTo>
                    <a:lnTo>
                      <a:pt x="9322" y="4267"/>
                    </a:lnTo>
                    <a:lnTo>
                      <a:pt x="9355" y="4248"/>
                    </a:lnTo>
                    <a:lnTo>
                      <a:pt x="9389" y="4260"/>
                    </a:lnTo>
                    <a:lnTo>
                      <a:pt x="9404" y="4247"/>
                    </a:lnTo>
                    <a:lnTo>
                      <a:pt x="9422" y="4214"/>
                    </a:lnTo>
                    <a:lnTo>
                      <a:pt x="9406" y="4193"/>
                    </a:lnTo>
                    <a:lnTo>
                      <a:pt x="9399" y="4188"/>
                    </a:lnTo>
                    <a:lnTo>
                      <a:pt x="9445" y="4170"/>
                    </a:lnTo>
                    <a:lnTo>
                      <a:pt x="9469" y="4150"/>
                    </a:lnTo>
                    <a:lnTo>
                      <a:pt x="9469" y="4119"/>
                    </a:lnTo>
                    <a:lnTo>
                      <a:pt x="9454" y="4108"/>
                    </a:lnTo>
                    <a:lnTo>
                      <a:pt x="9496" y="4107"/>
                    </a:lnTo>
                    <a:lnTo>
                      <a:pt x="9574" y="4070"/>
                    </a:lnTo>
                    <a:lnTo>
                      <a:pt x="9584" y="4084"/>
                    </a:lnTo>
                    <a:lnTo>
                      <a:pt x="9603" y="4092"/>
                    </a:lnTo>
                    <a:lnTo>
                      <a:pt x="9623" y="4122"/>
                    </a:lnTo>
                    <a:lnTo>
                      <a:pt x="9644" y="4132"/>
                    </a:lnTo>
                    <a:lnTo>
                      <a:pt x="9665" y="4150"/>
                    </a:lnTo>
                    <a:lnTo>
                      <a:pt x="9774" y="4147"/>
                    </a:lnTo>
                    <a:lnTo>
                      <a:pt x="9788" y="4132"/>
                    </a:lnTo>
                    <a:lnTo>
                      <a:pt x="9825" y="4129"/>
                    </a:lnTo>
                    <a:lnTo>
                      <a:pt x="9823" y="4144"/>
                    </a:lnTo>
                    <a:lnTo>
                      <a:pt x="9871" y="4143"/>
                    </a:lnTo>
                    <a:lnTo>
                      <a:pt x="9911" y="4135"/>
                    </a:lnTo>
                    <a:lnTo>
                      <a:pt x="9933" y="4145"/>
                    </a:lnTo>
                    <a:lnTo>
                      <a:pt x="9895" y="4157"/>
                    </a:lnTo>
                    <a:lnTo>
                      <a:pt x="9893" y="4177"/>
                    </a:lnTo>
                    <a:lnTo>
                      <a:pt x="9922" y="4217"/>
                    </a:lnTo>
                    <a:lnTo>
                      <a:pt x="9904" y="4217"/>
                    </a:lnTo>
                    <a:lnTo>
                      <a:pt x="9881" y="4228"/>
                    </a:lnTo>
                    <a:lnTo>
                      <a:pt x="9885" y="4264"/>
                    </a:lnTo>
                    <a:lnTo>
                      <a:pt x="9913" y="4269"/>
                    </a:lnTo>
                    <a:lnTo>
                      <a:pt x="9913" y="4285"/>
                    </a:lnTo>
                    <a:lnTo>
                      <a:pt x="9870" y="4322"/>
                    </a:lnTo>
                    <a:lnTo>
                      <a:pt x="9829" y="4293"/>
                    </a:lnTo>
                    <a:lnTo>
                      <a:pt x="9824" y="4274"/>
                    </a:lnTo>
                    <a:lnTo>
                      <a:pt x="9809" y="4294"/>
                    </a:lnTo>
                    <a:lnTo>
                      <a:pt x="9796" y="4273"/>
                    </a:lnTo>
                    <a:lnTo>
                      <a:pt x="9760" y="4322"/>
                    </a:lnTo>
                    <a:lnTo>
                      <a:pt x="9738" y="4322"/>
                    </a:lnTo>
                    <a:lnTo>
                      <a:pt x="9706" y="4347"/>
                    </a:lnTo>
                    <a:lnTo>
                      <a:pt x="9675" y="4346"/>
                    </a:lnTo>
                    <a:lnTo>
                      <a:pt x="9668" y="4367"/>
                    </a:lnTo>
                    <a:lnTo>
                      <a:pt x="9639" y="4344"/>
                    </a:lnTo>
                    <a:lnTo>
                      <a:pt x="9600" y="4349"/>
                    </a:lnTo>
                    <a:lnTo>
                      <a:pt x="9639" y="4374"/>
                    </a:lnTo>
                    <a:lnTo>
                      <a:pt x="9644" y="4402"/>
                    </a:lnTo>
                    <a:lnTo>
                      <a:pt x="9600" y="4409"/>
                    </a:lnTo>
                    <a:lnTo>
                      <a:pt x="9599" y="4446"/>
                    </a:lnTo>
                    <a:lnTo>
                      <a:pt x="9548" y="4443"/>
                    </a:lnTo>
                    <a:lnTo>
                      <a:pt x="9520" y="4473"/>
                    </a:lnTo>
                    <a:lnTo>
                      <a:pt x="9536" y="4493"/>
                    </a:lnTo>
                    <a:lnTo>
                      <a:pt x="9569" y="4513"/>
                    </a:lnTo>
                    <a:lnTo>
                      <a:pt x="9537" y="4549"/>
                    </a:lnTo>
                    <a:lnTo>
                      <a:pt x="9520" y="4539"/>
                    </a:lnTo>
                    <a:lnTo>
                      <a:pt x="9489" y="4589"/>
                    </a:lnTo>
                    <a:lnTo>
                      <a:pt x="9465" y="4597"/>
                    </a:lnTo>
                    <a:lnTo>
                      <a:pt x="9453" y="4589"/>
                    </a:lnTo>
                    <a:lnTo>
                      <a:pt x="9444" y="4638"/>
                    </a:lnTo>
                    <a:lnTo>
                      <a:pt x="9459" y="4677"/>
                    </a:lnTo>
                    <a:lnTo>
                      <a:pt x="9444" y="4736"/>
                    </a:lnTo>
                    <a:lnTo>
                      <a:pt x="9445" y="4821"/>
                    </a:lnTo>
                    <a:lnTo>
                      <a:pt x="9459" y="4820"/>
                    </a:lnTo>
                    <a:lnTo>
                      <a:pt x="9546" y="4861"/>
                    </a:lnTo>
                    <a:lnTo>
                      <a:pt x="9546" y="4886"/>
                    </a:lnTo>
                    <a:lnTo>
                      <a:pt x="9571" y="4872"/>
                    </a:lnTo>
                    <a:lnTo>
                      <a:pt x="9665" y="4920"/>
                    </a:lnTo>
                    <a:lnTo>
                      <a:pt x="9718" y="5027"/>
                    </a:lnTo>
                    <a:lnTo>
                      <a:pt x="9729" y="5030"/>
                    </a:lnTo>
                    <a:lnTo>
                      <a:pt x="9712" y="5070"/>
                    </a:lnTo>
                    <a:lnTo>
                      <a:pt x="9745" y="5081"/>
                    </a:lnTo>
                    <a:lnTo>
                      <a:pt x="9749" y="5132"/>
                    </a:lnTo>
                    <a:lnTo>
                      <a:pt x="9813" y="5178"/>
                    </a:lnTo>
                    <a:lnTo>
                      <a:pt x="9814" y="5229"/>
                    </a:lnTo>
                    <a:lnTo>
                      <a:pt x="9859" y="5294"/>
                    </a:lnTo>
                    <a:lnTo>
                      <a:pt x="9893" y="5308"/>
                    </a:lnTo>
                    <a:lnTo>
                      <a:pt x="9928" y="5305"/>
                    </a:lnTo>
                    <a:lnTo>
                      <a:pt x="9946" y="5320"/>
                    </a:lnTo>
                    <a:lnTo>
                      <a:pt x="9946" y="5332"/>
                    </a:lnTo>
                    <a:lnTo>
                      <a:pt x="9987" y="5382"/>
                    </a:lnTo>
                    <a:lnTo>
                      <a:pt x="10008" y="5391"/>
                    </a:lnTo>
                    <a:lnTo>
                      <a:pt x="10033" y="5440"/>
                    </a:lnTo>
                    <a:lnTo>
                      <a:pt x="10013" y="5451"/>
                    </a:lnTo>
                    <a:lnTo>
                      <a:pt x="9944" y="5426"/>
                    </a:lnTo>
                    <a:lnTo>
                      <a:pt x="9894" y="5455"/>
                    </a:lnTo>
                    <a:lnTo>
                      <a:pt x="9860" y="5420"/>
                    </a:lnTo>
                    <a:lnTo>
                      <a:pt x="9835" y="5418"/>
                    </a:lnTo>
                    <a:lnTo>
                      <a:pt x="9798" y="5392"/>
                    </a:lnTo>
                    <a:lnTo>
                      <a:pt x="9743" y="5385"/>
                    </a:lnTo>
                    <a:lnTo>
                      <a:pt x="9721" y="5414"/>
                    </a:lnTo>
                    <a:lnTo>
                      <a:pt x="9688" y="5414"/>
                    </a:lnTo>
                    <a:lnTo>
                      <a:pt x="9665" y="5396"/>
                    </a:lnTo>
                    <a:lnTo>
                      <a:pt x="9645" y="5345"/>
                    </a:lnTo>
                    <a:lnTo>
                      <a:pt x="9599" y="5362"/>
                    </a:lnTo>
                    <a:lnTo>
                      <a:pt x="9574" y="5352"/>
                    </a:lnTo>
                    <a:lnTo>
                      <a:pt x="9564" y="5362"/>
                    </a:lnTo>
                    <a:lnTo>
                      <a:pt x="9542" y="5362"/>
                    </a:lnTo>
                    <a:lnTo>
                      <a:pt x="9521" y="5356"/>
                    </a:lnTo>
                    <a:lnTo>
                      <a:pt x="9490" y="5371"/>
                    </a:lnTo>
                    <a:lnTo>
                      <a:pt x="9450" y="5449"/>
                    </a:lnTo>
                    <a:lnTo>
                      <a:pt x="9499" y="5391"/>
                    </a:lnTo>
                    <a:lnTo>
                      <a:pt x="9536" y="5377"/>
                    </a:lnTo>
                    <a:lnTo>
                      <a:pt x="9580" y="5383"/>
                    </a:lnTo>
                    <a:lnTo>
                      <a:pt x="9619" y="5367"/>
                    </a:lnTo>
                    <a:lnTo>
                      <a:pt x="9636" y="5375"/>
                    </a:lnTo>
                    <a:lnTo>
                      <a:pt x="9638" y="5393"/>
                    </a:lnTo>
                    <a:lnTo>
                      <a:pt x="9683" y="5434"/>
                    </a:lnTo>
                    <a:lnTo>
                      <a:pt x="9709" y="5440"/>
                    </a:lnTo>
                    <a:lnTo>
                      <a:pt x="9765" y="5401"/>
                    </a:lnTo>
                    <a:lnTo>
                      <a:pt x="9799" y="5402"/>
                    </a:lnTo>
                    <a:lnTo>
                      <a:pt x="9868" y="5470"/>
                    </a:lnTo>
                    <a:lnTo>
                      <a:pt x="9924" y="5502"/>
                    </a:lnTo>
                    <a:lnTo>
                      <a:pt x="10012" y="5556"/>
                    </a:lnTo>
                    <a:lnTo>
                      <a:pt x="10054" y="5624"/>
                    </a:lnTo>
                    <a:lnTo>
                      <a:pt x="10053" y="5649"/>
                    </a:lnTo>
                    <a:lnTo>
                      <a:pt x="10005" y="5654"/>
                    </a:lnTo>
                    <a:lnTo>
                      <a:pt x="9965" y="5700"/>
                    </a:lnTo>
                    <a:lnTo>
                      <a:pt x="9945" y="5697"/>
                    </a:lnTo>
                    <a:lnTo>
                      <a:pt x="9928" y="5714"/>
                    </a:lnTo>
                    <a:lnTo>
                      <a:pt x="9925" y="5743"/>
                    </a:lnTo>
                    <a:lnTo>
                      <a:pt x="9895" y="5757"/>
                    </a:lnTo>
                    <a:lnTo>
                      <a:pt x="9854" y="5736"/>
                    </a:lnTo>
                    <a:lnTo>
                      <a:pt x="9831" y="5754"/>
                    </a:lnTo>
                    <a:lnTo>
                      <a:pt x="9809" y="5752"/>
                    </a:lnTo>
                    <a:lnTo>
                      <a:pt x="9770" y="5784"/>
                    </a:lnTo>
                    <a:lnTo>
                      <a:pt x="9766" y="5825"/>
                    </a:lnTo>
                    <a:lnTo>
                      <a:pt x="9777" y="5795"/>
                    </a:lnTo>
                    <a:lnTo>
                      <a:pt x="9812" y="5766"/>
                    </a:lnTo>
                    <a:lnTo>
                      <a:pt x="9846" y="5759"/>
                    </a:lnTo>
                    <a:lnTo>
                      <a:pt x="9881" y="5809"/>
                    </a:lnTo>
                    <a:lnTo>
                      <a:pt x="9909" y="5818"/>
                    </a:lnTo>
                    <a:lnTo>
                      <a:pt x="9962" y="5773"/>
                    </a:lnTo>
                    <a:lnTo>
                      <a:pt x="10002" y="5779"/>
                    </a:lnTo>
                    <a:lnTo>
                      <a:pt x="10058" y="5850"/>
                    </a:lnTo>
                    <a:lnTo>
                      <a:pt x="10067" y="5835"/>
                    </a:lnTo>
                    <a:lnTo>
                      <a:pt x="10080" y="5853"/>
                    </a:lnTo>
                    <a:lnTo>
                      <a:pt x="10114" y="5853"/>
                    </a:lnTo>
                    <a:lnTo>
                      <a:pt x="10119" y="5864"/>
                    </a:lnTo>
                    <a:lnTo>
                      <a:pt x="10043" y="5935"/>
                    </a:lnTo>
                    <a:lnTo>
                      <a:pt x="9997" y="5944"/>
                    </a:lnTo>
                    <a:lnTo>
                      <a:pt x="9997" y="5975"/>
                    </a:lnTo>
                    <a:lnTo>
                      <a:pt x="10020" y="5979"/>
                    </a:lnTo>
                    <a:lnTo>
                      <a:pt x="10064" y="5941"/>
                    </a:lnTo>
                    <a:lnTo>
                      <a:pt x="10100" y="5949"/>
                    </a:lnTo>
                    <a:lnTo>
                      <a:pt x="10100" y="5934"/>
                    </a:lnTo>
                    <a:lnTo>
                      <a:pt x="10094" y="5924"/>
                    </a:lnTo>
                    <a:lnTo>
                      <a:pt x="10114" y="5904"/>
                    </a:lnTo>
                    <a:lnTo>
                      <a:pt x="10133" y="5915"/>
                    </a:lnTo>
                    <a:lnTo>
                      <a:pt x="10137" y="5965"/>
                    </a:lnTo>
                    <a:lnTo>
                      <a:pt x="10147" y="5987"/>
                    </a:lnTo>
                    <a:lnTo>
                      <a:pt x="10127" y="6003"/>
                    </a:lnTo>
                    <a:lnTo>
                      <a:pt x="10124" y="5991"/>
                    </a:lnTo>
                    <a:lnTo>
                      <a:pt x="10104" y="5981"/>
                    </a:lnTo>
                    <a:lnTo>
                      <a:pt x="10099" y="5998"/>
                    </a:lnTo>
                    <a:lnTo>
                      <a:pt x="10089" y="6006"/>
                    </a:lnTo>
                    <a:lnTo>
                      <a:pt x="10056" y="5997"/>
                    </a:lnTo>
                    <a:lnTo>
                      <a:pt x="10020" y="6028"/>
                    </a:lnTo>
                    <a:lnTo>
                      <a:pt x="10017" y="6044"/>
                    </a:lnTo>
                    <a:lnTo>
                      <a:pt x="10073" y="6041"/>
                    </a:lnTo>
                    <a:lnTo>
                      <a:pt x="10092" y="6059"/>
                    </a:lnTo>
                    <a:lnTo>
                      <a:pt x="10086" y="6073"/>
                    </a:lnTo>
                    <a:lnTo>
                      <a:pt x="10075" y="6070"/>
                    </a:lnTo>
                    <a:lnTo>
                      <a:pt x="10053" y="6092"/>
                    </a:lnTo>
                    <a:lnTo>
                      <a:pt x="10073" y="6102"/>
                    </a:lnTo>
                    <a:lnTo>
                      <a:pt x="10089" y="6120"/>
                    </a:lnTo>
                    <a:lnTo>
                      <a:pt x="10069" y="6137"/>
                    </a:lnTo>
                    <a:lnTo>
                      <a:pt x="10046" y="6133"/>
                    </a:lnTo>
                    <a:lnTo>
                      <a:pt x="10032" y="6144"/>
                    </a:lnTo>
                    <a:lnTo>
                      <a:pt x="10046" y="6159"/>
                    </a:lnTo>
                    <a:lnTo>
                      <a:pt x="10079" y="6162"/>
                    </a:lnTo>
                    <a:lnTo>
                      <a:pt x="10098" y="6193"/>
                    </a:lnTo>
                    <a:lnTo>
                      <a:pt x="10074" y="6208"/>
                    </a:lnTo>
                    <a:lnTo>
                      <a:pt x="10068" y="6243"/>
                    </a:lnTo>
                    <a:lnTo>
                      <a:pt x="10059" y="6231"/>
                    </a:lnTo>
                    <a:lnTo>
                      <a:pt x="10053" y="6203"/>
                    </a:lnTo>
                    <a:lnTo>
                      <a:pt x="10025" y="6207"/>
                    </a:lnTo>
                    <a:lnTo>
                      <a:pt x="9999" y="6268"/>
                    </a:lnTo>
                    <a:lnTo>
                      <a:pt x="9980" y="6283"/>
                    </a:lnTo>
                    <a:lnTo>
                      <a:pt x="9932" y="6268"/>
                    </a:lnTo>
                    <a:lnTo>
                      <a:pt x="9965" y="6287"/>
                    </a:lnTo>
                    <a:lnTo>
                      <a:pt x="9965" y="6305"/>
                    </a:lnTo>
                    <a:lnTo>
                      <a:pt x="9979" y="6325"/>
                    </a:lnTo>
                    <a:lnTo>
                      <a:pt x="9959" y="6339"/>
                    </a:lnTo>
                    <a:lnTo>
                      <a:pt x="9957" y="6362"/>
                    </a:lnTo>
                    <a:lnTo>
                      <a:pt x="9970" y="6381"/>
                    </a:lnTo>
                    <a:lnTo>
                      <a:pt x="9959" y="6394"/>
                    </a:lnTo>
                    <a:lnTo>
                      <a:pt x="9960" y="6424"/>
                    </a:lnTo>
                    <a:lnTo>
                      <a:pt x="9932" y="6438"/>
                    </a:lnTo>
                    <a:lnTo>
                      <a:pt x="9909" y="6414"/>
                    </a:lnTo>
                    <a:lnTo>
                      <a:pt x="9900" y="6443"/>
                    </a:lnTo>
                    <a:lnTo>
                      <a:pt x="9927" y="6445"/>
                    </a:lnTo>
                    <a:lnTo>
                      <a:pt x="9950" y="6474"/>
                    </a:lnTo>
                    <a:lnTo>
                      <a:pt x="9911" y="6472"/>
                    </a:lnTo>
                    <a:lnTo>
                      <a:pt x="9909" y="6493"/>
                    </a:lnTo>
                    <a:lnTo>
                      <a:pt x="9866" y="6538"/>
                    </a:lnTo>
                    <a:lnTo>
                      <a:pt x="9844" y="6538"/>
                    </a:lnTo>
                    <a:lnTo>
                      <a:pt x="9846" y="6504"/>
                    </a:lnTo>
                    <a:lnTo>
                      <a:pt x="9829" y="6507"/>
                    </a:lnTo>
                    <a:lnTo>
                      <a:pt x="9818" y="6504"/>
                    </a:lnTo>
                    <a:lnTo>
                      <a:pt x="9812" y="6533"/>
                    </a:lnTo>
                    <a:lnTo>
                      <a:pt x="9789" y="6528"/>
                    </a:lnTo>
                    <a:lnTo>
                      <a:pt x="9804" y="6545"/>
                    </a:lnTo>
                    <a:lnTo>
                      <a:pt x="9785" y="6562"/>
                    </a:lnTo>
                    <a:lnTo>
                      <a:pt x="9813" y="6564"/>
                    </a:lnTo>
                    <a:lnTo>
                      <a:pt x="9836" y="6595"/>
                    </a:lnTo>
                    <a:lnTo>
                      <a:pt x="9800" y="6595"/>
                    </a:lnTo>
                    <a:lnTo>
                      <a:pt x="9841" y="6631"/>
                    </a:lnTo>
                    <a:lnTo>
                      <a:pt x="9862" y="6612"/>
                    </a:lnTo>
                    <a:lnTo>
                      <a:pt x="9880" y="6631"/>
                    </a:lnTo>
                    <a:lnTo>
                      <a:pt x="9823" y="6656"/>
                    </a:lnTo>
                    <a:lnTo>
                      <a:pt x="9788" y="6681"/>
                    </a:lnTo>
                    <a:lnTo>
                      <a:pt x="9782" y="6707"/>
                    </a:lnTo>
                    <a:lnTo>
                      <a:pt x="9796" y="6694"/>
                    </a:lnTo>
                    <a:lnTo>
                      <a:pt x="9821" y="6692"/>
                    </a:lnTo>
                    <a:lnTo>
                      <a:pt x="9841" y="6712"/>
                    </a:lnTo>
                    <a:lnTo>
                      <a:pt x="9802" y="6745"/>
                    </a:lnTo>
                    <a:lnTo>
                      <a:pt x="9830" y="6754"/>
                    </a:lnTo>
                    <a:lnTo>
                      <a:pt x="9825" y="6776"/>
                    </a:lnTo>
                    <a:lnTo>
                      <a:pt x="9803" y="6783"/>
                    </a:lnTo>
                    <a:lnTo>
                      <a:pt x="9809" y="6802"/>
                    </a:lnTo>
                    <a:lnTo>
                      <a:pt x="9825" y="6802"/>
                    </a:lnTo>
                    <a:lnTo>
                      <a:pt x="9839" y="6827"/>
                    </a:lnTo>
                    <a:lnTo>
                      <a:pt x="9836" y="6868"/>
                    </a:lnTo>
                    <a:lnTo>
                      <a:pt x="9818" y="6839"/>
                    </a:lnTo>
                    <a:lnTo>
                      <a:pt x="9800" y="6839"/>
                    </a:lnTo>
                    <a:lnTo>
                      <a:pt x="9800" y="6817"/>
                    </a:lnTo>
                    <a:lnTo>
                      <a:pt x="9774" y="6793"/>
                    </a:lnTo>
                    <a:lnTo>
                      <a:pt x="9763" y="6813"/>
                    </a:lnTo>
                    <a:lnTo>
                      <a:pt x="9744" y="6813"/>
                    </a:lnTo>
                    <a:lnTo>
                      <a:pt x="9741" y="6841"/>
                    </a:lnTo>
                    <a:lnTo>
                      <a:pt x="9771" y="6863"/>
                    </a:lnTo>
                    <a:lnTo>
                      <a:pt x="9770" y="6892"/>
                    </a:lnTo>
                    <a:lnTo>
                      <a:pt x="9759" y="6874"/>
                    </a:lnTo>
                    <a:lnTo>
                      <a:pt x="9741" y="6874"/>
                    </a:lnTo>
                    <a:lnTo>
                      <a:pt x="9729" y="6858"/>
                    </a:lnTo>
                    <a:lnTo>
                      <a:pt x="9704" y="6864"/>
                    </a:lnTo>
                    <a:lnTo>
                      <a:pt x="9723" y="6878"/>
                    </a:lnTo>
                    <a:lnTo>
                      <a:pt x="9728" y="6909"/>
                    </a:lnTo>
                    <a:lnTo>
                      <a:pt x="9750" y="6909"/>
                    </a:lnTo>
                    <a:lnTo>
                      <a:pt x="9755" y="6918"/>
                    </a:lnTo>
                    <a:lnTo>
                      <a:pt x="9735" y="6942"/>
                    </a:lnTo>
                    <a:lnTo>
                      <a:pt x="9700" y="6917"/>
                    </a:lnTo>
                    <a:lnTo>
                      <a:pt x="9695" y="6939"/>
                    </a:lnTo>
                    <a:lnTo>
                      <a:pt x="9706" y="6956"/>
                    </a:lnTo>
                    <a:lnTo>
                      <a:pt x="9735" y="6965"/>
                    </a:lnTo>
                    <a:lnTo>
                      <a:pt x="9723" y="7002"/>
                    </a:lnTo>
                    <a:lnTo>
                      <a:pt x="9675" y="6973"/>
                    </a:lnTo>
                    <a:lnTo>
                      <a:pt x="9658" y="6989"/>
                    </a:lnTo>
                    <a:lnTo>
                      <a:pt x="9645" y="6977"/>
                    </a:lnTo>
                    <a:lnTo>
                      <a:pt x="9619" y="7013"/>
                    </a:lnTo>
                    <a:lnTo>
                      <a:pt x="9561" y="7016"/>
                    </a:lnTo>
                    <a:lnTo>
                      <a:pt x="9605" y="7048"/>
                    </a:lnTo>
                    <a:lnTo>
                      <a:pt x="9629" y="7039"/>
                    </a:lnTo>
                    <a:lnTo>
                      <a:pt x="9659" y="7046"/>
                    </a:lnTo>
                    <a:lnTo>
                      <a:pt x="9646" y="7073"/>
                    </a:lnTo>
                    <a:lnTo>
                      <a:pt x="9626" y="7076"/>
                    </a:lnTo>
                    <a:lnTo>
                      <a:pt x="9621" y="7111"/>
                    </a:lnTo>
                    <a:lnTo>
                      <a:pt x="9601" y="7087"/>
                    </a:lnTo>
                    <a:lnTo>
                      <a:pt x="9581" y="7118"/>
                    </a:lnTo>
                    <a:lnTo>
                      <a:pt x="9571" y="7124"/>
                    </a:lnTo>
                    <a:lnTo>
                      <a:pt x="9569" y="7111"/>
                    </a:lnTo>
                    <a:lnTo>
                      <a:pt x="9553" y="7112"/>
                    </a:lnTo>
                    <a:lnTo>
                      <a:pt x="9548" y="7138"/>
                    </a:lnTo>
                    <a:lnTo>
                      <a:pt x="9531" y="7138"/>
                    </a:lnTo>
                    <a:lnTo>
                      <a:pt x="9523" y="7178"/>
                    </a:lnTo>
                    <a:lnTo>
                      <a:pt x="9490" y="7178"/>
                    </a:lnTo>
                    <a:lnTo>
                      <a:pt x="9486" y="7163"/>
                    </a:lnTo>
                    <a:lnTo>
                      <a:pt x="9444" y="7169"/>
                    </a:lnTo>
                    <a:lnTo>
                      <a:pt x="9433" y="7188"/>
                    </a:lnTo>
                    <a:lnTo>
                      <a:pt x="9415" y="7183"/>
                    </a:lnTo>
                    <a:lnTo>
                      <a:pt x="9431" y="7217"/>
                    </a:lnTo>
                    <a:lnTo>
                      <a:pt x="9420" y="7253"/>
                    </a:lnTo>
                    <a:lnTo>
                      <a:pt x="9405" y="7274"/>
                    </a:lnTo>
                    <a:lnTo>
                      <a:pt x="9419" y="7297"/>
                    </a:lnTo>
                    <a:lnTo>
                      <a:pt x="9390" y="7309"/>
                    </a:lnTo>
                    <a:lnTo>
                      <a:pt x="9371" y="7304"/>
                    </a:lnTo>
                    <a:lnTo>
                      <a:pt x="9360" y="7320"/>
                    </a:lnTo>
                    <a:lnTo>
                      <a:pt x="9356" y="7301"/>
                    </a:lnTo>
                    <a:lnTo>
                      <a:pt x="9340" y="7314"/>
                    </a:lnTo>
                    <a:lnTo>
                      <a:pt x="9320" y="7336"/>
                    </a:lnTo>
                    <a:lnTo>
                      <a:pt x="9281" y="7341"/>
                    </a:lnTo>
                    <a:lnTo>
                      <a:pt x="9277" y="7357"/>
                    </a:lnTo>
                    <a:lnTo>
                      <a:pt x="9249" y="7357"/>
                    </a:lnTo>
                    <a:lnTo>
                      <a:pt x="9246" y="7347"/>
                    </a:lnTo>
                    <a:lnTo>
                      <a:pt x="9227" y="7347"/>
                    </a:lnTo>
                    <a:lnTo>
                      <a:pt x="9222" y="7377"/>
                    </a:lnTo>
                    <a:lnTo>
                      <a:pt x="9206" y="7391"/>
                    </a:lnTo>
                    <a:lnTo>
                      <a:pt x="9180" y="7362"/>
                    </a:lnTo>
                    <a:lnTo>
                      <a:pt x="9167" y="7342"/>
                    </a:lnTo>
                    <a:lnTo>
                      <a:pt x="9160" y="7358"/>
                    </a:lnTo>
                    <a:lnTo>
                      <a:pt x="9132" y="7365"/>
                    </a:lnTo>
                    <a:lnTo>
                      <a:pt x="9130" y="7388"/>
                    </a:lnTo>
                    <a:lnTo>
                      <a:pt x="9102" y="7395"/>
                    </a:lnTo>
                    <a:lnTo>
                      <a:pt x="9075" y="7380"/>
                    </a:lnTo>
                    <a:lnTo>
                      <a:pt x="9060" y="7393"/>
                    </a:lnTo>
                    <a:lnTo>
                      <a:pt x="9029" y="7404"/>
                    </a:lnTo>
                    <a:lnTo>
                      <a:pt x="9025" y="7437"/>
                    </a:lnTo>
                    <a:lnTo>
                      <a:pt x="8964" y="7467"/>
                    </a:lnTo>
                    <a:lnTo>
                      <a:pt x="8960" y="7453"/>
                    </a:lnTo>
                    <a:lnTo>
                      <a:pt x="8982" y="7443"/>
                    </a:lnTo>
                    <a:lnTo>
                      <a:pt x="8999" y="7418"/>
                    </a:lnTo>
                    <a:lnTo>
                      <a:pt x="8977" y="7424"/>
                    </a:lnTo>
                    <a:lnTo>
                      <a:pt x="8942" y="7390"/>
                    </a:lnTo>
                    <a:lnTo>
                      <a:pt x="8937" y="7368"/>
                    </a:lnTo>
                    <a:lnTo>
                      <a:pt x="8893" y="7347"/>
                    </a:lnTo>
                    <a:lnTo>
                      <a:pt x="8877" y="7332"/>
                    </a:lnTo>
                    <a:lnTo>
                      <a:pt x="8884" y="7350"/>
                    </a:lnTo>
                    <a:lnTo>
                      <a:pt x="8882" y="7375"/>
                    </a:lnTo>
                    <a:lnTo>
                      <a:pt x="8889" y="7406"/>
                    </a:lnTo>
                    <a:lnTo>
                      <a:pt x="8895" y="7447"/>
                    </a:lnTo>
                    <a:lnTo>
                      <a:pt x="8869" y="7461"/>
                    </a:lnTo>
                    <a:lnTo>
                      <a:pt x="8853" y="7487"/>
                    </a:lnTo>
                    <a:lnTo>
                      <a:pt x="8837" y="7499"/>
                    </a:lnTo>
                    <a:lnTo>
                      <a:pt x="8822" y="7487"/>
                    </a:lnTo>
                    <a:lnTo>
                      <a:pt x="8813" y="7479"/>
                    </a:lnTo>
                    <a:lnTo>
                      <a:pt x="8810" y="7493"/>
                    </a:lnTo>
                    <a:lnTo>
                      <a:pt x="8789" y="7522"/>
                    </a:lnTo>
                    <a:lnTo>
                      <a:pt x="8756" y="7555"/>
                    </a:lnTo>
                    <a:lnTo>
                      <a:pt x="8718" y="7573"/>
                    </a:lnTo>
                    <a:lnTo>
                      <a:pt x="8698" y="7579"/>
                    </a:lnTo>
                    <a:lnTo>
                      <a:pt x="8664" y="7567"/>
                    </a:lnTo>
                    <a:lnTo>
                      <a:pt x="8631" y="7577"/>
                    </a:lnTo>
                    <a:lnTo>
                      <a:pt x="8603" y="7576"/>
                    </a:lnTo>
                    <a:lnTo>
                      <a:pt x="8616" y="7599"/>
                    </a:lnTo>
                    <a:lnTo>
                      <a:pt x="8579" y="7619"/>
                    </a:lnTo>
                    <a:lnTo>
                      <a:pt x="8548" y="7630"/>
                    </a:lnTo>
                    <a:lnTo>
                      <a:pt x="8520" y="7619"/>
                    </a:lnTo>
                    <a:lnTo>
                      <a:pt x="8507" y="7645"/>
                    </a:lnTo>
                    <a:lnTo>
                      <a:pt x="8474" y="7650"/>
                    </a:lnTo>
                    <a:lnTo>
                      <a:pt x="8457" y="7669"/>
                    </a:lnTo>
                    <a:lnTo>
                      <a:pt x="8447" y="7668"/>
                    </a:lnTo>
                    <a:lnTo>
                      <a:pt x="8455" y="7658"/>
                    </a:lnTo>
                    <a:lnTo>
                      <a:pt x="8439" y="7655"/>
                    </a:lnTo>
                    <a:lnTo>
                      <a:pt x="8437" y="7648"/>
                    </a:lnTo>
                    <a:lnTo>
                      <a:pt x="8442" y="7643"/>
                    </a:lnTo>
                    <a:lnTo>
                      <a:pt x="8433" y="7643"/>
                    </a:lnTo>
                    <a:lnTo>
                      <a:pt x="8426" y="7630"/>
                    </a:lnTo>
                    <a:lnTo>
                      <a:pt x="8423" y="7621"/>
                    </a:lnTo>
                    <a:lnTo>
                      <a:pt x="8411" y="7633"/>
                    </a:lnTo>
                    <a:lnTo>
                      <a:pt x="8402" y="7635"/>
                    </a:lnTo>
                    <a:lnTo>
                      <a:pt x="8407" y="7652"/>
                    </a:lnTo>
                    <a:lnTo>
                      <a:pt x="8402" y="7675"/>
                    </a:lnTo>
                    <a:lnTo>
                      <a:pt x="8378" y="7694"/>
                    </a:lnTo>
                    <a:lnTo>
                      <a:pt x="8370" y="7708"/>
                    </a:lnTo>
                    <a:lnTo>
                      <a:pt x="8384" y="7740"/>
                    </a:lnTo>
                    <a:lnTo>
                      <a:pt x="8403" y="7740"/>
                    </a:lnTo>
                    <a:lnTo>
                      <a:pt x="8422" y="7774"/>
                    </a:lnTo>
                    <a:lnTo>
                      <a:pt x="8422" y="7784"/>
                    </a:lnTo>
                    <a:lnTo>
                      <a:pt x="8435" y="7786"/>
                    </a:lnTo>
                    <a:lnTo>
                      <a:pt x="8443" y="7801"/>
                    </a:lnTo>
                    <a:lnTo>
                      <a:pt x="8414" y="7839"/>
                    </a:lnTo>
                    <a:lnTo>
                      <a:pt x="8394" y="7839"/>
                    </a:lnTo>
                    <a:lnTo>
                      <a:pt x="8394" y="7829"/>
                    </a:lnTo>
                    <a:lnTo>
                      <a:pt x="8356" y="7822"/>
                    </a:lnTo>
                    <a:lnTo>
                      <a:pt x="8343" y="7846"/>
                    </a:lnTo>
                    <a:lnTo>
                      <a:pt x="8335" y="7853"/>
                    </a:lnTo>
                    <a:lnTo>
                      <a:pt x="8330" y="7816"/>
                    </a:lnTo>
                    <a:lnTo>
                      <a:pt x="8331" y="7799"/>
                    </a:lnTo>
                    <a:lnTo>
                      <a:pt x="8307" y="7785"/>
                    </a:lnTo>
                    <a:lnTo>
                      <a:pt x="8266" y="7728"/>
                    </a:lnTo>
                    <a:lnTo>
                      <a:pt x="8267" y="7708"/>
                    </a:lnTo>
                    <a:lnTo>
                      <a:pt x="8290" y="7678"/>
                    </a:lnTo>
                    <a:lnTo>
                      <a:pt x="8296" y="7648"/>
                    </a:lnTo>
                    <a:lnTo>
                      <a:pt x="8321" y="7645"/>
                    </a:lnTo>
                    <a:lnTo>
                      <a:pt x="8319" y="7633"/>
                    </a:lnTo>
                    <a:lnTo>
                      <a:pt x="8302" y="7626"/>
                    </a:lnTo>
                    <a:lnTo>
                      <a:pt x="8277" y="7633"/>
                    </a:lnTo>
                    <a:lnTo>
                      <a:pt x="8252" y="7610"/>
                    </a:lnTo>
                    <a:lnTo>
                      <a:pt x="8235" y="7640"/>
                    </a:lnTo>
                    <a:lnTo>
                      <a:pt x="8211" y="7638"/>
                    </a:lnTo>
                    <a:lnTo>
                      <a:pt x="8194" y="7644"/>
                    </a:lnTo>
                    <a:lnTo>
                      <a:pt x="8151" y="7609"/>
                    </a:lnTo>
                    <a:lnTo>
                      <a:pt x="8135" y="7615"/>
                    </a:lnTo>
                    <a:lnTo>
                      <a:pt x="8103" y="7582"/>
                    </a:lnTo>
                    <a:lnTo>
                      <a:pt x="8087" y="7552"/>
                    </a:lnTo>
                    <a:lnTo>
                      <a:pt x="8079" y="7585"/>
                    </a:lnTo>
                    <a:lnTo>
                      <a:pt x="8080" y="7603"/>
                    </a:lnTo>
                    <a:lnTo>
                      <a:pt x="8052" y="7615"/>
                    </a:lnTo>
                    <a:lnTo>
                      <a:pt x="8031" y="7606"/>
                    </a:lnTo>
                    <a:lnTo>
                      <a:pt x="8019" y="7613"/>
                    </a:lnTo>
                    <a:lnTo>
                      <a:pt x="8008" y="7610"/>
                    </a:lnTo>
                    <a:lnTo>
                      <a:pt x="8009" y="7612"/>
                    </a:lnTo>
                    <a:lnTo>
                      <a:pt x="8000" y="7607"/>
                    </a:lnTo>
                    <a:lnTo>
                      <a:pt x="7980" y="7606"/>
                    </a:lnTo>
                    <a:lnTo>
                      <a:pt x="7813" y="7621"/>
                    </a:lnTo>
                    <a:lnTo>
                      <a:pt x="7451" y="7479"/>
                    </a:lnTo>
                    <a:lnTo>
                      <a:pt x="6860" y="7778"/>
                    </a:lnTo>
                    <a:lnTo>
                      <a:pt x="6425" y="7640"/>
                    </a:lnTo>
                    <a:lnTo>
                      <a:pt x="5426" y="6899"/>
                    </a:lnTo>
                    <a:lnTo>
                      <a:pt x="3291" y="6701"/>
                    </a:lnTo>
                    <a:lnTo>
                      <a:pt x="2165" y="5644"/>
                    </a:lnTo>
                    <a:lnTo>
                      <a:pt x="0" y="4714"/>
                    </a:lnTo>
                    <a:lnTo>
                      <a:pt x="178" y="2886"/>
                    </a:lnTo>
                    <a:lnTo>
                      <a:pt x="1601" y="2115"/>
                    </a:lnTo>
                    <a:lnTo>
                      <a:pt x="3245" y="1770"/>
                    </a:lnTo>
                    <a:lnTo>
                      <a:pt x="3380" y="1747"/>
                    </a:lnTo>
                    <a:lnTo>
                      <a:pt x="3380" y="1747"/>
                    </a:lnTo>
                    <a:close/>
                    <a:moveTo>
                      <a:pt x="9486" y="7217"/>
                    </a:moveTo>
                    <a:lnTo>
                      <a:pt x="9491" y="7234"/>
                    </a:lnTo>
                    <a:lnTo>
                      <a:pt x="9521" y="7235"/>
                    </a:lnTo>
                    <a:lnTo>
                      <a:pt x="9534" y="7225"/>
                    </a:lnTo>
                    <a:lnTo>
                      <a:pt x="9512" y="7204"/>
                    </a:lnTo>
                    <a:lnTo>
                      <a:pt x="9486" y="7217"/>
                    </a:lnTo>
                    <a:lnTo>
                      <a:pt x="9486" y="7217"/>
                    </a:lnTo>
                    <a:close/>
                    <a:moveTo>
                      <a:pt x="9851" y="6774"/>
                    </a:moveTo>
                    <a:lnTo>
                      <a:pt x="9858" y="6812"/>
                    </a:lnTo>
                    <a:lnTo>
                      <a:pt x="9876" y="6806"/>
                    </a:lnTo>
                    <a:lnTo>
                      <a:pt x="9877" y="6782"/>
                    </a:lnTo>
                    <a:lnTo>
                      <a:pt x="9864" y="6768"/>
                    </a:lnTo>
                    <a:lnTo>
                      <a:pt x="9851" y="6774"/>
                    </a:lnTo>
                    <a:lnTo>
                      <a:pt x="9851" y="6774"/>
                    </a:lnTo>
                    <a:close/>
                    <a:moveTo>
                      <a:pt x="10116" y="5789"/>
                    </a:moveTo>
                    <a:lnTo>
                      <a:pt x="10124" y="5812"/>
                    </a:lnTo>
                    <a:lnTo>
                      <a:pt x="10158" y="5823"/>
                    </a:lnTo>
                    <a:lnTo>
                      <a:pt x="10182" y="5839"/>
                    </a:lnTo>
                    <a:lnTo>
                      <a:pt x="10183" y="5811"/>
                    </a:lnTo>
                    <a:lnTo>
                      <a:pt x="10150" y="5792"/>
                    </a:lnTo>
                    <a:lnTo>
                      <a:pt x="10131" y="5794"/>
                    </a:lnTo>
                    <a:lnTo>
                      <a:pt x="10116" y="5789"/>
                    </a:lnTo>
                    <a:lnTo>
                      <a:pt x="10116" y="5789"/>
                    </a:lnTo>
                    <a:close/>
                    <a:moveTo>
                      <a:pt x="9930" y="5453"/>
                    </a:moveTo>
                    <a:lnTo>
                      <a:pt x="9926" y="5467"/>
                    </a:lnTo>
                    <a:lnTo>
                      <a:pt x="9947" y="5487"/>
                    </a:lnTo>
                    <a:lnTo>
                      <a:pt x="9983" y="5488"/>
                    </a:lnTo>
                    <a:lnTo>
                      <a:pt x="10020" y="5505"/>
                    </a:lnTo>
                    <a:lnTo>
                      <a:pt x="10015" y="5468"/>
                    </a:lnTo>
                    <a:lnTo>
                      <a:pt x="9987" y="5470"/>
                    </a:lnTo>
                    <a:lnTo>
                      <a:pt x="9971" y="5460"/>
                    </a:lnTo>
                    <a:lnTo>
                      <a:pt x="9930" y="5453"/>
                    </a:lnTo>
                    <a:lnTo>
                      <a:pt x="9930" y="5453"/>
                    </a:lnTo>
                    <a:close/>
                    <a:moveTo>
                      <a:pt x="10139" y="7522"/>
                    </a:moveTo>
                    <a:lnTo>
                      <a:pt x="10164" y="7514"/>
                    </a:lnTo>
                    <a:lnTo>
                      <a:pt x="10188" y="7522"/>
                    </a:lnTo>
                    <a:lnTo>
                      <a:pt x="10181" y="7488"/>
                    </a:lnTo>
                    <a:lnTo>
                      <a:pt x="10189" y="7447"/>
                    </a:lnTo>
                    <a:lnTo>
                      <a:pt x="10173" y="7396"/>
                    </a:lnTo>
                    <a:lnTo>
                      <a:pt x="10201" y="7358"/>
                    </a:lnTo>
                    <a:lnTo>
                      <a:pt x="10244" y="7293"/>
                    </a:lnTo>
                    <a:lnTo>
                      <a:pt x="10245" y="7250"/>
                    </a:lnTo>
                    <a:lnTo>
                      <a:pt x="10257" y="7238"/>
                    </a:lnTo>
                    <a:lnTo>
                      <a:pt x="10242" y="7232"/>
                    </a:lnTo>
                    <a:lnTo>
                      <a:pt x="10251" y="7167"/>
                    </a:lnTo>
                    <a:lnTo>
                      <a:pt x="10255" y="7121"/>
                    </a:lnTo>
                    <a:lnTo>
                      <a:pt x="10248" y="7072"/>
                    </a:lnTo>
                    <a:lnTo>
                      <a:pt x="10266" y="7036"/>
                    </a:lnTo>
                    <a:lnTo>
                      <a:pt x="10275" y="6947"/>
                    </a:lnTo>
                    <a:lnTo>
                      <a:pt x="10286" y="6902"/>
                    </a:lnTo>
                    <a:lnTo>
                      <a:pt x="10298" y="6899"/>
                    </a:lnTo>
                    <a:lnTo>
                      <a:pt x="10292" y="6869"/>
                    </a:lnTo>
                    <a:lnTo>
                      <a:pt x="10262" y="6847"/>
                    </a:lnTo>
                    <a:lnTo>
                      <a:pt x="10251" y="6847"/>
                    </a:lnTo>
                    <a:lnTo>
                      <a:pt x="10232" y="6809"/>
                    </a:lnTo>
                    <a:lnTo>
                      <a:pt x="10194" y="6795"/>
                    </a:lnTo>
                    <a:lnTo>
                      <a:pt x="10173" y="6807"/>
                    </a:lnTo>
                    <a:lnTo>
                      <a:pt x="10176" y="6831"/>
                    </a:lnTo>
                    <a:lnTo>
                      <a:pt x="10145" y="6842"/>
                    </a:lnTo>
                    <a:lnTo>
                      <a:pt x="10108" y="6884"/>
                    </a:lnTo>
                    <a:lnTo>
                      <a:pt x="10074" y="6943"/>
                    </a:lnTo>
                    <a:lnTo>
                      <a:pt x="10082" y="6959"/>
                    </a:lnTo>
                    <a:lnTo>
                      <a:pt x="10076" y="6983"/>
                    </a:lnTo>
                    <a:lnTo>
                      <a:pt x="10062" y="6996"/>
                    </a:lnTo>
                    <a:lnTo>
                      <a:pt x="10025" y="7062"/>
                    </a:lnTo>
                    <a:lnTo>
                      <a:pt x="10006" y="7130"/>
                    </a:lnTo>
                    <a:lnTo>
                      <a:pt x="9994" y="7139"/>
                    </a:lnTo>
                    <a:lnTo>
                      <a:pt x="10004" y="7156"/>
                    </a:lnTo>
                    <a:lnTo>
                      <a:pt x="10006" y="7223"/>
                    </a:lnTo>
                    <a:lnTo>
                      <a:pt x="10010" y="7291"/>
                    </a:lnTo>
                    <a:lnTo>
                      <a:pt x="10028" y="7303"/>
                    </a:lnTo>
                    <a:lnTo>
                      <a:pt x="10033" y="7322"/>
                    </a:lnTo>
                    <a:lnTo>
                      <a:pt x="10026" y="7324"/>
                    </a:lnTo>
                    <a:lnTo>
                      <a:pt x="10025" y="7346"/>
                    </a:lnTo>
                    <a:lnTo>
                      <a:pt x="10043" y="7374"/>
                    </a:lnTo>
                    <a:lnTo>
                      <a:pt x="10062" y="7379"/>
                    </a:lnTo>
                    <a:lnTo>
                      <a:pt x="10066" y="7401"/>
                    </a:lnTo>
                    <a:lnTo>
                      <a:pt x="10114" y="7417"/>
                    </a:lnTo>
                    <a:lnTo>
                      <a:pt x="10139" y="7454"/>
                    </a:lnTo>
                    <a:lnTo>
                      <a:pt x="10137" y="7494"/>
                    </a:lnTo>
                    <a:lnTo>
                      <a:pt x="10139" y="7522"/>
                    </a:lnTo>
                    <a:lnTo>
                      <a:pt x="10139" y="7522"/>
                    </a:lnTo>
                    <a:close/>
                    <a:moveTo>
                      <a:pt x="8414" y="7709"/>
                    </a:moveTo>
                    <a:lnTo>
                      <a:pt x="8429" y="7726"/>
                    </a:lnTo>
                    <a:lnTo>
                      <a:pt x="8452" y="7724"/>
                    </a:lnTo>
                    <a:lnTo>
                      <a:pt x="8485" y="7730"/>
                    </a:lnTo>
                    <a:lnTo>
                      <a:pt x="8485" y="7716"/>
                    </a:lnTo>
                    <a:lnTo>
                      <a:pt x="8455" y="7703"/>
                    </a:lnTo>
                    <a:lnTo>
                      <a:pt x="8414" y="7709"/>
                    </a:lnTo>
                    <a:lnTo>
                      <a:pt x="8414" y="7709"/>
                    </a:lnTo>
                    <a:close/>
                    <a:moveTo>
                      <a:pt x="8420" y="7883"/>
                    </a:moveTo>
                    <a:lnTo>
                      <a:pt x="8385" y="7890"/>
                    </a:lnTo>
                    <a:lnTo>
                      <a:pt x="8366" y="7885"/>
                    </a:lnTo>
                    <a:lnTo>
                      <a:pt x="8343" y="7901"/>
                    </a:lnTo>
                    <a:lnTo>
                      <a:pt x="8311" y="7901"/>
                    </a:lnTo>
                    <a:lnTo>
                      <a:pt x="8277" y="7918"/>
                    </a:lnTo>
                    <a:lnTo>
                      <a:pt x="8246" y="7923"/>
                    </a:lnTo>
                    <a:lnTo>
                      <a:pt x="8239" y="7955"/>
                    </a:lnTo>
                    <a:lnTo>
                      <a:pt x="8187" y="7985"/>
                    </a:lnTo>
                    <a:lnTo>
                      <a:pt x="8143" y="8033"/>
                    </a:lnTo>
                    <a:lnTo>
                      <a:pt x="8159" y="8059"/>
                    </a:lnTo>
                    <a:lnTo>
                      <a:pt x="8160" y="8124"/>
                    </a:lnTo>
                    <a:lnTo>
                      <a:pt x="8180" y="8157"/>
                    </a:lnTo>
                    <a:lnTo>
                      <a:pt x="8177" y="8177"/>
                    </a:lnTo>
                    <a:lnTo>
                      <a:pt x="8208" y="8204"/>
                    </a:lnTo>
                    <a:lnTo>
                      <a:pt x="8244" y="8204"/>
                    </a:lnTo>
                    <a:lnTo>
                      <a:pt x="8268" y="8223"/>
                    </a:lnTo>
                    <a:lnTo>
                      <a:pt x="8292" y="8221"/>
                    </a:lnTo>
                    <a:lnTo>
                      <a:pt x="8323" y="8242"/>
                    </a:lnTo>
                    <a:lnTo>
                      <a:pt x="8344" y="8231"/>
                    </a:lnTo>
                    <a:lnTo>
                      <a:pt x="8353" y="8200"/>
                    </a:lnTo>
                    <a:lnTo>
                      <a:pt x="8380" y="8195"/>
                    </a:lnTo>
                    <a:lnTo>
                      <a:pt x="8408" y="8202"/>
                    </a:lnTo>
                    <a:lnTo>
                      <a:pt x="8429" y="8176"/>
                    </a:lnTo>
                    <a:lnTo>
                      <a:pt x="8431" y="8156"/>
                    </a:lnTo>
                    <a:lnTo>
                      <a:pt x="8464" y="8150"/>
                    </a:lnTo>
                    <a:lnTo>
                      <a:pt x="8489" y="8124"/>
                    </a:lnTo>
                    <a:lnTo>
                      <a:pt x="8482" y="8094"/>
                    </a:lnTo>
                    <a:lnTo>
                      <a:pt x="8499" y="8041"/>
                    </a:lnTo>
                    <a:lnTo>
                      <a:pt x="8516" y="8028"/>
                    </a:lnTo>
                    <a:lnTo>
                      <a:pt x="8523" y="8003"/>
                    </a:lnTo>
                    <a:lnTo>
                      <a:pt x="8550" y="7961"/>
                    </a:lnTo>
                    <a:lnTo>
                      <a:pt x="8535" y="7916"/>
                    </a:lnTo>
                    <a:lnTo>
                      <a:pt x="8499" y="7893"/>
                    </a:lnTo>
                    <a:lnTo>
                      <a:pt x="8462" y="7879"/>
                    </a:lnTo>
                    <a:lnTo>
                      <a:pt x="8437" y="7897"/>
                    </a:lnTo>
                    <a:lnTo>
                      <a:pt x="8437" y="7897"/>
                    </a:lnTo>
                    <a:lnTo>
                      <a:pt x="8428" y="7890"/>
                    </a:lnTo>
                    <a:lnTo>
                      <a:pt x="8422" y="7885"/>
                    </a:lnTo>
                    <a:lnTo>
                      <a:pt x="8420" y="7883"/>
                    </a:lnTo>
                    <a:lnTo>
                      <a:pt x="8420" y="7883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5" name="îślîḑê"/>
              <p:cNvSpPr/>
              <p:nvPr/>
            </p:nvSpPr>
            <p:spPr bwMode="auto">
              <a:xfrm>
                <a:off x="3630162" y="2908625"/>
                <a:ext cx="439033" cy="844295"/>
              </a:xfrm>
              <a:custGeom>
                <a:avLst/>
                <a:gdLst>
                  <a:gd name="T0" fmla="*/ 1125 w 2703"/>
                  <a:gd name="T1" fmla="*/ 2499 h 5201"/>
                  <a:gd name="T2" fmla="*/ 92 w 2703"/>
                  <a:gd name="T3" fmla="*/ 5156 h 5201"/>
                  <a:gd name="T4" fmla="*/ 591 w 2703"/>
                  <a:gd name="T5" fmla="*/ 4743 h 5201"/>
                  <a:gd name="T6" fmla="*/ 591 w 2703"/>
                  <a:gd name="T7" fmla="*/ 4743 h 5201"/>
                  <a:gd name="T8" fmla="*/ 775 w 2703"/>
                  <a:gd name="T9" fmla="*/ 4321 h 5201"/>
                  <a:gd name="T10" fmla="*/ 817 w 2703"/>
                  <a:gd name="T11" fmla="*/ 4334 h 5201"/>
                  <a:gd name="T12" fmla="*/ 1882 w 2703"/>
                  <a:gd name="T13" fmla="*/ 1084 h 5201"/>
                  <a:gd name="T14" fmla="*/ 1794 w 2703"/>
                  <a:gd name="T15" fmla="*/ 741 h 5201"/>
                  <a:gd name="T16" fmla="*/ 1937 w 2703"/>
                  <a:gd name="T17" fmla="*/ 623 h 5201"/>
                  <a:gd name="T18" fmla="*/ 1939 w 2703"/>
                  <a:gd name="T19" fmla="*/ 379 h 5201"/>
                  <a:gd name="T20" fmla="*/ 1903 w 2703"/>
                  <a:gd name="T21" fmla="*/ 0 h 5201"/>
                  <a:gd name="T22" fmla="*/ 2364 w 2703"/>
                  <a:gd name="T23" fmla="*/ 359 h 5201"/>
                  <a:gd name="T24" fmla="*/ 2546 w 2703"/>
                  <a:gd name="T25" fmla="*/ 400 h 5201"/>
                  <a:gd name="T26" fmla="*/ 2652 w 2703"/>
                  <a:gd name="T27" fmla="*/ 536 h 5201"/>
                  <a:gd name="T28" fmla="*/ 2380 w 2703"/>
                  <a:gd name="T29" fmla="*/ 753 h 5201"/>
                  <a:gd name="T30" fmla="*/ 2093 w 2703"/>
                  <a:gd name="T31" fmla="*/ 750 h 5201"/>
                  <a:gd name="T32" fmla="*/ 1946 w 2703"/>
                  <a:gd name="T33" fmla="*/ 873 h 5201"/>
                  <a:gd name="T34" fmla="*/ 1910 w 2703"/>
                  <a:gd name="T35" fmla="*/ 1101 h 5201"/>
                  <a:gd name="T36" fmla="*/ 1889 w 2703"/>
                  <a:gd name="T37" fmla="*/ 1969 h 5201"/>
                  <a:gd name="T38" fmla="*/ 593 w 2703"/>
                  <a:gd name="T39" fmla="*/ 3208 h 5201"/>
                  <a:gd name="T40" fmla="*/ 547 w 2703"/>
                  <a:gd name="T41" fmla="*/ 3284 h 5201"/>
                  <a:gd name="T42" fmla="*/ 519 w 2703"/>
                  <a:gd name="T43" fmla="*/ 3353 h 5201"/>
                  <a:gd name="T44" fmla="*/ 760 w 2703"/>
                  <a:gd name="T45" fmla="*/ 3438 h 5201"/>
                  <a:gd name="T46" fmla="*/ 737 w 2703"/>
                  <a:gd name="T47" fmla="*/ 3340 h 5201"/>
                  <a:gd name="T48" fmla="*/ 1351 w 2703"/>
                  <a:gd name="T49" fmla="*/ 2895 h 5201"/>
                  <a:gd name="T50" fmla="*/ 1255 w 2703"/>
                  <a:gd name="T51" fmla="*/ 3231 h 5201"/>
                  <a:gd name="T52" fmla="*/ 1485 w 2703"/>
                  <a:gd name="T53" fmla="*/ 3006 h 5201"/>
                  <a:gd name="T54" fmla="*/ 1202 w 2703"/>
                  <a:gd name="T55" fmla="*/ 3022 h 5201"/>
                  <a:gd name="T56" fmla="*/ 1198 w 2703"/>
                  <a:gd name="T57" fmla="*/ 3235 h 5201"/>
                  <a:gd name="T58" fmla="*/ 1002 w 2703"/>
                  <a:gd name="T59" fmla="*/ 3797 h 5201"/>
                  <a:gd name="T60" fmla="*/ 974 w 2703"/>
                  <a:gd name="T61" fmla="*/ 3586 h 5201"/>
                  <a:gd name="T62" fmla="*/ 1051 w 2703"/>
                  <a:gd name="T63" fmla="*/ 3238 h 5201"/>
                  <a:gd name="T64" fmla="*/ 929 w 2703"/>
                  <a:gd name="T65" fmla="*/ 3105 h 5201"/>
                  <a:gd name="T66" fmla="*/ 1060 w 2703"/>
                  <a:gd name="T67" fmla="*/ 2916 h 5201"/>
                  <a:gd name="T68" fmla="*/ 1370 w 2703"/>
                  <a:gd name="T69" fmla="*/ 2839 h 5201"/>
                  <a:gd name="T70" fmla="*/ 1528 w 2703"/>
                  <a:gd name="T71" fmla="*/ 2987 h 5201"/>
                  <a:gd name="T72" fmla="*/ 1778 w 2703"/>
                  <a:gd name="T73" fmla="*/ 2896 h 5201"/>
                  <a:gd name="T74" fmla="*/ 1784 w 2703"/>
                  <a:gd name="T75" fmla="*/ 2781 h 5201"/>
                  <a:gd name="T76" fmla="*/ 1914 w 2703"/>
                  <a:gd name="T77" fmla="*/ 2783 h 5201"/>
                  <a:gd name="T78" fmla="*/ 2160 w 2703"/>
                  <a:gd name="T79" fmla="*/ 2740 h 5201"/>
                  <a:gd name="T80" fmla="*/ 2251 w 2703"/>
                  <a:gd name="T81" fmla="*/ 2615 h 5201"/>
                  <a:gd name="T82" fmla="*/ 2353 w 2703"/>
                  <a:gd name="T83" fmla="*/ 2435 h 5201"/>
                  <a:gd name="T84" fmla="*/ 2381 w 2703"/>
                  <a:gd name="T85" fmla="*/ 1860 h 5201"/>
                  <a:gd name="T86" fmla="*/ 2358 w 2703"/>
                  <a:gd name="T87" fmla="*/ 1568 h 5201"/>
                  <a:gd name="T88" fmla="*/ 2129 w 2703"/>
                  <a:gd name="T89" fmla="*/ 1075 h 5201"/>
                  <a:gd name="T90" fmla="*/ 2112 w 2703"/>
                  <a:gd name="T91" fmla="*/ 1161 h 5201"/>
                  <a:gd name="T92" fmla="*/ 1959 w 2703"/>
                  <a:gd name="T93" fmla="*/ 1150 h 5201"/>
                  <a:gd name="T94" fmla="*/ 1912 w 2703"/>
                  <a:gd name="T95" fmla="*/ 1463 h 5201"/>
                  <a:gd name="T96" fmla="*/ 1932 w 2703"/>
                  <a:gd name="T97" fmla="*/ 2038 h 5201"/>
                  <a:gd name="T98" fmla="*/ 1692 w 2703"/>
                  <a:gd name="T99" fmla="*/ 2158 h 5201"/>
                  <a:gd name="T100" fmla="*/ 1580 w 2703"/>
                  <a:gd name="T101" fmla="*/ 2418 h 5201"/>
                  <a:gd name="T102" fmla="*/ 1492 w 2703"/>
                  <a:gd name="T103" fmla="*/ 2609 h 5201"/>
                  <a:gd name="T104" fmla="*/ 1155 w 2703"/>
                  <a:gd name="T105" fmla="*/ 2633 h 5201"/>
                  <a:gd name="T106" fmla="*/ 819 w 2703"/>
                  <a:gd name="T107" fmla="*/ 2943 h 5201"/>
                  <a:gd name="T108" fmla="*/ 643 w 2703"/>
                  <a:gd name="T109" fmla="*/ 3189 h 5201"/>
                  <a:gd name="T110" fmla="*/ 684 w 2703"/>
                  <a:gd name="T111" fmla="*/ 3335 h 5201"/>
                  <a:gd name="T112" fmla="*/ 740 w 2703"/>
                  <a:gd name="T113" fmla="*/ 3245 h 5201"/>
                  <a:gd name="T114" fmla="*/ 816 w 2703"/>
                  <a:gd name="T115" fmla="*/ 3557 h 5201"/>
                  <a:gd name="T116" fmla="*/ 920 w 2703"/>
                  <a:gd name="T117" fmla="*/ 3546 h 5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03" h="5201">
                    <a:moveTo>
                      <a:pt x="1080" y="2497"/>
                    </a:moveTo>
                    <a:lnTo>
                      <a:pt x="1095" y="2513"/>
                    </a:lnTo>
                    <a:lnTo>
                      <a:pt x="1083" y="2519"/>
                    </a:lnTo>
                    <a:lnTo>
                      <a:pt x="1074" y="2515"/>
                    </a:lnTo>
                    <a:lnTo>
                      <a:pt x="1080" y="2497"/>
                    </a:lnTo>
                    <a:lnTo>
                      <a:pt x="1080" y="2497"/>
                    </a:lnTo>
                    <a:close/>
                    <a:moveTo>
                      <a:pt x="1110" y="2498"/>
                    </a:moveTo>
                    <a:lnTo>
                      <a:pt x="1099" y="2484"/>
                    </a:lnTo>
                    <a:lnTo>
                      <a:pt x="1113" y="2462"/>
                    </a:lnTo>
                    <a:lnTo>
                      <a:pt x="1133" y="2460"/>
                    </a:lnTo>
                    <a:lnTo>
                      <a:pt x="1139" y="2486"/>
                    </a:lnTo>
                    <a:lnTo>
                      <a:pt x="1125" y="2499"/>
                    </a:lnTo>
                    <a:lnTo>
                      <a:pt x="1110" y="2498"/>
                    </a:lnTo>
                    <a:lnTo>
                      <a:pt x="1110" y="2498"/>
                    </a:lnTo>
                    <a:close/>
                    <a:moveTo>
                      <a:pt x="36" y="5190"/>
                    </a:moveTo>
                    <a:lnTo>
                      <a:pt x="27" y="5168"/>
                    </a:lnTo>
                    <a:lnTo>
                      <a:pt x="7" y="5169"/>
                    </a:lnTo>
                    <a:lnTo>
                      <a:pt x="0" y="5201"/>
                    </a:lnTo>
                    <a:lnTo>
                      <a:pt x="24" y="5201"/>
                    </a:lnTo>
                    <a:lnTo>
                      <a:pt x="36" y="5190"/>
                    </a:lnTo>
                    <a:lnTo>
                      <a:pt x="36" y="5190"/>
                    </a:lnTo>
                    <a:close/>
                    <a:moveTo>
                      <a:pt x="58" y="5161"/>
                    </a:moveTo>
                    <a:lnTo>
                      <a:pt x="76" y="5142"/>
                    </a:lnTo>
                    <a:lnTo>
                      <a:pt x="92" y="5156"/>
                    </a:lnTo>
                    <a:lnTo>
                      <a:pt x="83" y="5187"/>
                    </a:lnTo>
                    <a:lnTo>
                      <a:pt x="66" y="5183"/>
                    </a:lnTo>
                    <a:lnTo>
                      <a:pt x="58" y="5161"/>
                    </a:lnTo>
                    <a:lnTo>
                      <a:pt x="58" y="5161"/>
                    </a:lnTo>
                    <a:close/>
                    <a:moveTo>
                      <a:pt x="218" y="5044"/>
                    </a:moveTo>
                    <a:lnTo>
                      <a:pt x="215" y="5079"/>
                    </a:lnTo>
                    <a:lnTo>
                      <a:pt x="228" y="5091"/>
                    </a:lnTo>
                    <a:lnTo>
                      <a:pt x="252" y="5094"/>
                    </a:lnTo>
                    <a:lnTo>
                      <a:pt x="258" y="5062"/>
                    </a:lnTo>
                    <a:lnTo>
                      <a:pt x="218" y="5044"/>
                    </a:lnTo>
                    <a:lnTo>
                      <a:pt x="218" y="5044"/>
                    </a:lnTo>
                    <a:close/>
                    <a:moveTo>
                      <a:pt x="591" y="4743"/>
                    </a:moveTo>
                    <a:lnTo>
                      <a:pt x="577" y="4697"/>
                    </a:lnTo>
                    <a:lnTo>
                      <a:pt x="609" y="4675"/>
                    </a:lnTo>
                    <a:lnTo>
                      <a:pt x="613" y="4658"/>
                    </a:lnTo>
                    <a:lnTo>
                      <a:pt x="606" y="4646"/>
                    </a:lnTo>
                    <a:lnTo>
                      <a:pt x="636" y="4630"/>
                    </a:lnTo>
                    <a:lnTo>
                      <a:pt x="654" y="4595"/>
                    </a:lnTo>
                    <a:lnTo>
                      <a:pt x="668" y="4630"/>
                    </a:lnTo>
                    <a:lnTo>
                      <a:pt x="652" y="4650"/>
                    </a:lnTo>
                    <a:lnTo>
                      <a:pt x="651" y="4680"/>
                    </a:lnTo>
                    <a:lnTo>
                      <a:pt x="609" y="4706"/>
                    </a:lnTo>
                    <a:lnTo>
                      <a:pt x="608" y="4737"/>
                    </a:lnTo>
                    <a:lnTo>
                      <a:pt x="591" y="4743"/>
                    </a:lnTo>
                    <a:lnTo>
                      <a:pt x="591" y="4743"/>
                    </a:lnTo>
                    <a:close/>
                    <a:moveTo>
                      <a:pt x="747" y="4397"/>
                    </a:moveTo>
                    <a:lnTo>
                      <a:pt x="769" y="4415"/>
                    </a:lnTo>
                    <a:lnTo>
                      <a:pt x="775" y="4443"/>
                    </a:lnTo>
                    <a:lnTo>
                      <a:pt x="764" y="4450"/>
                    </a:lnTo>
                    <a:lnTo>
                      <a:pt x="740" y="4430"/>
                    </a:lnTo>
                    <a:lnTo>
                      <a:pt x="738" y="4409"/>
                    </a:lnTo>
                    <a:lnTo>
                      <a:pt x="747" y="4397"/>
                    </a:lnTo>
                    <a:lnTo>
                      <a:pt x="747" y="4397"/>
                    </a:lnTo>
                    <a:close/>
                    <a:moveTo>
                      <a:pt x="817" y="4334"/>
                    </a:moveTo>
                    <a:lnTo>
                      <a:pt x="803" y="4322"/>
                    </a:lnTo>
                    <a:lnTo>
                      <a:pt x="775" y="4321"/>
                    </a:lnTo>
                    <a:lnTo>
                      <a:pt x="766" y="4314"/>
                    </a:lnTo>
                    <a:lnTo>
                      <a:pt x="778" y="4289"/>
                    </a:lnTo>
                    <a:lnTo>
                      <a:pt x="807" y="4276"/>
                    </a:lnTo>
                    <a:lnTo>
                      <a:pt x="817" y="4274"/>
                    </a:lnTo>
                    <a:lnTo>
                      <a:pt x="822" y="4264"/>
                    </a:lnTo>
                    <a:lnTo>
                      <a:pt x="842" y="4262"/>
                    </a:lnTo>
                    <a:lnTo>
                      <a:pt x="852" y="4255"/>
                    </a:lnTo>
                    <a:lnTo>
                      <a:pt x="877" y="4248"/>
                    </a:lnTo>
                    <a:lnTo>
                      <a:pt x="858" y="4282"/>
                    </a:lnTo>
                    <a:lnTo>
                      <a:pt x="827" y="4303"/>
                    </a:lnTo>
                    <a:lnTo>
                      <a:pt x="825" y="4324"/>
                    </a:lnTo>
                    <a:lnTo>
                      <a:pt x="817" y="4334"/>
                    </a:lnTo>
                    <a:lnTo>
                      <a:pt x="817" y="4334"/>
                    </a:lnTo>
                    <a:close/>
                    <a:moveTo>
                      <a:pt x="1704" y="932"/>
                    </a:moveTo>
                    <a:lnTo>
                      <a:pt x="1689" y="916"/>
                    </a:lnTo>
                    <a:lnTo>
                      <a:pt x="1686" y="890"/>
                    </a:lnTo>
                    <a:lnTo>
                      <a:pt x="1713" y="864"/>
                    </a:lnTo>
                    <a:lnTo>
                      <a:pt x="1731" y="858"/>
                    </a:lnTo>
                    <a:lnTo>
                      <a:pt x="1725" y="890"/>
                    </a:lnTo>
                    <a:lnTo>
                      <a:pt x="1723" y="918"/>
                    </a:lnTo>
                    <a:lnTo>
                      <a:pt x="1704" y="932"/>
                    </a:lnTo>
                    <a:lnTo>
                      <a:pt x="1704" y="932"/>
                    </a:lnTo>
                    <a:close/>
                    <a:moveTo>
                      <a:pt x="1910" y="1101"/>
                    </a:moveTo>
                    <a:lnTo>
                      <a:pt x="1882" y="1084"/>
                    </a:lnTo>
                    <a:lnTo>
                      <a:pt x="1868" y="1055"/>
                    </a:lnTo>
                    <a:lnTo>
                      <a:pt x="1878" y="1048"/>
                    </a:lnTo>
                    <a:lnTo>
                      <a:pt x="1868" y="987"/>
                    </a:lnTo>
                    <a:lnTo>
                      <a:pt x="1848" y="928"/>
                    </a:lnTo>
                    <a:lnTo>
                      <a:pt x="1821" y="903"/>
                    </a:lnTo>
                    <a:lnTo>
                      <a:pt x="1792" y="884"/>
                    </a:lnTo>
                    <a:lnTo>
                      <a:pt x="1772" y="883"/>
                    </a:lnTo>
                    <a:lnTo>
                      <a:pt x="1767" y="860"/>
                    </a:lnTo>
                    <a:lnTo>
                      <a:pt x="1772" y="814"/>
                    </a:lnTo>
                    <a:lnTo>
                      <a:pt x="1762" y="780"/>
                    </a:lnTo>
                    <a:lnTo>
                      <a:pt x="1775" y="752"/>
                    </a:lnTo>
                    <a:lnTo>
                      <a:pt x="1794" y="741"/>
                    </a:lnTo>
                    <a:lnTo>
                      <a:pt x="1800" y="725"/>
                    </a:lnTo>
                    <a:lnTo>
                      <a:pt x="1823" y="721"/>
                    </a:lnTo>
                    <a:lnTo>
                      <a:pt x="1838" y="687"/>
                    </a:lnTo>
                    <a:lnTo>
                      <a:pt x="1851" y="670"/>
                    </a:lnTo>
                    <a:lnTo>
                      <a:pt x="1847" y="656"/>
                    </a:lnTo>
                    <a:lnTo>
                      <a:pt x="1812" y="630"/>
                    </a:lnTo>
                    <a:lnTo>
                      <a:pt x="1799" y="628"/>
                    </a:lnTo>
                    <a:lnTo>
                      <a:pt x="1789" y="615"/>
                    </a:lnTo>
                    <a:lnTo>
                      <a:pt x="1801" y="590"/>
                    </a:lnTo>
                    <a:lnTo>
                      <a:pt x="1826" y="584"/>
                    </a:lnTo>
                    <a:lnTo>
                      <a:pt x="1879" y="613"/>
                    </a:lnTo>
                    <a:lnTo>
                      <a:pt x="1937" y="623"/>
                    </a:lnTo>
                    <a:lnTo>
                      <a:pt x="1957" y="607"/>
                    </a:lnTo>
                    <a:lnTo>
                      <a:pt x="1959" y="581"/>
                    </a:lnTo>
                    <a:lnTo>
                      <a:pt x="1970" y="571"/>
                    </a:lnTo>
                    <a:lnTo>
                      <a:pt x="1959" y="546"/>
                    </a:lnTo>
                    <a:lnTo>
                      <a:pt x="1943" y="537"/>
                    </a:lnTo>
                    <a:lnTo>
                      <a:pt x="1937" y="521"/>
                    </a:lnTo>
                    <a:lnTo>
                      <a:pt x="1919" y="490"/>
                    </a:lnTo>
                    <a:lnTo>
                      <a:pt x="1908" y="459"/>
                    </a:lnTo>
                    <a:lnTo>
                      <a:pt x="1934" y="429"/>
                    </a:lnTo>
                    <a:lnTo>
                      <a:pt x="1948" y="427"/>
                    </a:lnTo>
                    <a:lnTo>
                      <a:pt x="1952" y="413"/>
                    </a:lnTo>
                    <a:lnTo>
                      <a:pt x="1939" y="379"/>
                    </a:lnTo>
                    <a:lnTo>
                      <a:pt x="1922" y="328"/>
                    </a:lnTo>
                    <a:lnTo>
                      <a:pt x="1929" y="304"/>
                    </a:lnTo>
                    <a:lnTo>
                      <a:pt x="1925" y="240"/>
                    </a:lnTo>
                    <a:lnTo>
                      <a:pt x="1911" y="200"/>
                    </a:lnTo>
                    <a:lnTo>
                      <a:pt x="1852" y="110"/>
                    </a:lnTo>
                    <a:lnTo>
                      <a:pt x="1841" y="69"/>
                    </a:lnTo>
                    <a:lnTo>
                      <a:pt x="1827" y="46"/>
                    </a:lnTo>
                    <a:lnTo>
                      <a:pt x="1835" y="36"/>
                    </a:lnTo>
                    <a:lnTo>
                      <a:pt x="1852" y="36"/>
                    </a:lnTo>
                    <a:lnTo>
                      <a:pt x="1869" y="14"/>
                    </a:lnTo>
                    <a:lnTo>
                      <a:pt x="1865" y="0"/>
                    </a:lnTo>
                    <a:lnTo>
                      <a:pt x="1903" y="0"/>
                    </a:lnTo>
                    <a:lnTo>
                      <a:pt x="1915" y="25"/>
                    </a:lnTo>
                    <a:lnTo>
                      <a:pt x="1971" y="71"/>
                    </a:lnTo>
                    <a:lnTo>
                      <a:pt x="2018" y="81"/>
                    </a:lnTo>
                    <a:lnTo>
                      <a:pt x="2042" y="126"/>
                    </a:lnTo>
                    <a:lnTo>
                      <a:pt x="2119" y="203"/>
                    </a:lnTo>
                    <a:lnTo>
                      <a:pt x="2162" y="234"/>
                    </a:lnTo>
                    <a:lnTo>
                      <a:pt x="2176" y="259"/>
                    </a:lnTo>
                    <a:lnTo>
                      <a:pt x="2209" y="266"/>
                    </a:lnTo>
                    <a:lnTo>
                      <a:pt x="2239" y="298"/>
                    </a:lnTo>
                    <a:lnTo>
                      <a:pt x="2289" y="322"/>
                    </a:lnTo>
                    <a:lnTo>
                      <a:pt x="2332" y="328"/>
                    </a:lnTo>
                    <a:lnTo>
                      <a:pt x="2364" y="359"/>
                    </a:lnTo>
                    <a:lnTo>
                      <a:pt x="2390" y="354"/>
                    </a:lnTo>
                    <a:lnTo>
                      <a:pt x="2403" y="364"/>
                    </a:lnTo>
                    <a:lnTo>
                      <a:pt x="2446" y="357"/>
                    </a:lnTo>
                    <a:lnTo>
                      <a:pt x="2501" y="319"/>
                    </a:lnTo>
                    <a:lnTo>
                      <a:pt x="2529" y="283"/>
                    </a:lnTo>
                    <a:lnTo>
                      <a:pt x="2536" y="253"/>
                    </a:lnTo>
                    <a:lnTo>
                      <a:pt x="2544" y="242"/>
                    </a:lnTo>
                    <a:lnTo>
                      <a:pt x="2554" y="257"/>
                    </a:lnTo>
                    <a:lnTo>
                      <a:pt x="2554" y="286"/>
                    </a:lnTo>
                    <a:lnTo>
                      <a:pt x="2535" y="337"/>
                    </a:lnTo>
                    <a:lnTo>
                      <a:pt x="2535" y="383"/>
                    </a:lnTo>
                    <a:lnTo>
                      <a:pt x="2546" y="400"/>
                    </a:lnTo>
                    <a:lnTo>
                      <a:pt x="2587" y="425"/>
                    </a:lnTo>
                    <a:lnTo>
                      <a:pt x="2616" y="460"/>
                    </a:lnTo>
                    <a:lnTo>
                      <a:pt x="2618" y="487"/>
                    </a:lnTo>
                    <a:lnTo>
                      <a:pt x="2615" y="503"/>
                    </a:lnTo>
                    <a:lnTo>
                      <a:pt x="2641" y="503"/>
                    </a:lnTo>
                    <a:lnTo>
                      <a:pt x="2657" y="478"/>
                    </a:lnTo>
                    <a:lnTo>
                      <a:pt x="2682" y="454"/>
                    </a:lnTo>
                    <a:lnTo>
                      <a:pt x="2703" y="452"/>
                    </a:lnTo>
                    <a:lnTo>
                      <a:pt x="2691" y="477"/>
                    </a:lnTo>
                    <a:lnTo>
                      <a:pt x="2675" y="487"/>
                    </a:lnTo>
                    <a:lnTo>
                      <a:pt x="2673" y="520"/>
                    </a:lnTo>
                    <a:lnTo>
                      <a:pt x="2652" y="536"/>
                    </a:lnTo>
                    <a:lnTo>
                      <a:pt x="2622" y="549"/>
                    </a:lnTo>
                    <a:lnTo>
                      <a:pt x="2616" y="574"/>
                    </a:lnTo>
                    <a:lnTo>
                      <a:pt x="2604" y="593"/>
                    </a:lnTo>
                    <a:lnTo>
                      <a:pt x="2580" y="594"/>
                    </a:lnTo>
                    <a:lnTo>
                      <a:pt x="2568" y="584"/>
                    </a:lnTo>
                    <a:lnTo>
                      <a:pt x="2544" y="602"/>
                    </a:lnTo>
                    <a:lnTo>
                      <a:pt x="2547" y="620"/>
                    </a:lnTo>
                    <a:lnTo>
                      <a:pt x="2504" y="620"/>
                    </a:lnTo>
                    <a:lnTo>
                      <a:pt x="2470" y="611"/>
                    </a:lnTo>
                    <a:lnTo>
                      <a:pt x="2443" y="620"/>
                    </a:lnTo>
                    <a:lnTo>
                      <a:pt x="2396" y="684"/>
                    </a:lnTo>
                    <a:lnTo>
                      <a:pt x="2380" y="753"/>
                    </a:lnTo>
                    <a:lnTo>
                      <a:pt x="2372" y="810"/>
                    </a:lnTo>
                    <a:lnTo>
                      <a:pt x="2382" y="848"/>
                    </a:lnTo>
                    <a:lnTo>
                      <a:pt x="2376" y="877"/>
                    </a:lnTo>
                    <a:lnTo>
                      <a:pt x="2378" y="902"/>
                    </a:lnTo>
                    <a:lnTo>
                      <a:pt x="2349" y="890"/>
                    </a:lnTo>
                    <a:lnTo>
                      <a:pt x="2332" y="866"/>
                    </a:lnTo>
                    <a:lnTo>
                      <a:pt x="2278" y="853"/>
                    </a:lnTo>
                    <a:lnTo>
                      <a:pt x="2227" y="826"/>
                    </a:lnTo>
                    <a:lnTo>
                      <a:pt x="2181" y="785"/>
                    </a:lnTo>
                    <a:lnTo>
                      <a:pt x="2152" y="752"/>
                    </a:lnTo>
                    <a:lnTo>
                      <a:pt x="2121" y="756"/>
                    </a:lnTo>
                    <a:lnTo>
                      <a:pt x="2093" y="750"/>
                    </a:lnTo>
                    <a:lnTo>
                      <a:pt x="2080" y="737"/>
                    </a:lnTo>
                    <a:lnTo>
                      <a:pt x="2048" y="736"/>
                    </a:lnTo>
                    <a:lnTo>
                      <a:pt x="2010" y="764"/>
                    </a:lnTo>
                    <a:lnTo>
                      <a:pt x="1969" y="820"/>
                    </a:lnTo>
                    <a:lnTo>
                      <a:pt x="1951" y="809"/>
                    </a:lnTo>
                    <a:lnTo>
                      <a:pt x="1908" y="781"/>
                    </a:lnTo>
                    <a:lnTo>
                      <a:pt x="1886" y="784"/>
                    </a:lnTo>
                    <a:lnTo>
                      <a:pt x="1863" y="804"/>
                    </a:lnTo>
                    <a:lnTo>
                      <a:pt x="1863" y="836"/>
                    </a:lnTo>
                    <a:lnTo>
                      <a:pt x="1874" y="864"/>
                    </a:lnTo>
                    <a:lnTo>
                      <a:pt x="1909" y="884"/>
                    </a:lnTo>
                    <a:lnTo>
                      <a:pt x="1946" y="873"/>
                    </a:lnTo>
                    <a:lnTo>
                      <a:pt x="1989" y="922"/>
                    </a:lnTo>
                    <a:lnTo>
                      <a:pt x="2026" y="932"/>
                    </a:lnTo>
                    <a:lnTo>
                      <a:pt x="2066" y="932"/>
                    </a:lnTo>
                    <a:lnTo>
                      <a:pt x="2080" y="952"/>
                    </a:lnTo>
                    <a:lnTo>
                      <a:pt x="2054" y="987"/>
                    </a:lnTo>
                    <a:lnTo>
                      <a:pt x="2045" y="1011"/>
                    </a:lnTo>
                    <a:lnTo>
                      <a:pt x="2022" y="993"/>
                    </a:lnTo>
                    <a:lnTo>
                      <a:pt x="1976" y="990"/>
                    </a:lnTo>
                    <a:lnTo>
                      <a:pt x="1960" y="1002"/>
                    </a:lnTo>
                    <a:lnTo>
                      <a:pt x="1963" y="1027"/>
                    </a:lnTo>
                    <a:lnTo>
                      <a:pt x="1950" y="1055"/>
                    </a:lnTo>
                    <a:lnTo>
                      <a:pt x="1910" y="1101"/>
                    </a:lnTo>
                    <a:lnTo>
                      <a:pt x="1910" y="1101"/>
                    </a:lnTo>
                    <a:close/>
                    <a:moveTo>
                      <a:pt x="1855" y="2048"/>
                    </a:moveTo>
                    <a:lnTo>
                      <a:pt x="1857" y="2015"/>
                    </a:lnTo>
                    <a:lnTo>
                      <a:pt x="1867" y="1996"/>
                    </a:lnTo>
                    <a:lnTo>
                      <a:pt x="1860" y="1991"/>
                    </a:lnTo>
                    <a:lnTo>
                      <a:pt x="1838" y="2003"/>
                    </a:lnTo>
                    <a:lnTo>
                      <a:pt x="1835" y="1982"/>
                    </a:lnTo>
                    <a:lnTo>
                      <a:pt x="1851" y="1925"/>
                    </a:lnTo>
                    <a:lnTo>
                      <a:pt x="1862" y="1913"/>
                    </a:lnTo>
                    <a:lnTo>
                      <a:pt x="1867" y="1937"/>
                    </a:lnTo>
                    <a:lnTo>
                      <a:pt x="1865" y="1962"/>
                    </a:lnTo>
                    <a:lnTo>
                      <a:pt x="1889" y="1969"/>
                    </a:lnTo>
                    <a:lnTo>
                      <a:pt x="1894" y="1988"/>
                    </a:lnTo>
                    <a:lnTo>
                      <a:pt x="1886" y="2026"/>
                    </a:lnTo>
                    <a:lnTo>
                      <a:pt x="1867" y="2044"/>
                    </a:lnTo>
                    <a:lnTo>
                      <a:pt x="1855" y="2048"/>
                    </a:lnTo>
                    <a:lnTo>
                      <a:pt x="1855" y="2048"/>
                    </a:lnTo>
                    <a:close/>
                    <a:moveTo>
                      <a:pt x="593" y="3208"/>
                    </a:moveTo>
                    <a:lnTo>
                      <a:pt x="611" y="3221"/>
                    </a:lnTo>
                    <a:lnTo>
                      <a:pt x="623" y="3215"/>
                    </a:lnTo>
                    <a:lnTo>
                      <a:pt x="602" y="3201"/>
                    </a:lnTo>
                    <a:lnTo>
                      <a:pt x="592" y="3202"/>
                    </a:lnTo>
                    <a:lnTo>
                      <a:pt x="593" y="3208"/>
                    </a:lnTo>
                    <a:lnTo>
                      <a:pt x="593" y="3208"/>
                    </a:lnTo>
                    <a:close/>
                    <a:moveTo>
                      <a:pt x="585" y="3231"/>
                    </a:moveTo>
                    <a:lnTo>
                      <a:pt x="590" y="3240"/>
                    </a:lnTo>
                    <a:lnTo>
                      <a:pt x="596" y="3232"/>
                    </a:lnTo>
                    <a:lnTo>
                      <a:pt x="585" y="3231"/>
                    </a:lnTo>
                    <a:lnTo>
                      <a:pt x="585" y="3231"/>
                    </a:lnTo>
                    <a:close/>
                    <a:moveTo>
                      <a:pt x="564" y="3251"/>
                    </a:moveTo>
                    <a:lnTo>
                      <a:pt x="577" y="3257"/>
                    </a:lnTo>
                    <a:lnTo>
                      <a:pt x="585" y="3247"/>
                    </a:lnTo>
                    <a:lnTo>
                      <a:pt x="564" y="3251"/>
                    </a:lnTo>
                    <a:lnTo>
                      <a:pt x="564" y="3251"/>
                    </a:lnTo>
                    <a:close/>
                    <a:moveTo>
                      <a:pt x="544" y="3269"/>
                    </a:moveTo>
                    <a:lnTo>
                      <a:pt x="547" y="3284"/>
                    </a:lnTo>
                    <a:lnTo>
                      <a:pt x="567" y="3273"/>
                    </a:lnTo>
                    <a:lnTo>
                      <a:pt x="544" y="3269"/>
                    </a:lnTo>
                    <a:lnTo>
                      <a:pt x="544" y="3269"/>
                    </a:lnTo>
                    <a:close/>
                    <a:moveTo>
                      <a:pt x="519" y="3353"/>
                    </a:moveTo>
                    <a:lnTo>
                      <a:pt x="507" y="3317"/>
                    </a:lnTo>
                    <a:lnTo>
                      <a:pt x="508" y="3294"/>
                    </a:lnTo>
                    <a:lnTo>
                      <a:pt x="526" y="3285"/>
                    </a:lnTo>
                    <a:lnTo>
                      <a:pt x="528" y="3306"/>
                    </a:lnTo>
                    <a:lnTo>
                      <a:pt x="549" y="3317"/>
                    </a:lnTo>
                    <a:lnTo>
                      <a:pt x="561" y="3340"/>
                    </a:lnTo>
                    <a:lnTo>
                      <a:pt x="540" y="3356"/>
                    </a:lnTo>
                    <a:lnTo>
                      <a:pt x="519" y="3353"/>
                    </a:lnTo>
                    <a:lnTo>
                      <a:pt x="519" y="3353"/>
                    </a:lnTo>
                    <a:close/>
                    <a:moveTo>
                      <a:pt x="779" y="3374"/>
                    </a:moveTo>
                    <a:lnTo>
                      <a:pt x="776" y="3356"/>
                    </a:lnTo>
                    <a:lnTo>
                      <a:pt x="787" y="3345"/>
                    </a:lnTo>
                    <a:lnTo>
                      <a:pt x="799" y="3351"/>
                    </a:lnTo>
                    <a:lnTo>
                      <a:pt x="796" y="3372"/>
                    </a:lnTo>
                    <a:lnTo>
                      <a:pt x="779" y="3374"/>
                    </a:lnTo>
                    <a:lnTo>
                      <a:pt x="779" y="3374"/>
                    </a:lnTo>
                    <a:close/>
                    <a:moveTo>
                      <a:pt x="749" y="3428"/>
                    </a:moveTo>
                    <a:lnTo>
                      <a:pt x="763" y="3414"/>
                    </a:lnTo>
                    <a:lnTo>
                      <a:pt x="773" y="3418"/>
                    </a:lnTo>
                    <a:lnTo>
                      <a:pt x="760" y="3438"/>
                    </a:lnTo>
                    <a:lnTo>
                      <a:pt x="749" y="3428"/>
                    </a:lnTo>
                    <a:lnTo>
                      <a:pt x="749" y="3428"/>
                    </a:lnTo>
                    <a:close/>
                    <a:moveTo>
                      <a:pt x="737" y="3340"/>
                    </a:moveTo>
                    <a:lnTo>
                      <a:pt x="723" y="3356"/>
                    </a:lnTo>
                    <a:lnTo>
                      <a:pt x="729" y="3388"/>
                    </a:lnTo>
                    <a:lnTo>
                      <a:pt x="741" y="3411"/>
                    </a:lnTo>
                    <a:lnTo>
                      <a:pt x="757" y="3412"/>
                    </a:lnTo>
                    <a:lnTo>
                      <a:pt x="763" y="3384"/>
                    </a:lnTo>
                    <a:lnTo>
                      <a:pt x="745" y="3351"/>
                    </a:lnTo>
                    <a:lnTo>
                      <a:pt x="744" y="3341"/>
                    </a:lnTo>
                    <a:lnTo>
                      <a:pt x="737" y="3340"/>
                    </a:lnTo>
                    <a:lnTo>
                      <a:pt x="737" y="3340"/>
                    </a:lnTo>
                    <a:close/>
                    <a:moveTo>
                      <a:pt x="1473" y="2925"/>
                    </a:moveTo>
                    <a:lnTo>
                      <a:pt x="1457" y="2891"/>
                    </a:lnTo>
                    <a:lnTo>
                      <a:pt x="1458" y="2865"/>
                    </a:lnTo>
                    <a:lnTo>
                      <a:pt x="1469" y="2845"/>
                    </a:lnTo>
                    <a:lnTo>
                      <a:pt x="1488" y="2842"/>
                    </a:lnTo>
                    <a:lnTo>
                      <a:pt x="1494" y="2865"/>
                    </a:lnTo>
                    <a:lnTo>
                      <a:pt x="1490" y="2889"/>
                    </a:lnTo>
                    <a:lnTo>
                      <a:pt x="1496" y="2903"/>
                    </a:lnTo>
                    <a:lnTo>
                      <a:pt x="1491" y="2925"/>
                    </a:lnTo>
                    <a:lnTo>
                      <a:pt x="1473" y="2925"/>
                    </a:lnTo>
                    <a:lnTo>
                      <a:pt x="1473" y="2925"/>
                    </a:lnTo>
                    <a:close/>
                    <a:moveTo>
                      <a:pt x="1351" y="2895"/>
                    </a:moveTo>
                    <a:lnTo>
                      <a:pt x="1378" y="2869"/>
                    </a:lnTo>
                    <a:lnTo>
                      <a:pt x="1400" y="2874"/>
                    </a:lnTo>
                    <a:lnTo>
                      <a:pt x="1399" y="2890"/>
                    </a:lnTo>
                    <a:lnTo>
                      <a:pt x="1377" y="2902"/>
                    </a:lnTo>
                    <a:lnTo>
                      <a:pt x="1351" y="2895"/>
                    </a:lnTo>
                    <a:lnTo>
                      <a:pt x="1351" y="2895"/>
                    </a:lnTo>
                    <a:close/>
                    <a:moveTo>
                      <a:pt x="1196" y="3255"/>
                    </a:moveTo>
                    <a:lnTo>
                      <a:pt x="1209" y="3261"/>
                    </a:lnTo>
                    <a:lnTo>
                      <a:pt x="1221" y="3249"/>
                    </a:lnTo>
                    <a:lnTo>
                      <a:pt x="1241" y="3256"/>
                    </a:lnTo>
                    <a:lnTo>
                      <a:pt x="1258" y="3251"/>
                    </a:lnTo>
                    <a:lnTo>
                      <a:pt x="1255" y="3231"/>
                    </a:lnTo>
                    <a:lnTo>
                      <a:pt x="1224" y="3198"/>
                    </a:lnTo>
                    <a:lnTo>
                      <a:pt x="1239" y="3168"/>
                    </a:lnTo>
                    <a:lnTo>
                      <a:pt x="1254" y="3118"/>
                    </a:lnTo>
                    <a:lnTo>
                      <a:pt x="1295" y="3094"/>
                    </a:lnTo>
                    <a:lnTo>
                      <a:pt x="1306" y="3075"/>
                    </a:lnTo>
                    <a:lnTo>
                      <a:pt x="1344" y="3080"/>
                    </a:lnTo>
                    <a:lnTo>
                      <a:pt x="1392" y="3111"/>
                    </a:lnTo>
                    <a:lnTo>
                      <a:pt x="1406" y="3134"/>
                    </a:lnTo>
                    <a:lnTo>
                      <a:pt x="1426" y="3125"/>
                    </a:lnTo>
                    <a:lnTo>
                      <a:pt x="1443" y="3064"/>
                    </a:lnTo>
                    <a:lnTo>
                      <a:pt x="1481" y="3028"/>
                    </a:lnTo>
                    <a:lnTo>
                      <a:pt x="1485" y="3006"/>
                    </a:lnTo>
                    <a:lnTo>
                      <a:pt x="1473" y="2994"/>
                    </a:lnTo>
                    <a:lnTo>
                      <a:pt x="1464" y="2970"/>
                    </a:lnTo>
                    <a:lnTo>
                      <a:pt x="1427" y="2941"/>
                    </a:lnTo>
                    <a:lnTo>
                      <a:pt x="1402" y="2940"/>
                    </a:lnTo>
                    <a:lnTo>
                      <a:pt x="1377" y="2921"/>
                    </a:lnTo>
                    <a:lnTo>
                      <a:pt x="1333" y="2919"/>
                    </a:lnTo>
                    <a:lnTo>
                      <a:pt x="1291" y="2953"/>
                    </a:lnTo>
                    <a:lnTo>
                      <a:pt x="1291" y="2975"/>
                    </a:lnTo>
                    <a:lnTo>
                      <a:pt x="1275" y="2999"/>
                    </a:lnTo>
                    <a:lnTo>
                      <a:pt x="1244" y="3009"/>
                    </a:lnTo>
                    <a:lnTo>
                      <a:pt x="1218" y="3027"/>
                    </a:lnTo>
                    <a:lnTo>
                      <a:pt x="1202" y="3022"/>
                    </a:lnTo>
                    <a:lnTo>
                      <a:pt x="1183" y="2977"/>
                    </a:lnTo>
                    <a:lnTo>
                      <a:pt x="1166" y="2978"/>
                    </a:lnTo>
                    <a:lnTo>
                      <a:pt x="1121" y="3030"/>
                    </a:lnTo>
                    <a:lnTo>
                      <a:pt x="1119" y="3061"/>
                    </a:lnTo>
                    <a:lnTo>
                      <a:pt x="1090" y="3081"/>
                    </a:lnTo>
                    <a:lnTo>
                      <a:pt x="1082" y="3115"/>
                    </a:lnTo>
                    <a:lnTo>
                      <a:pt x="1130" y="3128"/>
                    </a:lnTo>
                    <a:lnTo>
                      <a:pt x="1140" y="3162"/>
                    </a:lnTo>
                    <a:lnTo>
                      <a:pt x="1129" y="3171"/>
                    </a:lnTo>
                    <a:lnTo>
                      <a:pt x="1129" y="3188"/>
                    </a:lnTo>
                    <a:lnTo>
                      <a:pt x="1156" y="3230"/>
                    </a:lnTo>
                    <a:lnTo>
                      <a:pt x="1198" y="3235"/>
                    </a:lnTo>
                    <a:lnTo>
                      <a:pt x="1196" y="3255"/>
                    </a:lnTo>
                    <a:lnTo>
                      <a:pt x="1196" y="3255"/>
                    </a:lnTo>
                    <a:close/>
                    <a:moveTo>
                      <a:pt x="973" y="3836"/>
                    </a:moveTo>
                    <a:lnTo>
                      <a:pt x="953" y="3809"/>
                    </a:lnTo>
                    <a:lnTo>
                      <a:pt x="931" y="3814"/>
                    </a:lnTo>
                    <a:lnTo>
                      <a:pt x="923" y="3834"/>
                    </a:lnTo>
                    <a:lnTo>
                      <a:pt x="941" y="3869"/>
                    </a:lnTo>
                    <a:lnTo>
                      <a:pt x="971" y="3874"/>
                    </a:lnTo>
                    <a:lnTo>
                      <a:pt x="979" y="3859"/>
                    </a:lnTo>
                    <a:lnTo>
                      <a:pt x="973" y="3836"/>
                    </a:lnTo>
                    <a:lnTo>
                      <a:pt x="973" y="3836"/>
                    </a:lnTo>
                    <a:close/>
                    <a:moveTo>
                      <a:pt x="1002" y="3797"/>
                    </a:moveTo>
                    <a:lnTo>
                      <a:pt x="995" y="3742"/>
                    </a:lnTo>
                    <a:lnTo>
                      <a:pt x="996" y="3719"/>
                    </a:lnTo>
                    <a:lnTo>
                      <a:pt x="1014" y="3736"/>
                    </a:lnTo>
                    <a:lnTo>
                      <a:pt x="1017" y="3765"/>
                    </a:lnTo>
                    <a:lnTo>
                      <a:pt x="1010" y="3788"/>
                    </a:lnTo>
                    <a:lnTo>
                      <a:pt x="1002" y="3797"/>
                    </a:lnTo>
                    <a:lnTo>
                      <a:pt x="1002" y="3797"/>
                    </a:lnTo>
                    <a:close/>
                    <a:moveTo>
                      <a:pt x="941" y="3701"/>
                    </a:moveTo>
                    <a:lnTo>
                      <a:pt x="973" y="3682"/>
                    </a:lnTo>
                    <a:lnTo>
                      <a:pt x="1006" y="3636"/>
                    </a:lnTo>
                    <a:lnTo>
                      <a:pt x="975" y="3605"/>
                    </a:lnTo>
                    <a:lnTo>
                      <a:pt x="974" y="3586"/>
                    </a:lnTo>
                    <a:lnTo>
                      <a:pt x="991" y="3578"/>
                    </a:lnTo>
                    <a:lnTo>
                      <a:pt x="1014" y="3586"/>
                    </a:lnTo>
                    <a:lnTo>
                      <a:pt x="1030" y="3596"/>
                    </a:lnTo>
                    <a:lnTo>
                      <a:pt x="1038" y="3563"/>
                    </a:lnTo>
                    <a:lnTo>
                      <a:pt x="1037" y="3508"/>
                    </a:lnTo>
                    <a:lnTo>
                      <a:pt x="1027" y="3481"/>
                    </a:lnTo>
                    <a:lnTo>
                      <a:pt x="1030" y="3384"/>
                    </a:lnTo>
                    <a:lnTo>
                      <a:pt x="1026" y="3331"/>
                    </a:lnTo>
                    <a:lnTo>
                      <a:pt x="1044" y="3300"/>
                    </a:lnTo>
                    <a:lnTo>
                      <a:pt x="1076" y="3269"/>
                    </a:lnTo>
                    <a:lnTo>
                      <a:pt x="1069" y="3243"/>
                    </a:lnTo>
                    <a:lnTo>
                      <a:pt x="1051" y="3238"/>
                    </a:lnTo>
                    <a:lnTo>
                      <a:pt x="1050" y="3206"/>
                    </a:lnTo>
                    <a:lnTo>
                      <a:pt x="1032" y="3202"/>
                    </a:lnTo>
                    <a:lnTo>
                      <a:pt x="1038" y="3180"/>
                    </a:lnTo>
                    <a:lnTo>
                      <a:pt x="981" y="3181"/>
                    </a:lnTo>
                    <a:lnTo>
                      <a:pt x="974" y="3169"/>
                    </a:lnTo>
                    <a:lnTo>
                      <a:pt x="1001" y="3151"/>
                    </a:lnTo>
                    <a:lnTo>
                      <a:pt x="1010" y="3130"/>
                    </a:lnTo>
                    <a:lnTo>
                      <a:pt x="1002" y="3086"/>
                    </a:lnTo>
                    <a:lnTo>
                      <a:pt x="979" y="3072"/>
                    </a:lnTo>
                    <a:lnTo>
                      <a:pt x="953" y="3077"/>
                    </a:lnTo>
                    <a:lnTo>
                      <a:pt x="953" y="3088"/>
                    </a:lnTo>
                    <a:lnTo>
                      <a:pt x="929" y="3105"/>
                    </a:lnTo>
                    <a:lnTo>
                      <a:pt x="905" y="3101"/>
                    </a:lnTo>
                    <a:lnTo>
                      <a:pt x="867" y="3060"/>
                    </a:lnTo>
                    <a:lnTo>
                      <a:pt x="873" y="3036"/>
                    </a:lnTo>
                    <a:lnTo>
                      <a:pt x="926" y="3010"/>
                    </a:lnTo>
                    <a:lnTo>
                      <a:pt x="972" y="3001"/>
                    </a:lnTo>
                    <a:lnTo>
                      <a:pt x="1023" y="3019"/>
                    </a:lnTo>
                    <a:lnTo>
                      <a:pt x="1049" y="3030"/>
                    </a:lnTo>
                    <a:lnTo>
                      <a:pt x="1054" y="3017"/>
                    </a:lnTo>
                    <a:lnTo>
                      <a:pt x="1053" y="2993"/>
                    </a:lnTo>
                    <a:lnTo>
                      <a:pt x="1055" y="2958"/>
                    </a:lnTo>
                    <a:lnTo>
                      <a:pt x="1050" y="2934"/>
                    </a:lnTo>
                    <a:lnTo>
                      <a:pt x="1060" y="2916"/>
                    </a:lnTo>
                    <a:lnTo>
                      <a:pt x="1084" y="2914"/>
                    </a:lnTo>
                    <a:lnTo>
                      <a:pt x="1097" y="2934"/>
                    </a:lnTo>
                    <a:lnTo>
                      <a:pt x="1119" y="2936"/>
                    </a:lnTo>
                    <a:lnTo>
                      <a:pt x="1148" y="2920"/>
                    </a:lnTo>
                    <a:lnTo>
                      <a:pt x="1204" y="2910"/>
                    </a:lnTo>
                    <a:lnTo>
                      <a:pt x="1258" y="2892"/>
                    </a:lnTo>
                    <a:lnTo>
                      <a:pt x="1293" y="2891"/>
                    </a:lnTo>
                    <a:lnTo>
                      <a:pt x="1306" y="2896"/>
                    </a:lnTo>
                    <a:lnTo>
                      <a:pt x="1325" y="2888"/>
                    </a:lnTo>
                    <a:lnTo>
                      <a:pt x="1326" y="2877"/>
                    </a:lnTo>
                    <a:lnTo>
                      <a:pt x="1362" y="2857"/>
                    </a:lnTo>
                    <a:lnTo>
                      <a:pt x="1370" y="2839"/>
                    </a:lnTo>
                    <a:lnTo>
                      <a:pt x="1409" y="2806"/>
                    </a:lnTo>
                    <a:lnTo>
                      <a:pt x="1450" y="2793"/>
                    </a:lnTo>
                    <a:lnTo>
                      <a:pt x="1501" y="2802"/>
                    </a:lnTo>
                    <a:lnTo>
                      <a:pt x="1531" y="2794"/>
                    </a:lnTo>
                    <a:lnTo>
                      <a:pt x="1544" y="2806"/>
                    </a:lnTo>
                    <a:lnTo>
                      <a:pt x="1544" y="2835"/>
                    </a:lnTo>
                    <a:lnTo>
                      <a:pt x="1519" y="2871"/>
                    </a:lnTo>
                    <a:lnTo>
                      <a:pt x="1512" y="2900"/>
                    </a:lnTo>
                    <a:lnTo>
                      <a:pt x="1527" y="2911"/>
                    </a:lnTo>
                    <a:lnTo>
                      <a:pt x="1531" y="2942"/>
                    </a:lnTo>
                    <a:lnTo>
                      <a:pt x="1533" y="2974"/>
                    </a:lnTo>
                    <a:lnTo>
                      <a:pt x="1528" y="2987"/>
                    </a:lnTo>
                    <a:lnTo>
                      <a:pt x="1537" y="3019"/>
                    </a:lnTo>
                    <a:lnTo>
                      <a:pt x="1571" y="3034"/>
                    </a:lnTo>
                    <a:lnTo>
                      <a:pt x="1619" y="3078"/>
                    </a:lnTo>
                    <a:lnTo>
                      <a:pt x="1651" y="3088"/>
                    </a:lnTo>
                    <a:lnTo>
                      <a:pt x="1672" y="3077"/>
                    </a:lnTo>
                    <a:lnTo>
                      <a:pt x="1706" y="3027"/>
                    </a:lnTo>
                    <a:lnTo>
                      <a:pt x="1709" y="2994"/>
                    </a:lnTo>
                    <a:lnTo>
                      <a:pt x="1727" y="2982"/>
                    </a:lnTo>
                    <a:lnTo>
                      <a:pt x="1733" y="2965"/>
                    </a:lnTo>
                    <a:lnTo>
                      <a:pt x="1725" y="2943"/>
                    </a:lnTo>
                    <a:lnTo>
                      <a:pt x="1748" y="2902"/>
                    </a:lnTo>
                    <a:lnTo>
                      <a:pt x="1778" y="2896"/>
                    </a:lnTo>
                    <a:lnTo>
                      <a:pt x="1803" y="2896"/>
                    </a:lnTo>
                    <a:lnTo>
                      <a:pt x="1814" y="2880"/>
                    </a:lnTo>
                    <a:lnTo>
                      <a:pt x="1805" y="2868"/>
                    </a:lnTo>
                    <a:lnTo>
                      <a:pt x="1797" y="2832"/>
                    </a:lnTo>
                    <a:lnTo>
                      <a:pt x="1737" y="2805"/>
                    </a:lnTo>
                    <a:lnTo>
                      <a:pt x="1728" y="2787"/>
                    </a:lnTo>
                    <a:lnTo>
                      <a:pt x="1742" y="2742"/>
                    </a:lnTo>
                    <a:lnTo>
                      <a:pt x="1762" y="2725"/>
                    </a:lnTo>
                    <a:lnTo>
                      <a:pt x="1775" y="2721"/>
                    </a:lnTo>
                    <a:lnTo>
                      <a:pt x="1768" y="2735"/>
                    </a:lnTo>
                    <a:lnTo>
                      <a:pt x="1772" y="2772"/>
                    </a:lnTo>
                    <a:lnTo>
                      <a:pt x="1784" y="2781"/>
                    </a:lnTo>
                    <a:lnTo>
                      <a:pt x="1799" y="2771"/>
                    </a:lnTo>
                    <a:lnTo>
                      <a:pt x="1806" y="2762"/>
                    </a:lnTo>
                    <a:lnTo>
                      <a:pt x="1830" y="2767"/>
                    </a:lnTo>
                    <a:lnTo>
                      <a:pt x="1848" y="2778"/>
                    </a:lnTo>
                    <a:lnTo>
                      <a:pt x="1865" y="2773"/>
                    </a:lnTo>
                    <a:lnTo>
                      <a:pt x="1876" y="2776"/>
                    </a:lnTo>
                    <a:lnTo>
                      <a:pt x="1870" y="2791"/>
                    </a:lnTo>
                    <a:lnTo>
                      <a:pt x="1839" y="2799"/>
                    </a:lnTo>
                    <a:lnTo>
                      <a:pt x="1835" y="2807"/>
                    </a:lnTo>
                    <a:lnTo>
                      <a:pt x="1847" y="2813"/>
                    </a:lnTo>
                    <a:lnTo>
                      <a:pt x="1872" y="2805"/>
                    </a:lnTo>
                    <a:lnTo>
                      <a:pt x="1914" y="2783"/>
                    </a:lnTo>
                    <a:lnTo>
                      <a:pt x="2001" y="2791"/>
                    </a:lnTo>
                    <a:lnTo>
                      <a:pt x="2045" y="2785"/>
                    </a:lnTo>
                    <a:lnTo>
                      <a:pt x="2033" y="2774"/>
                    </a:lnTo>
                    <a:lnTo>
                      <a:pt x="2024" y="2740"/>
                    </a:lnTo>
                    <a:lnTo>
                      <a:pt x="2033" y="2700"/>
                    </a:lnTo>
                    <a:lnTo>
                      <a:pt x="2070" y="2682"/>
                    </a:lnTo>
                    <a:lnTo>
                      <a:pt x="2098" y="2687"/>
                    </a:lnTo>
                    <a:lnTo>
                      <a:pt x="2104" y="2722"/>
                    </a:lnTo>
                    <a:lnTo>
                      <a:pt x="2094" y="2754"/>
                    </a:lnTo>
                    <a:lnTo>
                      <a:pt x="2109" y="2778"/>
                    </a:lnTo>
                    <a:lnTo>
                      <a:pt x="2134" y="2775"/>
                    </a:lnTo>
                    <a:lnTo>
                      <a:pt x="2160" y="2740"/>
                    </a:lnTo>
                    <a:lnTo>
                      <a:pt x="2140" y="2681"/>
                    </a:lnTo>
                    <a:lnTo>
                      <a:pt x="2150" y="2644"/>
                    </a:lnTo>
                    <a:lnTo>
                      <a:pt x="2192" y="2612"/>
                    </a:lnTo>
                    <a:lnTo>
                      <a:pt x="2215" y="2611"/>
                    </a:lnTo>
                    <a:lnTo>
                      <a:pt x="2223" y="2594"/>
                    </a:lnTo>
                    <a:lnTo>
                      <a:pt x="2207" y="2575"/>
                    </a:lnTo>
                    <a:lnTo>
                      <a:pt x="2215" y="2534"/>
                    </a:lnTo>
                    <a:lnTo>
                      <a:pt x="2236" y="2520"/>
                    </a:lnTo>
                    <a:lnTo>
                      <a:pt x="2269" y="2526"/>
                    </a:lnTo>
                    <a:lnTo>
                      <a:pt x="2276" y="2545"/>
                    </a:lnTo>
                    <a:lnTo>
                      <a:pt x="2260" y="2569"/>
                    </a:lnTo>
                    <a:lnTo>
                      <a:pt x="2251" y="2615"/>
                    </a:lnTo>
                    <a:lnTo>
                      <a:pt x="2261" y="2712"/>
                    </a:lnTo>
                    <a:lnTo>
                      <a:pt x="2277" y="2720"/>
                    </a:lnTo>
                    <a:lnTo>
                      <a:pt x="2300" y="2705"/>
                    </a:lnTo>
                    <a:lnTo>
                      <a:pt x="2314" y="2673"/>
                    </a:lnTo>
                    <a:lnTo>
                      <a:pt x="2343" y="2670"/>
                    </a:lnTo>
                    <a:lnTo>
                      <a:pt x="2375" y="2636"/>
                    </a:lnTo>
                    <a:lnTo>
                      <a:pt x="2387" y="2592"/>
                    </a:lnTo>
                    <a:lnTo>
                      <a:pt x="2380" y="2563"/>
                    </a:lnTo>
                    <a:lnTo>
                      <a:pt x="2417" y="2528"/>
                    </a:lnTo>
                    <a:lnTo>
                      <a:pt x="2412" y="2507"/>
                    </a:lnTo>
                    <a:lnTo>
                      <a:pt x="2393" y="2489"/>
                    </a:lnTo>
                    <a:lnTo>
                      <a:pt x="2353" y="2435"/>
                    </a:lnTo>
                    <a:lnTo>
                      <a:pt x="2340" y="2395"/>
                    </a:lnTo>
                    <a:lnTo>
                      <a:pt x="2329" y="2312"/>
                    </a:lnTo>
                    <a:lnTo>
                      <a:pt x="2341" y="2216"/>
                    </a:lnTo>
                    <a:lnTo>
                      <a:pt x="2344" y="2150"/>
                    </a:lnTo>
                    <a:lnTo>
                      <a:pt x="2314" y="2031"/>
                    </a:lnTo>
                    <a:lnTo>
                      <a:pt x="2272" y="1974"/>
                    </a:lnTo>
                    <a:lnTo>
                      <a:pt x="2269" y="1929"/>
                    </a:lnTo>
                    <a:lnTo>
                      <a:pt x="2278" y="1874"/>
                    </a:lnTo>
                    <a:lnTo>
                      <a:pt x="2332" y="1849"/>
                    </a:lnTo>
                    <a:lnTo>
                      <a:pt x="2357" y="1849"/>
                    </a:lnTo>
                    <a:lnTo>
                      <a:pt x="2371" y="1873"/>
                    </a:lnTo>
                    <a:lnTo>
                      <a:pt x="2381" y="1860"/>
                    </a:lnTo>
                    <a:lnTo>
                      <a:pt x="2372" y="1821"/>
                    </a:lnTo>
                    <a:lnTo>
                      <a:pt x="2366" y="1796"/>
                    </a:lnTo>
                    <a:lnTo>
                      <a:pt x="2355" y="1782"/>
                    </a:lnTo>
                    <a:lnTo>
                      <a:pt x="2346" y="1747"/>
                    </a:lnTo>
                    <a:lnTo>
                      <a:pt x="2349" y="1731"/>
                    </a:lnTo>
                    <a:lnTo>
                      <a:pt x="2348" y="1704"/>
                    </a:lnTo>
                    <a:lnTo>
                      <a:pt x="2360" y="1683"/>
                    </a:lnTo>
                    <a:lnTo>
                      <a:pt x="2359" y="1673"/>
                    </a:lnTo>
                    <a:lnTo>
                      <a:pt x="2363" y="1646"/>
                    </a:lnTo>
                    <a:lnTo>
                      <a:pt x="2353" y="1631"/>
                    </a:lnTo>
                    <a:lnTo>
                      <a:pt x="2351" y="1589"/>
                    </a:lnTo>
                    <a:lnTo>
                      <a:pt x="2358" y="1568"/>
                    </a:lnTo>
                    <a:lnTo>
                      <a:pt x="2345" y="1544"/>
                    </a:lnTo>
                    <a:lnTo>
                      <a:pt x="2335" y="1477"/>
                    </a:lnTo>
                    <a:lnTo>
                      <a:pt x="2304" y="1422"/>
                    </a:lnTo>
                    <a:lnTo>
                      <a:pt x="2287" y="1422"/>
                    </a:lnTo>
                    <a:lnTo>
                      <a:pt x="2269" y="1413"/>
                    </a:lnTo>
                    <a:lnTo>
                      <a:pt x="2265" y="1340"/>
                    </a:lnTo>
                    <a:lnTo>
                      <a:pt x="2233" y="1310"/>
                    </a:lnTo>
                    <a:lnTo>
                      <a:pt x="2163" y="1232"/>
                    </a:lnTo>
                    <a:lnTo>
                      <a:pt x="2145" y="1197"/>
                    </a:lnTo>
                    <a:lnTo>
                      <a:pt x="2130" y="1145"/>
                    </a:lnTo>
                    <a:lnTo>
                      <a:pt x="2127" y="1092"/>
                    </a:lnTo>
                    <a:lnTo>
                      <a:pt x="2129" y="1075"/>
                    </a:lnTo>
                    <a:lnTo>
                      <a:pt x="2110" y="1087"/>
                    </a:lnTo>
                    <a:lnTo>
                      <a:pt x="2094" y="1089"/>
                    </a:lnTo>
                    <a:lnTo>
                      <a:pt x="2086" y="1079"/>
                    </a:lnTo>
                    <a:lnTo>
                      <a:pt x="2056" y="1066"/>
                    </a:lnTo>
                    <a:lnTo>
                      <a:pt x="2040" y="1064"/>
                    </a:lnTo>
                    <a:lnTo>
                      <a:pt x="2042" y="1075"/>
                    </a:lnTo>
                    <a:lnTo>
                      <a:pt x="2025" y="1116"/>
                    </a:lnTo>
                    <a:lnTo>
                      <a:pt x="2025" y="1146"/>
                    </a:lnTo>
                    <a:lnTo>
                      <a:pt x="2041" y="1160"/>
                    </a:lnTo>
                    <a:lnTo>
                      <a:pt x="2056" y="1152"/>
                    </a:lnTo>
                    <a:lnTo>
                      <a:pt x="2095" y="1118"/>
                    </a:lnTo>
                    <a:lnTo>
                      <a:pt x="2112" y="1161"/>
                    </a:lnTo>
                    <a:lnTo>
                      <a:pt x="2099" y="1192"/>
                    </a:lnTo>
                    <a:lnTo>
                      <a:pt x="2079" y="1205"/>
                    </a:lnTo>
                    <a:lnTo>
                      <a:pt x="2056" y="1188"/>
                    </a:lnTo>
                    <a:lnTo>
                      <a:pt x="2049" y="1188"/>
                    </a:lnTo>
                    <a:lnTo>
                      <a:pt x="2059" y="1228"/>
                    </a:lnTo>
                    <a:lnTo>
                      <a:pt x="2044" y="1245"/>
                    </a:lnTo>
                    <a:lnTo>
                      <a:pt x="2019" y="1235"/>
                    </a:lnTo>
                    <a:lnTo>
                      <a:pt x="2014" y="1205"/>
                    </a:lnTo>
                    <a:lnTo>
                      <a:pt x="2008" y="1171"/>
                    </a:lnTo>
                    <a:lnTo>
                      <a:pt x="1998" y="1154"/>
                    </a:lnTo>
                    <a:lnTo>
                      <a:pt x="1977" y="1160"/>
                    </a:lnTo>
                    <a:lnTo>
                      <a:pt x="1959" y="1150"/>
                    </a:lnTo>
                    <a:lnTo>
                      <a:pt x="1951" y="1177"/>
                    </a:lnTo>
                    <a:lnTo>
                      <a:pt x="1964" y="1227"/>
                    </a:lnTo>
                    <a:lnTo>
                      <a:pt x="1965" y="1262"/>
                    </a:lnTo>
                    <a:lnTo>
                      <a:pt x="1945" y="1270"/>
                    </a:lnTo>
                    <a:lnTo>
                      <a:pt x="1925" y="1300"/>
                    </a:lnTo>
                    <a:lnTo>
                      <a:pt x="1925" y="1320"/>
                    </a:lnTo>
                    <a:lnTo>
                      <a:pt x="1968" y="1363"/>
                    </a:lnTo>
                    <a:lnTo>
                      <a:pt x="1982" y="1388"/>
                    </a:lnTo>
                    <a:lnTo>
                      <a:pt x="1967" y="1435"/>
                    </a:lnTo>
                    <a:lnTo>
                      <a:pt x="1944" y="1450"/>
                    </a:lnTo>
                    <a:lnTo>
                      <a:pt x="1917" y="1445"/>
                    </a:lnTo>
                    <a:lnTo>
                      <a:pt x="1912" y="1463"/>
                    </a:lnTo>
                    <a:lnTo>
                      <a:pt x="1937" y="1494"/>
                    </a:lnTo>
                    <a:lnTo>
                      <a:pt x="1963" y="1488"/>
                    </a:lnTo>
                    <a:lnTo>
                      <a:pt x="1985" y="1463"/>
                    </a:lnTo>
                    <a:lnTo>
                      <a:pt x="2018" y="1539"/>
                    </a:lnTo>
                    <a:lnTo>
                      <a:pt x="2031" y="1621"/>
                    </a:lnTo>
                    <a:lnTo>
                      <a:pt x="2023" y="1667"/>
                    </a:lnTo>
                    <a:lnTo>
                      <a:pt x="2026" y="1748"/>
                    </a:lnTo>
                    <a:lnTo>
                      <a:pt x="1998" y="1867"/>
                    </a:lnTo>
                    <a:lnTo>
                      <a:pt x="2006" y="1914"/>
                    </a:lnTo>
                    <a:lnTo>
                      <a:pt x="1992" y="1965"/>
                    </a:lnTo>
                    <a:lnTo>
                      <a:pt x="1950" y="1988"/>
                    </a:lnTo>
                    <a:lnTo>
                      <a:pt x="1932" y="2038"/>
                    </a:lnTo>
                    <a:lnTo>
                      <a:pt x="1934" y="2095"/>
                    </a:lnTo>
                    <a:lnTo>
                      <a:pt x="1913" y="2129"/>
                    </a:lnTo>
                    <a:lnTo>
                      <a:pt x="1907" y="2162"/>
                    </a:lnTo>
                    <a:lnTo>
                      <a:pt x="1866" y="2202"/>
                    </a:lnTo>
                    <a:lnTo>
                      <a:pt x="1785" y="2250"/>
                    </a:lnTo>
                    <a:lnTo>
                      <a:pt x="1753" y="2259"/>
                    </a:lnTo>
                    <a:lnTo>
                      <a:pt x="1737" y="2292"/>
                    </a:lnTo>
                    <a:lnTo>
                      <a:pt x="1696" y="2268"/>
                    </a:lnTo>
                    <a:lnTo>
                      <a:pt x="1655" y="2219"/>
                    </a:lnTo>
                    <a:lnTo>
                      <a:pt x="1656" y="2198"/>
                    </a:lnTo>
                    <a:lnTo>
                      <a:pt x="1674" y="2189"/>
                    </a:lnTo>
                    <a:lnTo>
                      <a:pt x="1692" y="2158"/>
                    </a:lnTo>
                    <a:lnTo>
                      <a:pt x="1689" y="2140"/>
                    </a:lnTo>
                    <a:lnTo>
                      <a:pt x="1710" y="2118"/>
                    </a:lnTo>
                    <a:lnTo>
                      <a:pt x="1708" y="2110"/>
                    </a:lnTo>
                    <a:lnTo>
                      <a:pt x="1669" y="2119"/>
                    </a:lnTo>
                    <a:lnTo>
                      <a:pt x="1640" y="2148"/>
                    </a:lnTo>
                    <a:lnTo>
                      <a:pt x="1604" y="2162"/>
                    </a:lnTo>
                    <a:lnTo>
                      <a:pt x="1597" y="2195"/>
                    </a:lnTo>
                    <a:lnTo>
                      <a:pt x="1622" y="2235"/>
                    </a:lnTo>
                    <a:lnTo>
                      <a:pt x="1626" y="2317"/>
                    </a:lnTo>
                    <a:lnTo>
                      <a:pt x="1622" y="2356"/>
                    </a:lnTo>
                    <a:lnTo>
                      <a:pt x="1581" y="2396"/>
                    </a:lnTo>
                    <a:lnTo>
                      <a:pt x="1580" y="2418"/>
                    </a:lnTo>
                    <a:lnTo>
                      <a:pt x="1567" y="2435"/>
                    </a:lnTo>
                    <a:lnTo>
                      <a:pt x="1561" y="2495"/>
                    </a:lnTo>
                    <a:lnTo>
                      <a:pt x="1576" y="2511"/>
                    </a:lnTo>
                    <a:lnTo>
                      <a:pt x="1578" y="2536"/>
                    </a:lnTo>
                    <a:lnTo>
                      <a:pt x="1567" y="2545"/>
                    </a:lnTo>
                    <a:lnTo>
                      <a:pt x="1574" y="2555"/>
                    </a:lnTo>
                    <a:lnTo>
                      <a:pt x="1566" y="2577"/>
                    </a:lnTo>
                    <a:lnTo>
                      <a:pt x="1550" y="2578"/>
                    </a:lnTo>
                    <a:lnTo>
                      <a:pt x="1561" y="2593"/>
                    </a:lnTo>
                    <a:lnTo>
                      <a:pt x="1534" y="2605"/>
                    </a:lnTo>
                    <a:lnTo>
                      <a:pt x="1517" y="2590"/>
                    </a:lnTo>
                    <a:lnTo>
                      <a:pt x="1492" y="2609"/>
                    </a:lnTo>
                    <a:lnTo>
                      <a:pt x="1477" y="2603"/>
                    </a:lnTo>
                    <a:lnTo>
                      <a:pt x="1471" y="2568"/>
                    </a:lnTo>
                    <a:lnTo>
                      <a:pt x="1461" y="2562"/>
                    </a:lnTo>
                    <a:lnTo>
                      <a:pt x="1439" y="2579"/>
                    </a:lnTo>
                    <a:lnTo>
                      <a:pt x="1418" y="2580"/>
                    </a:lnTo>
                    <a:lnTo>
                      <a:pt x="1408" y="2572"/>
                    </a:lnTo>
                    <a:lnTo>
                      <a:pt x="1333" y="2598"/>
                    </a:lnTo>
                    <a:lnTo>
                      <a:pt x="1295" y="2613"/>
                    </a:lnTo>
                    <a:lnTo>
                      <a:pt x="1256" y="2626"/>
                    </a:lnTo>
                    <a:lnTo>
                      <a:pt x="1212" y="2629"/>
                    </a:lnTo>
                    <a:lnTo>
                      <a:pt x="1169" y="2643"/>
                    </a:lnTo>
                    <a:lnTo>
                      <a:pt x="1155" y="2633"/>
                    </a:lnTo>
                    <a:lnTo>
                      <a:pt x="1119" y="2637"/>
                    </a:lnTo>
                    <a:lnTo>
                      <a:pt x="1054" y="2683"/>
                    </a:lnTo>
                    <a:lnTo>
                      <a:pt x="1043" y="2723"/>
                    </a:lnTo>
                    <a:lnTo>
                      <a:pt x="1019" y="2738"/>
                    </a:lnTo>
                    <a:lnTo>
                      <a:pt x="1014" y="2763"/>
                    </a:lnTo>
                    <a:lnTo>
                      <a:pt x="967" y="2816"/>
                    </a:lnTo>
                    <a:lnTo>
                      <a:pt x="938" y="2828"/>
                    </a:lnTo>
                    <a:lnTo>
                      <a:pt x="913" y="2862"/>
                    </a:lnTo>
                    <a:lnTo>
                      <a:pt x="906" y="2884"/>
                    </a:lnTo>
                    <a:lnTo>
                      <a:pt x="881" y="2910"/>
                    </a:lnTo>
                    <a:lnTo>
                      <a:pt x="834" y="2919"/>
                    </a:lnTo>
                    <a:lnTo>
                      <a:pt x="819" y="2943"/>
                    </a:lnTo>
                    <a:lnTo>
                      <a:pt x="830" y="2996"/>
                    </a:lnTo>
                    <a:lnTo>
                      <a:pt x="847" y="3005"/>
                    </a:lnTo>
                    <a:lnTo>
                      <a:pt x="853" y="3025"/>
                    </a:lnTo>
                    <a:lnTo>
                      <a:pt x="843" y="3043"/>
                    </a:lnTo>
                    <a:lnTo>
                      <a:pt x="814" y="3046"/>
                    </a:lnTo>
                    <a:lnTo>
                      <a:pt x="778" y="3073"/>
                    </a:lnTo>
                    <a:lnTo>
                      <a:pt x="769" y="3093"/>
                    </a:lnTo>
                    <a:lnTo>
                      <a:pt x="747" y="3110"/>
                    </a:lnTo>
                    <a:lnTo>
                      <a:pt x="714" y="3145"/>
                    </a:lnTo>
                    <a:lnTo>
                      <a:pt x="702" y="3172"/>
                    </a:lnTo>
                    <a:lnTo>
                      <a:pt x="674" y="3172"/>
                    </a:lnTo>
                    <a:lnTo>
                      <a:pt x="643" y="3189"/>
                    </a:lnTo>
                    <a:lnTo>
                      <a:pt x="659" y="3189"/>
                    </a:lnTo>
                    <a:lnTo>
                      <a:pt x="675" y="3191"/>
                    </a:lnTo>
                    <a:lnTo>
                      <a:pt x="686" y="3221"/>
                    </a:lnTo>
                    <a:lnTo>
                      <a:pt x="702" y="3262"/>
                    </a:lnTo>
                    <a:lnTo>
                      <a:pt x="689" y="3273"/>
                    </a:lnTo>
                    <a:lnTo>
                      <a:pt x="684" y="3247"/>
                    </a:lnTo>
                    <a:lnTo>
                      <a:pt x="670" y="3226"/>
                    </a:lnTo>
                    <a:lnTo>
                      <a:pt x="662" y="3253"/>
                    </a:lnTo>
                    <a:lnTo>
                      <a:pt x="671" y="3284"/>
                    </a:lnTo>
                    <a:lnTo>
                      <a:pt x="693" y="3293"/>
                    </a:lnTo>
                    <a:lnTo>
                      <a:pt x="696" y="3314"/>
                    </a:lnTo>
                    <a:lnTo>
                      <a:pt x="684" y="3335"/>
                    </a:lnTo>
                    <a:lnTo>
                      <a:pt x="702" y="3326"/>
                    </a:lnTo>
                    <a:lnTo>
                      <a:pt x="713" y="3303"/>
                    </a:lnTo>
                    <a:lnTo>
                      <a:pt x="739" y="3294"/>
                    </a:lnTo>
                    <a:lnTo>
                      <a:pt x="755" y="3300"/>
                    </a:lnTo>
                    <a:lnTo>
                      <a:pt x="743" y="3313"/>
                    </a:lnTo>
                    <a:lnTo>
                      <a:pt x="755" y="3322"/>
                    </a:lnTo>
                    <a:lnTo>
                      <a:pt x="782" y="3314"/>
                    </a:lnTo>
                    <a:lnTo>
                      <a:pt x="779" y="3282"/>
                    </a:lnTo>
                    <a:lnTo>
                      <a:pt x="760" y="3265"/>
                    </a:lnTo>
                    <a:lnTo>
                      <a:pt x="730" y="3274"/>
                    </a:lnTo>
                    <a:lnTo>
                      <a:pt x="731" y="3260"/>
                    </a:lnTo>
                    <a:lnTo>
                      <a:pt x="740" y="3245"/>
                    </a:lnTo>
                    <a:lnTo>
                      <a:pt x="733" y="3219"/>
                    </a:lnTo>
                    <a:lnTo>
                      <a:pt x="747" y="3201"/>
                    </a:lnTo>
                    <a:lnTo>
                      <a:pt x="775" y="3212"/>
                    </a:lnTo>
                    <a:lnTo>
                      <a:pt x="805" y="3262"/>
                    </a:lnTo>
                    <a:lnTo>
                      <a:pt x="809" y="3300"/>
                    </a:lnTo>
                    <a:lnTo>
                      <a:pt x="823" y="3318"/>
                    </a:lnTo>
                    <a:lnTo>
                      <a:pt x="825" y="3375"/>
                    </a:lnTo>
                    <a:lnTo>
                      <a:pt x="800" y="3430"/>
                    </a:lnTo>
                    <a:lnTo>
                      <a:pt x="772" y="3433"/>
                    </a:lnTo>
                    <a:lnTo>
                      <a:pt x="779" y="3453"/>
                    </a:lnTo>
                    <a:lnTo>
                      <a:pt x="805" y="3498"/>
                    </a:lnTo>
                    <a:lnTo>
                      <a:pt x="816" y="3557"/>
                    </a:lnTo>
                    <a:lnTo>
                      <a:pt x="844" y="3590"/>
                    </a:lnTo>
                    <a:lnTo>
                      <a:pt x="844" y="3620"/>
                    </a:lnTo>
                    <a:lnTo>
                      <a:pt x="829" y="3638"/>
                    </a:lnTo>
                    <a:lnTo>
                      <a:pt x="851" y="3664"/>
                    </a:lnTo>
                    <a:lnTo>
                      <a:pt x="879" y="3660"/>
                    </a:lnTo>
                    <a:lnTo>
                      <a:pt x="901" y="3675"/>
                    </a:lnTo>
                    <a:lnTo>
                      <a:pt x="912" y="3661"/>
                    </a:lnTo>
                    <a:lnTo>
                      <a:pt x="912" y="3643"/>
                    </a:lnTo>
                    <a:lnTo>
                      <a:pt x="887" y="3605"/>
                    </a:lnTo>
                    <a:lnTo>
                      <a:pt x="887" y="3549"/>
                    </a:lnTo>
                    <a:lnTo>
                      <a:pt x="902" y="3532"/>
                    </a:lnTo>
                    <a:lnTo>
                      <a:pt x="920" y="3546"/>
                    </a:lnTo>
                    <a:lnTo>
                      <a:pt x="909" y="3561"/>
                    </a:lnTo>
                    <a:lnTo>
                      <a:pt x="909" y="3577"/>
                    </a:lnTo>
                    <a:lnTo>
                      <a:pt x="935" y="3605"/>
                    </a:lnTo>
                    <a:lnTo>
                      <a:pt x="945" y="3650"/>
                    </a:lnTo>
                    <a:lnTo>
                      <a:pt x="937" y="3678"/>
                    </a:lnTo>
                    <a:lnTo>
                      <a:pt x="941" y="3701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6" name="iṥľïde"/>
              <p:cNvSpPr/>
              <p:nvPr/>
            </p:nvSpPr>
            <p:spPr bwMode="auto">
              <a:xfrm>
                <a:off x="3596390" y="3228157"/>
                <a:ext cx="127295" cy="201332"/>
              </a:xfrm>
              <a:custGeom>
                <a:avLst/>
                <a:gdLst>
                  <a:gd name="T0" fmla="*/ 490 w 781"/>
                  <a:gd name="T1" fmla="*/ 877 h 1244"/>
                  <a:gd name="T2" fmla="*/ 482 w 781"/>
                  <a:gd name="T3" fmla="*/ 905 h 1244"/>
                  <a:gd name="T4" fmla="*/ 475 w 781"/>
                  <a:gd name="T5" fmla="*/ 888 h 1244"/>
                  <a:gd name="T6" fmla="*/ 217 w 781"/>
                  <a:gd name="T7" fmla="*/ 989 h 1244"/>
                  <a:gd name="T8" fmla="*/ 235 w 781"/>
                  <a:gd name="T9" fmla="*/ 977 h 1244"/>
                  <a:gd name="T10" fmla="*/ 255 w 781"/>
                  <a:gd name="T11" fmla="*/ 975 h 1244"/>
                  <a:gd name="T12" fmla="*/ 245 w 781"/>
                  <a:gd name="T13" fmla="*/ 1004 h 1244"/>
                  <a:gd name="T14" fmla="*/ 232 w 781"/>
                  <a:gd name="T15" fmla="*/ 1013 h 1244"/>
                  <a:gd name="T16" fmla="*/ 596 w 781"/>
                  <a:gd name="T17" fmla="*/ 851 h 1244"/>
                  <a:gd name="T18" fmla="*/ 608 w 781"/>
                  <a:gd name="T19" fmla="*/ 895 h 1244"/>
                  <a:gd name="T20" fmla="*/ 636 w 781"/>
                  <a:gd name="T21" fmla="*/ 871 h 1244"/>
                  <a:gd name="T22" fmla="*/ 621 w 781"/>
                  <a:gd name="T23" fmla="*/ 832 h 1244"/>
                  <a:gd name="T24" fmla="*/ 735 w 781"/>
                  <a:gd name="T25" fmla="*/ 1054 h 1244"/>
                  <a:gd name="T26" fmla="*/ 745 w 781"/>
                  <a:gd name="T27" fmla="*/ 1013 h 1244"/>
                  <a:gd name="T28" fmla="*/ 763 w 781"/>
                  <a:gd name="T29" fmla="*/ 1038 h 1244"/>
                  <a:gd name="T30" fmla="*/ 735 w 781"/>
                  <a:gd name="T31" fmla="*/ 1054 h 1244"/>
                  <a:gd name="T32" fmla="*/ 764 w 781"/>
                  <a:gd name="T33" fmla="*/ 984 h 1244"/>
                  <a:gd name="T34" fmla="*/ 742 w 781"/>
                  <a:gd name="T35" fmla="*/ 973 h 1244"/>
                  <a:gd name="T36" fmla="*/ 753 w 781"/>
                  <a:gd name="T37" fmla="*/ 922 h 1244"/>
                  <a:gd name="T38" fmla="*/ 775 w 781"/>
                  <a:gd name="T39" fmla="*/ 925 h 1244"/>
                  <a:gd name="T40" fmla="*/ 764 w 781"/>
                  <a:gd name="T41" fmla="*/ 984 h 1244"/>
                  <a:gd name="T42" fmla="*/ 277 w 781"/>
                  <a:gd name="T43" fmla="*/ 1238 h 1244"/>
                  <a:gd name="T44" fmla="*/ 284 w 781"/>
                  <a:gd name="T45" fmla="*/ 1188 h 1244"/>
                  <a:gd name="T46" fmla="*/ 390 w 781"/>
                  <a:gd name="T47" fmla="*/ 1171 h 1244"/>
                  <a:gd name="T48" fmla="*/ 370 w 781"/>
                  <a:gd name="T49" fmla="*/ 1233 h 1244"/>
                  <a:gd name="T50" fmla="*/ 277 w 781"/>
                  <a:gd name="T51" fmla="*/ 1238 h 1244"/>
                  <a:gd name="T52" fmla="*/ 0 w 781"/>
                  <a:gd name="T53" fmla="*/ 214 h 1244"/>
                  <a:gd name="T54" fmla="*/ 34 w 781"/>
                  <a:gd name="T55" fmla="*/ 199 h 1244"/>
                  <a:gd name="T56" fmla="*/ 61 w 781"/>
                  <a:gd name="T57" fmla="*/ 212 h 1244"/>
                  <a:gd name="T58" fmla="*/ 172 w 781"/>
                  <a:gd name="T59" fmla="*/ 333 h 1244"/>
                  <a:gd name="T60" fmla="*/ 184 w 781"/>
                  <a:gd name="T61" fmla="*/ 356 h 1244"/>
                  <a:gd name="T62" fmla="*/ 223 w 781"/>
                  <a:gd name="T63" fmla="*/ 421 h 1244"/>
                  <a:gd name="T64" fmla="*/ 154 w 781"/>
                  <a:gd name="T65" fmla="*/ 385 h 1244"/>
                  <a:gd name="T66" fmla="*/ 118 w 781"/>
                  <a:gd name="T67" fmla="*/ 408 h 1244"/>
                  <a:gd name="T68" fmla="*/ 159 w 781"/>
                  <a:gd name="T69" fmla="*/ 492 h 1244"/>
                  <a:gd name="T70" fmla="*/ 195 w 781"/>
                  <a:gd name="T71" fmla="*/ 523 h 1244"/>
                  <a:gd name="T72" fmla="*/ 215 w 781"/>
                  <a:gd name="T73" fmla="*/ 608 h 1244"/>
                  <a:gd name="T74" fmla="*/ 258 w 781"/>
                  <a:gd name="T75" fmla="*/ 654 h 1244"/>
                  <a:gd name="T76" fmla="*/ 201 w 781"/>
                  <a:gd name="T77" fmla="*/ 711 h 1244"/>
                  <a:gd name="T78" fmla="*/ 225 w 781"/>
                  <a:gd name="T79" fmla="*/ 759 h 1244"/>
                  <a:gd name="T80" fmla="*/ 205 w 781"/>
                  <a:gd name="T81" fmla="*/ 803 h 1244"/>
                  <a:gd name="T82" fmla="*/ 201 w 781"/>
                  <a:gd name="T83" fmla="*/ 837 h 1244"/>
                  <a:gd name="T84" fmla="*/ 266 w 781"/>
                  <a:gd name="T85" fmla="*/ 919 h 1244"/>
                  <a:gd name="T86" fmla="*/ 287 w 781"/>
                  <a:gd name="T87" fmla="*/ 969 h 1244"/>
                  <a:gd name="T88" fmla="*/ 311 w 781"/>
                  <a:gd name="T89" fmla="*/ 980 h 1244"/>
                  <a:gd name="T90" fmla="*/ 329 w 781"/>
                  <a:gd name="T91" fmla="*/ 957 h 1244"/>
                  <a:gd name="T92" fmla="*/ 430 w 781"/>
                  <a:gd name="T93" fmla="*/ 855 h 1244"/>
                  <a:gd name="T94" fmla="*/ 466 w 781"/>
                  <a:gd name="T95" fmla="*/ 868 h 1244"/>
                  <a:gd name="T96" fmla="*/ 508 w 781"/>
                  <a:gd name="T97" fmla="*/ 842 h 1244"/>
                  <a:gd name="T98" fmla="*/ 556 w 781"/>
                  <a:gd name="T99" fmla="*/ 863 h 1244"/>
                  <a:gd name="T100" fmla="*/ 586 w 781"/>
                  <a:gd name="T101" fmla="*/ 866 h 1244"/>
                  <a:gd name="T102" fmla="*/ 615 w 781"/>
                  <a:gd name="T103" fmla="*/ 815 h 1244"/>
                  <a:gd name="T104" fmla="*/ 700 w 781"/>
                  <a:gd name="T105" fmla="*/ 756 h 1244"/>
                  <a:gd name="T106" fmla="*/ 713 w 781"/>
                  <a:gd name="T107" fmla="*/ 720 h 1244"/>
                  <a:gd name="T108" fmla="*/ 693 w 781"/>
                  <a:gd name="T109" fmla="*/ 589 h 1244"/>
                  <a:gd name="T110" fmla="*/ 680 w 781"/>
                  <a:gd name="T111" fmla="*/ 562 h 1244"/>
                  <a:gd name="T112" fmla="*/ 630 w 781"/>
                  <a:gd name="T113" fmla="*/ 415 h 1244"/>
                  <a:gd name="T114" fmla="*/ 526 w 781"/>
                  <a:gd name="T115" fmla="*/ 211 h 1244"/>
                  <a:gd name="T116" fmla="*/ 372 w 781"/>
                  <a:gd name="T117" fmla="*/ 0 h 1244"/>
                  <a:gd name="T118" fmla="*/ 186 w 781"/>
                  <a:gd name="T119" fmla="*/ 54 h 1244"/>
                  <a:gd name="T120" fmla="*/ 65 w 781"/>
                  <a:gd name="T121" fmla="*/ 123 h 1244"/>
                  <a:gd name="T122" fmla="*/ 0 w 781"/>
                  <a:gd name="T123" fmla="*/ 214 h 1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81" h="1244">
                    <a:moveTo>
                      <a:pt x="475" y="888"/>
                    </a:moveTo>
                    <a:lnTo>
                      <a:pt x="490" y="877"/>
                    </a:lnTo>
                    <a:lnTo>
                      <a:pt x="508" y="894"/>
                    </a:lnTo>
                    <a:lnTo>
                      <a:pt x="482" y="905"/>
                    </a:lnTo>
                    <a:lnTo>
                      <a:pt x="475" y="888"/>
                    </a:lnTo>
                    <a:lnTo>
                      <a:pt x="475" y="888"/>
                    </a:lnTo>
                    <a:close/>
                    <a:moveTo>
                      <a:pt x="232" y="1013"/>
                    </a:moveTo>
                    <a:lnTo>
                      <a:pt x="217" y="989"/>
                    </a:lnTo>
                    <a:lnTo>
                      <a:pt x="223" y="977"/>
                    </a:lnTo>
                    <a:lnTo>
                      <a:pt x="235" y="977"/>
                    </a:lnTo>
                    <a:lnTo>
                      <a:pt x="246" y="956"/>
                    </a:lnTo>
                    <a:lnTo>
                      <a:pt x="255" y="975"/>
                    </a:lnTo>
                    <a:lnTo>
                      <a:pt x="257" y="1004"/>
                    </a:lnTo>
                    <a:lnTo>
                      <a:pt x="245" y="1004"/>
                    </a:lnTo>
                    <a:lnTo>
                      <a:pt x="232" y="1013"/>
                    </a:lnTo>
                    <a:lnTo>
                      <a:pt x="232" y="1013"/>
                    </a:lnTo>
                    <a:close/>
                    <a:moveTo>
                      <a:pt x="621" y="832"/>
                    </a:moveTo>
                    <a:lnTo>
                      <a:pt x="596" y="851"/>
                    </a:lnTo>
                    <a:lnTo>
                      <a:pt x="598" y="872"/>
                    </a:lnTo>
                    <a:lnTo>
                      <a:pt x="608" y="895"/>
                    </a:lnTo>
                    <a:lnTo>
                      <a:pt x="625" y="888"/>
                    </a:lnTo>
                    <a:lnTo>
                      <a:pt x="636" y="871"/>
                    </a:lnTo>
                    <a:lnTo>
                      <a:pt x="633" y="841"/>
                    </a:lnTo>
                    <a:lnTo>
                      <a:pt x="621" y="832"/>
                    </a:lnTo>
                    <a:lnTo>
                      <a:pt x="621" y="832"/>
                    </a:lnTo>
                    <a:close/>
                    <a:moveTo>
                      <a:pt x="735" y="1054"/>
                    </a:moveTo>
                    <a:lnTo>
                      <a:pt x="731" y="1034"/>
                    </a:lnTo>
                    <a:lnTo>
                      <a:pt x="745" y="1013"/>
                    </a:lnTo>
                    <a:lnTo>
                      <a:pt x="772" y="1015"/>
                    </a:lnTo>
                    <a:lnTo>
                      <a:pt x="763" y="1038"/>
                    </a:lnTo>
                    <a:lnTo>
                      <a:pt x="748" y="1052"/>
                    </a:lnTo>
                    <a:lnTo>
                      <a:pt x="735" y="1054"/>
                    </a:lnTo>
                    <a:lnTo>
                      <a:pt x="735" y="1054"/>
                    </a:lnTo>
                    <a:close/>
                    <a:moveTo>
                      <a:pt x="764" y="984"/>
                    </a:moveTo>
                    <a:lnTo>
                      <a:pt x="750" y="996"/>
                    </a:lnTo>
                    <a:lnTo>
                      <a:pt x="742" y="973"/>
                    </a:lnTo>
                    <a:lnTo>
                      <a:pt x="743" y="943"/>
                    </a:lnTo>
                    <a:lnTo>
                      <a:pt x="753" y="922"/>
                    </a:lnTo>
                    <a:lnTo>
                      <a:pt x="768" y="912"/>
                    </a:lnTo>
                    <a:lnTo>
                      <a:pt x="775" y="925"/>
                    </a:lnTo>
                    <a:lnTo>
                      <a:pt x="781" y="949"/>
                    </a:lnTo>
                    <a:lnTo>
                      <a:pt x="764" y="984"/>
                    </a:lnTo>
                    <a:lnTo>
                      <a:pt x="764" y="984"/>
                    </a:lnTo>
                    <a:close/>
                    <a:moveTo>
                      <a:pt x="277" y="1238"/>
                    </a:moveTo>
                    <a:lnTo>
                      <a:pt x="264" y="1212"/>
                    </a:lnTo>
                    <a:lnTo>
                      <a:pt x="284" y="1188"/>
                    </a:lnTo>
                    <a:lnTo>
                      <a:pt x="357" y="1165"/>
                    </a:lnTo>
                    <a:lnTo>
                      <a:pt x="390" y="1171"/>
                    </a:lnTo>
                    <a:lnTo>
                      <a:pt x="392" y="1194"/>
                    </a:lnTo>
                    <a:lnTo>
                      <a:pt x="370" y="1233"/>
                    </a:lnTo>
                    <a:lnTo>
                      <a:pt x="310" y="1244"/>
                    </a:lnTo>
                    <a:lnTo>
                      <a:pt x="277" y="1238"/>
                    </a:lnTo>
                    <a:lnTo>
                      <a:pt x="277" y="1238"/>
                    </a:lnTo>
                    <a:close/>
                    <a:moveTo>
                      <a:pt x="0" y="214"/>
                    </a:moveTo>
                    <a:lnTo>
                      <a:pt x="5" y="219"/>
                    </a:lnTo>
                    <a:lnTo>
                      <a:pt x="34" y="199"/>
                    </a:lnTo>
                    <a:lnTo>
                      <a:pt x="86" y="200"/>
                    </a:lnTo>
                    <a:lnTo>
                      <a:pt x="61" y="212"/>
                    </a:lnTo>
                    <a:lnTo>
                      <a:pt x="129" y="270"/>
                    </a:lnTo>
                    <a:lnTo>
                      <a:pt x="172" y="333"/>
                    </a:lnTo>
                    <a:lnTo>
                      <a:pt x="196" y="338"/>
                    </a:lnTo>
                    <a:lnTo>
                      <a:pt x="184" y="356"/>
                    </a:lnTo>
                    <a:lnTo>
                      <a:pt x="209" y="391"/>
                    </a:lnTo>
                    <a:lnTo>
                      <a:pt x="223" y="421"/>
                    </a:lnTo>
                    <a:lnTo>
                      <a:pt x="166" y="401"/>
                    </a:lnTo>
                    <a:lnTo>
                      <a:pt x="154" y="385"/>
                    </a:lnTo>
                    <a:lnTo>
                      <a:pt x="142" y="415"/>
                    </a:lnTo>
                    <a:lnTo>
                      <a:pt x="118" y="408"/>
                    </a:lnTo>
                    <a:lnTo>
                      <a:pt x="84" y="457"/>
                    </a:lnTo>
                    <a:lnTo>
                      <a:pt x="159" y="492"/>
                    </a:lnTo>
                    <a:lnTo>
                      <a:pt x="177" y="485"/>
                    </a:lnTo>
                    <a:lnTo>
                      <a:pt x="195" y="523"/>
                    </a:lnTo>
                    <a:lnTo>
                      <a:pt x="196" y="594"/>
                    </a:lnTo>
                    <a:lnTo>
                      <a:pt x="215" y="608"/>
                    </a:lnTo>
                    <a:lnTo>
                      <a:pt x="228" y="595"/>
                    </a:lnTo>
                    <a:lnTo>
                      <a:pt x="258" y="654"/>
                    </a:lnTo>
                    <a:lnTo>
                      <a:pt x="202" y="691"/>
                    </a:lnTo>
                    <a:lnTo>
                      <a:pt x="201" y="711"/>
                    </a:lnTo>
                    <a:lnTo>
                      <a:pt x="224" y="729"/>
                    </a:lnTo>
                    <a:lnTo>
                      <a:pt x="225" y="759"/>
                    </a:lnTo>
                    <a:lnTo>
                      <a:pt x="205" y="770"/>
                    </a:lnTo>
                    <a:lnTo>
                      <a:pt x="205" y="803"/>
                    </a:lnTo>
                    <a:lnTo>
                      <a:pt x="223" y="835"/>
                    </a:lnTo>
                    <a:lnTo>
                      <a:pt x="201" y="837"/>
                    </a:lnTo>
                    <a:lnTo>
                      <a:pt x="242" y="917"/>
                    </a:lnTo>
                    <a:lnTo>
                      <a:pt x="266" y="919"/>
                    </a:lnTo>
                    <a:lnTo>
                      <a:pt x="275" y="958"/>
                    </a:lnTo>
                    <a:lnTo>
                      <a:pt x="287" y="969"/>
                    </a:lnTo>
                    <a:lnTo>
                      <a:pt x="286" y="998"/>
                    </a:lnTo>
                    <a:lnTo>
                      <a:pt x="311" y="980"/>
                    </a:lnTo>
                    <a:lnTo>
                      <a:pt x="314" y="936"/>
                    </a:lnTo>
                    <a:lnTo>
                      <a:pt x="329" y="957"/>
                    </a:lnTo>
                    <a:lnTo>
                      <a:pt x="354" y="922"/>
                    </a:lnTo>
                    <a:lnTo>
                      <a:pt x="430" y="855"/>
                    </a:lnTo>
                    <a:lnTo>
                      <a:pt x="461" y="849"/>
                    </a:lnTo>
                    <a:lnTo>
                      <a:pt x="466" y="868"/>
                    </a:lnTo>
                    <a:lnTo>
                      <a:pt x="489" y="839"/>
                    </a:lnTo>
                    <a:lnTo>
                      <a:pt x="508" y="842"/>
                    </a:lnTo>
                    <a:lnTo>
                      <a:pt x="524" y="875"/>
                    </a:lnTo>
                    <a:lnTo>
                      <a:pt x="556" y="863"/>
                    </a:lnTo>
                    <a:lnTo>
                      <a:pt x="570" y="878"/>
                    </a:lnTo>
                    <a:lnTo>
                      <a:pt x="586" y="866"/>
                    </a:lnTo>
                    <a:lnTo>
                      <a:pt x="574" y="842"/>
                    </a:lnTo>
                    <a:lnTo>
                      <a:pt x="615" y="815"/>
                    </a:lnTo>
                    <a:lnTo>
                      <a:pt x="654" y="815"/>
                    </a:lnTo>
                    <a:lnTo>
                      <a:pt x="700" y="756"/>
                    </a:lnTo>
                    <a:lnTo>
                      <a:pt x="690" y="738"/>
                    </a:lnTo>
                    <a:lnTo>
                      <a:pt x="713" y="720"/>
                    </a:lnTo>
                    <a:lnTo>
                      <a:pt x="704" y="589"/>
                    </a:lnTo>
                    <a:lnTo>
                      <a:pt x="693" y="589"/>
                    </a:lnTo>
                    <a:lnTo>
                      <a:pt x="681" y="603"/>
                    </a:lnTo>
                    <a:lnTo>
                      <a:pt x="680" y="562"/>
                    </a:lnTo>
                    <a:lnTo>
                      <a:pt x="656" y="441"/>
                    </a:lnTo>
                    <a:lnTo>
                      <a:pt x="630" y="415"/>
                    </a:lnTo>
                    <a:lnTo>
                      <a:pt x="628" y="338"/>
                    </a:lnTo>
                    <a:lnTo>
                      <a:pt x="526" y="211"/>
                    </a:lnTo>
                    <a:lnTo>
                      <a:pt x="435" y="115"/>
                    </a:lnTo>
                    <a:lnTo>
                      <a:pt x="372" y="0"/>
                    </a:lnTo>
                    <a:lnTo>
                      <a:pt x="304" y="44"/>
                    </a:lnTo>
                    <a:lnTo>
                      <a:pt x="186" y="54"/>
                    </a:lnTo>
                    <a:lnTo>
                      <a:pt x="125" y="108"/>
                    </a:lnTo>
                    <a:lnTo>
                      <a:pt x="65" y="123"/>
                    </a:lnTo>
                    <a:lnTo>
                      <a:pt x="14" y="175"/>
                    </a:lnTo>
                    <a:lnTo>
                      <a:pt x="0" y="214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7" name="íṡļiḋè"/>
              <p:cNvSpPr/>
              <p:nvPr/>
            </p:nvSpPr>
            <p:spPr bwMode="auto">
              <a:xfrm>
                <a:off x="2785867" y="4086741"/>
                <a:ext cx="58452" cy="201332"/>
              </a:xfrm>
              <a:custGeom>
                <a:avLst/>
                <a:gdLst>
                  <a:gd name="T0" fmla="*/ 149 w 367"/>
                  <a:gd name="T1" fmla="*/ 197 h 1241"/>
                  <a:gd name="T2" fmla="*/ 126 w 367"/>
                  <a:gd name="T3" fmla="*/ 135 h 1241"/>
                  <a:gd name="T4" fmla="*/ 153 w 367"/>
                  <a:gd name="T5" fmla="*/ 61 h 1241"/>
                  <a:gd name="T6" fmla="*/ 153 w 367"/>
                  <a:gd name="T7" fmla="*/ 20 h 1241"/>
                  <a:gd name="T8" fmla="*/ 113 w 367"/>
                  <a:gd name="T9" fmla="*/ 38 h 1241"/>
                  <a:gd name="T10" fmla="*/ 109 w 367"/>
                  <a:gd name="T11" fmla="*/ 115 h 1241"/>
                  <a:gd name="T12" fmla="*/ 96 w 367"/>
                  <a:gd name="T13" fmla="*/ 212 h 1241"/>
                  <a:gd name="T14" fmla="*/ 111 w 367"/>
                  <a:gd name="T15" fmla="*/ 227 h 1241"/>
                  <a:gd name="T16" fmla="*/ 117 w 367"/>
                  <a:gd name="T17" fmla="*/ 372 h 1241"/>
                  <a:gd name="T18" fmla="*/ 102 w 367"/>
                  <a:gd name="T19" fmla="*/ 319 h 1241"/>
                  <a:gd name="T20" fmla="*/ 133 w 367"/>
                  <a:gd name="T21" fmla="*/ 264 h 1241"/>
                  <a:gd name="T22" fmla="*/ 85 w 367"/>
                  <a:gd name="T23" fmla="*/ 264 h 1241"/>
                  <a:gd name="T24" fmla="*/ 74 w 367"/>
                  <a:gd name="T25" fmla="*/ 335 h 1241"/>
                  <a:gd name="T26" fmla="*/ 83 w 367"/>
                  <a:gd name="T27" fmla="*/ 403 h 1241"/>
                  <a:gd name="T28" fmla="*/ 93 w 367"/>
                  <a:gd name="T29" fmla="*/ 427 h 1241"/>
                  <a:gd name="T30" fmla="*/ 39 w 367"/>
                  <a:gd name="T31" fmla="*/ 401 h 1241"/>
                  <a:gd name="T32" fmla="*/ 0 w 367"/>
                  <a:gd name="T33" fmla="*/ 391 h 1241"/>
                  <a:gd name="T34" fmla="*/ 62 w 367"/>
                  <a:gd name="T35" fmla="*/ 585 h 1241"/>
                  <a:gd name="T36" fmla="*/ 113 w 367"/>
                  <a:gd name="T37" fmla="*/ 539 h 1241"/>
                  <a:gd name="T38" fmla="*/ 66 w 367"/>
                  <a:gd name="T39" fmla="*/ 518 h 1241"/>
                  <a:gd name="T40" fmla="*/ 62 w 367"/>
                  <a:gd name="T41" fmla="*/ 555 h 1241"/>
                  <a:gd name="T42" fmla="*/ 62 w 367"/>
                  <a:gd name="T43" fmla="*/ 585 h 1241"/>
                  <a:gd name="T44" fmla="*/ 130 w 367"/>
                  <a:gd name="T45" fmla="*/ 803 h 1241"/>
                  <a:gd name="T46" fmla="*/ 161 w 367"/>
                  <a:gd name="T47" fmla="*/ 794 h 1241"/>
                  <a:gd name="T48" fmla="*/ 202 w 367"/>
                  <a:gd name="T49" fmla="*/ 929 h 1241"/>
                  <a:gd name="T50" fmla="*/ 239 w 367"/>
                  <a:gd name="T51" fmla="*/ 982 h 1241"/>
                  <a:gd name="T52" fmla="*/ 212 w 367"/>
                  <a:gd name="T53" fmla="*/ 955 h 1241"/>
                  <a:gd name="T54" fmla="*/ 202 w 367"/>
                  <a:gd name="T55" fmla="*/ 929 h 1241"/>
                  <a:gd name="T56" fmla="*/ 293 w 367"/>
                  <a:gd name="T57" fmla="*/ 951 h 1241"/>
                  <a:gd name="T58" fmla="*/ 294 w 367"/>
                  <a:gd name="T59" fmla="*/ 1004 h 1241"/>
                  <a:gd name="T60" fmla="*/ 305 w 367"/>
                  <a:gd name="T61" fmla="*/ 963 h 1241"/>
                  <a:gd name="T62" fmla="*/ 293 w 367"/>
                  <a:gd name="T63" fmla="*/ 951 h 1241"/>
                  <a:gd name="T64" fmla="*/ 274 w 367"/>
                  <a:gd name="T65" fmla="*/ 1056 h 1241"/>
                  <a:gd name="T66" fmla="*/ 273 w 367"/>
                  <a:gd name="T67" fmla="*/ 1012 h 1241"/>
                  <a:gd name="T68" fmla="*/ 252 w 367"/>
                  <a:gd name="T69" fmla="*/ 1041 h 1241"/>
                  <a:gd name="T70" fmla="*/ 311 w 367"/>
                  <a:gd name="T71" fmla="*/ 1130 h 1241"/>
                  <a:gd name="T72" fmla="*/ 318 w 367"/>
                  <a:gd name="T73" fmla="*/ 1097 h 1241"/>
                  <a:gd name="T74" fmla="*/ 311 w 367"/>
                  <a:gd name="T75" fmla="*/ 1130 h 1241"/>
                  <a:gd name="T76" fmla="*/ 339 w 367"/>
                  <a:gd name="T77" fmla="*/ 1138 h 1241"/>
                  <a:gd name="T78" fmla="*/ 316 w 367"/>
                  <a:gd name="T79" fmla="*/ 1196 h 1241"/>
                  <a:gd name="T80" fmla="*/ 324 w 367"/>
                  <a:gd name="T81" fmla="*/ 1200 h 1241"/>
                  <a:gd name="T82" fmla="*/ 334 w 367"/>
                  <a:gd name="T83" fmla="*/ 1206 h 1241"/>
                  <a:gd name="T84" fmla="*/ 341 w 367"/>
                  <a:gd name="T85" fmla="*/ 1224 h 1241"/>
                  <a:gd name="T86" fmla="*/ 367 w 367"/>
                  <a:gd name="T87" fmla="*/ 1216 h 1241"/>
                  <a:gd name="T88" fmla="*/ 359 w 367"/>
                  <a:gd name="T89" fmla="*/ 1155 h 1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67" h="1241">
                    <a:moveTo>
                      <a:pt x="111" y="227"/>
                    </a:moveTo>
                    <a:lnTo>
                      <a:pt x="149" y="197"/>
                    </a:lnTo>
                    <a:lnTo>
                      <a:pt x="149" y="149"/>
                    </a:lnTo>
                    <a:lnTo>
                      <a:pt x="126" y="135"/>
                    </a:lnTo>
                    <a:lnTo>
                      <a:pt x="152" y="97"/>
                    </a:lnTo>
                    <a:lnTo>
                      <a:pt x="153" y="61"/>
                    </a:lnTo>
                    <a:lnTo>
                      <a:pt x="142" y="48"/>
                    </a:lnTo>
                    <a:lnTo>
                      <a:pt x="153" y="20"/>
                    </a:lnTo>
                    <a:lnTo>
                      <a:pt x="146" y="0"/>
                    </a:lnTo>
                    <a:lnTo>
                      <a:pt x="113" y="38"/>
                    </a:lnTo>
                    <a:lnTo>
                      <a:pt x="118" y="95"/>
                    </a:lnTo>
                    <a:lnTo>
                      <a:pt x="109" y="115"/>
                    </a:lnTo>
                    <a:lnTo>
                      <a:pt x="115" y="138"/>
                    </a:lnTo>
                    <a:lnTo>
                      <a:pt x="96" y="212"/>
                    </a:lnTo>
                    <a:lnTo>
                      <a:pt x="111" y="227"/>
                    </a:lnTo>
                    <a:lnTo>
                      <a:pt x="111" y="227"/>
                    </a:lnTo>
                    <a:close/>
                    <a:moveTo>
                      <a:pt x="93" y="427"/>
                    </a:moveTo>
                    <a:lnTo>
                      <a:pt x="117" y="372"/>
                    </a:lnTo>
                    <a:lnTo>
                      <a:pt x="114" y="340"/>
                    </a:lnTo>
                    <a:lnTo>
                      <a:pt x="102" y="319"/>
                    </a:lnTo>
                    <a:lnTo>
                      <a:pt x="113" y="282"/>
                    </a:lnTo>
                    <a:lnTo>
                      <a:pt x="133" y="264"/>
                    </a:lnTo>
                    <a:lnTo>
                      <a:pt x="133" y="248"/>
                    </a:lnTo>
                    <a:lnTo>
                      <a:pt x="85" y="264"/>
                    </a:lnTo>
                    <a:lnTo>
                      <a:pt x="85" y="314"/>
                    </a:lnTo>
                    <a:lnTo>
                      <a:pt x="74" y="335"/>
                    </a:lnTo>
                    <a:lnTo>
                      <a:pt x="93" y="375"/>
                    </a:lnTo>
                    <a:lnTo>
                      <a:pt x="83" y="403"/>
                    </a:lnTo>
                    <a:lnTo>
                      <a:pt x="93" y="427"/>
                    </a:lnTo>
                    <a:lnTo>
                      <a:pt x="93" y="427"/>
                    </a:lnTo>
                    <a:close/>
                    <a:moveTo>
                      <a:pt x="0" y="391"/>
                    </a:moveTo>
                    <a:lnTo>
                      <a:pt x="39" y="401"/>
                    </a:lnTo>
                    <a:lnTo>
                      <a:pt x="25" y="377"/>
                    </a:lnTo>
                    <a:lnTo>
                      <a:pt x="0" y="391"/>
                    </a:lnTo>
                    <a:lnTo>
                      <a:pt x="0" y="391"/>
                    </a:lnTo>
                    <a:close/>
                    <a:moveTo>
                      <a:pt x="62" y="585"/>
                    </a:moveTo>
                    <a:lnTo>
                      <a:pt x="96" y="584"/>
                    </a:lnTo>
                    <a:lnTo>
                      <a:pt x="113" y="539"/>
                    </a:lnTo>
                    <a:lnTo>
                      <a:pt x="102" y="500"/>
                    </a:lnTo>
                    <a:lnTo>
                      <a:pt x="66" y="518"/>
                    </a:lnTo>
                    <a:lnTo>
                      <a:pt x="62" y="555"/>
                    </a:lnTo>
                    <a:lnTo>
                      <a:pt x="62" y="555"/>
                    </a:lnTo>
                    <a:lnTo>
                      <a:pt x="62" y="585"/>
                    </a:lnTo>
                    <a:lnTo>
                      <a:pt x="62" y="585"/>
                    </a:lnTo>
                    <a:close/>
                    <a:moveTo>
                      <a:pt x="161" y="794"/>
                    </a:moveTo>
                    <a:lnTo>
                      <a:pt x="130" y="803"/>
                    </a:lnTo>
                    <a:lnTo>
                      <a:pt x="151" y="814"/>
                    </a:lnTo>
                    <a:lnTo>
                      <a:pt x="161" y="794"/>
                    </a:lnTo>
                    <a:lnTo>
                      <a:pt x="161" y="794"/>
                    </a:lnTo>
                    <a:close/>
                    <a:moveTo>
                      <a:pt x="202" y="929"/>
                    </a:moveTo>
                    <a:lnTo>
                      <a:pt x="227" y="935"/>
                    </a:lnTo>
                    <a:lnTo>
                      <a:pt x="239" y="982"/>
                    </a:lnTo>
                    <a:lnTo>
                      <a:pt x="212" y="955"/>
                    </a:lnTo>
                    <a:lnTo>
                      <a:pt x="212" y="955"/>
                    </a:lnTo>
                    <a:lnTo>
                      <a:pt x="208" y="943"/>
                    </a:lnTo>
                    <a:lnTo>
                      <a:pt x="202" y="929"/>
                    </a:lnTo>
                    <a:lnTo>
                      <a:pt x="202" y="929"/>
                    </a:lnTo>
                    <a:close/>
                    <a:moveTo>
                      <a:pt x="293" y="951"/>
                    </a:moveTo>
                    <a:lnTo>
                      <a:pt x="279" y="980"/>
                    </a:lnTo>
                    <a:lnTo>
                      <a:pt x="294" y="1004"/>
                    </a:lnTo>
                    <a:lnTo>
                      <a:pt x="306" y="990"/>
                    </a:lnTo>
                    <a:lnTo>
                      <a:pt x="305" y="963"/>
                    </a:lnTo>
                    <a:lnTo>
                      <a:pt x="293" y="951"/>
                    </a:lnTo>
                    <a:lnTo>
                      <a:pt x="293" y="951"/>
                    </a:lnTo>
                    <a:close/>
                    <a:moveTo>
                      <a:pt x="252" y="1041"/>
                    </a:moveTo>
                    <a:lnTo>
                      <a:pt x="274" y="1056"/>
                    </a:lnTo>
                    <a:lnTo>
                      <a:pt x="291" y="1044"/>
                    </a:lnTo>
                    <a:lnTo>
                      <a:pt x="273" y="1012"/>
                    </a:lnTo>
                    <a:lnTo>
                      <a:pt x="243" y="1018"/>
                    </a:lnTo>
                    <a:lnTo>
                      <a:pt x="252" y="1041"/>
                    </a:lnTo>
                    <a:lnTo>
                      <a:pt x="252" y="1041"/>
                    </a:lnTo>
                    <a:close/>
                    <a:moveTo>
                      <a:pt x="311" y="1130"/>
                    </a:moveTo>
                    <a:lnTo>
                      <a:pt x="337" y="1098"/>
                    </a:lnTo>
                    <a:lnTo>
                      <a:pt x="318" y="1097"/>
                    </a:lnTo>
                    <a:lnTo>
                      <a:pt x="300" y="1120"/>
                    </a:lnTo>
                    <a:lnTo>
                      <a:pt x="311" y="1130"/>
                    </a:lnTo>
                    <a:lnTo>
                      <a:pt x="311" y="1130"/>
                    </a:lnTo>
                    <a:close/>
                    <a:moveTo>
                      <a:pt x="339" y="1138"/>
                    </a:moveTo>
                    <a:lnTo>
                      <a:pt x="315" y="1162"/>
                    </a:lnTo>
                    <a:lnTo>
                      <a:pt x="316" y="1196"/>
                    </a:lnTo>
                    <a:lnTo>
                      <a:pt x="316" y="1196"/>
                    </a:lnTo>
                    <a:lnTo>
                      <a:pt x="324" y="1200"/>
                    </a:lnTo>
                    <a:lnTo>
                      <a:pt x="330" y="1203"/>
                    </a:lnTo>
                    <a:lnTo>
                      <a:pt x="334" y="1206"/>
                    </a:lnTo>
                    <a:lnTo>
                      <a:pt x="334" y="1206"/>
                    </a:lnTo>
                    <a:lnTo>
                      <a:pt x="341" y="1224"/>
                    </a:lnTo>
                    <a:lnTo>
                      <a:pt x="347" y="1241"/>
                    </a:lnTo>
                    <a:lnTo>
                      <a:pt x="367" y="1216"/>
                    </a:lnTo>
                    <a:lnTo>
                      <a:pt x="358" y="1188"/>
                    </a:lnTo>
                    <a:lnTo>
                      <a:pt x="359" y="1155"/>
                    </a:lnTo>
                    <a:lnTo>
                      <a:pt x="339" y="1138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8" name="íṩḷïdè"/>
              <p:cNvSpPr/>
              <p:nvPr/>
            </p:nvSpPr>
            <p:spPr bwMode="auto">
              <a:xfrm>
                <a:off x="831000" y="1038184"/>
                <a:ext cx="3661643" cy="2206859"/>
              </a:xfrm>
              <a:custGeom>
                <a:avLst/>
                <a:gdLst>
                  <a:gd name="T0" fmla="*/ 17394 w 22552"/>
                  <a:gd name="T1" fmla="*/ 11082 h 13597"/>
                  <a:gd name="T2" fmla="*/ 15887 w 22552"/>
                  <a:gd name="T3" fmla="*/ 9845 h 13597"/>
                  <a:gd name="T4" fmla="*/ 14538 w 22552"/>
                  <a:gd name="T5" fmla="*/ 10804 h 13597"/>
                  <a:gd name="T6" fmla="*/ 11625 w 22552"/>
                  <a:gd name="T7" fmla="*/ 10983 h 13597"/>
                  <a:gd name="T8" fmla="*/ 8982 w 22552"/>
                  <a:gd name="T9" fmla="*/ 11113 h 13597"/>
                  <a:gd name="T10" fmla="*/ 6219 w 22552"/>
                  <a:gd name="T11" fmla="*/ 10366 h 13597"/>
                  <a:gd name="T12" fmla="*/ 4710 w 22552"/>
                  <a:gd name="T13" fmla="*/ 11439 h 13597"/>
                  <a:gd name="T14" fmla="*/ 3792 w 22552"/>
                  <a:gd name="T15" fmla="*/ 12563 h 13597"/>
                  <a:gd name="T16" fmla="*/ 2156 w 22552"/>
                  <a:gd name="T17" fmla="*/ 12715 h 13597"/>
                  <a:gd name="T18" fmla="*/ 864 w 22552"/>
                  <a:gd name="T19" fmla="*/ 10416 h 13597"/>
                  <a:gd name="T20" fmla="*/ 230 w 22552"/>
                  <a:gd name="T21" fmla="*/ 7275 h 13597"/>
                  <a:gd name="T22" fmla="*/ 1328 w 22552"/>
                  <a:gd name="T23" fmla="*/ 6694 h 13597"/>
                  <a:gd name="T24" fmla="*/ 998 w 22552"/>
                  <a:gd name="T25" fmla="*/ 7688 h 13597"/>
                  <a:gd name="T26" fmla="*/ 2205 w 22552"/>
                  <a:gd name="T27" fmla="*/ 6808 h 13597"/>
                  <a:gd name="T28" fmla="*/ 3533 w 22552"/>
                  <a:gd name="T29" fmla="*/ 6585 h 13597"/>
                  <a:gd name="T30" fmla="*/ 5523 w 22552"/>
                  <a:gd name="T31" fmla="*/ 6120 h 13597"/>
                  <a:gd name="T32" fmla="*/ 6078 w 22552"/>
                  <a:gd name="T33" fmla="*/ 6084 h 13597"/>
                  <a:gd name="T34" fmla="*/ 6819 w 22552"/>
                  <a:gd name="T35" fmla="*/ 6276 h 13597"/>
                  <a:gd name="T36" fmla="*/ 6236 w 22552"/>
                  <a:gd name="T37" fmla="*/ 4894 h 13597"/>
                  <a:gd name="T38" fmla="*/ 6627 w 22552"/>
                  <a:gd name="T39" fmla="*/ 4562 h 13597"/>
                  <a:gd name="T40" fmla="*/ 7079 w 22552"/>
                  <a:gd name="T41" fmla="*/ 2982 h 13597"/>
                  <a:gd name="T42" fmla="*/ 8014 w 22552"/>
                  <a:gd name="T43" fmla="*/ 1928 h 13597"/>
                  <a:gd name="T44" fmla="*/ 9784 w 22552"/>
                  <a:gd name="T45" fmla="*/ 2015 h 13597"/>
                  <a:gd name="T46" fmla="*/ 9987 w 22552"/>
                  <a:gd name="T47" fmla="*/ 3265 h 13597"/>
                  <a:gd name="T48" fmla="*/ 11983 w 22552"/>
                  <a:gd name="T49" fmla="*/ 2575 h 13597"/>
                  <a:gd name="T50" fmla="*/ 13411 w 22552"/>
                  <a:gd name="T51" fmla="*/ 3267 h 13597"/>
                  <a:gd name="T52" fmla="*/ 14750 w 22552"/>
                  <a:gd name="T53" fmla="*/ 2374 h 13597"/>
                  <a:gd name="T54" fmla="*/ 17496 w 22552"/>
                  <a:gd name="T55" fmla="*/ 2725 h 13597"/>
                  <a:gd name="T56" fmla="*/ 19280 w 22552"/>
                  <a:gd name="T57" fmla="*/ 1923 h 13597"/>
                  <a:gd name="T58" fmla="*/ 21825 w 22552"/>
                  <a:gd name="T59" fmla="*/ 2399 h 13597"/>
                  <a:gd name="T60" fmla="*/ 22483 w 22552"/>
                  <a:gd name="T61" fmla="*/ 2980 h 13597"/>
                  <a:gd name="T62" fmla="*/ 21357 w 22552"/>
                  <a:gd name="T63" fmla="*/ 3888 h 13597"/>
                  <a:gd name="T64" fmla="*/ 21684 w 22552"/>
                  <a:gd name="T65" fmla="*/ 5309 h 13597"/>
                  <a:gd name="T66" fmla="*/ 20643 w 22552"/>
                  <a:gd name="T67" fmla="*/ 6898 h 13597"/>
                  <a:gd name="T68" fmla="*/ 21078 w 22552"/>
                  <a:gd name="T69" fmla="*/ 9174 h 13597"/>
                  <a:gd name="T70" fmla="*/ 20269 w 22552"/>
                  <a:gd name="T71" fmla="*/ 5812 h 13597"/>
                  <a:gd name="T72" fmla="*/ 19459 w 22552"/>
                  <a:gd name="T73" fmla="*/ 5952 h 13597"/>
                  <a:gd name="T74" fmla="*/ 18475 w 22552"/>
                  <a:gd name="T75" fmla="*/ 7061 h 13597"/>
                  <a:gd name="T76" fmla="*/ 17575 w 22552"/>
                  <a:gd name="T77" fmla="*/ 9189 h 13597"/>
                  <a:gd name="T78" fmla="*/ 18410 w 22552"/>
                  <a:gd name="T79" fmla="*/ 11348 h 13597"/>
                  <a:gd name="T80" fmla="*/ 3233 w 22552"/>
                  <a:gd name="T81" fmla="*/ 3626 h 13597"/>
                  <a:gd name="T82" fmla="*/ 4354 w 22552"/>
                  <a:gd name="T83" fmla="*/ 3206 h 13597"/>
                  <a:gd name="T84" fmla="*/ 3029 w 22552"/>
                  <a:gd name="T85" fmla="*/ 4070 h 13597"/>
                  <a:gd name="T86" fmla="*/ 3712 w 22552"/>
                  <a:gd name="T87" fmla="*/ 5651 h 13597"/>
                  <a:gd name="T88" fmla="*/ 3271 w 22552"/>
                  <a:gd name="T89" fmla="*/ 5575 h 13597"/>
                  <a:gd name="T90" fmla="*/ 3138 w 22552"/>
                  <a:gd name="T91" fmla="*/ 6549 h 13597"/>
                  <a:gd name="T92" fmla="*/ 4121 w 22552"/>
                  <a:gd name="T93" fmla="*/ 5848 h 13597"/>
                  <a:gd name="T94" fmla="*/ 5733 w 22552"/>
                  <a:gd name="T95" fmla="*/ 4209 h 13597"/>
                  <a:gd name="T96" fmla="*/ 6074 w 22552"/>
                  <a:gd name="T97" fmla="*/ 2998 h 13597"/>
                  <a:gd name="T98" fmla="*/ 6719 w 22552"/>
                  <a:gd name="T99" fmla="*/ 1907 h 13597"/>
                  <a:gd name="T100" fmla="*/ 4501 w 22552"/>
                  <a:gd name="T101" fmla="*/ 1529 h 13597"/>
                  <a:gd name="T102" fmla="*/ 6068 w 22552"/>
                  <a:gd name="T103" fmla="*/ 792 h 13597"/>
                  <a:gd name="T104" fmla="*/ 7142 w 22552"/>
                  <a:gd name="T105" fmla="*/ 977 h 13597"/>
                  <a:gd name="T106" fmla="*/ 13272 w 22552"/>
                  <a:gd name="T107" fmla="*/ 948 h 13597"/>
                  <a:gd name="T108" fmla="*/ 13664 w 22552"/>
                  <a:gd name="T109" fmla="*/ 807 h 13597"/>
                  <a:gd name="T110" fmla="*/ 7410 w 22552"/>
                  <a:gd name="T111" fmla="*/ 1194 h 13597"/>
                  <a:gd name="T112" fmla="*/ 10172 w 22552"/>
                  <a:gd name="T113" fmla="*/ 2837 h 13597"/>
                  <a:gd name="T114" fmla="*/ 17852 w 22552"/>
                  <a:gd name="T115" fmla="*/ 2771 h 13597"/>
                  <a:gd name="T116" fmla="*/ 19206 w 22552"/>
                  <a:gd name="T117" fmla="*/ 10508 h 13597"/>
                  <a:gd name="T118" fmla="*/ 18768 w 22552"/>
                  <a:gd name="T119" fmla="*/ 10415 h 13597"/>
                  <a:gd name="T120" fmla="*/ 20869 w 22552"/>
                  <a:gd name="T121" fmla="*/ 6933 h 13597"/>
                  <a:gd name="T122" fmla="*/ 20760 w 22552"/>
                  <a:gd name="T123" fmla="*/ 9869 h 13597"/>
                  <a:gd name="T124" fmla="*/ 20133 w 22552"/>
                  <a:gd name="T125" fmla="*/ 11535 h 13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552" h="13597">
                    <a:moveTo>
                      <a:pt x="17494" y="12489"/>
                    </a:moveTo>
                    <a:lnTo>
                      <a:pt x="17491" y="12485"/>
                    </a:lnTo>
                    <a:lnTo>
                      <a:pt x="17461" y="12457"/>
                    </a:lnTo>
                    <a:lnTo>
                      <a:pt x="17462" y="12457"/>
                    </a:lnTo>
                    <a:lnTo>
                      <a:pt x="17469" y="12439"/>
                    </a:lnTo>
                    <a:lnTo>
                      <a:pt x="17469" y="12419"/>
                    </a:lnTo>
                    <a:lnTo>
                      <a:pt x="17456" y="12411"/>
                    </a:lnTo>
                    <a:lnTo>
                      <a:pt x="17451" y="12382"/>
                    </a:lnTo>
                    <a:lnTo>
                      <a:pt x="17452" y="12369"/>
                    </a:lnTo>
                    <a:lnTo>
                      <a:pt x="17472" y="12356"/>
                    </a:lnTo>
                    <a:lnTo>
                      <a:pt x="17512" y="12362"/>
                    </a:lnTo>
                    <a:lnTo>
                      <a:pt x="17525" y="12358"/>
                    </a:lnTo>
                    <a:lnTo>
                      <a:pt x="17525" y="12329"/>
                    </a:lnTo>
                    <a:lnTo>
                      <a:pt x="17520" y="12311"/>
                    </a:lnTo>
                    <a:lnTo>
                      <a:pt x="17522" y="12289"/>
                    </a:lnTo>
                    <a:lnTo>
                      <a:pt x="17530" y="12272"/>
                    </a:lnTo>
                    <a:lnTo>
                      <a:pt x="17529" y="12241"/>
                    </a:lnTo>
                    <a:lnTo>
                      <a:pt x="17527" y="12210"/>
                    </a:lnTo>
                    <a:lnTo>
                      <a:pt x="17506" y="12196"/>
                    </a:lnTo>
                    <a:lnTo>
                      <a:pt x="17506" y="12137"/>
                    </a:lnTo>
                    <a:lnTo>
                      <a:pt x="17503" y="12109"/>
                    </a:lnTo>
                    <a:lnTo>
                      <a:pt x="17499" y="12068"/>
                    </a:lnTo>
                    <a:lnTo>
                      <a:pt x="17500" y="12037"/>
                    </a:lnTo>
                    <a:lnTo>
                      <a:pt x="17478" y="12007"/>
                    </a:lnTo>
                    <a:lnTo>
                      <a:pt x="17467" y="11986"/>
                    </a:lnTo>
                    <a:lnTo>
                      <a:pt x="17459" y="11961"/>
                    </a:lnTo>
                    <a:lnTo>
                      <a:pt x="17419" y="11898"/>
                    </a:lnTo>
                    <a:lnTo>
                      <a:pt x="17406" y="11870"/>
                    </a:lnTo>
                    <a:lnTo>
                      <a:pt x="17414" y="11855"/>
                    </a:lnTo>
                    <a:lnTo>
                      <a:pt x="17435" y="11840"/>
                    </a:lnTo>
                    <a:lnTo>
                      <a:pt x="17455" y="11838"/>
                    </a:lnTo>
                    <a:lnTo>
                      <a:pt x="17471" y="11817"/>
                    </a:lnTo>
                    <a:lnTo>
                      <a:pt x="17478" y="11794"/>
                    </a:lnTo>
                    <a:lnTo>
                      <a:pt x="17509" y="11746"/>
                    </a:lnTo>
                    <a:lnTo>
                      <a:pt x="17523" y="11742"/>
                    </a:lnTo>
                    <a:lnTo>
                      <a:pt x="17550" y="11749"/>
                    </a:lnTo>
                    <a:lnTo>
                      <a:pt x="17572" y="11757"/>
                    </a:lnTo>
                    <a:lnTo>
                      <a:pt x="17681" y="11778"/>
                    </a:lnTo>
                    <a:lnTo>
                      <a:pt x="17697" y="11783"/>
                    </a:lnTo>
                    <a:lnTo>
                      <a:pt x="17717" y="11783"/>
                    </a:lnTo>
                    <a:lnTo>
                      <a:pt x="17730" y="11765"/>
                    </a:lnTo>
                    <a:lnTo>
                      <a:pt x="17726" y="11741"/>
                    </a:lnTo>
                    <a:lnTo>
                      <a:pt x="17715" y="11721"/>
                    </a:lnTo>
                    <a:lnTo>
                      <a:pt x="17713" y="11704"/>
                    </a:lnTo>
                    <a:lnTo>
                      <a:pt x="17719" y="11690"/>
                    </a:lnTo>
                    <a:lnTo>
                      <a:pt x="17713" y="11673"/>
                    </a:lnTo>
                    <a:lnTo>
                      <a:pt x="17709" y="11653"/>
                    </a:lnTo>
                    <a:lnTo>
                      <a:pt x="17723" y="11619"/>
                    </a:lnTo>
                    <a:lnTo>
                      <a:pt x="17734" y="11607"/>
                    </a:lnTo>
                    <a:lnTo>
                      <a:pt x="17729" y="11580"/>
                    </a:lnTo>
                    <a:lnTo>
                      <a:pt x="17719" y="11563"/>
                    </a:lnTo>
                    <a:lnTo>
                      <a:pt x="17724" y="11553"/>
                    </a:lnTo>
                    <a:lnTo>
                      <a:pt x="17748" y="11541"/>
                    </a:lnTo>
                    <a:lnTo>
                      <a:pt x="17738" y="11525"/>
                    </a:lnTo>
                    <a:lnTo>
                      <a:pt x="17738" y="11506"/>
                    </a:lnTo>
                    <a:lnTo>
                      <a:pt x="17727" y="11488"/>
                    </a:lnTo>
                    <a:lnTo>
                      <a:pt x="17734" y="11465"/>
                    </a:lnTo>
                    <a:lnTo>
                      <a:pt x="17751" y="11453"/>
                    </a:lnTo>
                    <a:lnTo>
                      <a:pt x="17751" y="11439"/>
                    </a:lnTo>
                    <a:lnTo>
                      <a:pt x="17741" y="11421"/>
                    </a:lnTo>
                    <a:lnTo>
                      <a:pt x="17729" y="11386"/>
                    </a:lnTo>
                    <a:lnTo>
                      <a:pt x="17726" y="11346"/>
                    </a:lnTo>
                    <a:lnTo>
                      <a:pt x="17737" y="11341"/>
                    </a:lnTo>
                    <a:lnTo>
                      <a:pt x="17745" y="11334"/>
                    </a:lnTo>
                    <a:lnTo>
                      <a:pt x="17743" y="11321"/>
                    </a:lnTo>
                    <a:lnTo>
                      <a:pt x="17736" y="11309"/>
                    </a:lnTo>
                    <a:lnTo>
                      <a:pt x="17738" y="11289"/>
                    </a:lnTo>
                    <a:lnTo>
                      <a:pt x="17723" y="11279"/>
                    </a:lnTo>
                    <a:lnTo>
                      <a:pt x="17712" y="11264"/>
                    </a:lnTo>
                    <a:lnTo>
                      <a:pt x="17722" y="11239"/>
                    </a:lnTo>
                    <a:lnTo>
                      <a:pt x="17724" y="11210"/>
                    </a:lnTo>
                    <a:lnTo>
                      <a:pt x="17717" y="11202"/>
                    </a:lnTo>
                    <a:lnTo>
                      <a:pt x="17701" y="11181"/>
                    </a:lnTo>
                    <a:lnTo>
                      <a:pt x="17701" y="11166"/>
                    </a:lnTo>
                    <a:lnTo>
                      <a:pt x="17725" y="11137"/>
                    </a:lnTo>
                    <a:lnTo>
                      <a:pt x="17751" y="11132"/>
                    </a:lnTo>
                    <a:lnTo>
                      <a:pt x="17758" y="11119"/>
                    </a:lnTo>
                    <a:lnTo>
                      <a:pt x="17759" y="11089"/>
                    </a:lnTo>
                    <a:lnTo>
                      <a:pt x="17766" y="11053"/>
                    </a:lnTo>
                    <a:lnTo>
                      <a:pt x="17746" y="11041"/>
                    </a:lnTo>
                    <a:lnTo>
                      <a:pt x="17729" y="11024"/>
                    </a:lnTo>
                    <a:lnTo>
                      <a:pt x="17726" y="11000"/>
                    </a:lnTo>
                    <a:lnTo>
                      <a:pt x="17697" y="10969"/>
                    </a:lnTo>
                    <a:lnTo>
                      <a:pt x="17691" y="10951"/>
                    </a:lnTo>
                    <a:lnTo>
                      <a:pt x="17709" y="10935"/>
                    </a:lnTo>
                    <a:lnTo>
                      <a:pt x="17691" y="10904"/>
                    </a:lnTo>
                    <a:lnTo>
                      <a:pt x="17681" y="10885"/>
                    </a:lnTo>
                    <a:lnTo>
                      <a:pt x="17653" y="10884"/>
                    </a:lnTo>
                    <a:lnTo>
                      <a:pt x="17635" y="10870"/>
                    </a:lnTo>
                    <a:lnTo>
                      <a:pt x="17602" y="10858"/>
                    </a:lnTo>
                    <a:lnTo>
                      <a:pt x="17585" y="10875"/>
                    </a:lnTo>
                    <a:lnTo>
                      <a:pt x="17557" y="10878"/>
                    </a:lnTo>
                    <a:lnTo>
                      <a:pt x="17538" y="10895"/>
                    </a:lnTo>
                    <a:lnTo>
                      <a:pt x="17534" y="10921"/>
                    </a:lnTo>
                    <a:lnTo>
                      <a:pt x="17516" y="10927"/>
                    </a:lnTo>
                    <a:lnTo>
                      <a:pt x="17499" y="10931"/>
                    </a:lnTo>
                    <a:lnTo>
                      <a:pt x="17489" y="10965"/>
                    </a:lnTo>
                    <a:lnTo>
                      <a:pt x="17455" y="10965"/>
                    </a:lnTo>
                    <a:lnTo>
                      <a:pt x="17433" y="10968"/>
                    </a:lnTo>
                    <a:lnTo>
                      <a:pt x="17423" y="10993"/>
                    </a:lnTo>
                    <a:lnTo>
                      <a:pt x="17423" y="11020"/>
                    </a:lnTo>
                    <a:lnTo>
                      <a:pt x="17400" y="11031"/>
                    </a:lnTo>
                    <a:lnTo>
                      <a:pt x="17392" y="11063"/>
                    </a:lnTo>
                    <a:lnTo>
                      <a:pt x="17394" y="11082"/>
                    </a:lnTo>
                    <a:lnTo>
                      <a:pt x="17377" y="11090"/>
                    </a:lnTo>
                    <a:lnTo>
                      <a:pt x="17355" y="11110"/>
                    </a:lnTo>
                    <a:lnTo>
                      <a:pt x="17307" y="11119"/>
                    </a:lnTo>
                    <a:lnTo>
                      <a:pt x="17290" y="11125"/>
                    </a:lnTo>
                    <a:lnTo>
                      <a:pt x="17266" y="11119"/>
                    </a:lnTo>
                    <a:lnTo>
                      <a:pt x="17252" y="11133"/>
                    </a:lnTo>
                    <a:lnTo>
                      <a:pt x="17231" y="11140"/>
                    </a:lnTo>
                    <a:lnTo>
                      <a:pt x="17222" y="11118"/>
                    </a:lnTo>
                    <a:lnTo>
                      <a:pt x="17207" y="11095"/>
                    </a:lnTo>
                    <a:lnTo>
                      <a:pt x="17182" y="11095"/>
                    </a:lnTo>
                    <a:lnTo>
                      <a:pt x="17160" y="11112"/>
                    </a:lnTo>
                    <a:lnTo>
                      <a:pt x="17133" y="11119"/>
                    </a:lnTo>
                    <a:lnTo>
                      <a:pt x="17125" y="11101"/>
                    </a:lnTo>
                    <a:lnTo>
                      <a:pt x="17097" y="11067"/>
                    </a:lnTo>
                    <a:lnTo>
                      <a:pt x="17083" y="11058"/>
                    </a:lnTo>
                    <a:lnTo>
                      <a:pt x="17050" y="11017"/>
                    </a:lnTo>
                    <a:lnTo>
                      <a:pt x="17050" y="10992"/>
                    </a:lnTo>
                    <a:lnTo>
                      <a:pt x="17058" y="10982"/>
                    </a:lnTo>
                    <a:lnTo>
                      <a:pt x="17063" y="10950"/>
                    </a:lnTo>
                    <a:lnTo>
                      <a:pt x="17053" y="10922"/>
                    </a:lnTo>
                    <a:lnTo>
                      <a:pt x="17046" y="10892"/>
                    </a:lnTo>
                    <a:lnTo>
                      <a:pt x="17018" y="10894"/>
                    </a:lnTo>
                    <a:lnTo>
                      <a:pt x="17015" y="10874"/>
                    </a:lnTo>
                    <a:lnTo>
                      <a:pt x="17014" y="10850"/>
                    </a:lnTo>
                    <a:lnTo>
                      <a:pt x="17028" y="10830"/>
                    </a:lnTo>
                    <a:lnTo>
                      <a:pt x="17032" y="10807"/>
                    </a:lnTo>
                    <a:lnTo>
                      <a:pt x="17019" y="10801"/>
                    </a:lnTo>
                    <a:lnTo>
                      <a:pt x="17006" y="10804"/>
                    </a:lnTo>
                    <a:lnTo>
                      <a:pt x="16987" y="10818"/>
                    </a:lnTo>
                    <a:lnTo>
                      <a:pt x="16968" y="10820"/>
                    </a:lnTo>
                    <a:lnTo>
                      <a:pt x="16949" y="10825"/>
                    </a:lnTo>
                    <a:lnTo>
                      <a:pt x="16926" y="10821"/>
                    </a:lnTo>
                    <a:lnTo>
                      <a:pt x="16908" y="10807"/>
                    </a:lnTo>
                    <a:lnTo>
                      <a:pt x="16892" y="10805"/>
                    </a:lnTo>
                    <a:lnTo>
                      <a:pt x="16883" y="10797"/>
                    </a:lnTo>
                    <a:lnTo>
                      <a:pt x="16846" y="10781"/>
                    </a:lnTo>
                    <a:lnTo>
                      <a:pt x="16842" y="10764"/>
                    </a:lnTo>
                    <a:lnTo>
                      <a:pt x="16827" y="10748"/>
                    </a:lnTo>
                    <a:lnTo>
                      <a:pt x="16818" y="10749"/>
                    </a:lnTo>
                    <a:lnTo>
                      <a:pt x="16799" y="10733"/>
                    </a:lnTo>
                    <a:lnTo>
                      <a:pt x="16794" y="10717"/>
                    </a:lnTo>
                    <a:lnTo>
                      <a:pt x="16775" y="10715"/>
                    </a:lnTo>
                    <a:lnTo>
                      <a:pt x="16758" y="10694"/>
                    </a:lnTo>
                    <a:lnTo>
                      <a:pt x="16751" y="10675"/>
                    </a:lnTo>
                    <a:lnTo>
                      <a:pt x="16738" y="10662"/>
                    </a:lnTo>
                    <a:lnTo>
                      <a:pt x="16721" y="10664"/>
                    </a:lnTo>
                    <a:lnTo>
                      <a:pt x="16714" y="10685"/>
                    </a:lnTo>
                    <a:lnTo>
                      <a:pt x="16696" y="10680"/>
                    </a:lnTo>
                    <a:lnTo>
                      <a:pt x="16679" y="10687"/>
                    </a:lnTo>
                    <a:lnTo>
                      <a:pt x="16674" y="10700"/>
                    </a:lnTo>
                    <a:lnTo>
                      <a:pt x="16653" y="10687"/>
                    </a:lnTo>
                    <a:lnTo>
                      <a:pt x="16642" y="10674"/>
                    </a:lnTo>
                    <a:lnTo>
                      <a:pt x="16624" y="10664"/>
                    </a:lnTo>
                    <a:lnTo>
                      <a:pt x="16586" y="10661"/>
                    </a:lnTo>
                    <a:lnTo>
                      <a:pt x="16575" y="10651"/>
                    </a:lnTo>
                    <a:lnTo>
                      <a:pt x="16589" y="10637"/>
                    </a:lnTo>
                    <a:lnTo>
                      <a:pt x="16589" y="10627"/>
                    </a:lnTo>
                    <a:lnTo>
                      <a:pt x="16566" y="10627"/>
                    </a:lnTo>
                    <a:lnTo>
                      <a:pt x="16547" y="10643"/>
                    </a:lnTo>
                    <a:lnTo>
                      <a:pt x="16511" y="10638"/>
                    </a:lnTo>
                    <a:lnTo>
                      <a:pt x="16498" y="10645"/>
                    </a:lnTo>
                    <a:lnTo>
                      <a:pt x="16481" y="10636"/>
                    </a:lnTo>
                    <a:lnTo>
                      <a:pt x="16463" y="10642"/>
                    </a:lnTo>
                    <a:lnTo>
                      <a:pt x="16442" y="10638"/>
                    </a:lnTo>
                    <a:lnTo>
                      <a:pt x="16429" y="10615"/>
                    </a:lnTo>
                    <a:lnTo>
                      <a:pt x="16400" y="10606"/>
                    </a:lnTo>
                    <a:lnTo>
                      <a:pt x="16362" y="10566"/>
                    </a:lnTo>
                    <a:lnTo>
                      <a:pt x="16344" y="10533"/>
                    </a:lnTo>
                    <a:lnTo>
                      <a:pt x="16347" y="10509"/>
                    </a:lnTo>
                    <a:lnTo>
                      <a:pt x="16340" y="10479"/>
                    </a:lnTo>
                    <a:lnTo>
                      <a:pt x="16321" y="10476"/>
                    </a:lnTo>
                    <a:lnTo>
                      <a:pt x="16302" y="10465"/>
                    </a:lnTo>
                    <a:lnTo>
                      <a:pt x="16300" y="10430"/>
                    </a:lnTo>
                    <a:lnTo>
                      <a:pt x="16287" y="10420"/>
                    </a:lnTo>
                    <a:lnTo>
                      <a:pt x="16280" y="10385"/>
                    </a:lnTo>
                    <a:lnTo>
                      <a:pt x="16270" y="10353"/>
                    </a:lnTo>
                    <a:lnTo>
                      <a:pt x="16208" y="10313"/>
                    </a:lnTo>
                    <a:lnTo>
                      <a:pt x="16175" y="10270"/>
                    </a:lnTo>
                    <a:lnTo>
                      <a:pt x="16171" y="10248"/>
                    </a:lnTo>
                    <a:lnTo>
                      <a:pt x="16155" y="10221"/>
                    </a:lnTo>
                    <a:lnTo>
                      <a:pt x="16138" y="10230"/>
                    </a:lnTo>
                    <a:lnTo>
                      <a:pt x="16128" y="10224"/>
                    </a:lnTo>
                    <a:lnTo>
                      <a:pt x="16133" y="10205"/>
                    </a:lnTo>
                    <a:lnTo>
                      <a:pt x="16134" y="10191"/>
                    </a:lnTo>
                    <a:lnTo>
                      <a:pt x="16113" y="10174"/>
                    </a:lnTo>
                    <a:lnTo>
                      <a:pt x="16101" y="10145"/>
                    </a:lnTo>
                    <a:lnTo>
                      <a:pt x="16085" y="10137"/>
                    </a:lnTo>
                    <a:lnTo>
                      <a:pt x="16079" y="10112"/>
                    </a:lnTo>
                    <a:lnTo>
                      <a:pt x="16057" y="10086"/>
                    </a:lnTo>
                    <a:lnTo>
                      <a:pt x="16043" y="10057"/>
                    </a:lnTo>
                    <a:lnTo>
                      <a:pt x="16004" y="10033"/>
                    </a:lnTo>
                    <a:lnTo>
                      <a:pt x="16001" y="10015"/>
                    </a:lnTo>
                    <a:lnTo>
                      <a:pt x="16010" y="9992"/>
                    </a:lnTo>
                    <a:lnTo>
                      <a:pt x="16006" y="9973"/>
                    </a:lnTo>
                    <a:lnTo>
                      <a:pt x="15962" y="9971"/>
                    </a:lnTo>
                    <a:lnTo>
                      <a:pt x="15954" y="9959"/>
                    </a:lnTo>
                    <a:lnTo>
                      <a:pt x="15954" y="9943"/>
                    </a:lnTo>
                    <a:lnTo>
                      <a:pt x="15946" y="9922"/>
                    </a:lnTo>
                    <a:lnTo>
                      <a:pt x="15944" y="9899"/>
                    </a:lnTo>
                    <a:lnTo>
                      <a:pt x="15933" y="9879"/>
                    </a:lnTo>
                    <a:lnTo>
                      <a:pt x="15915" y="9870"/>
                    </a:lnTo>
                    <a:lnTo>
                      <a:pt x="15915" y="9853"/>
                    </a:lnTo>
                    <a:lnTo>
                      <a:pt x="15903" y="9842"/>
                    </a:lnTo>
                    <a:lnTo>
                      <a:pt x="15887" y="9845"/>
                    </a:lnTo>
                    <a:lnTo>
                      <a:pt x="15859" y="9837"/>
                    </a:lnTo>
                    <a:lnTo>
                      <a:pt x="15851" y="9821"/>
                    </a:lnTo>
                    <a:lnTo>
                      <a:pt x="15860" y="9805"/>
                    </a:lnTo>
                    <a:lnTo>
                      <a:pt x="15854" y="9790"/>
                    </a:lnTo>
                    <a:lnTo>
                      <a:pt x="15831" y="9784"/>
                    </a:lnTo>
                    <a:lnTo>
                      <a:pt x="15814" y="9799"/>
                    </a:lnTo>
                    <a:lnTo>
                      <a:pt x="15805" y="9786"/>
                    </a:lnTo>
                    <a:lnTo>
                      <a:pt x="15786" y="9784"/>
                    </a:lnTo>
                    <a:lnTo>
                      <a:pt x="15781" y="9767"/>
                    </a:lnTo>
                    <a:lnTo>
                      <a:pt x="15785" y="9750"/>
                    </a:lnTo>
                    <a:lnTo>
                      <a:pt x="15775" y="9734"/>
                    </a:lnTo>
                    <a:lnTo>
                      <a:pt x="15752" y="9726"/>
                    </a:lnTo>
                    <a:lnTo>
                      <a:pt x="15735" y="9728"/>
                    </a:lnTo>
                    <a:lnTo>
                      <a:pt x="15717" y="9708"/>
                    </a:lnTo>
                    <a:lnTo>
                      <a:pt x="15705" y="9714"/>
                    </a:lnTo>
                    <a:lnTo>
                      <a:pt x="15680" y="9714"/>
                    </a:lnTo>
                    <a:lnTo>
                      <a:pt x="15666" y="9707"/>
                    </a:lnTo>
                    <a:lnTo>
                      <a:pt x="15649" y="9718"/>
                    </a:lnTo>
                    <a:lnTo>
                      <a:pt x="15652" y="9738"/>
                    </a:lnTo>
                    <a:lnTo>
                      <a:pt x="15638" y="9744"/>
                    </a:lnTo>
                    <a:lnTo>
                      <a:pt x="15607" y="9730"/>
                    </a:lnTo>
                    <a:lnTo>
                      <a:pt x="15597" y="9719"/>
                    </a:lnTo>
                    <a:lnTo>
                      <a:pt x="15574" y="9726"/>
                    </a:lnTo>
                    <a:lnTo>
                      <a:pt x="15535" y="9726"/>
                    </a:lnTo>
                    <a:lnTo>
                      <a:pt x="15529" y="9711"/>
                    </a:lnTo>
                    <a:lnTo>
                      <a:pt x="15506" y="9693"/>
                    </a:lnTo>
                    <a:lnTo>
                      <a:pt x="15452" y="9688"/>
                    </a:lnTo>
                    <a:lnTo>
                      <a:pt x="15428" y="9670"/>
                    </a:lnTo>
                    <a:lnTo>
                      <a:pt x="15402" y="9668"/>
                    </a:lnTo>
                    <a:lnTo>
                      <a:pt x="15382" y="9663"/>
                    </a:lnTo>
                    <a:lnTo>
                      <a:pt x="15373" y="9668"/>
                    </a:lnTo>
                    <a:lnTo>
                      <a:pt x="15324" y="9674"/>
                    </a:lnTo>
                    <a:lnTo>
                      <a:pt x="15314" y="9700"/>
                    </a:lnTo>
                    <a:lnTo>
                      <a:pt x="15301" y="9700"/>
                    </a:lnTo>
                    <a:lnTo>
                      <a:pt x="15285" y="9714"/>
                    </a:lnTo>
                    <a:lnTo>
                      <a:pt x="15251" y="9713"/>
                    </a:lnTo>
                    <a:lnTo>
                      <a:pt x="15229" y="9717"/>
                    </a:lnTo>
                    <a:lnTo>
                      <a:pt x="15192" y="9710"/>
                    </a:lnTo>
                    <a:lnTo>
                      <a:pt x="15172" y="9732"/>
                    </a:lnTo>
                    <a:lnTo>
                      <a:pt x="15143" y="9732"/>
                    </a:lnTo>
                    <a:lnTo>
                      <a:pt x="15129" y="9759"/>
                    </a:lnTo>
                    <a:lnTo>
                      <a:pt x="15104" y="9769"/>
                    </a:lnTo>
                    <a:lnTo>
                      <a:pt x="15079" y="9767"/>
                    </a:lnTo>
                    <a:lnTo>
                      <a:pt x="15073" y="9773"/>
                    </a:lnTo>
                    <a:lnTo>
                      <a:pt x="15050" y="9774"/>
                    </a:lnTo>
                    <a:lnTo>
                      <a:pt x="15030" y="9781"/>
                    </a:lnTo>
                    <a:lnTo>
                      <a:pt x="14985" y="9787"/>
                    </a:lnTo>
                    <a:lnTo>
                      <a:pt x="14967" y="9803"/>
                    </a:lnTo>
                    <a:lnTo>
                      <a:pt x="14967" y="9824"/>
                    </a:lnTo>
                    <a:lnTo>
                      <a:pt x="14941" y="9853"/>
                    </a:lnTo>
                    <a:lnTo>
                      <a:pt x="14932" y="9885"/>
                    </a:lnTo>
                    <a:lnTo>
                      <a:pt x="14919" y="9903"/>
                    </a:lnTo>
                    <a:lnTo>
                      <a:pt x="14919" y="9920"/>
                    </a:lnTo>
                    <a:lnTo>
                      <a:pt x="14907" y="9935"/>
                    </a:lnTo>
                    <a:lnTo>
                      <a:pt x="14907" y="9977"/>
                    </a:lnTo>
                    <a:lnTo>
                      <a:pt x="14919" y="9990"/>
                    </a:lnTo>
                    <a:lnTo>
                      <a:pt x="14936" y="9993"/>
                    </a:lnTo>
                    <a:lnTo>
                      <a:pt x="14974" y="9970"/>
                    </a:lnTo>
                    <a:lnTo>
                      <a:pt x="14998" y="9959"/>
                    </a:lnTo>
                    <a:lnTo>
                      <a:pt x="15018" y="9964"/>
                    </a:lnTo>
                    <a:lnTo>
                      <a:pt x="15043" y="10005"/>
                    </a:lnTo>
                    <a:lnTo>
                      <a:pt x="15056" y="10037"/>
                    </a:lnTo>
                    <a:lnTo>
                      <a:pt x="15081" y="10056"/>
                    </a:lnTo>
                    <a:lnTo>
                      <a:pt x="15081" y="10082"/>
                    </a:lnTo>
                    <a:lnTo>
                      <a:pt x="15088" y="10102"/>
                    </a:lnTo>
                    <a:lnTo>
                      <a:pt x="15086" y="10143"/>
                    </a:lnTo>
                    <a:lnTo>
                      <a:pt x="15066" y="10159"/>
                    </a:lnTo>
                    <a:lnTo>
                      <a:pt x="15043" y="10193"/>
                    </a:lnTo>
                    <a:lnTo>
                      <a:pt x="15036" y="10232"/>
                    </a:lnTo>
                    <a:lnTo>
                      <a:pt x="15014" y="10249"/>
                    </a:lnTo>
                    <a:lnTo>
                      <a:pt x="14995" y="10284"/>
                    </a:lnTo>
                    <a:lnTo>
                      <a:pt x="14993" y="10312"/>
                    </a:lnTo>
                    <a:lnTo>
                      <a:pt x="15010" y="10341"/>
                    </a:lnTo>
                    <a:lnTo>
                      <a:pt x="15004" y="10359"/>
                    </a:lnTo>
                    <a:lnTo>
                      <a:pt x="15009" y="10396"/>
                    </a:lnTo>
                    <a:lnTo>
                      <a:pt x="15029" y="10418"/>
                    </a:lnTo>
                    <a:lnTo>
                      <a:pt x="15025" y="10450"/>
                    </a:lnTo>
                    <a:lnTo>
                      <a:pt x="15005" y="10461"/>
                    </a:lnTo>
                    <a:lnTo>
                      <a:pt x="14999" y="10480"/>
                    </a:lnTo>
                    <a:lnTo>
                      <a:pt x="15011" y="10511"/>
                    </a:lnTo>
                    <a:lnTo>
                      <a:pt x="15012" y="10561"/>
                    </a:lnTo>
                    <a:lnTo>
                      <a:pt x="15003" y="10575"/>
                    </a:lnTo>
                    <a:lnTo>
                      <a:pt x="15006" y="10622"/>
                    </a:lnTo>
                    <a:lnTo>
                      <a:pt x="15022" y="10625"/>
                    </a:lnTo>
                    <a:lnTo>
                      <a:pt x="15035" y="10636"/>
                    </a:lnTo>
                    <a:lnTo>
                      <a:pt x="15049" y="10625"/>
                    </a:lnTo>
                    <a:lnTo>
                      <a:pt x="15061" y="10634"/>
                    </a:lnTo>
                    <a:lnTo>
                      <a:pt x="15069" y="10669"/>
                    </a:lnTo>
                    <a:lnTo>
                      <a:pt x="15058" y="10701"/>
                    </a:lnTo>
                    <a:lnTo>
                      <a:pt x="15032" y="10727"/>
                    </a:lnTo>
                    <a:lnTo>
                      <a:pt x="14971" y="10737"/>
                    </a:lnTo>
                    <a:lnTo>
                      <a:pt x="14932" y="10765"/>
                    </a:lnTo>
                    <a:lnTo>
                      <a:pt x="14851" y="10842"/>
                    </a:lnTo>
                    <a:lnTo>
                      <a:pt x="14831" y="10845"/>
                    </a:lnTo>
                    <a:lnTo>
                      <a:pt x="14807" y="10825"/>
                    </a:lnTo>
                    <a:lnTo>
                      <a:pt x="14756" y="10818"/>
                    </a:lnTo>
                    <a:lnTo>
                      <a:pt x="14725" y="10824"/>
                    </a:lnTo>
                    <a:lnTo>
                      <a:pt x="14720" y="10811"/>
                    </a:lnTo>
                    <a:lnTo>
                      <a:pt x="14696" y="10807"/>
                    </a:lnTo>
                    <a:lnTo>
                      <a:pt x="14677" y="10814"/>
                    </a:lnTo>
                    <a:lnTo>
                      <a:pt x="14661" y="10797"/>
                    </a:lnTo>
                    <a:lnTo>
                      <a:pt x="14597" y="10777"/>
                    </a:lnTo>
                    <a:lnTo>
                      <a:pt x="14539" y="10787"/>
                    </a:lnTo>
                    <a:lnTo>
                      <a:pt x="14538" y="10804"/>
                    </a:lnTo>
                    <a:lnTo>
                      <a:pt x="14500" y="10827"/>
                    </a:lnTo>
                    <a:lnTo>
                      <a:pt x="14470" y="10828"/>
                    </a:lnTo>
                    <a:lnTo>
                      <a:pt x="14452" y="10814"/>
                    </a:lnTo>
                    <a:lnTo>
                      <a:pt x="14420" y="10831"/>
                    </a:lnTo>
                    <a:lnTo>
                      <a:pt x="14395" y="10822"/>
                    </a:lnTo>
                    <a:lnTo>
                      <a:pt x="14375" y="10792"/>
                    </a:lnTo>
                    <a:lnTo>
                      <a:pt x="14334" y="10766"/>
                    </a:lnTo>
                    <a:lnTo>
                      <a:pt x="14302" y="10762"/>
                    </a:lnTo>
                    <a:lnTo>
                      <a:pt x="14252" y="10775"/>
                    </a:lnTo>
                    <a:lnTo>
                      <a:pt x="14240" y="10766"/>
                    </a:lnTo>
                    <a:lnTo>
                      <a:pt x="14211" y="10766"/>
                    </a:lnTo>
                    <a:lnTo>
                      <a:pt x="14185" y="10791"/>
                    </a:lnTo>
                    <a:lnTo>
                      <a:pt x="14172" y="10827"/>
                    </a:lnTo>
                    <a:lnTo>
                      <a:pt x="14147" y="10853"/>
                    </a:lnTo>
                    <a:lnTo>
                      <a:pt x="14111" y="10868"/>
                    </a:lnTo>
                    <a:lnTo>
                      <a:pt x="14089" y="10903"/>
                    </a:lnTo>
                    <a:lnTo>
                      <a:pt x="14089" y="10917"/>
                    </a:lnTo>
                    <a:lnTo>
                      <a:pt x="14079" y="10951"/>
                    </a:lnTo>
                    <a:lnTo>
                      <a:pt x="14045" y="10982"/>
                    </a:lnTo>
                    <a:lnTo>
                      <a:pt x="13966" y="10981"/>
                    </a:lnTo>
                    <a:lnTo>
                      <a:pt x="13938" y="10984"/>
                    </a:lnTo>
                    <a:lnTo>
                      <a:pt x="13912" y="11016"/>
                    </a:lnTo>
                    <a:lnTo>
                      <a:pt x="13871" y="11015"/>
                    </a:lnTo>
                    <a:lnTo>
                      <a:pt x="13808" y="11052"/>
                    </a:lnTo>
                    <a:lnTo>
                      <a:pt x="13780" y="11094"/>
                    </a:lnTo>
                    <a:lnTo>
                      <a:pt x="13760" y="11096"/>
                    </a:lnTo>
                    <a:lnTo>
                      <a:pt x="13729" y="11080"/>
                    </a:lnTo>
                    <a:lnTo>
                      <a:pt x="13691" y="11080"/>
                    </a:lnTo>
                    <a:lnTo>
                      <a:pt x="13673" y="11093"/>
                    </a:lnTo>
                    <a:lnTo>
                      <a:pt x="13630" y="11099"/>
                    </a:lnTo>
                    <a:lnTo>
                      <a:pt x="13527" y="11100"/>
                    </a:lnTo>
                    <a:lnTo>
                      <a:pt x="13459" y="11081"/>
                    </a:lnTo>
                    <a:lnTo>
                      <a:pt x="13382" y="11088"/>
                    </a:lnTo>
                    <a:lnTo>
                      <a:pt x="13357" y="11087"/>
                    </a:lnTo>
                    <a:lnTo>
                      <a:pt x="13327" y="11055"/>
                    </a:lnTo>
                    <a:lnTo>
                      <a:pt x="13304" y="11050"/>
                    </a:lnTo>
                    <a:lnTo>
                      <a:pt x="13284" y="11038"/>
                    </a:lnTo>
                    <a:lnTo>
                      <a:pt x="13249" y="11014"/>
                    </a:lnTo>
                    <a:lnTo>
                      <a:pt x="13230" y="10959"/>
                    </a:lnTo>
                    <a:lnTo>
                      <a:pt x="13213" y="10944"/>
                    </a:lnTo>
                    <a:lnTo>
                      <a:pt x="13178" y="10952"/>
                    </a:lnTo>
                    <a:lnTo>
                      <a:pt x="13128" y="10953"/>
                    </a:lnTo>
                    <a:lnTo>
                      <a:pt x="13068" y="10930"/>
                    </a:lnTo>
                    <a:lnTo>
                      <a:pt x="13033" y="10880"/>
                    </a:lnTo>
                    <a:lnTo>
                      <a:pt x="12966" y="10882"/>
                    </a:lnTo>
                    <a:lnTo>
                      <a:pt x="12916" y="10877"/>
                    </a:lnTo>
                    <a:lnTo>
                      <a:pt x="12878" y="10856"/>
                    </a:lnTo>
                    <a:lnTo>
                      <a:pt x="12835" y="10868"/>
                    </a:lnTo>
                    <a:lnTo>
                      <a:pt x="12790" y="10870"/>
                    </a:lnTo>
                    <a:lnTo>
                      <a:pt x="12755" y="10891"/>
                    </a:lnTo>
                    <a:lnTo>
                      <a:pt x="12688" y="10896"/>
                    </a:lnTo>
                    <a:lnTo>
                      <a:pt x="12638" y="10911"/>
                    </a:lnTo>
                    <a:lnTo>
                      <a:pt x="12609" y="10943"/>
                    </a:lnTo>
                    <a:lnTo>
                      <a:pt x="12587" y="10950"/>
                    </a:lnTo>
                    <a:lnTo>
                      <a:pt x="12565" y="10943"/>
                    </a:lnTo>
                    <a:lnTo>
                      <a:pt x="12541" y="10942"/>
                    </a:lnTo>
                    <a:lnTo>
                      <a:pt x="12517" y="10957"/>
                    </a:lnTo>
                    <a:lnTo>
                      <a:pt x="12465" y="10955"/>
                    </a:lnTo>
                    <a:lnTo>
                      <a:pt x="12452" y="10967"/>
                    </a:lnTo>
                    <a:lnTo>
                      <a:pt x="12429" y="10966"/>
                    </a:lnTo>
                    <a:lnTo>
                      <a:pt x="12376" y="10939"/>
                    </a:lnTo>
                    <a:lnTo>
                      <a:pt x="12326" y="10923"/>
                    </a:lnTo>
                    <a:lnTo>
                      <a:pt x="12316" y="10905"/>
                    </a:lnTo>
                    <a:lnTo>
                      <a:pt x="12281" y="10874"/>
                    </a:lnTo>
                    <a:lnTo>
                      <a:pt x="12260" y="10873"/>
                    </a:lnTo>
                    <a:lnTo>
                      <a:pt x="12240" y="10856"/>
                    </a:lnTo>
                    <a:lnTo>
                      <a:pt x="12241" y="10825"/>
                    </a:lnTo>
                    <a:lnTo>
                      <a:pt x="12223" y="10787"/>
                    </a:lnTo>
                    <a:lnTo>
                      <a:pt x="12207" y="10768"/>
                    </a:lnTo>
                    <a:lnTo>
                      <a:pt x="12207" y="10744"/>
                    </a:lnTo>
                    <a:lnTo>
                      <a:pt x="12190" y="10720"/>
                    </a:lnTo>
                    <a:lnTo>
                      <a:pt x="12190" y="10698"/>
                    </a:lnTo>
                    <a:lnTo>
                      <a:pt x="12178" y="10671"/>
                    </a:lnTo>
                    <a:lnTo>
                      <a:pt x="12150" y="10660"/>
                    </a:lnTo>
                    <a:lnTo>
                      <a:pt x="12078" y="10662"/>
                    </a:lnTo>
                    <a:lnTo>
                      <a:pt x="12048" y="10657"/>
                    </a:lnTo>
                    <a:lnTo>
                      <a:pt x="12025" y="10646"/>
                    </a:lnTo>
                    <a:lnTo>
                      <a:pt x="11981" y="10642"/>
                    </a:lnTo>
                    <a:lnTo>
                      <a:pt x="11964" y="10626"/>
                    </a:lnTo>
                    <a:lnTo>
                      <a:pt x="11942" y="10610"/>
                    </a:lnTo>
                    <a:lnTo>
                      <a:pt x="11879" y="10612"/>
                    </a:lnTo>
                    <a:lnTo>
                      <a:pt x="11837" y="10609"/>
                    </a:lnTo>
                    <a:lnTo>
                      <a:pt x="11797" y="10595"/>
                    </a:lnTo>
                    <a:lnTo>
                      <a:pt x="11791" y="10583"/>
                    </a:lnTo>
                    <a:lnTo>
                      <a:pt x="11745" y="10562"/>
                    </a:lnTo>
                    <a:lnTo>
                      <a:pt x="11700" y="10549"/>
                    </a:lnTo>
                    <a:lnTo>
                      <a:pt x="11678" y="10534"/>
                    </a:lnTo>
                    <a:lnTo>
                      <a:pt x="11644" y="10533"/>
                    </a:lnTo>
                    <a:lnTo>
                      <a:pt x="11622" y="10551"/>
                    </a:lnTo>
                    <a:lnTo>
                      <a:pt x="11618" y="10578"/>
                    </a:lnTo>
                    <a:lnTo>
                      <a:pt x="11627" y="10607"/>
                    </a:lnTo>
                    <a:lnTo>
                      <a:pt x="11615" y="10636"/>
                    </a:lnTo>
                    <a:lnTo>
                      <a:pt x="11598" y="10629"/>
                    </a:lnTo>
                    <a:lnTo>
                      <a:pt x="11570" y="10639"/>
                    </a:lnTo>
                    <a:lnTo>
                      <a:pt x="11552" y="10667"/>
                    </a:lnTo>
                    <a:lnTo>
                      <a:pt x="11552" y="10693"/>
                    </a:lnTo>
                    <a:lnTo>
                      <a:pt x="11518" y="10732"/>
                    </a:lnTo>
                    <a:lnTo>
                      <a:pt x="11516" y="10817"/>
                    </a:lnTo>
                    <a:lnTo>
                      <a:pt x="11530" y="10859"/>
                    </a:lnTo>
                    <a:lnTo>
                      <a:pt x="11580" y="10872"/>
                    </a:lnTo>
                    <a:lnTo>
                      <a:pt x="11596" y="10895"/>
                    </a:lnTo>
                    <a:lnTo>
                      <a:pt x="11629" y="10905"/>
                    </a:lnTo>
                    <a:lnTo>
                      <a:pt x="11635" y="10928"/>
                    </a:lnTo>
                    <a:lnTo>
                      <a:pt x="11625" y="10983"/>
                    </a:lnTo>
                    <a:lnTo>
                      <a:pt x="11624" y="11034"/>
                    </a:lnTo>
                    <a:lnTo>
                      <a:pt x="11658" y="11058"/>
                    </a:lnTo>
                    <a:lnTo>
                      <a:pt x="11676" y="11080"/>
                    </a:lnTo>
                    <a:lnTo>
                      <a:pt x="11645" y="11131"/>
                    </a:lnTo>
                    <a:lnTo>
                      <a:pt x="11587" y="11138"/>
                    </a:lnTo>
                    <a:lnTo>
                      <a:pt x="11555" y="11132"/>
                    </a:lnTo>
                    <a:lnTo>
                      <a:pt x="11547" y="11141"/>
                    </a:lnTo>
                    <a:lnTo>
                      <a:pt x="11515" y="11144"/>
                    </a:lnTo>
                    <a:lnTo>
                      <a:pt x="11487" y="11131"/>
                    </a:lnTo>
                    <a:lnTo>
                      <a:pt x="11413" y="11130"/>
                    </a:lnTo>
                    <a:lnTo>
                      <a:pt x="11386" y="11138"/>
                    </a:lnTo>
                    <a:lnTo>
                      <a:pt x="11360" y="11120"/>
                    </a:lnTo>
                    <a:lnTo>
                      <a:pt x="11328" y="11112"/>
                    </a:lnTo>
                    <a:lnTo>
                      <a:pt x="11298" y="11115"/>
                    </a:lnTo>
                    <a:lnTo>
                      <a:pt x="11261" y="11142"/>
                    </a:lnTo>
                    <a:lnTo>
                      <a:pt x="11226" y="11155"/>
                    </a:lnTo>
                    <a:lnTo>
                      <a:pt x="11205" y="11167"/>
                    </a:lnTo>
                    <a:lnTo>
                      <a:pt x="11143" y="11138"/>
                    </a:lnTo>
                    <a:lnTo>
                      <a:pt x="11111" y="11113"/>
                    </a:lnTo>
                    <a:lnTo>
                      <a:pt x="11027" y="11064"/>
                    </a:lnTo>
                    <a:lnTo>
                      <a:pt x="11018" y="11043"/>
                    </a:lnTo>
                    <a:lnTo>
                      <a:pt x="11011" y="11014"/>
                    </a:lnTo>
                    <a:lnTo>
                      <a:pt x="11000" y="10987"/>
                    </a:lnTo>
                    <a:lnTo>
                      <a:pt x="10946" y="10990"/>
                    </a:lnTo>
                    <a:lnTo>
                      <a:pt x="10920" y="11008"/>
                    </a:lnTo>
                    <a:lnTo>
                      <a:pt x="10889" y="11006"/>
                    </a:lnTo>
                    <a:lnTo>
                      <a:pt x="10871" y="11012"/>
                    </a:lnTo>
                    <a:lnTo>
                      <a:pt x="10835" y="11014"/>
                    </a:lnTo>
                    <a:lnTo>
                      <a:pt x="10815" y="10993"/>
                    </a:lnTo>
                    <a:lnTo>
                      <a:pt x="10811" y="10973"/>
                    </a:lnTo>
                    <a:lnTo>
                      <a:pt x="10791" y="10945"/>
                    </a:lnTo>
                    <a:lnTo>
                      <a:pt x="10781" y="10944"/>
                    </a:lnTo>
                    <a:lnTo>
                      <a:pt x="10756" y="10959"/>
                    </a:lnTo>
                    <a:lnTo>
                      <a:pt x="10717" y="10957"/>
                    </a:lnTo>
                    <a:lnTo>
                      <a:pt x="10688" y="10958"/>
                    </a:lnTo>
                    <a:lnTo>
                      <a:pt x="10655" y="10967"/>
                    </a:lnTo>
                    <a:lnTo>
                      <a:pt x="10594" y="10975"/>
                    </a:lnTo>
                    <a:lnTo>
                      <a:pt x="10568" y="10985"/>
                    </a:lnTo>
                    <a:lnTo>
                      <a:pt x="10550" y="11030"/>
                    </a:lnTo>
                    <a:lnTo>
                      <a:pt x="10527" y="11043"/>
                    </a:lnTo>
                    <a:lnTo>
                      <a:pt x="10470" y="11026"/>
                    </a:lnTo>
                    <a:lnTo>
                      <a:pt x="10459" y="11041"/>
                    </a:lnTo>
                    <a:lnTo>
                      <a:pt x="10460" y="11065"/>
                    </a:lnTo>
                    <a:lnTo>
                      <a:pt x="10478" y="11080"/>
                    </a:lnTo>
                    <a:lnTo>
                      <a:pt x="10464" y="11093"/>
                    </a:lnTo>
                    <a:lnTo>
                      <a:pt x="10440" y="11126"/>
                    </a:lnTo>
                    <a:lnTo>
                      <a:pt x="10411" y="11133"/>
                    </a:lnTo>
                    <a:lnTo>
                      <a:pt x="10384" y="11161"/>
                    </a:lnTo>
                    <a:lnTo>
                      <a:pt x="10383" y="11185"/>
                    </a:lnTo>
                    <a:lnTo>
                      <a:pt x="10337" y="11205"/>
                    </a:lnTo>
                    <a:lnTo>
                      <a:pt x="10325" y="11239"/>
                    </a:lnTo>
                    <a:lnTo>
                      <a:pt x="10323" y="11274"/>
                    </a:lnTo>
                    <a:lnTo>
                      <a:pt x="10269" y="11294"/>
                    </a:lnTo>
                    <a:lnTo>
                      <a:pt x="10239" y="11326"/>
                    </a:lnTo>
                    <a:lnTo>
                      <a:pt x="10229" y="11343"/>
                    </a:lnTo>
                    <a:lnTo>
                      <a:pt x="10149" y="11340"/>
                    </a:lnTo>
                    <a:lnTo>
                      <a:pt x="10119" y="11355"/>
                    </a:lnTo>
                    <a:lnTo>
                      <a:pt x="10091" y="11419"/>
                    </a:lnTo>
                    <a:lnTo>
                      <a:pt x="10092" y="11423"/>
                    </a:lnTo>
                    <a:lnTo>
                      <a:pt x="10078" y="11422"/>
                    </a:lnTo>
                    <a:lnTo>
                      <a:pt x="10043" y="11410"/>
                    </a:lnTo>
                    <a:lnTo>
                      <a:pt x="10022" y="11410"/>
                    </a:lnTo>
                    <a:lnTo>
                      <a:pt x="10014" y="11400"/>
                    </a:lnTo>
                    <a:lnTo>
                      <a:pt x="9963" y="11383"/>
                    </a:lnTo>
                    <a:lnTo>
                      <a:pt x="9925" y="11349"/>
                    </a:lnTo>
                    <a:lnTo>
                      <a:pt x="9900" y="11343"/>
                    </a:lnTo>
                    <a:lnTo>
                      <a:pt x="9890" y="11315"/>
                    </a:lnTo>
                    <a:lnTo>
                      <a:pt x="9905" y="11273"/>
                    </a:lnTo>
                    <a:lnTo>
                      <a:pt x="9886" y="11265"/>
                    </a:lnTo>
                    <a:lnTo>
                      <a:pt x="9853" y="11283"/>
                    </a:lnTo>
                    <a:lnTo>
                      <a:pt x="9836" y="11312"/>
                    </a:lnTo>
                    <a:lnTo>
                      <a:pt x="9799" y="11323"/>
                    </a:lnTo>
                    <a:lnTo>
                      <a:pt x="9718" y="11328"/>
                    </a:lnTo>
                    <a:lnTo>
                      <a:pt x="9691" y="11344"/>
                    </a:lnTo>
                    <a:lnTo>
                      <a:pt x="9682" y="11359"/>
                    </a:lnTo>
                    <a:lnTo>
                      <a:pt x="9656" y="11347"/>
                    </a:lnTo>
                    <a:lnTo>
                      <a:pt x="9621" y="11333"/>
                    </a:lnTo>
                    <a:lnTo>
                      <a:pt x="9606" y="11334"/>
                    </a:lnTo>
                    <a:lnTo>
                      <a:pt x="9599" y="11324"/>
                    </a:lnTo>
                    <a:lnTo>
                      <a:pt x="9582" y="11309"/>
                    </a:lnTo>
                    <a:lnTo>
                      <a:pt x="9573" y="11285"/>
                    </a:lnTo>
                    <a:lnTo>
                      <a:pt x="9572" y="11259"/>
                    </a:lnTo>
                    <a:lnTo>
                      <a:pt x="9578" y="11242"/>
                    </a:lnTo>
                    <a:lnTo>
                      <a:pt x="9577" y="11222"/>
                    </a:lnTo>
                    <a:lnTo>
                      <a:pt x="9551" y="11210"/>
                    </a:lnTo>
                    <a:lnTo>
                      <a:pt x="9539" y="11210"/>
                    </a:lnTo>
                    <a:lnTo>
                      <a:pt x="9499" y="11185"/>
                    </a:lnTo>
                    <a:lnTo>
                      <a:pt x="9463" y="11175"/>
                    </a:lnTo>
                    <a:lnTo>
                      <a:pt x="9447" y="11173"/>
                    </a:lnTo>
                    <a:lnTo>
                      <a:pt x="9428" y="11134"/>
                    </a:lnTo>
                    <a:lnTo>
                      <a:pt x="9400" y="11085"/>
                    </a:lnTo>
                    <a:lnTo>
                      <a:pt x="9350" y="11047"/>
                    </a:lnTo>
                    <a:lnTo>
                      <a:pt x="9299" y="11033"/>
                    </a:lnTo>
                    <a:lnTo>
                      <a:pt x="9238" y="11033"/>
                    </a:lnTo>
                    <a:lnTo>
                      <a:pt x="9180" y="11042"/>
                    </a:lnTo>
                    <a:lnTo>
                      <a:pt x="9174" y="11060"/>
                    </a:lnTo>
                    <a:lnTo>
                      <a:pt x="9186" y="11078"/>
                    </a:lnTo>
                    <a:lnTo>
                      <a:pt x="9177" y="11093"/>
                    </a:lnTo>
                    <a:lnTo>
                      <a:pt x="9143" y="11106"/>
                    </a:lnTo>
                    <a:lnTo>
                      <a:pt x="9116" y="11100"/>
                    </a:lnTo>
                    <a:lnTo>
                      <a:pt x="9078" y="11117"/>
                    </a:lnTo>
                    <a:lnTo>
                      <a:pt x="9034" y="11092"/>
                    </a:lnTo>
                    <a:lnTo>
                      <a:pt x="9006" y="11097"/>
                    </a:lnTo>
                    <a:lnTo>
                      <a:pt x="8982" y="11113"/>
                    </a:lnTo>
                    <a:lnTo>
                      <a:pt x="8952" y="11113"/>
                    </a:lnTo>
                    <a:lnTo>
                      <a:pt x="8928" y="11087"/>
                    </a:lnTo>
                    <a:lnTo>
                      <a:pt x="8889" y="11077"/>
                    </a:lnTo>
                    <a:lnTo>
                      <a:pt x="8885" y="11053"/>
                    </a:lnTo>
                    <a:lnTo>
                      <a:pt x="8891" y="11029"/>
                    </a:lnTo>
                    <a:lnTo>
                      <a:pt x="8841" y="11006"/>
                    </a:lnTo>
                    <a:lnTo>
                      <a:pt x="8815" y="11019"/>
                    </a:lnTo>
                    <a:lnTo>
                      <a:pt x="8816" y="11057"/>
                    </a:lnTo>
                    <a:lnTo>
                      <a:pt x="8824" y="11064"/>
                    </a:lnTo>
                    <a:lnTo>
                      <a:pt x="8817" y="11085"/>
                    </a:lnTo>
                    <a:lnTo>
                      <a:pt x="8789" y="11102"/>
                    </a:lnTo>
                    <a:lnTo>
                      <a:pt x="8747" y="11110"/>
                    </a:lnTo>
                    <a:lnTo>
                      <a:pt x="8327" y="10583"/>
                    </a:lnTo>
                    <a:lnTo>
                      <a:pt x="8019" y="10352"/>
                    </a:lnTo>
                    <a:lnTo>
                      <a:pt x="8006" y="10327"/>
                    </a:lnTo>
                    <a:lnTo>
                      <a:pt x="8033" y="10320"/>
                    </a:lnTo>
                    <a:lnTo>
                      <a:pt x="8061" y="10288"/>
                    </a:lnTo>
                    <a:lnTo>
                      <a:pt x="8062" y="10258"/>
                    </a:lnTo>
                    <a:lnTo>
                      <a:pt x="8044" y="10247"/>
                    </a:lnTo>
                    <a:lnTo>
                      <a:pt x="8000" y="10260"/>
                    </a:lnTo>
                    <a:lnTo>
                      <a:pt x="7963" y="10270"/>
                    </a:lnTo>
                    <a:lnTo>
                      <a:pt x="7936" y="10297"/>
                    </a:lnTo>
                    <a:lnTo>
                      <a:pt x="7909" y="10307"/>
                    </a:lnTo>
                    <a:lnTo>
                      <a:pt x="7871" y="10345"/>
                    </a:lnTo>
                    <a:lnTo>
                      <a:pt x="7868" y="10369"/>
                    </a:lnTo>
                    <a:lnTo>
                      <a:pt x="7842" y="10391"/>
                    </a:lnTo>
                    <a:lnTo>
                      <a:pt x="7828" y="10421"/>
                    </a:lnTo>
                    <a:lnTo>
                      <a:pt x="7796" y="10442"/>
                    </a:lnTo>
                    <a:lnTo>
                      <a:pt x="7746" y="10449"/>
                    </a:lnTo>
                    <a:lnTo>
                      <a:pt x="7714" y="10461"/>
                    </a:lnTo>
                    <a:lnTo>
                      <a:pt x="7720" y="10500"/>
                    </a:lnTo>
                    <a:lnTo>
                      <a:pt x="7700" y="10514"/>
                    </a:lnTo>
                    <a:lnTo>
                      <a:pt x="7683" y="10503"/>
                    </a:lnTo>
                    <a:lnTo>
                      <a:pt x="7614" y="10487"/>
                    </a:lnTo>
                    <a:lnTo>
                      <a:pt x="7575" y="10497"/>
                    </a:lnTo>
                    <a:lnTo>
                      <a:pt x="7556" y="10522"/>
                    </a:lnTo>
                    <a:lnTo>
                      <a:pt x="7532" y="10524"/>
                    </a:lnTo>
                    <a:lnTo>
                      <a:pt x="7510" y="10493"/>
                    </a:lnTo>
                    <a:lnTo>
                      <a:pt x="7510" y="10449"/>
                    </a:lnTo>
                    <a:lnTo>
                      <a:pt x="7531" y="10430"/>
                    </a:lnTo>
                    <a:lnTo>
                      <a:pt x="7545" y="10396"/>
                    </a:lnTo>
                    <a:lnTo>
                      <a:pt x="7526" y="10386"/>
                    </a:lnTo>
                    <a:lnTo>
                      <a:pt x="7500" y="10406"/>
                    </a:lnTo>
                    <a:lnTo>
                      <a:pt x="7479" y="10406"/>
                    </a:lnTo>
                    <a:lnTo>
                      <a:pt x="7414" y="10376"/>
                    </a:lnTo>
                    <a:lnTo>
                      <a:pt x="7376" y="10384"/>
                    </a:lnTo>
                    <a:lnTo>
                      <a:pt x="7386" y="10403"/>
                    </a:lnTo>
                    <a:lnTo>
                      <a:pt x="7405" y="10412"/>
                    </a:lnTo>
                    <a:lnTo>
                      <a:pt x="7380" y="10438"/>
                    </a:lnTo>
                    <a:lnTo>
                      <a:pt x="7359" y="10440"/>
                    </a:lnTo>
                    <a:lnTo>
                      <a:pt x="7338" y="10397"/>
                    </a:lnTo>
                    <a:lnTo>
                      <a:pt x="7331" y="10343"/>
                    </a:lnTo>
                    <a:lnTo>
                      <a:pt x="7272" y="10299"/>
                    </a:lnTo>
                    <a:lnTo>
                      <a:pt x="7261" y="10307"/>
                    </a:lnTo>
                    <a:lnTo>
                      <a:pt x="7274" y="10342"/>
                    </a:lnTo>
                    <a:lnTo>
                      <a:pt x="7270" y="10368"/>
                    </a:lnTo>
                    <a:lnTo>
                      <a:pt x="7249" y="10368"/>
                    </a:lnTo>
                    <a:lnTo>
                      <a:pt x="7237" y="10333"/>
                    </a:lnTo>
                    <a:lnTo>
                      <a:pt x="7216" y="10343"/>
                    </a:lnTo>
                    <a:lnTo>
                      <a:pt x="7209" y="10376"/>
                    </a:lnTo>
                    <a:lnTo>
                      <a:pt x="7191" y="10383"/>
                    </a:lnTo>
                    <a:lnTo>
                      <a:pt x="7164" y="10361"/>
                    </a:lnTo>
                    <a:lnTo>
                      <a:pt x="7126" y="10384"/>
                    </a:lnTo>
                    <a:lnTo>
                      <a:pt x="7106" y="10369"/>
                    </a:lnTo>
                    <a:lnTo>
                      <a:pt x="7090" y="10336"/>
                    </a:lnTo>
                    <a:lnTo>
                      <a:pt x="7117" y="10329"/>
                    </a:lnTo>
                    <a:lnTo>
                      <a:pt x="7119" y="10317"/>
                    </a:lnTo>
                    <a:lnTo>
                      <a:pt x="7112" y="10284"/>
                    </a:lnTo>
                    <a:lnTo>
                      <a:pt x="7121" y="10254"/>
                    </a:lnTo>
                    <a:lnTo>
                      <a:pt x="7117" y="10236"/>
                    </a:lnTo>
                    <a:lnTo>
                      <a:pt x="7094" y="10223"/>
                    </a:lnTo>
                    <a:lnTo>
                      <a:pt x="7071" y="10194"/>
                    </a:lnTo>
                    <a:lnTo>
                      <a:pt x="7058" y="10158"/>
                    </a:lnTo>
                    <a:lnTo>
                      <a:pt x="7045" y="10147"/>
                    </a:lnTo>
                    <a:lnTo>
                      <a:pt x="7031" y="10105"/>
                    </a:lnTo>
                    <a:lnTo>
                      <a:pt x="6996" y="10102"/>
                    </a:lnTo>
                    <a:lnTo>
                      <a:pt x="6958" y="10119"/>
                    </a:lnTo>
                    <a:lnTo>
                      <a:pt x="6917" y="10119"/>
                    </a:lnTo>
                    <a:lnTo>
                      <a:pt x="6875" y="10092"/>
                    </a:lnTo>
                    <a:lnTo>
                      <a:pt x="6829" y="10096"/>
                    </a:lnTo>
                    <a:lnTo>
                      <a:pt x="6787" y="10079"/>
                    </a:lnTo>
                    <a:lnTo>
                      <a:pt x="6761" y="10088"/>
                    </a:lnTo>
                    <a:lnTo>
                      <a:pt x="6740" y="10084"/>
                    </a:lnTo>
                    <a:lnTo>
                      <a:pt x="6709" y="10101"/>
                    </a:lnTo>
                    <a:lnTo>
                      <a:pt x="6700" y="10135"/>
                    </a:lnTo>
                    <a:lnTo>
                      <a:pt x="6654" y="10137"/>
                    </a:lnTo>
                    <a:lnTo>
                      <a:pt x="6635" y="10146"/>
                    </a:lnTo>
                    <a:lnTo>
                      <a:pt x="6651" y="10173"/>
                    </a:lnTo>
                    <a:lnTo>
                      <a:pt x="6652" y="10198"/>
                    </a:lnTo>
                    <a:lnTo>
                      <a:pt x="6607" y="10207"/>
                    </a:lnTo>
                    <a:lnTo>
                      <a:pt x="6585" y="10201"/>
                    </a:lnTo>
                    <a:lnTo>
                      <a:pt x="6561" y="10232"/>
                    </a:lnTo>
                    <a:lnTo>
                      <a:pt x="6521" y="10239"/>
                    </a:lnTo>
                    <a:lnTo>
                      <a:pt x="6505" y="10250"/>
                    </a:lnTo>
                    <a:lnTo>
                      <a:pt x="6489" y="10250"/>
                    </a:lnTo>
                    <a:lnTo>
                      <a:pt x="6416" y="10299"/>
                    </a:lnTo>
                    <a:lnTo>
                      <a:pt x="6378" y="10312"/>
                    </a:lnTo>
                    <a:lnTo>
                      <a:pt x="6345" y="10330"/>
                    </a:lnTo>
                    <a:lnTo>
                      <a:pt x="6321" y="10325"/>
                    </a:lnTo>
                    <a:lnTo>
                      <a:pt x="6302" y="10309"/>
                    </a:lnTo>
                    <a:lnTo>
                      <a:pt x="6280" y="10327"/>
                    </a:lnTo>
                    <a:lnTo>
                      <a:pt x="6275" y="10349"/>
                    </a:lnTo>
                    <a:lnTo>
                      <a:pt x="6238" y="10349"/>
                    </a:lnTo>
                    <a:lnTo>
                      <a:pt x="6219" y="10366"/>
                    </a:lnTo>
                    <a:lnTo>
                      <a:pt x="6220" y="10402"/>
                    </a:lnTo>
                    <a:lnTo>
                      <a:pt x="6207" y="10415"/>
                    </a:lnTo>
                    <a:lnTo>
                      <a:pt x="6183" y="10404"/>
                    </a:lnTo>
                    <a:lnTo>
                      <a:pt x="6158" y="10407"/>
                    </a:lnTo>
                    <a:lnTo>
                      <a:pt x="6131" y="10426"/>
                    </a:lnTo>
                    <a:lnTo>
                      <a:pt x="6089" y="10427"/>
                    </a:lnTo>
                    <a:lnTo>
                      <a:pt x="6043" y="10455"/>
                    </a:lnTo>
                    <a:lnTo>
                      <a:pt x="6035" y="10470"/>
                    </a:lnTo>
                    <a:lnTo>
                      <a:pt x="5990" y="10473"/>
                    </a:lnTo>
                    <a:lnTo>
                      <a:pt x="5947" y="10495"/>
                    </a:lnTo>
                    <a:lnTo>
                      <a:pt x="5906" y="10498"/>
                    </a:lnTo>
                    <a:lnTo>
                      <a:pt x="5848" y="10516"/>
                    </a:lnTo>
                    <a:lnTo>
                      <a:pt x="5844" y="10541"/>
                    </a:lnTo>
                    <a:lnTo>
                      <a:pt x="5828" y="10564"/>
                    </a:lnTo>
                    <a:lnTo>
                      <a:pt x="5808" y="10533"/>
                    </a:lnTo>
                    <a:lnTo>
                      <a:pt x="5777" y="10532"/>
                    </a:lnTo>
                    <a:lnTo>
                      <a:pt x="5748" y="10550"/>
                    </a:lnTo>
                    <a:lnTo>
                      <a:pt x="5748" y="10571"/>
                    </a:lnTo>
                    <a:lnTo>
                      <a:pt x="5734" y="10588"/>
                    </a:lnTo>
                    <a:lnTo>
                      <a:pt x="5703" y="10566"/>
                    </a:lnTo>
                    <a:lnTo>
                      <a:pt x="5664" y="10571"/>
                    </a:lnTo>
                    <a:lnTo>
                      <a:pt x="5653" y="10552"/>
                    </a:lnTo>
                    <a:lnTo>
                      <a:pt x="5628" y="10551"/>
                    </a:lnTo>
                    <a:lnTo>
                      <a:pt x="5610" y="10572"/>
                    </a:lnTo>
                    <a:lnTo>
                      <a:pt x="5574" y="10575"/>
                    </a:lnTo>
                    <a:lnTo>
                      <a:pt x="5561" y="10586"/>
                    </a:lnTo>
                    <a:lnTo>
                      <a:pt x="5580" y="10626"/>
                    </a:lnTo>
                    <a:lnTo>
                      <a:pt x="5564" y="10644"/>
                    </a:lnTo>
                    <a:lnTo>
                      <a:pt x="5595" y="10652"/>
                    </a:lnTo>
                    <a:lnTo>
                      <a:pt x="5638" y="10646"/>
                    </a:lnTo>
                    <a:lnTo>
                      <a:pt x="5652" y="10683"/>
                    </a:lnTo>
                    <a:lnTo>
                      <a:pt x="5606" y="10685"/>
                    </a:lnTo>
                    <a:lnTo>
                      <a:pt x="5591" y="10698"/>
                    </a:lnTo>
                    <a:lnTo>
                      <a:pt x="5595" y="10720"/>
                    </a:lnTo>
                    <a:lnTo>
                      <a:pt x="5638" y="10722"/>
                    </a:lnTo>
                    <a:lnTo>
                      <a:pt x="5672" y="10736"/>
                    </a:lnTo>
                    <a:lnTo>
                      <a:pt x="5694" y="10720"/>
                    </a:lnTo>
                    <a:lnTo>
                      <a:pt x="5720" y="10719"/>
                    </a:lnTo>
                    <a:lnTo>
                      <a:pt x="5748" y="10747"/>
                    </a:lnTo>
                    <a:lnTo>
                      <a:pt x="5781" y="10756"/>
                    </a:lnTo>
                    <a:lnTo>
                      <a:pt x="5780" y="10791"/>
                    </a:lnTo>
                    <a:lnTo>
                      <a:pt x="5761" y="10804"/>
                    </a:lnTo>
                    <a:lnTo>
                      <a:pt x="5732" y="10794"/>
                    </a:lnTo>
                    <a:lnTo>
                      <a:pt x="5660" y="10802"/>
                    </a:lnTo>
                    <a:lnTo>
                      <a:pt x="5621" y="10837"/>
                    </a:lnTo>
                    <a:lnTo>
                      <a:pt x="5583" y="10893"/>
                    </a:lnTo>
                    <a:lnTo>
                      <a:pt x="5585" y="10930"/>
                    </a:lnTo>
                    <a:lnTo>
                      <a:pt x="5610" y="10934"/>
                    </a:lnTo>
                    <a:lnTo>
                      <a:pt x="5620" y="10973"/>
                    </a:lnTo>
                    <a:lnTo>
                      <a:pt x="5594" y="11004"/>
                    </a:lnTo>
                    <a:lnTo>
                      <a:pt x="5588" y="11040"/>
                    </a:lnTo>
                    <a:lnTo>
                      <a:pt x="5557" y="11044"/>
                    </a:lnTo>
                    <a:lnTo>
                      <a:pt x="5552" y="11061"/>
                    </a:lnTo>
                    <a:lnTo>
                      <a:pt x="5563" y="11082"/>
                    </a:lnTo>
                    <a:lnTo>
                      <a:pt x="5565" y="11104"/>
                    </a:lnTo>
                    <a:lnTo>
                      <a:pt x="5606" y="11104"/>
                    </a:lnTo>
                    <a:lnTo>
                      <a:pt x="5629" y="11126"/>
                    </a:lnTo>
                    <a:lnTo>
                      <a:pt x="5668" y="11135"/>
                    </a:lnTo>
                    <a:lnTo>
                      <a:pt x="5674" y="11154"/>
                    </a:lnTo>
                    <a:lnTo>
                      <a:pt x="5706" y="11179"/>
                    </a:lnTo>
                    <a:lnTo>
                      <a:pt x="5756" y="11180"/>
                    </a:lnTo>
                    <a:lnTo>
                      <a:pt x="5772" y="11193"/>
                    </a:lnTo>
                    <a:lnTo>
                      <a:pt x="5781" y="11327"/>
                    </a:lnTo>
                    <a:lnTo>
                      <a:pt x="5765" y="11355"/>
                    </a:lnTo>
                    <a:lnTo>
                      <a:pt x="5707" y="11375"/>
                    </a:lnTo>
                    <a:lnTo>
                      <a:pt x="5659" y="11371"/>
                    </a:lnTo>
                    <a:lnTo>
                      <a:pt x="5606" y="11339"/>
                    </a:lnTo>
                    <a:lnTo>
                      <a:pt x="5589" y="11354"/>
                    </a:lnTo>
                    <a:lnTo>
                      <a:pt x="5586" y="11388"/>
                    </a:lnTo>
                    <a:lnTo>
                      <a:pt x="5569" y="11423"/>
                    </a:lnTo>
                    <a:lnTo>
                      <a:pt x="5530" y="11431"/>
                    </a:lnTo>
                    <a:lnTo>
                      <a:pt x="5471" y="11397"/>
                    </a:lnTo>
                    <a:lnTo>
                      <a:pt x="5418" y="11400"/>
                    </a:lnTo>
                    <a:lnTo>
                      <a:pt x="5395" y="11386"/>
                    </a:lnTo>
                    <a:lnTo>
                      <a:pt x="5380" y="11396"/>
                    </a:lnTo>
                    <a:lnTo>
                      <a:pt x="5349" y="11386"/>
                    </a:lnTo>
                    <a:lnTo>
                      <a:pt x="5317" y="11347"/>
                    </a:lnTo>
                    <a:lnTo>
                      <a:pt x="5342" y="11334"/>
                    </a:lnTo>
                    <a:lnTo>
                      <a:pt x="5354" y="11310"/>
                    </a:lnTo>
                    <a:lnTo>
                      <a:pt x="5329" y="11298"/>
                    </a:lnTo>
                    <a:lnTo>
                      <a:pt x="5288" y="11275"/>
                    </a:lnTo>
                    <a:lnTo>
                      <a:pt x="5269" y="11299"/>
                    </a:lnTo>
                    <a:lnTo>
                      <a:pt x="5231" y="11295"/>
                    </a:lnTo>
                    <a:lnTo>
                      <a:pt x="5204" y="11304"/>
                    </a:lnTo>
                    <a:lnTo>
                      <a:pt x="5210" y="11346"/>
                    </a:lnTo>
                    <a:lnTo>
                      <a:pt x="5162" y="11350"/>
                    </a:lnTo>
                    <a:lnTo>
                      <a:pt x="5152" y="11332"/>
                    </a:lnTo>
                    <a:lnTo>
                      <a:pt x="5103" y="11286"/>
                    </a:lnTo>
                    <a:lnTo>
                      <a:pt x="5064" y="11292"/>
                    </a:lnTo>
                    <a:lnTo>
                      <a:pt x="5048" y="11321"/>
                    </a:lnTo>
                    <a:lnTo>
                      <a:pt x="5029" y="11295"/>
                    </a:lnTo>
                    <a:lnTo>
                      <a:pt x="5002" y="11304"/>
                    </a:lnTo>
                    <a:lnTo>
                      <a:pt x="4999" y="11336"/>
                    </a:lnTo>
                    <a:lnTo>
                      <a:pt x="4963" y="11340"/>
                    </a:lnTo>
                    <a:lnTo>
                      <a:pt x="4960" y="11404"/>
                    </a:lnTo>
                    <a:lnTo>
                      <a:pt x="4918" y="11435"/>
                    </a:lnTo>
                    <a:lnTo>
                      <a:pt x="4891" y="11424"/>
                    </a:lnTo>
                    <a:lnTo>
                      <a:pt x="4871" y="11392"/>
                    </a:lnTo>
                    <a:lnTo>
                      <a:pt x="4806" y="11383"/>
                    </a:lnTo>
                    <a:lnTo>
                      <a:pt x="4782" y="11349"/>
                    </a:lnTo>
                    <a:lnTo>
                      <a:pt x="4749" y="11370"/>
                    </a:lnTo>
                    <a:lnTo>
                      <a:pt x="4752" y="11412"/>
                    </a:lnTo>
                    <a:lnTo>
                      <a:pt x="4731" y="11446"/>
                    </a:lnTo>
                    <a:lnTo>
                      <a:pt x="4710" y="11439"/>
                    </a:lnTo>
                    <a:lnTo>
                      <a:pt x="4708" y="11400"/>
                    </a:lnTo>
                    <a:lnTo>
                      <a:pt x="4695" y="11377"/>
                    </a:lnTo>
                    <a:lnTo>
                      <a:pt x="4667" y="11374"/>
                    </a:lnTo>
                    <a:lnTo>
                      <a:pt x="4620" y="11339"/>
                    </a:lnTo>
                    <a:lnTo>
                      <a:pt x="4592" y="11303"/>
                    </a:lnTo>
                    <a:lnTo>
                      <a:pt x="4555" y="11303"/>
                    </a:lnTo>
                    <a:lnTo>
                      <a:pt x="4521" y="11259"/>
                    </a:lnTo>
                    <a:lnTo>
                      <a:pt x="4501" y="11257"/>
                    </a:lnTo>
                    <a:lnTo>
                      <a:pt x="4484" y="11231"/>
                    </a:lnTo>
                    <a:lnTo>
                      <a:pt x="4455" y="11230"/>
                    </a:lnTo>
                    <a:lnTo>
                      <a:pt x="4394" y="11249"/>
                    </a:lnTo>
                    <a:lnTo>
                      <a:pt x="4356" y="11224"/>
                    </a:lnTo>
                    <a:lnTo>
                      <a:pt x="4337" y="11178"/>
                    </a:lnTo>
                    <a:lnTo>
                      <a:pt x="4306" y="11179"/>
                    </a:lnTo>
                    <a:lnTo>
                      <a:pt x="4270" y="11204"/>
                    </a:lnTo>
                    <a:lnTo>
                      <a:pt x="4238" y="11207"/>
                    </a:lnTo>
                    <a:lnTo>
                      <a:pt x="4232" y="11229"/>
                    </a:lnTo>
                    <a:lnTo>
                      <a:pt x="4210" y="11252"/>
                    </a:lnTo>
                    <a:lnTo>
                      <a:pt x="4209" y="11223"/>
                    </a:lnTo>
                    <a:lnTo>
                      <a:pt x="4185" y="11237"/>
                    </a:lnTo>
                    <a:lnTo>
                      <a:pt x="4177" y="11263"/>
                    </a:lnTo>
                    <a:lnTo>
                      <a:pt x="4145" y="11281"/>
                    </a:lnTo>
                    <a:lnTo>
                      <a:pt x="4128" y="11265"/>
                    </a:lnTo>
                    <a:lnTo>
                      <a:pt x="4151" y="11236"/>
                    </a:lnTo>
                    <a:lnTo>
                      <a:pt x="4156" y="11213"/>
                    </a:lnTo>
                    <a:lnTo>
                      <a:pt x="4115" y="11197"/>
                    </a:lnTo>
                    <a:lnTo>
                      <a:pt x="4065" y="11167"/>
                    </a:lnTo>
                    <a:lnTo>
                      <a:pt x="4056" y="11189"/>
                    </a:lnTo>
                    <a:lnTo>
                      <a:pt x="4065" y="11220"/>
                    </a:lnTo>
                    <a:lnTo>
                      <a:pt x="4060" y="11250"/>
                    </a:lnTo>
                    <a:lnTo>
                      <a:pt x="4024" y="11241"/>
                    </a:lnTo>
                    <a:lnTo>
                      <a:pt x="3998" y="11261"/>
                    </a:lnTo>
                    <a:lnTo>
                      <a:pt x="3982" y="11306"/>
                    </a:lnTo>
                    <a:lnTo>
                      <a:pt x="3959" y="11308"/>
                    </a:lnTo>
                    <a:lnTo>
                      <a:pt x="3908" y="11340"/>
                    </a:lnTo>
                    <a:lnTo>
                      <a:pt x="3897" y="11379"/>
                    </a:lnTo>
                    <a:lnTo>
                      <a:pt x="3922" y="11410"/>
                    </a:lnTo>
                    <a:lnTo>
                      <a:pt x="3922" y="11451"/>
                    </a:lnTo>
                    <a:lnTo>
                      <a:pt x="3867" y="11451"/>
                    </a:lnTo>
                    <a:lnTo>
                      <a:pt x="3813" y="11457"/>
                    </a:lnTo>
                    <a:lnTo>
                      <a:pt x="3852" y="11594"/>
                    </a:lnTo>
                    <a:lnTo>
                      <a:pt x="3832" y="11611"/>
                    </a:lnTo>
                    <a:lnTo>
                      <a:pt x="3838" y="11663"/>
                    </a:lnTo>
                    <a:lnTo>
                      <a:pt x="3784" y="11668"/>
                    </a:lnTo>
                    <a:lnTo>
                      <a:pt x="3733" y="11636"/>
                    </a:lnTo>
                    <a:lnTo>
                      <a:pt x="3722" y="11605"/>
                    </a:lnTo>
                    <a:lnTo>
                      <a:pt x="3630" y="11522"/>
                    </a:lnTo>
                    <a:lnTo>
                      <a:pt x="3606" y="11554"/>
                    </a:lnTo>
                    <a:lnTo>
                      <a:pt x="3606" y="11597"/>
                    </a:lnTo>
                    <a:lnTo>
                      <a:pt x="3560" y="11654"/>
                    </a:lnTo>
                    <a:lnTo>
                      <a:pt x="3528" y="11670"/>
                    </a:lnTo>
                    <a:lnTo>
                      <a:pt x="3536" y="11754"/>
                    </a:lnTo>
                    <a:lnTo>
                      <a:pt x="3561" y="11780"/>
                    </a:lnTo>
                    <a:lnTo>
                      <a:pt x="3547" y="11886"/>
                    </a:lnTo>
                    <a:lnTo>
                      <a:pt x="3521" y="11945"/>
                    </a:lnTo>
                    <a:lnTo>
                      <a:pt x="3591" y="11972"/>
                    </a:lnTo>
                    <a:lnTo>
                      <a:pt x="3621" y="12020"/>
                    </a:lnTo>
                    <a:lnTo>
                      <a:pt x="3610" y="12046"/>
                    </a:lnTo>
                    <a:lnTo>
                      <a:pt x="3665" y="12093"/>
                    </a:lnTo>
                    <a:lnTo>
                      <a:pt x="3679" y="12068"/>
                    </a:lnTo>
                    <a:lnTo>
                      <a:pt x="3790" y="12098"/>
                    </a:lnTo>
                    <a:lnTo>
                      <a:pt x="3869" y="12172"/>
                    </a:lnTo>
                    <a:lnTo>
                      <a:pt x="3938" y="12288"/>
                    </a:lnTo>
                    <a:lnTo>
                      <a:pt x="3873" y="12288"/>
                    </a:lnTo>
                    <a:lnTo>
                      <a:pt x="3869" y="12316"/>
                    </a:lnTo>
                    <a:lnTo>
                      <a:pt x="3931" y="12358"/>
                    </a:lnTo>
                    <a:lnTo>
                      <a:pt x="3976" y="12343"/>
                    </a:lnTo>
                    <a:lnTo>
                      <a:pt x="4018" y="12371"/>
                    </a:lnTo>
                    <a:lnTo>
                      <a:pt x="4018" y="12371"/>
                    </a:lnTo>
                    <a:lnTo>
                      <a:pt x="4017" y="12371"/>
                    </a:lnTo>
                    <a:lnTo>
                      <a:pt x="4015" y="12384"/>
                    </a:lnTo>
                    <a:lnTo>
                      <a:pt x="4013" y="12403"/>
                    </a:lnTo>
                    <a:lnTo>
                      <a:pt x="3987" y="12408"/>
                    </a:lnTo>
                    <a:lnTo>
                      <a:pt x="4001" y="12420"/>
                    </a:lnTo>
                    <a:lnTo>
                      <a:pt x="4002" y="12440"/>
                    </a:lnTo>
                    <a:lnTo>
                      <a:pt x="3984" y="12441"/>
                    </a:lnTo>
                    <a:lnTo>
                      <a:pt x="4000" y="12451"/>
                    </a:lnTo>
                    <a:lnTo>
                      <a:pt x="4000" y="12472"/>
                    </a:lnTo>
                    <a:lnTo>
                      <a:pt x="3972" y="12465"/>
                    </a:lnTo>
                    <a:lnTo>
                      <a:pt x="3960" y="12470"/>
                    </a:lnTo>
                    <a:lnTo>
                      <a:pt x="3929" y="12460"/>
                    </a:lnTo>
                    <a:lnTo>
                      <a:pt x="3907" y="12465"/>
                    </a:lnTo>
                    <a:lnTo>
                      <a:pt x="3956" y="12494"/>
                    </a:lnTo>
                    <a:lnTo>
                      <a:pt x="3963" y="12514"/>
                    </a:lnTo>
                    <a:lnTo>
                      <a:pt x="3951" y="12524"/>
                    </a:lnTo>
                    <a:lnTo>
                      <a:pt x="3934" y="12509"/>
                    </a:lnTo>
                    <a:lnTo>
                      <a:pt x="3934" y="12509"/>
                    </a:lnTo>
                    <a:lnTo>
                      <a:pt x="3923" y="12512"/>
                    </a:lnTo>
                    <a:lnTo>
                      <a:pt x="3914" y="12514"/>
                    </a:lnTo>
                    <a:lnTo>
                      <a:pt x="3908" y="12515"/>
                    </a:lnTo>
                    <a:lnTo>
                      <a:pt x="3908" y="12515"/>
                    </a:lnTo>
                    <a:lnTo>
                      <a:pt x="3904" y="12514"/>
                    </a:lnTo>
                    <a:lnTo>
                      <a:pt x="3898" y="12512"/>
                    </a:lnTo>
                    <a:lnTo>
                      <a:pt x="3892" y="12509"/>
                    </a:lnTo>
                    <a:lnTo>
                      <a:pt x="3876" y="12510"/>
                    </a:lnTo>
                    <a:lnTo>
                      <a:pt x="3901" y="12519"/>
                    </a:lnTo>
                    <a:lnTo>
                      <a:pt x="3906" y="12533"/>
                    </a:lnTo>
                    <a:lnTo>
                      <a:pt x="3882" y="12551"/>
                    </a:lnTo>
                    <a:lnTo>
                      <a:pt x="3859" y="12551"/>
                    </a:lnTo>
                    <a:lnTo>
                      <a:pt x="3843" y="12563"/>
                    </a:lnTo>
                    <a:lnTo>
                      <a:pt x="3829" y="12549"/>
                    </a:lnTo>
                    <a:lnTo>
                      <a:pt x="3821" y="12569"/>
                    </a:lnTo>
                    <a:lnTo>
                      <a:pt x="3808" y="12576"/>
                    </a:lnTo>
                    <a:lnTo>
                      <a:pt x="3792" y="12563"/>
                    </a:lnTo>
                    <a:lnTo>
                      <a:pt x="3774" y="12557"/>
                    </a:lnTo>
                    <a:lnTo>
                      <a:pt x="3772" y="12578"/>
                    </a:lnTo>
                    <a:lnTo>
                      <a:pt x="3758" y="12605"/>
                    </a:lnTo>
                    <a:lnTo>
                      <a:pt x="3749" y="12643"/>
                    </a:lnTo>
                    <a:lnTo>
                      <a:pt x="3731" y="12656"/>
                    </a:lnTo>
                    <a:lnTo>
                      <a:pt x="3721" y="12692"/>
                    </a:lnTo>
                    <a:lnTo>
                      <a:pt x="3706" y="12718"/>
                    </a:lnTo>
                    <a:lnTo>
                      <a:pt x="3706" y="12782"/>
                    </a:lnTo>
                    <a:lnTo>
                      <a:pt x="3688" y="12795"/>
                    </a:lnTo>
                    <a:lnTo>
                      <a:pt x="3678" y="12826"/>
                    </a:lnTo>
                    <a:lnTo>
                      <a:pt x="3693" y="12885"/>
                    </a:lnTo>
                    <a:lnTo>
                      <a:pt x="3722" y="12889"/>
                    </a:lnTo>
                    <a:lnTo>
                      <a:pt x="3742" y="12883"/>
                    </a:lnTo>
                    <a:lnTo>
                      <a:pt x="3765" y="12909"/>
                    </a:lnTo>
                    <a:lnTo>
                      <a:pt x="3797" y="12920"/>
                    </a:lnTo>
                    <a:lnTo>
                      <a:pt x="3797" y="12976"/>
                    </a:lnTo>
                    <a:lnTo>
                      <a:pt x="3836" y="13001"/>
                    </a:lnTo>
                    <a:lnTo>
                      <a:pt x="3853" y="12986"/>
                    </a:lnTo>
                    <a:lnTo>
                      <a:pt x="3873" y="12983"/>
                    </a:lnTo>
                    <a:lnTo>
                      <a:pt x="3859" y="13012"/>
                    </a:lnTo>
                    <a:lnTo>
                      <a:pt x="3851" y="13044"/>
                    </a:lnTo>
                    <a:lnTo>
                      <a:pt x="3834" y="13037"/>
                    </a:lnTo>
                    <a:lnTo>
                      <a:pt x="3830" y="13067"/>
                    </a:lnTo>
                    <a:lnTo>
                      <a:pt x="3853" y="13067"/>
                    </a:lnTo>
                    <a:lnTo>
                      <a:pt x="3858" y="13085"/>
                    </a:lnTo>
                    <a:lnTo>
                      <a:pt x="3869" y="13109"/>
                    </a:lnTo>
                    <a:lnTo>
                      <a:pt x="3872" y="13158"/>
                    </a:lnTo>
                    <a:lnTo>
                      <a:pt x="3897" y="13187"/>
                    </a:lnTo>
                    <a:lnTo>
                      <a:pt x="3909" y="13236"/>
                    </a:lnTo>
                    <a:lnTo>
                      <a:pt x="3974" y="13316"/>
                    </a:lnTo>
                    <a:lnTo>
                      <a:pt x="4064" y="13390"/>
                    </a:lnTo>
                    <a:lnTo>
                      <a:pt x="4079" y="13401"/>
                    </a:lnTo>
                    <a:lnTo>
                      <a:pt x="4078" y="13404"/>
                    </a:lnTo>
                    <a:lnTo>
                      <a:pt x="4021" y="13474"/>
                    </a:lnTo>
                    <a:lnTo>
                      <a:pt x="3971" y="13501"/>
                    </a:lnTo>
                    <a:lnTo>
                      <a:pt x="3956" y="13530"/>
                    </a:lnTo>
                    <a:lnTo>
                      <a:pt x="3877" y="13523"/>
                    </a:lnTo>
                    <a:lnTo>
                      <a:pt x="3855" y="13481"/>
                    </a:lnTo>
                    <a:lnTo>
                      <a:pt x="3776" y="13417"/>
                    </a:lnTo>
                    <a:lnTo>
                      <a:pt x="3727" y="13412"/>
                    </a:lnTo>
                    <a:lnTo>
                      <a:pt x="3709" y="13474"/>
                    </a:lnTo>
                    <a:lnTo>
                      <a:pt x="3754" y="13501"/>
                    </a:lnTo>
                    <a:lnTo>
                      <a:pt x="3778" y="13535"/>
                    </a:lnTo>
                    <a:lnTo>
                      <a:pt x="3769" y="13597"/>
                    </a:lnTo>
                    <a:lnTo>
                      <a:pt x="3707" y="13565"/>
                    </a:lnTo>
                    <a:lnTo>
                      <a:pt x="3643" y="13562"/>
                    </a:lnTo>
                    <a:lnTo>
                      <a:pt x="3546" y="13509"/>
                    </a:lnTo>
                    <a:lnTo>
                      <a:pt x="3482" y="13533"/>
                    </a:lnTo>
                    <a:lnTo>
                      <a:pt x="3479" y="13561"/>
                    </a:lnTo>
                    <a:lnTo>
                      <a:pt x="3512" y="13592"/>
                    </a:lnTo>
                    <a:lnTo>
                      <a:pt x="3470" y="13553"/>
                    </a:lnTo>
                    <a:lnTo>
                      <a:pt x="3373" y="13555"/>
                    </a:lnTo>
                    <a:lnTo>
                      <a:pt x="3351" y="13550"/>
                    </a:lnTo>
                    <a:lnTo>
                      <a:pt x="3275" y="13567"/>
                    </a:lnTo>
                    <a:lnTo>
                      <a:pt x="3221" y="13586"/>
                    </a:lnTo>
                    <a:lnTo>
                      <a:pt x="3219" y="13583"/>
                    </a:lnTo>
                    <a:lnTo>
                      <a:pt x="3188" y="13576"/>
                    </a:lnTo>
                    <a:lnTo>
                      <a:pt x="3116" y="13515"/>
                    </a:lnTo>
                    <a:lnTo>
                      <a:pt x="3089" y="13508"/>
                    </a:lnTo>
                    <a:lnTo>
                      <a:pt x="3064" y="13528"/>
                    </a:lnTo>
                    <a:lnTo>
                      <a:pt x="3042" y="13532"/>
                    </a:lnTo>
                    <a:lnTo>
                      <a:pt x="2998" y="13515"/>
                    </a:lnTo>
                    <a:lnTo>
                      <a:pt x="2982" y="13537"/>
                    </a:lnTo>
                    <a:lnTo>
                      <a:pt x="2962" y="13530"/>
                    </a:lnTo>
                    <a:lnTo>
                      <a:pt x="2955" y="13500"/>
                    </a:lnTo>
                    <a:lnTo>
                      <a:pt x="2934" y="13496"/>
                    </a:lnTo>
                    <a:lnTo>
                      <a:pt x="2934" y="13495"/>
                    </a:lnTo>
                    <a:lnTo>
                      <a:pt x="2939" y="13489"/>
                    </a:lnTo>
                    <a:lnTo>
                      <a:pt x="2930" y="13459"/>
                    </a:lnTo>
                    <a:lnTo>
                      <a:pt x="2943" y="13440"/>
                    </a:lnTo>
                    <a:lnTo>
                      <a:pt x="2913" y="13385"/>
                    </a:lnTo>
                    <a:lnTo>
                      <a:pt x="2904" y="13314"/>
                    </a:lnTo>
                    <a:lnTo>
                      <a:pt x="2883" y="13288"/>
                    </a:lnTo>
                    <a:lnTo>
                      <a:pt x="2846" y="13231"/>
                    </a:lnTo>
                    <a:lnTo>
                      <a:pt x="2805" y="13226"/>
                    </a:lnTo>
                    <a:lnTo>
                      <a:pt x="2803" y="13204"/>
                    </a:lnTo>
                    <a:lnTo>
                      <a:pt x="2759" y="13166"/>
                    </a:lnTo>
                    <a:lnTo>
                      <a:pt x="2740" y="13178"/>
                    </a:lnTo>
                    <a:lnTo>
                      <a:pt x="2724" y="13170"/>
                    </a:lnTo>
                    <a:lnTo>
                      <a:pt x="2690" y="13164"/>
                    </a:lnTo>
                    <a:lnTo>
                      <a:pt x="2663" y="13124"/>
                    </a:lnTo>
                    <a:lnTo>
                      <a:pt x="2645" y="13124"/>
                    </a:lnTo>
                    <a:lnTo>
                      <a:pt x="2612" y="13111"/>
                    </a:lnTo>
                    <a:lnTo>
                      <a:pt x="2602" y="13087"/>
                    </a:lnTo>
                    <a:lnTo>
                      <a:pt x="2575" y="13086"/>
                    </a:lnTo>
                    <a:lnTo>
                      <a:pt x="2547" y="13063"/>
                    </a:lnTo>
                    <a:lnTo>
                      <a:pt x="2537" y="13042"/>
                    </a:lnTo>
                    <a:lnTo>
                      <a:pt x="2506" y="13032"/>
                    </a:lnTo>
                    <a:lnTo>
                      <a:pt x="2485" y="12991"/>
                    </a:lnTo>
                    <a:lnTo>
                      <a:pt x="2375" y="12910"/>
                    </a:lnTo>
                    <a:lnTo>
                      <a:pt x="2329" y="12898"/>
                    </a:lnTo>
                    <a:lnTo>
                      <a:pt x="2263" y="12858"/>
                    </a:lnTo>
                    <a:lnTo>
                      <a:pt x="2200" y="12863"/>
                    </a:lnTo>
                    <a:lnTo>
                      <a:pt x="2162" y="12825"/>
                    </a:lnTo>
                    <a:lnTo>
                      <a:pt x="2160" y="12798"/>
                    </a:lnTo>
                    <a:lnTo>
                      <a:pt x="2113" y="12760"/>
                    </a:lnTo>
                    <a:lnTo>
                      <a:pt x="2093" y="12761"/>
                    </a:lnTo>
                    <a:lnTo>
                      <a:pt x="2053" y="12756"/>
                    </a:lnTo>
                    <a:lnTo>
                      <a:pt x="2077" y="12737"/>
                    </a:lnTo>
                    <a:lnTo>
                      <a:pt x="2102" y="12725"/>
                    </a:lnTo>
                    <a:lnTo>
                      <a:pt x="2090" y="12701"/>
                    </a:lnTo>
                    <a:lnTo>
                      <a:pt x="2091" y="12685"/>
                    </a:lnTo>
                    <a:lnTo>
                      <a:pt x="2128" y="12694"/>
                    </a:lnTo>
                    <a:lnTo>
                      <a:pt x="2156" y="12715"/>
                    </a:lnTo>
                    <a:lnTo>
                      <a:pt x="2163" y="12709"/>
                    </a:lnTo>
                    <a:lnTo>
                      <a:pt x="2197" y="12715"/>
                    </a:lnTo>
                    <a:lnTo>
                      <a:pt x="2205" y="12666"/>
                    </a:lnTo>
                    <a:lnTo>
                      <a:pt x="2188" y="12654"/>
                    </a:lnTo>
                    <a:lnTo>
                      <a:pt x="2188" y="12619"/>
                    </a:lnTo>
                    <a:lnTo>
                      <a:pt x="2225" y="12583"/>
                    </a:lnTo>
                    <a:lnTo>
                      <a:pt x="2225" y="12569"/>
                    </a:lnTo>
                    <a:lnTo>
                      <a:pt x="2238" y="12557"/>
                    </a:lnTo>
                    <a:lnTo>
                      <a:pt x="2262" y="12561"/>
                    </a:lnTo>
                    <a:lnTo>
                      <a:pt x="2276" y="12539"/>
                    </a:lnTo>
                    <a:lnTo>
                      <a:pt x="2297" y="12534"/>
                    </a:lnTo>
                    <a:lnTo>
                      <a:pt x="2297" y="12521"/>
                    </a:lnTo>
                    <a:lnTo>
                      <a:pt x="2263" y="12511"/>
                    </a:lnTo>
                    <a:lnTo>
                      <a:pt x="2254" y="12492"/>
                    </a:lnTo>
                    <a:lnTo>
                      <a:pt x="2236" y="12508"/>
                    </a:lnTo>
                    <a:lnTo>
                      <a:pt x="2211" y="12483"/>
                    </a:lnTo>
                    <a:lnTo>
                      <a:pt x="2188" y="12432"/>
                    </a:lnTo>
                    <a:lnTo>
                      <a:pt x="2246" y="12424"/>
                    </a:lnTo>
                    <a:lnTo>
                      <a:pt x="2287" y="12432"/>
                    </a:lnTo>
                    <a:lnTo>
                      <a:pt x="2310" y="12408"/>
                    </a:lnTo>
                    <a:lnTo>
                      <a:pt x="2287" y="12408"/>
                    </a:lnTo>
                    <a:lnTo>
                      <a:pt x="2271" y="12391"/>
                    </a:lnTo>
                    <a:lnTo>
                      <a:pt x="2309" y="12365"/>
                    </a:lnTo>
                    <a:lnTo>
                      <a:pt x="2397" y="12317"/>
                    </a:lnTo>
                    <a:lnTo>
                      <a:pt x="2406" y="12292"/>
                    </a:lnTo>
                    <a:lnTo>
                      <a:pt x="2396" y="12273"/>
                    </a:lnTo>
                    <a:lnTo>
                      <a:pt x="2351" y="12279"/>
                    </a:lnTo>
                    <a:lnTo>
                      <a:pt x="2314" y="12306"/>
                    </a:lnTo>
                    <a:lnTo>
                      <a:pt x="2279" y="12299"/>
                    </a:lnTo>
                    <a:lnTo>
                      <a:pt x="2272" y="12302"/>
                    </a:lnTo>
                    <a:lnTo>
                      <a:pt x="2271" y="12300"/>
                    </a:lnTo>
                    <a:lnTo>
                      <a:pt x="2281" y="12223"/>
                    </a:lnTo>
                    <a:lnTo>
                      <a:pt x="2303" y="12213"/>
                    </a:lnTo>
                    <a:lnTo>
                      <a:pt x="2340" y="12154"/>
                    </a:lnTo>
                    <a:lnTo>
                      <a:pt x="2423" y="12149"/>
                    </a:lnTo>
                    <a:lnTo>
                      <a:pt x="2454" y="12125"/>
                    </a:lnTo>
                    <a:lnTo>
                      <a:pt x="2448" y="12082"/>
                    </a:lnTo>
                    <a:lnTo>
                      <a:pt x="2468" y="12019"/>
                    </a:lnTo>
                    <a:lnTo>
                      <a:pt x="2461" y="11970"/>
                    </a:lnTo>
                    <a:lnTo>
                      <a:pt x="2412" y="11935"/>
                    </a:lnTo>
                    <a:lnTo>
                      <a:pt x="2423" y="11861"/>
                    </a:lnTo>
                    <a:lnTo>
                      <a:pt x="2458" y="11854"/>
                    </a:lnTo>
                    <a:lnTo>
                      <a:pt x="2487" y="11816"/>
                    </a:lnTo>
                    <a:lnTo>
                      <a:pt x="2486" y="11769"/>
                    </a:lnTo>
                    <a:lnTo>
                      <a:pt x="2462" y="11756"/>
                    </a:lnTo>
                    <a:lnTo>
                      <a:pt x="2448" y="11717"/>
                    </a:lnTo>
                    <a:lnTo>
                      <a:pt x="2421" y="11743"/>
                    </a:lnTo>
                    <a:lnTo>
                      <a:pt x="2369" y="11732"/>
                    </a:lnTo>
                    <a:lnTo>
                      <a:pt x="2325" y="11706"/>
                    </a:lnTo>
                    <a:lnTo>
                      <a:pt x="2288" y="11712"/>
                    </a:lnTo>
                    <a:lnTo>
                      <a:pt x="2256" y="11692"/>
                    </a:lnTo>
                    <a:lnTo>
                      <a:pt x="2210" y="11691"/>
                    </a:lnTo>
                    <a:lnTo>
                      <a:pt x="2148" y="11677"/>
                    </a:lnTo>
                    <a:lnTo>
                      <a:pt x="2125" y="11701"/>
                    </a:lnTo>
                    <a:lnTo>
                      <a:pt x="2109" y="11668"/>
                    </a:lnTo>
                    <a:lnTo>
                      <a:pt x="2056" y="11634"/>
                    </a:lnTo>
                    <a:lnTo>
                      <a:pt x="2018" y="11551"/>
                    </a:lnTo>
                    <a:lnTo>
                      <a:pt x="1991" y="11554"/>
                    </a:lnTo>
                    <a:lnTo>
                      <a:pt x="1933" y="11599"/>
                    </a:lnTo>
                    <a:lnTo>
                      <a:pt x="1896" y="11591"/>
                    </a:lnTo>
                    <a:lnTo>
                      <a:pt x="1857" y="11602"/>
                    </a:lnTo>
                    <a:lnTo>
                      <a:pt x="1808" y="11576"/>
                    </a:lnTo>
                    <a:lnTo>
                      <a:pt x="1778" y="11611"/>
                    </a:lnTo>
                    <a:lnTo>
                      <a:pt x="1699" y="11536"/>
                    </a:lnTo>
                    <a:lnTo>
                      <a:pt x="1682" y="11481"/>
                    </a:lnTo>
                    <a:lnTo>
                      <a:pt x="1682" y="11433"/>
                    </a:lnTo>
                    <a:lnTo>
                      <a:pt x="1649" y="11428"/>
                    </a:lnTo>
                    <a:lnTo>
                      <a:pt x="1645" y="11392"/>
                    </a:lnTo>
                    <a:lnTo>
                      <a:pt x="1610" y="11363"/>
                    </a:lnTo>
                    <a:lnTo>
                      <a:pt x="1515" y="11377"/>
                    </a:lnTo>
                    <a:lnTo>
                      <a:pt x="1468" y="11315"/>
                    </a:lnTo>
                    <a:lnTo>
                      <a:pt x="1488" y="11277"/>
                    </a:lnTo>
                    <a:lnTo>
                      <a:pt x="1452" y="11247"/>
                    </a:lnTo>
                    <a:lnTo>
                      <a:pt x="1426" y="11168"/>
                    </a:lnTo>
                    <a:lnTo>
                      <a:pt x="1387" y="11166"/>
                    </a:lnTo>
                    <a:lnTo>
                      <a:pt x="1344" y="11189"/>
                    </a:lnTo>
                    <a:lnTo>
                      <a:pt x="1257" y="11189"/>
                    </a:lnTo>
                    <a:lnTo>
                      <a:pt x="1171" y="11161"/>
                    </a:lnTo>
                    <a:lnTo>
                      <a:pt x="1146" y="11185"/>
                    </a:lnTo>
                    <a:lnTo>
                      <a:pt x="1149" y="11220"/>
                    </a:lnTo>
                    <a:lnTo>
                      <a:pt x="1110" y="11229"/>
                    </a:lnTo>
                    <a:lnTo>
                      <a:pt x="1082" y="11223"/>
                    </a:lnTo>
                    <a:lnTo>
                      <a:pt x="1082" y="11178"/>
                    </a:lnTo>
                    <a:lnTo>
                      <a:pt x="1043" y="11134"/>
                    </a:lnTo>
                    <a:lnTo>
                      <a:pt x="1047" y="11087"/>
                    </a:lnTo>
                    <a:lnTo>
                      <a:pt x="1013" y="11033"/>
                    </a:lnTo>
                    <a:lnTo>
                      <a:pt x="1010" y="10991"/>
                    </a:lnTo>
                    <a:lnTo>
                      <a:pt x="1025" y="10964"/>
                    </a:lnTo>
                    <a:lnTo>
                      <a:pt x="1062" y="10998"/>
                    </a:lnTo>
                    <a:lnTo>
                      <a:pt x="1151" y="10986"/>
                    </a:lnTo>
                    <a:lnTo>
                      <a:pt x="1186" y="10930"/>
                    </a:lnTo>
                    <a:lnTo>
                      <a:pt x="1205" y="10912"/>
                    </a:lnTo>
                    <a:lnTo>
                      <a:pt x="1161" y="10882"/>
                    </a:lnTo>
                    <a:lnTo>
                      <a:pt x="1156" y="10850"/>
                    </a:lnTo>
                    <a:lnTo>
                      <a:pt x="1092" y="10793"/>
                    </a:lnTo>
                    <a:lnTo>
                      <a:pt x="1035" y="10779"/>
                    </a:lnTo>
                    <a:lnTo>
                      <a:pt x="1020" y="10722"/>
                    </a:lnTo>
                    <a:lnTo>
                      <a:pt x="985" y="10697"/>
                    </a:lnTo>
                    <a:lnTo>
                      <a:pt x="941" y="10636"/>
                    </a:lnTo>
                    <a:lnTo>
                      <a:pt x="922" y="10588"/>
                    </a:lnTo>
                    <a:lnTo>
                      <a:pt x="881" y="10546"/>
                    </a:lnTo>
                    <a:lnTo>
                      <a:pt x="881" y="10495"/>
                    </a:lnTo>
                    <a:lnTo>
                      <a:pt x="852" y="10460"/>
                    </a:lnTo>
                    <a:lnTo>
                      <a:pt x="864" y="10416"/>
                    </a:lnTo>
                    <a:lnTo>
                      <a:pt x="855" y="10376"/>
                    </a:lnTo>
                    <a:lnTo>
                      <a:pt x="781" y="10349"/>
                    </a:lnTo>
                    <a:lnTo>
                      <a:pt x="756" y="10349"/>
                    </a:lnTo>
                    <a:lnTo>
                      <a:pt x="737" y="10324"/>
                    </a:lnTo>
                    <a:lnTo>
                      <a:pt x="686" y="10339"/>
                    </a:lnTo>
                    <a:lnTo>
                      <a:pt x="642" y="10373"/>
                    </a:lnTo>
                    <a:lnTo>
                      <a:pt x="610" y="10317"/>
                    </a:lnTo>
                    <a:lnTo>
                      <a:pt x="573" y="10312"/>
                    </a:lnTo>
                    <a:lnTo>
                      <a:pt x="531" y="10331"/>
                    </a:lnTo>
                    <a:lnTo>
                      <a:pt x="496" y="10277"/>
                    </a:lnTo>
                    <a:lnTo>
                      <a:pt x="459" y="10299"/>
                    </a:lnTo>
                    <a:lnTo>
                      <a:pt x="430" y="10280"/>
                    </a:lnTo>
                    <a:lnTo>
                      <a:pt x="416" y="10283"/>
                    </a:lnTo>
                    <a:lnTo>
                      <a:pt x="411" y="10235"/>
                    </a:lnTo>
                    <a:lnTo>
                      <a:pt x="387" y="10202"/>
                    </a:lnTo>
                    <a:lnTo>
                      <a:pt x="369" y="10152"/>
                    </a:lnTo>
                    <a:lnTo>
                      <a:pt x="357" y="10137"/>
                    </a:lnTo>
                    <a:lnTo>
                      <a:pt x="335" y="10095"/>
                    </a:lnTo>
                    <a:lnTo>
                      <a:pt x="340" y="10073"/>
                    </a:lnTo>
                    <a:lnTo>
                      <a:pt x="331" y="10045"/>
                    </a:lnTo>
                    <a:lnTo>
                      <a:pt x="315" y="10031"/>
                    </a:lnTo>
                    <a:lnTo>
                      <a:pt x="322" y="10015"/>
                    </a:lnTo>
                    <a:lnTo>
                      <a:pt x="318" y="9985"/>
                    </a:lnTo>
                    <a:lnTo>
                      <a:pt x="283" y="9981"/>
                    </a:lnTo>
                    <a:lnTo>
                      <a:pt x="309" y="9942"/>
                    </a:lnTo>
                    <a:lnTo>
                      <a:pt x="304" y="9910"/>
                    </a:lnTo>
                    <a:lnTo>
                      <a:pt x="332" y="9886"/>
                    </a:lnTo>
                    <a:lnTo>
                      <a:pt x="332" y="9852"/>
                    </a:lnTo>
                    <a:lnTo>
                      <a:pt x="253" y="9709"/>
                    </a:lnTo>
                    <a:lnTo>
                      <a:pt x="265" y="9581"/>
                    </a:lnTo>
                    <a:lnTo>
                      <a:pt x="284" y="9567"/>
                    </a:lnTo>
                    <a:lnTo>
                      <a:pt x="297" y="9518"/>
                    </a:lnTo>
                    <a:lnTo>
                      <a:pt x="323" y="9484"/>
                    </a:lnTo>
                    <a:lnTo>
                      <a:pt x="328" y="9473"/>
                    </a:lnTo>
                    <a:lnTo>
                      <a:pt x="325" y="9468"/>
                    </a:lnTo>
                    <a:lnTo>
                      <a:pt x="310" y="9441"/>
                    </a:lnTo>
                    <a:lnTo>
                      <a:pt x="310" y="9438"/>
                    </a:lnTo>
                    <a:lnTo>
                      <a:pt x="320" y="9400"/>
                    </a:lnTo>
                    <a:lnTo>
                      <a:pt x="305" y="9374"/>
                    </a:lnTo>
                    <a:lnTo>
                      <a:pt x="305" y="9355"/>
                    </a:lnTo>
                    <a:lnTo>
                      <a:pt x="320" y="9350"/>
                    </a:lnTo>
                    <a:lnTo>
                      <a:pt x="335" y="9378"/>
                    </a:lnTo>
                    <a:lnTo>
                      <a:pt x="366" y="9368"/>
                    </a:lnTo>
                    <a:lnTo>
                      <a:pt x="364" y="9334"/>
                    </a:lnTo>
                    <a:lnTo>
                      <a:pt x="382" y="9319"/>
                    </a:lnTo>
                    <a:lnTo>
                      <a:pt x="416" y="9339"/>
                    </a:lnTo>
                    <a:lnTo>
                      <a:pt x="457" y="9309"/>
                    </a:lnTo>
                    <a:lnTo>
                      <a:pt x="466" y="9279"/>
                    </a:lnTo>
                    <a:lnTo>
                      <a:pt x="487" y="9270"/>
                    </a:lnTo>
                    <a:lnTo>
                      <a:pt x="538" y="9288"/>
                    </a:lnTo>
                    <a:lnTo>
                      <a:pt x="559" y="9262"/>
                    </a:lnTo>
                    <a:lnTo>
                      <a:pt x="529" y="9219"/>
                    </a:lnTo>
                    <a:lnTo>
                      <a:pt x="501" y="9219"/>
                    </a:lnTo>
                    <a:lnTo>
                      <a:pt x="486" y="9225"/>
                    </a:lnTo>
                    <a:lnTo>
                      <a:pt x="447" y="9225"/>
                    </a:lnTo>
                    <a:lnTo>
                      <a:pt x="425" y="9193"/>
                    </a:lnTo>
                    <a:lnTo>
                      <a:pt x="385" y="9190"/>
                    </a:lnTo>
                    <a:lnTo>
                      <a:pt x="345" y="9146"/>
                    </a:lnTo>
                    <a:lnTo>
                      <a:pt x="351" y="9125"/>
                    </a:lnTo>
                    <a:lnTo>
                      <a:pt x="389" y="9155"/>
                    </a:lnTo>
                    <a:lnTo>
                      <a:pt x="389" y="9126"/>
                    </a:lnTo>
                    <a:lnTo>
                      <a:pt x="377" y="9104"/>
                    </a:lnTo>
                    <a:lnTo>
                      <a:pt x="402" y="9083"/>
                    </a:lnTo>
                    <a:lnTo>
                      <a:pt x="365" y="9090"/>
                    </a:lnTo>
                    <a:lnTo>
                      <a:pt x="365" y="9090"/>
                    </a:lnTo>
                    <a:lnTo>
                      <a:pt x="343" y="9102"/>
                    </a:lnTo>
                    <a:lnTo>
                      <a:pt x="328" y="9110"/>
                    </a:lnTo>
                    <a:lnTo>
                      <a:pt x="316" y="9115"/>
                    </a:lnTo>
                    <a:lnTo>
                      <a:pt x="316" y="9115"/>
                    </a:lnTo>
                    <a:lnTo>
                      <a:pt x="314" y="9116"/>
                    </a:lnTo>
                    <a:lnTo>
                      <a:pt x="313" y="9118"/>
                    </a:lnTo>
                    <a:lnTo>
                      <a:pt x="308" y="9125"/>
                    </a:lnTo>
                    <a:lnTo>
                      <a:pt x="308" y="9125"/>
                    </a:lnTo>
                    <a:lnTo>
                      <a:pt x="302" y="9077"/>
                    </a:lnTo>
                    <a:lnTo>
                      <a:pt x="381" y="9002"/>
                    </a:lnTo>
                    <a:lnTo>
                      <a:pt x="421" y="8983"/>
                    </a:lnTo>
                    <a:lnTo>
                      <a:pt x="467" y="8901"/>
                    </a:lnTo>
                    <a:lnTo>
                      <a:pt x="515" y="8830"/>
                    </a:lnTo>
                    <a:lnTo>
                      <a:pt x="551" y="8744"/>
                    </a:lnTo>
                    <a:lnTo>
                      <a:pt x="619" y="8627"/>
                    </a:lnTo>
                    <a:lnTo>
                      <a:pt x="670" y="8506"/>
                    </a:lnTo>
                    <a:lnTo>
                      <a:pt x="658" y="8453"/>
                    </a:lnTo>
                    <a:lnTo>
                      <a:pt x="584" y="8368"/>
                    </a:lnTo>
                    <a:lnTo>
                      <a:pt x="540" y="8354"/>
                    </a:lnTo>
                    <a:lnTo>
                      <a:pt x="461" y="8243"/>
                    </a:lnTo>
                    <a:lnTo>
                      <a:pt x="475" y="8192"/>
                    </a:lnTo>
                    <a:lnTo>
                      <a:pt x="506" y="8148"/>
                    </a:lnTo>
                    <a:lnTo>
                      <a:pt x="502" y="8097"/>
                    </a:lnTo>
                    <a:lnTo>
                      <a:pt x="451" y="8062"/>
                    </a:lnTo>
                    <a:lnTo>
                      <a:pt x="432" y="8022"/>
                    </a:lnTo>
                    <a:lnTo>
                      <a:pt x="430" y="7959"/>
                    </a:lnTo>
                    <a:lnTo>
                      <a:pt x="444" y="7942"/>
                    </a:lnTo>
                    <a:lnTo>
                      <a:pt x="428" y="7911"/>
                    </a:lnTo>
                    <a:lnTo>
                      <a:pt x="387" y="7903"/>
                    </a:lnTo>
                    <a:lnTo>
                      <a:pt x="365" y="7875"/>
                    </a:lnTo>
                    <a:lnTo>
                      <a:pt x="365" y="7818"/>
                    </a:lnTo>
                    <a:lnTo>
                      <a:pt x="388" y="7787"/>
                    </a:lnTo>
                    <a:lnTo>
                      <a:pt x="354" y="7779"/>
                    </a:lnTo>
                    <a:lnTo>
                      <a:pt x="353" y="7749"/>
                    </a:lnTo>
                    <a:lnTo>
                      <a:pt x="360" y="7638"/>
                    </a:lnTo>
                    <a:lnTo>
                      <a:pt x="392" y="7631"/>
                    </a:lnTo>
                    <a:lnTo>
                      <a:pt x="315" y="7453"/>
                    </a:lnTo>
                    <a:lnTo>
                      <a:pt x="245" y="7324"/>
                    </a:lnTo>
                    <a:lnTo>
                      <a:pt x="230" y="7275"/>
                    </a:lnTo>
                    <a:lnTo>
                      <a:pt x="190" y="7231"/>
                    </a:lnTo>
                    <a:lnTo>
                      <a:pt x="218" y="7150"/>
                    </a:lnTo>
                    <a:lnTo>
                      <a:pt x="253" y="7094"/>
                    </a:lnTo>
                    <a:lnTo>
                      <a:pt x="269" y="7044"/>
                    </a:lnTo>
                    <a:lnTo>
                      <a:pt x="247" y="7024"/>
                    </a:lnTo>
                    <a:lnTo>
                      <a:pt x="170" y="6975"/>
                    </a:lnTo>
                    <a:lnTo>
                      <a:pt x="156" y="6942"/>
                    </a:lnTo>
                    <a:lnTo>
                      <a:pt x="130" y="6903"/>
                    </a:lnTo>
                    <a:lnTo>
                      <a:pt x="84" y="6877"/>
                    </a:lnTo>
                    <a:lnTo>
                      <a:pt x="60" y="6873"/>
                    </a:lnTo>
                    <a:lnTo>
                      <a:pt x="31" y="6796"/>
                    </a:lnTo>
                    <a:lnTo>
                      <a:pt x="7" y="6767"/>
                    </a:lnTo>
                    <a:lnTo>
                      <a:pt x="19" y="6710"/>
                    </a:lnTo>
                    <a:lnTo>
                      <a:pt x="26" y="6664"/>
                    </a:lnTo>
                    <a:lnTo>
                      <a:pt x="0" y="6654"/>
                    </a:lnTo>
                    <a:lnTo>
                      <a:pt x="27" y="6636"/>
                    </a:lnTo>
                    <a:lnTo>
                      <a:pt x="73" y="6617"/>
                    </a:lnTo>
                    <a:lnTo>
                      <a:pt x="73" y="6616"/>
                    </a:lnTo>
                    <a:lnTo>
                      <a:pt x="92" y="6612"/>
                    </a:lnTo>
                    <a:lnTo>
                      <a:pt x="94" y="6553"/>
                    </a:lnTo>
                    <a:lnTo>
                      <a:pt x="140" y="6508"/>
                    </a:lnTo>
                    <a:lnTo>
                      <a:pt x="181" y="6503"/>
                    </a:lnTo>
                    <a:lnTo>
                      <a:pt x="207" y="6467"/>
                    </a:lnTo>
                    <a:lnTo>
                      <a:pt x="203" y="6418"/>
                    </a:lnTo>
                    <a:lnTo>
                      <a:pt x="232" y="6416"/>
                    </a:lnTo>
                    <a:lnTo>
                      <a:pt x="267" y="6430"/>
                    </a:lnTo>
                    <a:lnTo>
                      <a:pt x="287" y="6404"/>
                    </a:lnTo>
                    <a:lnTo>
                      <a:pt x="286" y="6369"/>
                    </a:lnTo>
                    <a:lnTo>
                      <a:pt x="286" y="6368"/>
                    </a:lnTo>
                    <a:lnTo>
                      <a:pt x="323" y="6372"/>
                    </a:lnTo>
                    <a:lnTo>
                      <a:pt x="338" y="6385"/>
                    </a:lnTo>
                    <a:lnTo>
                      <a:pt x="338" y="6418"/>
                    </a:lnTo>
                    <a:lnTo>
                      <a:pt x="352" y="6439"/>
                    </a:lnTo>
                    <a:lnTo>
                      <a:pt x="356" y="6396"/>
                    </a:lnTo>
                    <a:lnTo>
                      <a:pt x="371" y="6375"/>
                    </a:lnTo>
                    <a:lnTo>
                      <a:pt x="393" y="6377"/>
                    </a:lnTo>
                    <a:lnTo>
                      <a:pt x="408" y="6370"/>
                    </a:lnTo>
                    <a:lnTo>
                      <a:pt x="379" y="6349"/>
                    </a:lnTo>
                    <a:lnTo>
                      <a:pt x="380" y="6336"/>
                    </a:lnTo>
                    <a:lnTo>
                      <a:pt x="398" y="6340"/>
                    </a:lnTo>
                    <a:lnTo>
                      <a:pt x="419" y="6336"/>
                    </a:lnTo>
                    <a:lnTo>
                      <a:pt x="419" y="6322"/>
                    </a:lnTo>
                    <a:lnTo>
                      <a:pt x="409" y="6319"/>
                    </a:lnTo>
                    <a:lnTo>
                      <a:pt x="397" y="6300"/>
                    </a:lnTo>
                    <a:lnTo>
                      <a:pt x="405" y="6289"/>
                    </a:lnTo>
                    <a:lnTo>
                      <a:pt x="436" y="6292"/>
                    </a:lnTo>
                    <a:lnTo>
                      <a:pt x="471" y="6308"/>
                    </a:lnTo>
                    <a:lnTo>
                      <a:pt x="489" y="6334"/>
                    </a:lnTo>
                    <a:lnTo>
                      <a:pt x="507" y="6349"/>
                    </a:lnTo>
                    <a:lnTo>
                      <a:pt x="521" y="6336"/>
                    </a:lnTo>
                    <a:lnTo>
                      <a:pt x="546" y="6347"/>
                    </a:lnTo>
                    <a:lnTo>
                      <a:pt x="555" y="6358"/>
                    </a:lnTo>
                    <a:lnTo>
                      <a:pt x="575" y="6372"/>
                    </a:lnTo>
                    <a:lnTo>
                      <a:pt x="578" y="6390"/>
                    </a:lnTo>
                    <a:lnTo>
                      <a:pt x="548" y="6413"/>
                    </a:lnTo>
                    <a:lnTo>
                      <a:pt x="523" y="6401"/>
                    </a:lnTo>
                    <a:lnTo>
                      <a:pt x="483" y="6407"/>
                    </a:lnTo>
                    <a:lnTo>
                      <a:pt x="457" y="6380"/>
                    </a:lnTo>
                    <a:lnTo>
                      <a:pt x="455" y="6358"/>
                    </a:lnTo>
                    <a:lnTo>
                      <a:pt x="436" y="6383"/>
                    </a:lnTo>
                    <a:lnTo>
                      <a:pt x="436" y="6420"/>
                    </a:lnTo>
                    <a:lnTo>
                      <a:pt x="446" y="6451"/>
                    </a:lnTo>
                    <a:lnTo>
                      <a:pt x="469" y="6428"/>
                    </a:lnTo>
                    <a:lnTo>
                      <a:pt x="483" y="6437"/>
                    </a:lnTo>
                    <a:lnTo>
                      <a:pt x="491" y="6468"/>
                    </a:lnTo>
                    <a:lnTo>
                      <a:pt x="519" y="6445"/>
                    </a:lnTo>
                    <a:lnTo>
                      <a:pt x="546" y="6454"/>
                    </a:lnTo>
                    <a:lnTo>
                      <a:pt x="550" y="6480"/>
                    </a:lnTo>
                    <a:lnTo>
                      <a:pt x="559" y="6477"/>
                    </a:lnTo>
                    <a:lnTo>
                      <a:pt x="574" y="6456"/>
                    </a:lnTo>
                    <a:lnTo>
                      <a:pt x="583" y="6466"/>
                    </a:lnTo>
                    <a:lnTo>
                      <a:pt x="579" y="6480"/>
                    </a:lnTo>
                    <a:lnTo>
                      <a:pt x="579" y="6501"/>
                    </a:lnTo>
                    <a:lnTo>
                      <a:pt x="607" y="6465"/>
                    </a:lnTo>
                    <a:lnTo>
                      <a:pt x="624" y="6450"/>
                    </a:lnTo>
                    <a:lnTo>
                      <a:pt x="638" y="6458"/>
                    </a:lnTo>
                    <a:lnTo>
                      <a:pt x="629" y="6470"/>
                    </a:lnTo>
                    <a:lnTo>
                      <a:pt x="621" y="6490"/>
                    </a:lnTo>
                    <a:lnTo>
                      <a:pt x="648" y="6490"/>
                    </a:lnTo>
                    <a:lnTo>
                      <a:pt x="659" y="6504"/>
                    </a:lnTo>
                    <a:lnTo>
                      <a:pt x="639" y="6517"/>
                    </a:lnTo>
                    <a:lnTo>
                      <a:pt x="618" y="6549"/>
                    </a:lnTo>
                    <a:lnTo>
                      <a:pt x="654" y="6545"/>
                    </a:lnTo>
                    <a:lnTo>
                      <a:pt x="676" y="6504"/>
                    </a:lnTo>
                    <a:lnTo>
                      <a:pt x="670" y="6483"/>
                    </a:lnTo>
                    <a:lnTo>
                      <a:pt x="683" y="6469"/>
                    </a:lnTo>
                    <a:lnTo>
                      <a:pt x="718" y="6465"/>
                    </a:lnTo>
                    <a:lnTo>
                      <a:pt x="741" y="6483"/>
                    </a:lnTo>
                    <a:lnTo>
                      <a:pt x="746" y="6466"/>
                    </a:lnTo>
                    <a:lnTo>
                      <a:pt x="728" y="6442"/>
                    </a:lnTo>
                    <a:lnTo>
                      <a:pt x="729" y="6433"/>
                    </a:lnTo>
                    <a:lnTo>
                      <a:pt x="761" y="6447"/>
                    </a:lnTo>
                    <a:lnTo>
                      <a:pt x="784" y="6477"/>
                    </a:lnTo>
                    <a:lnTo>
                      <a:pt x="833" y="6480"/>
                    </a:lnTo>
                    <a:lnTo>
                      <a:pt x="866" y="6493"/>
                    </a:lnTo>
                    <a:lnTo>
                      <a:pt x="893" y="6479"/>
                    </a:lnTo>
                    <a:lnTo>
                      <a:pt x="889" y="6461"/>
                    </a:lnTo>
                    <a:lnTo>
                      <a:pt x="930" y="6470"/>
                    </a:lnTo>
                    <a:lnTo>
                      <a:pt x="966" y="6493"/>
                    </a:lnTo>
                    <a:lnTo>
                      <a:pt x="971" y="6479"/>
                    </a:lnTo>
                    <a:lnTo>
                      <a:pt x="1012" y="6495"/>
                    </a:lnTo>
                    <a:lnTo>
                      <a:pt x="1187" y="6589"/>
                    </a:lnTo>
                    <a:lnTo>
                      <a:pt x="1304" y="6666"/>
                    </a:lnTo>
                    <a:lnTo>
                      <a:pt x="1328" y="6694"/>
                    </a:lnTo>
                    <a:lnTo>
                      <a:pt x="1361" y="6705"/>
                    </a:lnTo>
                    <a:lnTo>
                      <a:pt x="1401" y="6764"/>
                    </a:lnTo>
                    <a:lnTo>
                      <a:pt x="1427" y="6770"/>
                    </a:lnTo>
                    <a:lnTo>
                      <a:pt x="1420" y="6751"/>
                    </a:lnTo>
                    <a:lnTo>
                      <a:pt x="1420" y="6738"/>
                    </a:lnTo>
                    <a:lnTo>
                      <a:pt x="1437" y="6738"/>
                    </a:lnTo>
                    <a:lnTo>
                      <a:pt x="1487" y="6783"/>
                    </a:lnTo>
                    <a:lnTo>
                      <a:pt x="1513" y="6785"/>
                    </a:lnTo>
                    <a:lnTo>
                      <a:pt x="1557" y="6824"/>
                    </a:lnTo>
                    <a:lnTo>
                      <a:pt x="1581" y="6814"/>
                    </a:lnTo>
                    <a:lnTo>
                      <a:pt x="1553" y="6774"/>
                    </a:lnTo>
                    <a:lnTo>
                      <a:pt x="1546" y="6757"/>
                    </a:lnTo>
                    <a:lnTo>
                      <a:pt x="1564" y="6757"/>
                    </a:lnTo>
                    <a:lnTo>
                      <a:pt x="1601" y="6793"/>
                    </a:lnTo>
                    <a:lnTo>
                      <a:pt x="1598" y="6825"/>
                    </a:lnTo>
                    <a:lnTo>
                      <a:pt x="1667" y="6873"/>
                    </a:lnTo>
                    <a:lnTo>
                      <a:pt x="1662" y="6895"/>
                    </a:lnTo>
                    <a:lnTo>
                      <a:pt x="1701" y="6913"/>
                    </a:lnTo>
                    <a:lnTo>
                      <a:pt x="1709" y="6898"/>
                    </a:lnTo>
                    <a:lnTo>
                      <a:pt x="1738" y="6904"/>
                    </a:lnTo>
                    <a:lnTo>
                      <a:pt x="1775" y="6942"/>
                    </a:lnTo>
                    <a:lnTo>
                      <a:pt x="1787" y="6984"/>
                    </a:lnTo>
                    <a:lnTo>
                      <a:pt x="1807" y="6998"/>
                    </a:lnTo>
                    <a:lnTo>
                      <a:pt x="1835" y="7040"/>
                    </a:lnTo>
                    <a:lnTo>
                      <a:pt x="1847" y="7037"/>
                    </a:lnTo>
                    <a:lnTo>
                      <a:pt x="1861" y="7049"/>
                    </a:lnTo>
                    <a:lnTo>
                      <a:pt x="1862" y="7092"/>
                    </a:lnTo>
                    <a:lnTo>
                      <a:pt x="1863" y="7132"/>
                    </a:lnTo>
                    <a:lnTo>
                      <a:pt x="1856" y="7183"/>
                    </a:lnTo>
                    <a:lnTo>
                      <a:pt x="1843" y="7208"/>
                    </a:lnTo>
                    <a:lnTo>
                      <a:pt x="1843" y="7232"/>
                    </a:lnTo>
                    <a:lnTo>
                      <a:pt x="1806" y="7279"/>
                    </a:lnTo>
                    <a:lnTo>
                      <a:pt x="1800" y="7303"/>
                    </a:lnTo>
                    <a:lnTo>
                      <a:pt x="1735" y="7391"/>
                    </a:lnTo>
                    <a:lnTo>
                      <a:pt x="1688" y="7416"/>
                    </a:lnTo>
                    <a:lnTo>
                      <a:pt x="1633" y="7426"/>
                    </a:lnTo>
                    <a:lnTo>
                      <a:pt x="1608" y="7446"/>
                    </a:lnTo>
                    <a:lnTo>
                      <a:pt x="1558" y="7446"/>
                    </a:lnTo>
                    <a:lnTo>
                      <a:pt x="1547" y="7459"/>
                    </a:lnTo>
                    <a:lnTo>
                      <a:pt x="1469" y="7468"/>
                    </a:lnTo>
                    <a:lnTo>
                      <a:pt x="1371" y="7463"/>
                    </a:lnTo>
                    <a:lnTo>
                      <a:pt x="1314" y="7447"/>
                    </a:lnTo>
                    <a:lnTo>
                      <a:pt x="1274" y="7418"/>
                    </a:lnTo>
                    <a:lnTo>
                      <a:pt x="1248" y="7437"/>
                    </a:lnTo>
                    <a:lnTo>
                      <a:pt x="1221" y="7427"/>
                    </a:lnTo>
                    <a:lnTo>
                      <a:pt x="1173" y="7427"/>
                    </a:lnTo>
                    <a:lnTo>
                      <a:pt x="1167" y="7411"/>
                    </a:lnTo>
                    <a:lnTo>
                      <a:pt x="1138" y="7402"/>
                    </a:lnTo>
                    <a:lnTo>
                      <a:pt x="1113" y="7419"/>
                    </a:lnTo>
                    <a:lnTo>
                      <a:pt x="1069" y="7378"/>
                    </a:lnTo>
                    <a:lnTo>
                      <a:pt x="1071" y="7357"/>
                    </a:lnTo>
                    <a:lnTo>
                      <a:pt x="1038" y="7363"/>
                    </a:lnTo>
                    <a:lnTo>
                      <a:pt x="1008" y="7358"/>
                    </a:lnTo>
                    <a:lnTo>
                      <a:pt x="1022" y="7351"/>
                    </a:lnTo>
                    <a:lnTo>
                      <a:pt x="968" y="7349"/>
                    </a:lnTo>
                    <a:lnTo>
                      <a:pt x="952" y="7367"/>
                    </a:lnTo>
                    <a:lnTo>
                      <a:pt x="918" y="7365"/>
                    </a:lnTo>
                    <a:lnTo>
                      <a:pt x="918" y="7346"/>
                    </a:lnTo>
                    <a:lnTo>
                      <a:pt x="905" y="7336"/>
                    </a:lnTo>
                    <a:lnTo>
                      <a:pt x="926" y="7321"/>
                    </a:lnTo>
                    <a:lnTo>
                      <a:pt x="904" y="7297"/>
                    </a:lnTo>
                    <a:lnTo>
                      <a:pt x="898" y="7311"/>
                    </a:lnTo>
                    <a:lnTo>
                      <a:pt x="842" y="7311"/>
                    </a:lnTo>
                    <a:lnTo>
                      <a:pt x="807" y="7287"/>
                    </a:lnTo>
                    <a:lnTo>
                      <a:pt x="800" y="7298"/>
                    </a:lnTo>
                    <a:lnTo>
                      <a:pt x="778" y="7295"/>
                    </a:lnTo>
                    <a:lnTo>
                      <a:pt x="704" y="7234"/>
                    </a:lnTo>
                    <a:lnTo>
                      <a:pt x="696" y="7202"/>
                    </a:lnTo>
                    <a:lnTo>
                      <a:pt x="653" y="7198"/>
                    </a:lnTo>
                    <a:lnTo>
                      <a:pt x="644" y="7188"/>
                    </a:lnTo>
                    <a:lnTo>
                      <a:pt x="613" y="7189"/>
                    </a:lnTo>
                    <a:lnTo>
                      <a:pt x="605" y="7199"/>
                    </a:lnTo>
                    <a:lnTo>
                      <a:pt x="641" y="7224"/>
                    </a:lnTo>
                    <a:lnTo>
                      <a:pt x="649" y="7273"/>
                    </a:lnTo>
                    <a:lnTo>
                      <a:pt x="689" y="7299"/>
                    </a:lnTo>
                    <a:lnTo>
                      <a:pt x="699" y="7325"/>
                    </a:lnTo>
                    <a:lnTo>
                      <a:pt x="749" y="7337"/>
                    </a:lnTo>
                    <a:lnTo>
                      <a:pt x="759" y="7348"/>
                    </a:lnTo>
                    <a:lnTo>
                      <a:pt x="725" y="7365"/>
                    </a:lnTo>
                    <a:lnTo>
                      <a:pt x="710" y="7386"/>
                    </a:lnTo>
                    <a:lnTo>
                      <a:pt x="718" y="7394"/>
                    </a:lnTo>
                    <a:lnTo>
                      <a:pt x="774" y="7381"/>
                    </a:lnTo>
                    <a:lnTo>
                      <a:pt x="796" y="7365"/>
                    </a:lnTo>
                    <a:lnTo>
                      <a:pt x="820" y="7382"/>
                    </a:lnTo>
                    <a:lnTo>
                      <a:pt x="795" y="7392"/>
                    </a:lnTo>
                    <a:lnTo>
                      <a:pt x="795" y="7403"/>
                    </a:lnTo>
                    <a:lnTo>
                      <a:pt x="833" y="7407"/>
                    </a:lnTo>
                    <a:lnTo>
                      <a:pt x="824" y="7433"/>
                    </a:lnTo>
                    <a:lnTo>
                      <a:pt x="790" y="7438"/>
                    </a:lnTo>
                    <a:lnTo>
                      <a:pt x="776" y="7457"/>
                    </a:lnTo>
                    <a:lnTo>
                      <a:pt x="816" y="7463"/>
                    </a:lnTo>
                    <a:lnTo>
                      <a:pt x="830" y="7453"/>
                    </a:lnTo>
                    <a:lnTo>
                      <a:pt x="858" y="7453"/>
                    </a:lnTo>
                    <a:lnTo>
                      <a:pt x="874" y="7472"/>
                    </a:lnTo>
                    <a:lnTo>
                      <a:pt x="895" y="7456"/>
                    </a:lnTo>
                    <a:lnTo>
                      <a:pt x="973" y="7488"/>
                    </a:lnTo>
                    <a:lnTo>
                      <a:pt x="1010" y="7540"/>
                    </a:lnTo>
                    <a:lnTo>
                      <a:pt x="1028" y="7544"/>
                    </a:lnTo>
                    <a:lnTo>
                      <a:pt x="1017" y="7564"/>
                    </a:lnTo>
                    <a:lnTo>
                      <a:pt x="1014" y="7588"/>
                    </a:lnTo>
                    <a:lnTo>
                      <a:pt x="1025" y="7592"/>
                    </a:lnTo>
                    <a:lnTo>
                      <a:pt x="1028" y="7626"/>
                    </a:lnTo>
                    <a:lnTo>
                      <a:pt x="1023" y="7679"/>
                    </a:lnTo>
                    <a:lnTo>
                      <a:pt x="998" y="7688"/>
                    </a:lnTo>
                    <a:lnTo>
                      <a:pt x="990" y="7718"/>
                    </a:lnTo>
                    <a:lnTo>
                      <a:pt x="1018" y="7727"/>
                    </a:lnTo>
                    <a:lnTo>
                      <a:pt x="1020" y="7766"/>
                    </a:lnTo>
                    <a:lnTo>
                      <a:pt x="1067" y="7811"/>
                    </a:lnTo>
                    <a:lnTo>
                      <a:pt x="1065" y="7839"/>
                    </a:lnTo>
                    <a:lnTo>
                      <a:pt x="1099" y="7863"/>
                    </a:lnTo>
                    <a:lnTo>
                      <a:pt x="1099" y="7896"/>
                    </a:lnTo>
                    <a:lnTo>
                      <a:pt x="1106" y="7936"/>
                    </a:lnTo>
                    <a:lnTo>
                      <a:pt x="1092" y="7963"/>
                    </a:lnTo>
                    <a:lnTo>
                      <a:pt x="1109" y="7979"/>
                    </a:lnTo>
                    <a:lnTo>
                      <a:pt x="1124" y="8007"/>
                    </a:lnTo>
                    <a:lnTo>
                      <a:pt x="1192" y="8033"/>
                    </a:lnTo>
                    <a:lnTo>
                      <a:pt x="1224" y="8007"/>
                    </a:lnTo>
                    <a:lnTo>
                      <a:pt x="1237" y="8009"/>
                    </a:lnTo>
                    <a:lnTo>
                      <a:pt x="1261" y="8040"/>
                    </a:lnTo>
                    <a:lnTo>
                      <a:pt x="1290" y="8060"/>
                    </a:lnTo>
                    <a:lnTo>
                      <a:pt x="1294" y="8101"/>
                    </a:lnTo>
                    <a:lnTo>
                      <a:pt x="1309" y="8113"/>
                    </a:lnTo>
                    <a:lnTo>
                      <a:pt x="1362" y="8114"/>
                    </a:lnTo>
                    <a:lnTo>
                      <a:pt x="1385" y="8133"/>
                    </a:lnTo>
                    <a:lnTo>
                      <a:pt x="1434" y="8134"/>
                    </a:lnTo>
                    <a:lnTo>
                      <a:pt x="1464" y="8162"/>
                    </a:lnTo>
                    <a:lnTo>
                      <a:pt x="1483" y="8163"/>
                    </a:lnTo>
                    <a:lnTo>
                      <a:pt x="1520" y="8123"/>
                    </a:lnTo>
                    <a:lnTo>
                      <a:pt x="1548" y="8121"/>
                    </a:lnTo>
                    <a:lnTo>
                      <a:pt x="1569" y="8112"/>
                    </a:lnTo>
                    <a:lnTo>
                      <a:pt x="1571" y="8059"/>
                    </a:lnTo>
                    <a:lnTo>
                      <a:pt x="1545" y="8036"/>
                    </a:lnTo>
                    <a:lnTo>
                      <a:pt x="1557" y="8019"/>
                    </a:lnTo>
                    <a:lnTo>
                      <a:pt x="1556" y="8006"/>
                    </a:lnTo>
                    <a:lnTo>
                      <a:pt x="1518" y="7992"/>
                    </a:lnTo>
                    <a:lnTo>
                      <a:pt x="1513" y="7965"/>
                    </a:lnTo>
                    <a:lnTo>
                      <a:pt x="1487" y="7983"/>
                    </a:lnTo>
                    <a:lnTo>
                      <a:pt x="1467" y="7982"/>
                    </a:lnTo>
                    <a:lnTo>
                      <a:pt x="1434" y="7997"/>
                    </a:lnTo>
                    <a:lnTo>
                      <a:pt x="1393" y="7976"/>
                    </a:lnTo>
                    <a:lnTo>
                      <a:pt x="1363" y="7936"/>
                    </a:lnTo>
                    <a:lnTo>
                      <a:pt x="1317" y="7914"/>
                    </a:lnTo>
                    <a:lnTo>
                      <a:pt x="1308" y="7877"/>
                    </a:lnTo>
                    <a:lnTo>
                      <a:pt x="1283" y="7830"/>
                    </a:lnTo>
                    <a:lnTo>
                      <a:pt x="1317" y="7832"/>
                    </a:lnTo>
                    <a:lnTo>
                      <a:pt x="1339" y="7811"/>
                    </a:lnTo>
                    <a:lnTo>
                      <a:pt x="1327" y="7792"/>
                    </a:lnTo>
                    <a:lnTo>
                      <a:pt x="1335" y="7773"/>
                    </a:lnTo>
                    <a:lnTo>
                      <a:pt x="1324" y="7751"/>
                    </a:lnTo>
                    <a:lnTo>
                      <a:pt x="1333" y="7729"/>
                    </a:lnTo>
                    <a:lnTo>
                      <a:pt x="1372" y="7728"/>
                    </a:lnTo>
                    <a:lnTo>
                      <a:pt x="1410" y="7753"/>
                    </a:lnTo>
                    <a:lnTo>
                      <a:pt x="1458" y="7762"/>
                    </a:lnTo>
                    <a:lnTo>
                      <a:pt x="1482" y="7798"/>
                    </a:lnTo>
                    <a:lnTo>
                      <a:pt x="1512" y="7825"/>
                    </a:lnTo>
                    <a:lnTo>
                      <a:pt x="1572" y="7827"/>
                    </a:lnTo>
                    <a:lnTo>
                      <a:pt x="1583" y="7850"/>
                    </a:lnTo>
                    <a:lnTo>
                      <a:pt x="1621" y="7853"/>
                    </a:lnTo>
                    <a:lnTo>
                      <a:pt x="1729" y="7905"/>
                    </a:lnTo>
                    <a:lnTo>
                      <a:pt x="1775" y="7949"/>
                    </a:lnTo>
                    <a:lnTo>
                      <a:pt x="1793" y="7921"/>
                    </a:lnTo>
                    <a:lnTo>
                      <a:pt x="1823" y="7896"/>
                    </a:lnTo>
                    <a:lnTo>
                      <a:pt x="1822" y="7860"/>
                    </a:lnTo>
                    <a:lnTo>
                      <a:pt x="1847" y="7858"/>
                    </a:lnTo>
                    <a:lnTo>
                      <a:pt x="1873" y="7828"/>
                    </a:lnTo>
                    <a:lnTo>
                      <a:pt x="1828" y="7761"/>
                    </a:lnTo>
                    <a:lnTo>
                      <a:pt x="1753" y="7683"/>
                    </a:lnTo>
                    <a:lnTo>
                      <a:pt x="1735" y="7633"/>
                    </a:lnTo>
                    <a:lnTo>
                      <a:pt x="1738" y="7603"/>
                    </a:lnTo>
                    <a:lnTo>
                      <a:pt x="1786" y="7566"/>
                    </a:lnTo>
                    <a:lnTo>
                      <a:pt x="1823" y="7516"/>
                    </a:lnTo>
                    <a:lnTo>
                      <a:pt x="1833" y="7472"/>
                    </a:lnTo>
                    <a:lnTo>
                      <a:pt x="1862" y="7444"/>
                    </a:lnTo>
                    <a:lnTo>
                      <a:pt x="1902" y="7437"/>
                    </a:lnTo>
                    <a:lnTo>
                      <a:pt x="1957" y="7391"/>
                    </a:lnTo>
                    <a:lnTo>
                      <a:pt x="1996" y="7308"/>
                    </a:lnTo>
                    <a:lnTo>
                      <a:pt x="2020" y="7290"/>
                    </a:lnTo>
                    <a:lnTo>
                      <a:pt x="2062" y="7297"/>
                    </a:lnTo>
                    <a:lnTo>
                      <a:pt x="2096" y="7324"/>
                    </a:lnTo>
                    <a:lnTo>
                      <a:pt x="2145" y="7317"/>
                    </a:lnTo>
                    <a:lnTo>
                      <a:pt x="2198" y="7324"/>
                    </a:lnTo>
                    <a:lnTo>
                      <a:pt x="2216" y="7347"/>
                    </a:lnTo>
                    <a:lnTo>
                      <a:pt x="2211" y="7383"/>
                    </a:lnTo>
                    <a:lnTo>
                      <a:pt x="2252" y="7344"/>
                    </a:lnTo>
                    <a:lnTo>
                      <a:pt x="2295" y="7377"/>
                    </a:lnTo>
                    <a:lnTo>
                      <a:pt x="2309" y="7419"/>
                    </a:lnTo>
                    <a:lnTo>
                      <a:pt x="2330" y="7439"/>
                    </a:lnTo>
                    <a:lnTo>
                      <a:pt x="2325" y="7377"/>
                    </a:lnTo>
                    <a:lnTo>
                      <a:pt x="2302" y="7332"/>
                    </a:lnTo>
                    <a:lnTo>
                      <a:pt x="2316" y="7312"/>
                    </a:lnTo>
                    <a:lnTo>
                      <a:pt x="2315" y="7233"/>
                    </a:lnTo>
                    <a:lnTo>
                      <a:pt x="2326" y="7208"/>
                    </a:lnTo>
                    <a:lnTo>
                      <a:pt x="2311" y="7197"/>
                    </a:lnTo>
                    <a:lnTo>
                      <a:pt x="2310" y="7178"/>
                    </a:lnTo>
                    <a:lnTo>
                      <a:pt x="2316" y="7160"/>
                    </a:lnTo>
                    <a:lnTo>
                      <a:pt x="2310" y="7137"/>
                    </a:lnTo>
                    <a:lnTo>
                      <a:pt x="2316" y="7120"/>
                    </a:lnTo>
                    <a:lnTo>
                      <a:pt x="2291" y="7093"/>
                    </a:lnTo>
                    <a:lnTo>
                      <a:pt x="2254" y="7072"/>
                    </a:lnTo>
                    <a:lnTo>
                      <a:pt x="2203" y="7074"/>
                    </a:lnTo>
                    <a:lnTo>
                      <a:pt x="2190" y="7032"/>
                    </a:lnTo>
                    <a:lnTo>
                      <a:pt x="2202" y="6987"/>
                    </a:lnTo>
                    <a:lnTo>
                      <a:pt x="2202" y="6909"/>
                    </a:lnTo>
                    <a:lnTo>
                      <a:pt x="2215" y="6899"/>
                    </a:lnTo>
                    <a:lnTo>
                      <a:pt x="2207" y="6874"/>
                    </a:lnTo>
                    <a:lnTo>
                      <a:pt x="2209" y="6842"/>
                    </a:lnTo>
                    <a:lnTo>
                      <a:pt x="2222" y="6830"/>
                    </a:lnTo>
                    <a:lnTo>
                      <a:pt x="2205" y="6808"/>
                    </a:lnTo>
                    <a:lnTo>
                      <a:pt x="2205" y="6768"/>
                    </a:lnTo>
                    <a:lnTo>
                      <a:pt x="2179" y="6695"/>
                    </a:lnTo>
                    <a:lnTo>
                      <a:pt x="2130" y="6661"/>
                    </a:lnTo>
                    <a:lnTo>
                      <a:pt x="2046" y="6593"/>
                    </a:lnTo>
                    <a:lnTo>
                      <a:pt x="2045" y="6574"/>
                    </a:lnTo>
                    <a:lnTo>
                      <a:pt x="2083" y="6574"/>
                    </a:lnTo>
                    <a:lnTo>
                      <a:pt x="2153" y="6620"/>
                    </a:lnTo>
                    <a:lnTo>
                      <a:pt x="2195" y="6619"/>
                    </a:lnTo>
                    <a:lnTo>
                      <a:pt x="2221" y="6605"/>
                    </a:lnTo>
                    <a:lnTo>
                      <a:pt x="2285" y="6600"/>
                    </a:lnTo>
                    <a:lnTo>
                      <a:pt x="2377" y="6609"/>
                    </a:lnTo>
                    <a:lnTo>
                      <a:pt x="2420" y="6636"/>
                    </a:lnTo>
                    <a:lnTo>
                      <a:pt x="2419" y="6668"/>
                    </a:lnTo>
                    <a:lnTo>
                      <a:pt x="2455" y="6710"/>
                    </a:lnTo>
                    <a:lnTo>
                      <a:pt x="2494" y="6715"/>
                    </a:lnTo>
                    <a:lnTo>
                      <a:pt x="2500" y="6743"/>
                    </a:lnTo>
                    <a:lnTo>
                      <a:pt x="2547" y="6803"/>
                    </a:lnTo>
                    <a:lnTo>
                      <a:pt x="2541" y="6829"/>
                    </a:lnTo>
                    <a:lnTo>
                      <a:pt x="2480" y="6828"/>
                    </a:lnTo>
                    <a:lnTo>
                      <a:pt x="2465" y="6851"/>
                    </a:lnTo>
                    <a:lnTo>
                      <a:pt x="2412" y="6853"/>
                    </a:lnTo>
                    <a:lnTo>
                      <a:pt x="2395" y="6870"/>
                    </a:lnTo>
                    <a:lnTo>
                      <a:pt x="2400" y="6890"/>
                    </a:lnTo>
                    <a:lnTo>
                      <a:pt x="2386" y="6914"/>
                    </a:lnTo>
                    <a:lnTo>
                      <a:pt x="2367" y="6904"/>
                    </a:lnTo>
                    <a:lnTo>
                      <a:pt x="2359" y="6924"/>
                    </a:lnTo>
                    <a:lnTo>
                      <a:pt x="2356" y="6974"/>
                    </a:lnTo>
                    <a:lnTo>
                      <a:pt x="2381" y="6987"/>
                    </a:lnTo>
                    <a:lnTo>
                      <a:pt x="2452" y="7047"/>
                    </a:lnTo>
                    <a:lnTo>
                      <a:pt x="2520" y="7136"/>
                    </a:lnTo>
                    <a:lnTo>
                      <a:pt x="2551" y="7136"/>
                    </a:lnTo>
                    <a:lnTo>
                      <a:pt x="2597" y="7104"/>
                    </a:lnTo>
                    <a:lnTo>
                      <a:pt x="2617" y="7142"/>
                    </a:lnTo>
                    <a:lnTo>
                      <a:pt x="2634" y="7120"/>
                    </a:lnTo>
                    <a:lnTo>
                      <a:pt x="2669" y="7120"/>
                    </a:lnTo>
                    <a:lnTo>
                      <a:pt x="2679" y="7103"/>
                    </a:lnTo>
                    <a:lnTo>
                      <a:pt x="2739" y="7075"/>
                    </a:lnTo>
                    <a:lnTo>
                      <a:pt x="2751" y="7039"/>
                    </a:lnTo>
                    <a:lnTo>
                      <a:pt x="2735" y="6987"/>
                    </a:lnTo>
                    <a:lnTo>
                      <a:pt x="2757" y="6948"/>
                    </a:lnTo>
                    <a:lnTo>
                      <a:pt x="2756" y="6917"/>
                    </a:lnTo>
                    <a:lnTo>
                      <a:pt x="2730" y="6885"/>
                    </a:lnTo>
                    <a:lnTo>
                      <a:pt x="2749" y="6872"/>
                    </a:lnTo>
                    <a:lnTo>
                      <a:pt x="2840" y="6860"/>
                    </a:lnTo>
                    <a:lnTo>
                      <a:pt x="2854" y="6840"/>
                    </a:lnTo>
                    <a:lnTo>
                      <a:pt x="2910" y="6862"/>
                    </a:lnTo>
                    <a:lnTo>
                      <a:pt x="2903" y="6835"/>
                    </a:lnTo>
                    <a:lnTo>
                      <a:pt x="2858" y="6802"/>
                    </a:lnTo>
                    <a:lnTo>
                      <a:pt x="2843" y="6768"/>
                    </a:lnTo>
                    <a:lnTo>
                      <a:pt x="2860" y="6768"/>
                    </a:lnTo>
                    <a:lnTo>
                      <a:pt x="2885" y="6793"/>
                    </a:lnTo>
                    <a:lnTo>
                      <a:pt x="2914" y="6778"/>
                    </a:lnTo>
                    <a:lnTo>
                      <a:pt x="2978" y="6700"/>
                    </a:lnTo>
                    <a:lnTo>
                      <a:pt x="2997" y="6694"/>
                    </a:lnTo>
                    <a:lnTo>
                      <a:pt x="3067" y="6609"/>
                    </a:lnTo>
                    <a:lnTo>
                      <a:pt x="3067" y="6590"/>
                    </a:lnTo>
                    <a:lnTo>
                      <a:pt x="3087" y="6579"/>
                    </a:lnTo>
                    <a:lnTo>
                      <a:pt x="3125" y="6585"/>
                    </a:lnTo>
                    <a:lnTo>
                      <a:pt x="3171" y="6564"/>
                    </a:lnTo>
                    <a:lnTo>
                      <a:pt x="3179" y="6542"/>
                    </a:lnTo>
                    <a:lnTo>
                      <a:pt x="3246" y="6522"/>
                    </a:lnTo>
                    <a:lnTo>
                      <a:pt x="3250" y="6547"/>
                    </a:lnTo>
                    <a:lnTo>
                      <a:pt x="3262" y="6548"/>
                    </a:lnTo>
                    <a:lnTo>
                      <a:pt x="3269" y="6575"/>
                    </a:lnTo>
                    <a:lnTo>
                      <a:pt x="3256" y="6595"/>
                    </a:lnTo>
                    <a:lnTo>
                      <a:pt x="3275" y="6608"/>
                    </a:lnTo>
                    <a:lnTo>
                      <a:pt x="3314" y="6569"/>
                    </a:lnTo>
                    <a:lnTo>
                      <a:pt x="3318" y="6544"/>
                    </a:lnTo>
                    <a:lnTo>
                      <a:pt x="3298" y="6535"/>
                    </a:lnTo>
                    <a:lnTo>
                      <a:pt x="3273" y="6509"/>
                    </a:lnTo>
                    <a:lnTo>
                      <a:pt x="3271" y="6494"/>
                    </a:lnTo>
                    <a:lnTo>
                      <a:pt x="3333" y="6431"/>
                    </a:lnTo>
                    <a:lnTo>
                      <a:pt x="3345" y="6431"/>
                    </a:lnTo>
                    <a:lnTo>
                      <a:pt x="3350" y="6453"/>
                    </a:lnTo>
                    <a:lnTo>
                      <a:pt x="3337" y="6460"/>
                    </a:lnTo>
                    <a:lnTo>
                      <a:pt x="3326" y="6475"/>
                    </a:lnTo>
                    <a:lnTo>
                      <a:pt x="3358" y="6510"/>
                    </a:lnTo>
                    <a:lnTo>
                      <a:pt x="3379" y="6504"/>
                    </a:lnTo>
                    <a:lnTo>
                      <a:pt x="3398" y="6480"/>
                    </a:lnTo>
                    <a:lnTo>
                      <a:pt x="3386" y="6459"/>
                    </a:lnTo>
                    <a:lnTo>
                      <a:pt x="3375" y="6427"/>
                    </a:lnTo>
                    <a:lnTo>
                      <a:pt x="3363" y="6412"/>
                    </a:lnTo>
                    <a:lnTo>
                      <a:pt x="3390" y="6390"/>
                    </a:lnTo>
                    <a:lnTo>
                      <a:pt x="3480" y="6351"/>
                    </a:lnTo>
                    <a:lnTo>
                      <a:pt x="3542" y="6342"/>
                    </a:lnTo>
                    <a:lnTo>
                      <a:pt x="3548" y="6355"/>
                    </a:lnTo>
                    <a:lnTo>
                      <a:pt x="3514" y="6373"/>
                    </a:lnTo>
                    <a:lnTo>
                      <a:pt x="3487" y="6375"/>
                    </a:lnTo>
                    <a:lnTo>
                      <a:pt x="3425" y="6405"/>
                    </a:lnTo>
                    <a:lnTo>
                      <a:pt x="3436" y="6421"/>
                    </a:lnTo>
                    <a:lnTo>
                      <a:pt x="3460" y="6426"/>
                    </a:lnTo>
                    <a:lnTo>
                      <a:pt x="3479" y="6416"/>
                    </a:lnTo>
                    <a:lnTo>
                      <a:pt x="3518" y="6453"/>
                    </a:lnTo>
                    <a:lnTo>
                      <a:pt x="3497" y="6464"/>
                    </a:lnTo>
                    <a:lnTo>
                      <a:pt x="3488" y="6479"/>
                    </a:lnTo>
                    <a:lnTo>
                      <a:pt x="3512" y="6515"/>
                    </a:lnTo>
                    <a:lnTo>
                      <a:pt x="3498" y="6539"/>
                    </a:lnTo>
                    <a:lnTo>
                      <a:pt x="3464" y="6540"/>
                    </a:lnTo>
                    <a:lnTo>
                      <a:pt x="3429" y="6574"/>
                    </a:lnTo>
                    <a:lnTo>
                      <a:pt x="3436" y="6602"/>
                    </a:lnTo>
                    <a:lnTo>
                      <a:pt x="3464" y="6607"/>
                    </a:lnTo>
                    <a:lnTo>
                      <a:pt x="3486" y="6601"/>
                    </a:lnTo>
                    <a:lnTo>
                      <a:pt x="3509" y="6602"/>
                    </a:lnTo>
                    <a:lnTo>
                      <a:pt x="3533" y="6585"/>
                    </a:lnTo>
                    <a:lnTo>
                      <a:pt x="3569" y="6600"/>
                    </a:lnTo>
                    <a:lnTo>
                      <a:pt x="3569" y="6640"/>
                    </a:lnTo>
                    <a:lnTo>
                      <a:pt x="3585" y="6598"/>
                    </a:lnTo>
                    <a:lnTo>
                      <a:pt x="3621" y="6557"/>
                    </a:lnTo>
                    <a:lnTo>
                      <a:pt x="3637" y="6555"/>
                    </a:lnTo>
                    <a:lnTo>
                      <a:pt x="3653" y="6577"/>
                    </a:lnTo>
                    <a:lnTo>
                      <a:pt x="3681" y="6598"/>
                    </a:lnTo>
                    <a:lnTo>
                      <a:pt x="3691" y="6584"/>
                    </a:lnTo>
                    <a:lnTo>
                      <a:pt x="3684" y="6564"/>
                    </a:lnTo>
                    <a:lnTo>
                      <a:pt x="3692" y="6542"/>
                    </a:lnTo>
                    <a:lnTo>
                      <a:pt x="3667" y="6525"/>
                    </a:lnTo>
                    <a:lnTo>
                      <a:pt x="3666" y="6509"/>
                    </a:lnTo>
                    <a:lnTo>
                      <a:pt x="3696" y="6478"/>
                    </a:lnTo>
                    <a:lnTo>
                      <a:pt x="3731" y="6471"/>
                    </a:lnTo>
                    <a:lnTo>
                      <a:pt x="3740" y="6454"/>
                    </a:lnTo>
                    <a:lnTo>
                      <a:pt x="3785" y="6425"/>
                    </a:lnTo>
                    <a:lnTo>
                      <a:pt x="3805" y="6441"/>
                    </a:lnTo>
                    <a:lnTo>
                      <a:pt x="3828" y="6442"/>
                    </a:lnTo>
                    <a:lnTo>
                      <a:pt x="3843" y="6433"/>
                    </a:lnTo>
                    <a:lnTo>
                      <a:pt x="3869" y="6444"/>
                    </a:lnTo>
                    <a:lnTo>
                      <a:pt x="3943" y="6444"/>
                    </a:lnTo>
                    <a:lnTo>
                      <a:pt x="3969" y="6424"/>
                    </a:lnTo>
                    <a:lnTo>
                      <a:pt x="3969" y="6401"/>
                    </a:lnTo>
                    <a:lnTo>
                      <a:pt x="3988" y="6382"/>
                    </a:lnTo>
                    <a:lnTo>
                      <a:pt x="4030" y="6378"/>
                    </a:lnTo>
                    <a:lnTo>
                      <a:pt x="4033" y="6359"/>
                    </a:lnTo>
                    <a:lnTo>
                      <a:pt x="4065" y="6332"/>
                    </a:lnTo>
                    <a:lnTo>
                      <a:pt x="4092" y="6325"/>
                    </a:lnTo>
                    <a:lnTo>
                      <a:pt x="4137" y="6281"/>
                    </a:lnTo>
                    <a:lnTo>
                      <a:pt x="4154" y="6280"/>
                    </a:lnTo>
                    <a:lnTo>
                      <a:pt x="4180" y="6267"/>
                    </a:lnTo>
                    <a:lnTo>
                      <a:pt x="4187" y="6278"/>
                    </a:lnTo>
                    <a:lnTo>
                      <a:pt x="4161" y="6308"/>
                    </a:lnTo>
                    <a:lnTo>
                      <a:pt x="4187" y="6318"/>
                    </a:lnTo>
                    <a:lnTo>
                      <a:pt x="4221" y="6352"/>
                    </a:lnTo>
                    <a:lnTo>
                      <a:pt x="4222" y="6371"/>
                    </a:lnTo>
                    <a:lnTo>
                      <a:pt x="4194" y="6396"/>
                    </a:lnTo>
                    <a:lnTo>
                      <a:pt x="4211" y="6430"/>
                    </a:lnTo>
                    <a:lnTo>
                      <a:pt x="4204" y="6457"/>
                    </a:lnTo>
                    <a:lnTo>
                      <a:pt x="4223" y="6482"/>
                    </a:lnTo>
                    <a:lnTo>
                      <a:pt x="4311" y="6486"/>
                    </a:lnTo>
                    <a:lnTo>
                      <a:pt x="4328" y="6466"/>
                    </a:lnTo>
                    <a:lnTo>
                      <a:pt x="4329" y="6446"/>
                    </a:lnTo>
                    <a:lnTo>
                      <a:pt x="4316" y="6433"/>
                    </a:lnTo>
                    <a:lnTo>
                      <a:pt x="4280" y="6390"/>
                    </a:lnTo>
                    <a:lnTo>
                      <a:pt x="4282" y="6371"/>
                    </a:lnTo>
                    <a:lnTo>
                      <a:pt x="4306" y="6351"/>
                    </a:lnTo>
                    <a:lnTo>
                      <a:pt x="4353" y="6372"/>
                    </a:lnTo>
                    <a:lnTo>
                      <a:pt x="4386" y="6350"/>
                    </a:lnTo>
                    <a:lnTo>
                      <a:pt x="4400" y="6294"/>
                    </a:lnTo>
                    <a:lnTo>
                      <a:pt x="4426" y="6290"/>
                    </a:lnTo>
                    <a:lnTo>
                      <a:pt x="4441" y="6305"/>
                    </a:lnTo>
                    <a:lnTo>
                      <a:pt x="4486" y="6313"/>
                    </a:lnTo>
                    <a:lnTo>
                      <a:pt x="4440" y="6262"/>
                    </a:lnTo>
                    <a:lnTo>
                      <a:pt x="4401" y="6251"/>
                    </a:lnTo>
                    <a:lnTo>
                      <a:pt x="4397" y="6221"/>
                    </a:lnTo>
                    <a:lnTo>
                      <a:pt x="4369" y="6165"/>
                    </a:lnTo>
                    <a:lnTo>
                      <a:pt x="4348" y="6162"/>
                    </a:lnTo>
                    <a:lnTo>
                      <a:pt x="4341" y="6192"/>
                    </a:lnTo>
                    <a:lnTo>
                      <a:pt x="4325" y="6164"/>
                    </a:lnTo>
                    <a:lnTo>
                      <a:pt x="4306" y="6101"/>
                    </a:lnTo>
                    <a:lnTo>
                      <a:pt x="4283" y="6089"/>
                    </a:lnTo>
                    <a:lnTo>
                      <a:pt x="4258" y="6050"/>
                    </a:lnTo>
                    <a:lnTo>
                      <a:pt x="4258" y="6036"/>
                    </a:lnTo>
                    <a:lnTo>
                      <a:pt x="4295" y="6022"/>
                    </a:lnTo>
                    <a:lnTo>
                      <a:pt x="4295" y="5994"/>
                    </a:lnTo>
                    <a:lnTo>
                      <a:pt x="4278" y="5957"/>
                    </a:lnTo>
                    <a:lnTo>
                      <a:pt x="4298" y="5939"/>
                    </a:lnTo>
                    <a:lnTo>
                      <a:pt x="4327" y="5945"/>
                    </a:lnTo>
                    <a:lnTo>
                      <a:pt x="4341" y="5937"/>
                    </a:lnTo>
                    <a:lnTo>
                      <a:pt x="4370" y="5956"/>
                    </a:lnTo>
                    <a:lnTo>
                      <a:pt x="4404" y="5951"/>
                    </a:lnTo>
                    <a:lnTo>
                      <a:pt x="4436" y="5961"/>
                    </a:lnTo>
                    <a:lnTo>
                      <a:pt x="4565" y="5944"/>
                    </a:lnTo>
                    <a:lnTo>
                      <a:pt x="4730" y="5952"/>
                    </a:lnTo>
                    <a:lnTo>
                      <a:pt x="4779" y="5986"/>
                    </a:lnTo>
                    <a:lnTo>
                      <a:pt x="4888" y="6026"/>
                    </a:lnTo>
                    <a:lnTo>
                      <a:pt x="4896" y="6050"/>
                    </a:lnTo>
                    <a:lnTo>
                      <a:pt x="4885" y="6067"/>
                    </a:lnTo>
                    <a:lnTo>
                      <a:pt x="4901" y="6105"/>
                    </a:lnTo>
                    <a:lnTo>
                      <a:pt x="4934" y="6077"/>
                    </a:lnTo>
                    <a:lnTo>
                      <a:pt x="4984" y="6059"/>
                    </a:lnTo>
                    <a:lnTo>
                      <a:pt x="5011" y="6085"/>
                    </a:lnTo>
                    <a:lnTo>
                      <a:pt x="5038" y="6087"/>
                    </a:lnTo>
                    <a:lnTo>
                      <a:pt x="5044" y="6120"/>
                    </a:lnTo>
                    <a:lnTo>
                      <a:pt x="5101" y="6127"/>
                    </a:lnTo>
                    <a:lnTo>
                      <a:pt x="5195" y="6181"/>
                    </a:lnTo>
                    <a:lnTo>
                      <a:pt x="5286" y="6190"/>
                    </a:lnTo>
                    <a:lnTo>
                      <a:pt x="5323" y="6220"/>
                    </a:lnTo>
                    <a:lnTo>
                      <a:pt x="5344" y="6267"/>
                    </a:lnTo>
                    <a:lnTo>
                      <a:pt x="5398" y="6278"/>
                    </a:lnTo>
                    <a:lnTo>
                      <a:pt x="5444" y="6313"/>
                    </a:lnTo>
                    <a:lnTo>
                      <a:pt x="5484" y="6389"/>
                    </a:lnTo>
                    <a:lnTo>
                      <a:pt x="5520" y="6396"/>
                    </a:lnTo>
                    <a:lnTo>
                      <a:pt x="5523" y="6375"/>
                    </a:lnTo>
                    <a:lnTo>
                      <a:pt x="5514" y="6326"/>
                    </a:lnTo>
                    <a:lnTo>
                      <a:pt x="5534" y="6325"/>
                    </a:lnTo>
                    <a:lnTo>
                      <a:pt x="5543" y="6307"/>
                    </a:lnTo>
                    <a:lnTo>
                      <a:pt x="5519" y="6271"/>
                    </a:lnTo>
                    <a:lnTo>
                      <a:pt x="5529" y="6248"/>
                    </a:lnTo>
                    <a:lnTo>
                      <a:pt x="5528" y="6156"/>
                    </a:lnTo>
                    <a:lnTo>
                      <a:pt x="5559" y="6131"/>
                    </a:lnTo>
                    <a:lnTo>
                      <a:pt x="5528" y="6134"/>
                    </a:lnTo>
                    <a:lnTo>
                      <a:pt x="5523" y="6120"/>
                    </a:lnTo>
                    <a:lnTo>
                      <a:pt x="5490" y="6120"/>
                    </a:lnTo>
                    <a:lnTo>
                      <a:pt x="5465" y="6136"/>
                    </a:lnTo>
                    <a:lnTo>
                      <a:pt x="5430" y="6126"/>
                    </a:lnTo>
                    <a:lnTo>
                      <a:pt x="5360" y="6044"/>
                    </a:lnTo>
                    <a:lnTo>
                      <a:pt x="5340" y="6040"/>
                    </a:lnTo>
                    <a:lnTo>
                      <a:pt x="5315" y="6007"/>
                    </a:lnTo>
                    <a:lnTo>
                      <a:pt x="5315" y="5946"/>
                    </a:lnTo>
                    <a:lnTo>
                      <a:pt x="5297" y="5930"/>
                    </a:lnTo>
                    <a:lnTo>
                      <a:pt x="5264" y="5975"/>
                    </a:lnTo>
                    <a:lnTo>
                      <a:pt x="5228" y="5950"/>
                    </a:lnTo>
                    <a:lnTo>
                      <a:pt x="5188" y="5949"/>
                    </a:lnTo>
                    <a:lnTo>
                      <a:pt x="5157" y="5928"/>
                    </a:lnTo>
                    <a:lnTo>
                      <a:pt x="5140" y="5955"/>
                    </a:lnTo>
                    <a:lnTo>
                      <a:pt x="5129" y="5897"/>
                    </a:lnTo>
                    <a:lnTo>
                      <a:pt x="5103" y="5874"/>
                    </a:lnTo>
                    <a:lnTo>
                      <a:pt x="5074" y="5800"/>
                    </a:lnTo>
                    <a:lnTo>
                      <a:pt x="5074" y="5774"/>
                    </a:lnTo>
                    <a:lnTo>
                      <a:pt x="5098" y="5792"/>
                    </a:lnTo>
                    <a:lnTo>
                      <a:pt x="5124" y="5767"/>
                    </a:lnTo>
                    <a:lnTo>
                      <a:pt x="5124" y="5728"/>
                    </a:lnTo>
                    <a:lnTo>
                      <a:pt x="5073" y="5691"/>
                    </a:lnTo>
                    <a:lnTo>
                      <a:pt x="5069" y="5648"/>
                    </a:lnTo>
                    <a:lnTo>
                      <a:pt x="5094" y="5616"/>
                    </a:lnTo>
                    <a:lnTo>
                      <a:pt x="5118" y="5622"/>
                    </a:lnTo>
                    <a:lnTo>
                      <a:pt x="5087" y="5595"/>
                    </a:lnTo>
                    <a:lnTo>
                      <a:pt x="5048" y="5591"/>
                    </a:lnTo>
                    <a:lnTo>
                      <a:pt x="5024" y="5530"/>
                    </a:lnTo>
                    <a:lnTo>
                      <a:pt x="5000" y="5507"/>
                    </a:lnTo>
                    <a:lnTo>
                      <a:pt x="4979" y="5522"/>
                    </a:lnTo>
                    <a:lnTo>
                      <a:pt x="4936" y="5482"/>
                    </a:lnTo>
                    <a:lnTo>
                      <a:pt x="4943" y="5426"/>
                    </a:lnTo>
                    <a:lnTo>
                      <a:pt x="4961" y="5396"/>
                    </a:lnTo>
                    <a:lnTo>
                      <a:pt x="4939" y="5362"/>
                    </a:lnTo>
                    <a:lnTo>
                      <a:pt x="4933" y="5333"/>
                    </a:lnTo>
                    <a:lnTo>
                      <a:pt x="4956" y="5318"/>
                    </a:lnTo>
                    <a:lnTo>
                      <a:pt x="5016" y="5225"/>
                    </a:lnTo>
                    <a:lnTo>
                      <a:pt x="5054" y="5199"/>
                    </a:lnTo>
                    <a:lnTo>
                      <a:pt x="5064" y="5178"/>
                    </a:lnTo>
                    <a:lnTo>
                      <a:pt x="5048" y="5136"/>
                    </a:lnTo>
                    <a:lnTo>
                      <a:pt x="5044" y="5103"/>
                    </a:lnTo>
                    <a:lnTo>
                      <a:pt x="5068" y="5061"/>
                    </a:lnTo>
                    <a:lnTo>
                      <a:pt x="5041" y="5021"/>
                    </a:lnTo>
                    <a:lnTo>
                      <a:pt x="5038" y="4968"/>
                    </a:lnTo>
                    <a:lnTo>
                      <a:pt x="5050" y="4942"/>
                    </a:lnTo>
                    <a:lnTo>
                      <a:pt x="5039" y="4916"/>
                    </a:lnTo>
                    <a:lnTo>
                      <a:pt x="5040" y="4876"/>
                    </a:lnTo>
                    <a:lnTo>
                      <a:pt x="5020" y="4854"/>
                    </a:lnTo>
                    <a:lnTo>
                      <a:pt x="5036" y="4792"/>
                    </a:lnTo>
                    <a:lnTo>
                      <a:pt x="5048" y="4778"/>
                    </a:lnTo>
                    <a:lnTo>
                      <a:pt x="5019" y="4739"/>
                    </a:lnTo>
                    <a:lnTo>
                      <a:pt x="5029" y="4682"/>
                    </a:lnTo>
                    <a:lnTo>
                      <a:pt x="5024" y="4610"/>
                    </a:lnTo>
                    <a:lnTo>
                      <a:pt x="5050" y="4603"/>
                    </a:lnTo>
                    <a:lnTo>
                      <a:pt x="5079" y="4617"/>
                    </a:lnTo>
                    <a:lnTo>
                      <a:pt x="5068" y="4632"/>
                    </a:lnTo>
                    <a:lnTo>
                      <a:pt x="5079" y="4647"/>
                    </a:lnTo>
                    <a:lnTo>
                      <a:pt x="5118" y="4629"/>
                    </a:lnTo>
                    <a:lnTo>
                      <a:pt x="5166" y="4628"/>
                    </a:lnTo>
                    <a:lnTo>
                      <a:pt x="5209" y="4607"/>
                    </a:lnTo>
                    <a:lnTo>
                      <a:pt x="5238" y="4608"/>
                    </a:lnTo>
                    <a:lnTo>
                      <a:pt x="5268" y="4622"/>
                    </a:lnTo>
                    <a:lnTo>
                      <a:pt x="5288" y="4605"/>
                    </a:lnTo>
                    <a:lnTo>
                      <a:pt x="5328" y="4607"/>
                    </a:lnTo>
                    <a:lnTo>
                      <a:pt x="5430" y="4648"/>
                    </a:lnTo>
                    <a:lnTo>
                      <a:pt x="5478" y="4649"/>
                    </a:lnTo>
                    <a:lnTo>
                      <a:pt x="5513" y="4657"/>
                    </a:lnTo>
                    <a:lnTo>
                      <a:pt x="5525" y="4688"/>
                    </a:lnTo>
                    <a:lnTo>
                      <a:pt x="5498" y="4699"/>
                    </a:lnTo>
                    <a:lnTo>
                      <a:pt x="5520" y="4738"/>
                    </a:lnTo>
                    <a:lnTo>
                      <a:pt x="5520" y="4779"/>
                    </a:lnTo>
                    <a:lnTo>
                      <a:pt x="5539" y="4799"/>
                    </a:lnTo>
                    <a:lnTo>
                      <a:pt x="5540" y="4860"/>
                    </a:lnTo>
                    <a:lnTo>
                      <a:pt x="5562" y="4913"/>
                    </a:lnTo>
                    <a:lnTo>
                      <a:pt x="5547" y="5007"/>
                    </a:lnTo>
                    <a:lnTo>
                      <a:pt x="5564" y="5033"/>
                    </a:lnTo>
                    <a:lnTo>
                      <a:pt x="5557" y="5057"/>
                    </a:lnTo>
                    <a:lnTo>
                      <a:pt x="5572" y="5086"/>
                    </a:lnTo>
                    <a:lnTo>
                      <a:pt x="5563" y="5118"/>
                    </a:lnTo>
                    <a:lnTo>
                      <a:pt x="5543" y="5129"/>
                    </a:lnTo>
                    <a:lnTo>
                      <a:pt x="5555" y="5169"/>
                    </a:lnTo>
                    <a:lnTo>
                      <a:pt x="5592" y="5203"/>
                    </a:lnTo>
                    <a:lnTo>
                      <a:pt x="5615" y="5247"/>
                    </a:lnTo>
                    <a:lnTo>
                      <a:pt x="5655" y="5258"/>
                    </a:lnTo>
                    <a:lnTo>
                      <a:pt x="5655" y="5268"/>
                    </a:lnTo>
                    <a:lnTo>
                      <a:pt x="5681" y="5257"/>
                    </a:lnTo>
                    <a:lnTo>
                      <a:pt x="5699" y="5272"/>
                    </a:lnTo>
                    <a:lnTo>
                      <a:pt x="5713" y="5336"/>
                    </a:lnTo>
                    <a:lnTo>
                      <a:pt x="5754" y="5365"/>
                    </a:lnTo>
                    <a:lnTo>
                      <a:pt x="5777" y="5400"/>
                    </a:lnTo>
                    <a:lnTo>
                      <a:pt x="5789" y="5505"/>
                    </a:lnTo>
                    <a:lnTo>
                      <a:pt x="5818" y="5535"/>
                    </a:lnTo>
                    <a:lnTo>
                      <a:pt x="5817" y="5558"/>
                    </a:lnTo>
                    <a:lnTo>
                      <a:pt x="5807" y="5582"/>
                    </a:lnTo>
                    <a:lnTo>
                      <a:pt x="5843" y="5622"/>
                    </a:lnTo>
                    <a:lnTo>
                      <a:pt x="5843" y="5675"/>
                    </a:lnTo>
                    <a:lnTo>
                      <a:pt x="5896" y="5752"/>
                    </a:lnTo>
                    <a:lnTo>
                      <a:pt x="5883" y="5797"/>
                    </a:lnTo>
                    <a:lnTo>
                      <a:pt x="5903" y="5835"/>
                    </a:lnTo>
                    <a:lnTo>
                      <a:pt x="5940" y="5857"/>
                    </a:lnTo>
                    <a:lnTo>
                      <a:pt x="5922" y="5886"/>
                    </a:lnTo>
                    <a:lnTo>
                      <a:pt x="5941" y="5905"/>
                    </a:lnTo>
                    <a:lnTo>
                      <a:pt x="5956" y="5977"/>
                    </a:lnTo>
                    <a:lnTo>
                      <a:pt x="6024" y="6065"/>
                    </a:lnTo>
                    <a:lnTo>
                      <a:pt x="6078" y="6084"/>
                    </a:lnTo>
                    <a:lnTo>
                      <a:pt x="6102" y="6112"/>
                    </a:lnTo>
                    <a:lnTo>
                      <a:pt x="6126" y="6117"/>
                    </a:lnTo>
                    <a:lnTo>
                      <a:pt x="6178" y="6167"/>
                    </a:lnTo>
                    <a:lnTo>
                      <a:pt x="6178" y="6195"/>
                    </a:lnTo>
                    <a:lnTo>
                      <a:pt x="6161" y="6189"/>
                    </a:lnTo>
                    <a:lnTo>
                      <a:pt x="6160" y="6226"/>
                    </a:lnTo>
                    <a:lnTo>
                      <a:pt x="6151" y="6272"/>
                    </a:lnTo>
                    <a:lnTo>
                      <a:pt x="6173" y="6337"/>
                    </a:lnTo>
                    <a:lnTo>
                      <a:pt x="6212" y="6376"/>
                    </a:lnTo>
                    <a:lnTo>
                      <a:pt x="6217" y="6429"/>
                    </a:lnTo>
                    <a:lnTo>
                      <a:pt x="6186" y="6456"/>
                    </a:lnTo>
                    <a:lnTo>
                      <a:pt x="6188" y="6473"/>
                    </a:lnTo>
                    <a:lnTo>
                      <a:pt x="6165" y="6501"/>
                    </a:lnTo>
                    <a:lnTo>
                      <a:pt x="6179" y="6521"/>
                    </a:lnTo>
                    <a:lnTo>
                      <a:pt x="6178" y="6595"/>
                    </a:lnTo>
                    <a:lnTo>
                      <a:pt x="6141" y="6614"/>
                    </a:lnTo>
                    <a:lnTo>
                      <a:pt x="6148" y="6629"/>
                    </a:lnTo>
                    <a:lnTo>
                      <a:pt x="6175" y="6622"/>
                    </a:lnTo>
                    <a:lnTo>
                      <a:pt x="6179" y="6641"/>
                    </a:lnTo>
                    <a:lnTo>
                      <a:pt x="6139" y="6665"/>
                    </a:lnTo>
                    <a:lnTo>
                      <a:pt x="6137" y="6736"/>
                    </a:lnTo>
                    <a:lnTo>
                      <a:pt x="6121" y="6758"/>
                    </a:lnTo>
                    <a:lnTo>
                      <a:pt x="6078" y="6738"/>
                    </a:lnTo>
                    <a:lnTo>
                      <a:pt x="6078" y="6760"/>
                    </a:lnTo>
                    <a:lnTo>
                      <a:pt x="6113" y="6799"/>
                    </a:lnTo>
                    <a:lnTo>
                      <a:pt x="6117" y="6825"/>
                    </a:lnTo>
                    <a:lnTo>
                      <a:pt x="6081" y="6842"/>
                    </a:lnTo>
                    <a:lnTo>
                      <a:pt x="6055" y="6875"/>
                    </a:lnTo>
                    <a:lnTo>
                      <a:pt x="5992" y="6879"/>
                    </a:lnTo>
                    <a:lnTo>
                      <a:pt x="5959" y="6853"/>
                    </a:lnTo>
                    <a:lnTo>
                      <a:pt x="6011" y="6824"/>
                    </a:lnTo>
                    <a:lnTo>
                      <a:pt x="6012" y="6798"/>
                    </a:lnTo>
                    <a:lnTo>
                      <a:pt x="5976" y="6798"/>
                    </a:lnTo>
                    <a:lnTo>
                      <a:pt x="5967" y="6820"/>
                    </a:lnTo>
                    <a:lnTo>
                      <a:pt x="5942" y="6823"/>
                    </a:lnTo>
                    <a:lnTo>
                      <a:pt x="5864" y="6779"/>
                    </a:lnTo>
                    <a:lnTo>
                      <a:pt x="5848" y="6800"/>
                    </a:lnTo>
                    <a:lnTo>
                      <a:pt x="5751" y="6814"/>
                    </a:lnTo>
                    <a:lnTo>
                      <a:pt x="5701" y="6818"/>
                    </a:lnTo>
                    <a:lnTo>
                      <a:pt x="5676" y="6863"/>
                    </a:lnTo>
                    <a:lnTo>
                      <a:pt x="5699" y="6867"/>
                    </a:lnTo>
                    <a:lnTo>
                      <a:pt x="5711" y="6879"/>
                    </a:lnTo>
                    <a:lnTo>
                      <a:pt x="5731" y="6848"/>
                    </a:lnTo>
                    <a:lnTo>
                      <a:pt x="5783" y="6837"/>
                    </a:lnTo>
                    <a:lnTo>
                      <a:pt x="5799" y="6870"/>
                    </a:lnTo>
                    <a:lnTo>
                      <a:pt x="5844" y="6913"/>
                    </a:lnTo>
                    <a:lnTo>
                      <a:pt x="5971" y="6934"/>
                    </a:lnTo>
                    <a:lnTo>
                      <a:pt x="6026" y="6949"/>
                    </a:lnTo>
                    <a:lnTo>
                      <a:pt x="6088" y="6939"/>
                    </a:lnTo>
                    <a:lnTo>
                      <a:pt x="6148" y="6938"/>
                    </a:lnTo>
                    <a:lnTo>
                      <a:pt x="6160" y="6956"/>
                    </a:lnTo>
                    <a:lnTo>
                      <a:pt x="6226" y="6970"/>
                    </a:lnTo>
                    <a:lnTo>
                      <a:pt x="6277" y="6940"/>
                    </a:lnTo>
                    <a:lnTo>
                      <a:pt x="6276" y="6907"/>
                    </a:lnTo>
                    <a:lnTo>
                      <a:pt x="6256" y="6883"/>
                    </a:lnTo>
                    <a:lnTo>
                      <a:pt x="6256" y="6839"/>
                    </a:lnTo>
                    <a:lnTo>
                      <a:pt x="6277" y="6810"/>
                    </a:lnTo>
                    <a:lnTo>
                      <a:pt x="6310" y="6794"/>
                    </a:lnTo>
                    <a:lnTo>
                      <a:pt x="6312" y="6769"/>
                    </a:lnTo>
                    <a:lnTo>
                      <a:pt x="6361" y="6721"/>
                    </a:lnTo>
                    <a:lnTo>
                      <a:pt x="6365" y="6690"/>
                    </a:lnTo>
                    <a:lnTo>
                      <a:pt x="6395" y="6610"/>
                    </a:lnTo>
                    <a:lnTo>
                      <a:pt x="6365" y="6560"/>
                    </a:lnTo>
                    <a:lnTo>
                      <a:pt x="6373" y="6503"/>
                    </a:lnTo>
                    <a:lnTo>
                      <a:pt x="6426" y="6410"/>
                    </a:lnTo>
                    <a:lnTo>
                      <a:pt x="6432" y="6379"/>
                    </a:lnTo>
                    <a:lnTo>
                      <a:pt x="6380" y="6253"/>
                    </a:lnTo>
                    <a:lnTo>
                      <a:pt x="6308" y="6211"/>
                    </a:lnTo>
                    <a:lnTo>
                      <a:pt x="6288" y="6181"/>
                    </a:lnTo>
                    <a:lnTo>
                      <a:pt x="6283" y="6084"/>
                    </a:lnTo>
                    <a:lnTo>
                      <a:pt x="6336" y="6042"/>
                    </a:lnTo>
                    <a:lnTo>
                      <a:pt x="6363" y="6002"/>
                    </a:lnTo>
                    <a:lnTo>
                      <a:pt x="6408" y="5995"/>
                    </a:lnTo>
                    <a:lnTo>
                      <a:pt x="6478" y="5928"/>
                    </a:lnTo>
                    <a:lnTo>
                      <a:pt x="6525" y="5926"/>
                    </a:lnTo>
                    <a:lnTo>
                      <a:pt x="6580" y="5979"/>
                    </a:lnTo>
                    <a:lnTo>
                      <a:pt x="6580" y="6025"/>
                    </a:lnTo>
                    <a:lnTo>
                      <a:pt x="6635" y="6052"/>
                    </a:lnTo>
                    <a:lnTo>
                      <a:pt x="6649" y="6079"/>
                    </a:lnTo>
                    <a:lnTo>
                      <a:pt x="6665" y="6079"/>
                    </a:lnTo>
                    <a:lnTo>
                      <a:pt x="6707" y="6131"/>
                    </a:lnTo>
                    <a:lnTo>
                      <a:pt x="6701" y="6173"/>
                    </a:lnTo>
                    <a:lnTo>
                      <a:pt x="6731" y="6192"/>
                    </a:lnTo>
                    <a:lnTo>
                      <a:pt x="6740" y="6231"/>
                    </a:lnTo>
                    <a:lnTo>
                      <a:pt x="6772" y="6271"/>
                    </a:lnTo>
                    <a:lnTo>
                      <a:pt x="6779" y="6314"/>
                    </a:lnTo>
                    <a:lnTo>
                      <a:pt x="6761" y="6330"/>
                    </a:lnTo>
                    <a:lnTo>
                      <a:pt x="6787" y="6369"/>
                    </a:lnTo>
                    <a:lnTo>
                      <a:pt x="6829" y="6371"/>
                    </a:lnTo>
                    <a:lnTo>
                      <a:pt x="6874" y="6404"/>
                    </a:lnTo>
                    <a:lnTo>
                      <a:pt x="6921" y="6393"/>
                    </a:lnTo>
                    <a:lnTo>
                      <a:pt x="6949" y="6384"/>
                    </a:lnTo>
                    <a:lnTo>
                      <a:pt x="7001" y="6379"/>
                    </a:lnTo>
                    <a:lnTo>
                      <a:pt x="7013" y="6359"/>
                    </a:lnTo>
                    <a:lnTo>
                      <a:pt x="7032" y="6348"/>
                    </a:lnTo>
                    <a:lnTo>
                      <a:pt x="7009" y="6339"/>
                    </a:lnTo>
                    <a:lnTo>
                      <a:pt x="6975" y="6348"/>
                    </a:lnTo>
                    <a:lnTo>
                      <a:pt x="6964" y="6321"/>
                    </a:lnTo>
                    <a:lnTo>
                      <a:pt x="6938" y="6365"/>
                    </a:lnTo>
                    <a:lnTo>
                      <a:pt x="6889" y="6365"/>
                    </a:lnTo>
                    <a:lnTo>
                      <a:pt x="6866" y="6335"/>
                    </a:lnTo>
                    <a:lnTo>
                      <a:pt x="6828" y="6336"/>
                    </a:lnTo>
                    <a:lnTo>
                      <a:pt x="6807" y="6305"/>
                    </a:lnTo>
                    <a:lnTo>
                      <a:pt x="6819" y="6276"/>
                    </a:lnTo>
                    <a:lnTo>
                      <a:pt x="6798" y="6264"/>
                    </a:lnTo>
                    <a:lnTo>
                      <a:pt x="6774" y="6214"/>
                    </a:lnTo>
                    <a:lnTo>
                      <a:pt x="6777" y="6157"/>
                    </a:lnTo>
                    <a:lnTo>
                      <a:pt x="6811" y="6149"/>
                    </a:lnTo>
                    <a:lnTo>
                      <a:pt x="6838" y="6125"/>
                    </a:lnTo>
                    <a:lnTo>
                      <a:pt x="6814" y="6105"/>
                    </a:lnTo>
                    <a:lnTo>
                      <a:pt x="6806" y="6079"/>
                    </a:lnTo>
                    <a:lnTo>
                      <a:pt x="6795" y="6071"/>
                    </a:lnTo>
                    <a:lnTo>
                      <a:pt x="6784" y="6045"/>
                    </a:lnTo>
                    <a:lnTo>
                      <a:pt x="6732" y="6015"/>
                    </a:lnTo>
                    <a:lnTo>
                      <a:pt x="6730" y="5987"/>
                    </a:lnTo>
                    <a:lnTo>
                      <a:pt x="6691" y="5936"/>
                    </a:lnTo>
                    <a:lnTo>
                      <a:pt x="6632" y="5937"/>
                    </a:lnTo>
                    <a:lnTo>
                      <a:pt x="6551" y="5904"/>
                    </a:lnTo>
                    <a:lnTo>
                      <a:pt x="6530" y="5865"/>
                    </a:lnTo>
                    <a:lnTo>
                      <a:pt x="6494" y="5877"/>
                    </a:lnTo>
                    <a:lnTo>
                      <a:pt x="6432" y="5841"/>
                    </a:lnTo>
                    <a:lnTo>
                      <a:pt x="6402" y="5852"/>
                    </a:lnTo>
                    <a:lnTo>
                      <a:pt x="6360" y="5839"/>
                    </a:lnTo>
                    <a:lnTo>
                      <a:pt x="6317" y="5881"/>
                    </a:lnTo>
                    <a:lnTo>
                      <a:pt x="6306" y="5928"/>
                    </a:lnTo>
                    <a:lnTo>
                      <a:pt x="6283" y="5947"/>
                    </a:lnTo>
                    <a:lnTo>
                      <a:pt x="6222" y="5928"/>
                    </a:lnTo>
                    <a:lnTo>
                      <a:pt x="6172" y="5959"/>
                    </a:lnTo>
                    <a:lnTo>
                      <a:pt x="6123" y="5945"/>
                    </a:lnTo>
                    <a:lnTo>
                      <a:pt x="6106" y="5921"/>
                    </a:lnTo>
                    <a:lnTo>
                      <a:pt x="6111" y="5877"/>
                    </a:lnTo>
                    <a:lnTo>
                      <a:pt x="6106" y="5841"/>
                    </a:lnTo>
                    <a:lnTo>
                      <a:pt x="6041" y="5774"/>
                    </a:lnTo>
                    <a:lnTo>
                      <a:pt x="6021" y="5734"/>
                    </a:lnTo>
                    <a:lnTo>
                      <a:pt x="6027" y="5657"/>
                    </a:lnTo>
                    <a:lnTo>
                      <a:pt x="5988" y="5597"/>
                    </a:lnTo>
                    <a:lnTo>
                      <a:pt x="5997" y="5553"/>
                    </a:lnTo>
                    <a:lnTo>
                      <a:pt x="6007" y="5442"/>
                    </a:lnTo>
                    <a:lnTo>
                      <a:pt x="5976" y="5372"/>
                    </a:lnTo>
                    <a:lnTo>
                      <a:pt x="5938" y="5332"/>
                    </a:lnTo>
                    <a:lnTo>
                      <a:pt x="5894" y="5332"/>
                    </a:lnTo>
                    <a:lnTo>
                      <a:pt x="5878" y="5284"/>
                    </a:lnTo>
                    <a:lnTo>
                      <a:pt x="5799" y="5217"/>
                    </a:lnTo>
                    <a:lnTo>
                      <a:pt x="5734" y="5181"/>
                    </a:lnTo>
                    <a:lnTo>
                      <a:pt x="5733" y="5138"/>
                    </a:lnTo>
                    <a:lnTo>
                      <a:pt x="5756" y="5072"/>
                    </a:lnTo>
                    <a:lnTo>
                      <a:pt x="5746" y="5019"/>
                    </a:lnTo>
                    <a:lnTo>
                      <a:pt x="5719" y="4994"/>
                    </a:lnTo>
                    <a:lnTo>
                      <a:pt x="5718" y="4976"/>
                    </a:lnTo>
                    <a:lnTo>
                      <a:pt x="5754" y="4939"/>
                    </a:lnTo>
                    <a:lnTo>
                      <a:pt x="5812" y="4873"/>
                    </a:lnTo>
                    <a:lnTo>
                      <a:pt x="5830" y="4798"/>
                    </a:lnTo>
                    <a:lnTo>
                      <a:pt x="5808" y="4706"/>
                    </a:lnTo>
                    <a:lnTo>
                      <a:pt x="5736" y="4568"/>
                    </a:lnTo>
                    <a:lnTo>
                      <a:pt x="5757" y="4554"/>
                    </a:lnTo>
                    <a:lnTo>
                      <a:pt x="5807" y="4589"/>
                    </a:lnTo>
                    <a:lnTo>
                      <a:pt x="5814" y="4634"/>
                    </a:lnTo>
                    <a:lnTo>
                      <a:pt x="5838" y="4642"/>
                    </a:lnTo>
                    <a:lnTo>
                      <a:pt x="5853" y="4659"/>
                    </a:lnTo>
                    <a:lnTo>
                      <a:pt x="5857" y="4714"/>
                    </a:lnTo>
                    <a:lnTo>
                      <a:pt x="5894" y="4750"/>
                    </a:lnTo>
                    <a:lnTo>
                      <a:pt x="5891" y="4825"/>
                    </a:lnTo>
                    <a:lnTo>
                      <a:pt x="5918" y="4872"/>
                    </a:lnTo>
                    <a:lnTo>
                      <a:pt x="5902" y="4914"/>
                    </a:lnTo>
                    <a:lnTo>
                      <a:pt x="5923" y="4952"/>
                    </a:lnTo>
                    <a:lnTo>
                      <a:pt x="5975" y="4997"/>
                    </a:lnTo>
                    <a:lnTo>
                      <a:pt x="5975" y="5026"/>
                    </a:lnTo>
                    <a:lnTo>
                      <a:pt x="6005" y="5051"/>
                    </a:lnTo>
                    <a:lnTo>
                      <a:pt x="6005" y="5074"/>
                    </a:lnTo>
                    <a:lnTo>
                      <a:pt x="5975" y="5096"/>
                    </a:lnTo>
                    <a:lnTo>
                      <a:pt x="5992" y="5123"/>
                    </a:lnTo>
                    <a:lnTo>
                      <a:pt x="6033" y="5115"/>
                    </a:lnTo>
                    <a:lnTo>
                      <a:pt x="6080" y="5144"/>
                    </a:lnTo>
                    <a:lnTo>
                      <a:pt x="6141" y="5144"/>
                    </a:lnTo>
                    <a:lnTo>
                      <a:pt x="6173" y="5131"/>
                    </a:lnTo>
                    <a:lnTo>
                      <a:pt x="6203" y="5152"/>
                    </a:lnTo>
                    <a:lnTo>
                      <a:pt x="6216" y="5179"/>
                    </a:lnTo>
                    <a:lnTo>
                      <a:pt x="6247" y="5142"/>
                    </a:lnTo>
                    <a:lnTo>
                      <a:pt x="6286" y="5138"/>
                    </a:lnTo>
                    <a:lnTo>
                      <a:pt x="6317" y="5122"/>
                    </a:lnTo>
                    <a:lnTo>
                      <a:pt x="6347" y="5129"/>
                    </a:lnTo>
                    <a:lnTo>
                      <a:pt x="6395" y="5181"/>
                    </a:lnTo>
                    <a:lnTo>
                      <a:pt x="6426" y="5185"/>
                    </a:lnTo>
                    <a:lnTo>
                      <a:pt x="6472" y="5211"/>
                    </a:lnTo>
                    <a:lnTo>
                      <a:pt x="6543" y="5199"/>
                    </a:lnTo>
                    <a:lnTo>
                      <a:pt x="6567" y="5167"/>
                    </a:lnTo>
                    <a:lnTo>
                      <a:pt x="6537" y="5187"/>
                    </a:lnTo>
                    <a:lnTo>
                      <a:pt x="6468" y="5181"/>
                    </a:lnTo>
                    <a:lnTo>
                      <a:pt x="6459" y="5147"/>
                    </a:lnTo>
                    <a:lnTo>
                      <a:pt x="6437" y="5139"/>
                    </a:lnTo>
                    <a:lnTo>
                      <a:pt x="6417" y="5089"/>
                    </a:lnTo>
                    <a:lnTo>
                      <a:pt x="6360" y="5089"/>
                    </a:lnTo>
                    <a:lnTo>
                      <a:pt x="6352" y="5062"/>
                    </a:lnTo>
                    <a:lnTo>
                      <a:pt x="6337" y="5059"/>
                    </a:lnTo>
                    <a:lnTo>
                      <a:pt x="6316" y="5083"/>
                    </a:lnTo>
                    <a:lnTo>
                      <a:pt x="6232" y="5076"/>
                    </a:lnTo>
                    <a:lnTo>
                      <a:pt x="6200" y="5051"/>
                    </a:lnTo>
                    <a:lnTo>
                      <a:pt x="6143" y="5047"/>
                    </a:lnTo>
                    <a:lnTo>
                      <a:pt x="6083" y="4994"/>
                    </a:lnTo>
                    <a:lnTo>
                      <a:pt x="6071" y="4952"/>
                    </a:lnTo>
                    <a:lnTo>
                      <a:pt x="6050" y="4949"/>
                    </a:lnTo>
                    <a:lnTo>
                      <a:pt x="5998" y="4872"/>
                    </a:lnTo>
                    <a:lnTo>
                      <a:pt x="6023" y="4863"/>
                    </a:lnTo>
                    <a:lnTo>
                      <a:pt x="6038" y="4843"/>
                    </a:lnTo>
                    <a:lnTo>
                      <a:pt x="6086" y="4808"/>
                    </a:lnTo>
                    <a:lnTo>
                      <a:pt x="6112" y="4808"/>
                    </a:lnTo>
                    <a:lnTo>
                      <a:pt x="6158" y="4863"/>
                    </a:lnTo>
                    <a:lnTo>
                      <a:pt x="6236" y="4894"/>
                    </a:lnTo>
                    <a:lnTo>
                      <a:pt x="6285" y="4884"/>
                    </a:lnTo>
                    <a:lnTo>
                      <a:pt x="6322" y="4816"/>
                    </a:lnTo>
                    <a:lnTo>
                      <a:pt x="6291" y="4754"/>
                    </a:lnTo>
                    <a:lnTo>
                      <a:pt x="6227" y="4738"/>
                    </a:lnTo>
                    <a:lnTo>
                      <a:pt x="6171" y="4774"/>
                    </a:lnTo>
                    <a:lnTo>
                      <a:pt x="6148" y="4750"/>
                    </a:lnTo>
                    <a:lnTo>
                      <a:pt x="6157" y="4729"/>
                    </a:lnTo>
                    <a:lnTo>
                      <a:pt x="6175" y="4741"/>
                    </a:lnTo>
                    <a:lnTo>
                      <a:pt x="6193" y="4728"/>
                    </a:lnTo>
                    <a:lnTo>
                      <a:pt x="6197" y="4689"/>
                    </a:lnTo>
                    <a:lnTo>
                      <a:pt x="6238" y="4624"/>
                    </a:lnTo>
                    <a:lnTo>
                      <a:pt x="6277" y="4600"/>
                    </a:lnTo>
                    <a:lnTo>
                      <a:pt x="6311" y="4617"/>
                    </a:lnTo>
                    <a:lnTo>
                      <a:pt x="6431" y="4614"/>
                    </a:lnTo>
                    <a:lnTo>
                      <a:pt x="6472" y="4658"/>
                    </a:lnTo>
                    <a:lnTo>
                      <a:pt x="6515" y="4687"/>
                    </a:lnTo>
                    <a:lnTo>
                      <a:pt x="6614" y="4698"/>
                    </a:lnTo>
                    <a:lnTo>
                      <a:pt x="6622" y="4732"/>
                    </a:lnTo>
                    <a:lnTo>
                      <a:pt x="6661" y="4753"/>
                    </a:lnTo>
                    <a:lnTo>
                      <a:pt x="6732" y="4825"/>
                    </a:lnTo>
                    <a:lnTo>
                      <a:pt x="6781" y="4828"/>
                    </a:lnTo>
                    <a:lnTo>
                      <a:pt x="6871" y="4814"/>
                    </a:lnTo>
                    <a:lnTo>
                      <a:pt x="6944" y="4771"/>
                    </a:lnTo>
                    <a:lnTo>
                      <a:pt x="6970" y="4797"/>
                    </a:lnTo>
                    <a:lnTo>
                      <a:pt x="6984" y="4793"/>
                    </a:lnTo>
                    <a:lnTo>
                      <a:pt x="7024" y="4797"/>
                    </a:lnTo>
                    <a:lnTo>
                      <a:pt x="7015" y="4857"/>
                    </a:lnTo>
                    <a:lnTo>
                      <a:pt x="7021" y="4891"/>
                    </a:lnTo>
                    <a:lnTo>
                      <a:pt x="7020" y="4917"/>
                    </a:lnTo>
                    <a:lnTo>
                      <a:pt x="6970" y="4947"/>
                    </a:lnTo>
                    <a:lnTo>
                      <a:pt x="6969" y="4992"/>
                    </a:lnTo>
                    <a:lnTo>
                      <a:pt x="6991" y="5031"/>
                    </a:lnTo>
                    <a:lnTo>
                      <a:pt x="6992" y="5088"/>
                    </a:lnTo>
                    <a:lnTo>
                      <a:pt x="7048" y="5132"/>
                    </a:lnTo>
                    <a:lnTo>
                      <a:pt x="7051" y="5171"/>
                    </a:lnTo>
                    <a:lnTo>
                      <a:pt x="7029" y="5201"/>
                    </a:lnTo>
                    <a:lnTo>
                      <a:pt x="7044" y="5308"/>
                    </a:lnTo>
                    <a:lnTo>
                      <a:pt x="7066" y="5306"/>
                    </a:lnTo>
                    <a:lnTo>
                      <a:pt x="7076" y="5271"/>
                    </a:lnTo>
                    <a:lnTo>
                      <a:pt x="7066" y="5247"/>
                    </a:lnTo>
                    <a:lnTo>
                      <a:pt x="7086" y="5221"/>
                    </a:lnTo>
                    <a:lnTo>
                      <a:pt x="7081" y="5178"/>
                    </a:lnTo>
                    <a:lnTo>
                      <a:pt x="7108" y="5168"/>
                    </a:lnTo>
                    <a:lnTo>
                      <a:pt x="7126" y="5113"/>
                    </a:lnTo>
                    <a:lnTo>
                      <a:pt x="7154" y="5133"/>
                    </a:lnTo>
                    <a:lnTo>
                      <a:pt x="7175" y="5193"/>
                    </a:lnTo>
                    <a:lnTo>
                      <a:pt x="7180" y="5273"/>
                    </a:lnTo>
                    <a:lnTo>
                      <a:pt x="7189" y="5301"/>
                    </a:lnTo>
                    <a:lnTo>
                      <a:pt x="7165" y="5316"/>
                    </a:lnTo>
                    <a:lnTo>
                      <a:pt x="7165" y="5356"/>
                    </a:lnTo>
                    <a:lnTo>
                      <a:pt x="7150" y="5368"/>
                    </a:lnTo>
                    <a:lnTo>
                      <a:pt x="7212" y="5409"/>
                    </a:lnTo>
                    <a:lnTo>
                      <a:pt x="7267" y="5406"/>
                    </a:lnTo>
                    <a:lnTo>
                      <a:pt x="7319" y="5420"/>
                    </a:lnTo>
                    <a:lnTo>
                      <a:pt x="7352" y="5463"/>
                    </a:lnTo>
                    <a:lnTo>
                      <a:pt x="7349" y="5500"/>
                    </a:lnTo>
                    <a:lnTo>
                      <a:pt x="7387" y="5528"/>
                    </a:lnTo>
                    <a:lnTo>
                      <a:pt x="7457" y="5530"/>
                    </a:lnTo>
                    <a:lnTo>
                      <a:pt x="7525" y="5601"/>
                    </a:lnTo>
                    <a:lnTo>
                      <a:pt x="7519" y="5576"/>
                    </a:lnTo>
                    <a:lnTo>
                      <a:pt x="7520" y="5528"/>
                    </a:lnTo>
                    <a:lnTo>
                      <a:pt x="7572" y="5473"/>
                    </a:lnTo>
                    <a:lnTo>
                      <a:pt x="7609" y="5472"/>
                    </a:lnTo>
                    <a:lnTo>
                      <a:pt x="7683" y="5531"/>
                    </a:lnTo>
                    <a:lnTo>
                      <a:pt x="7735" y="5531"/>
                    </a:lnTo>
                    <a:lnTo>
                      <a:pt x="7762" y="5565"/>
                    </a:lnTo>
                    <a:lnTo>
                      <a:pt x="7779" y="5627"/>
                    </a:lnTo>
                    <a:lnTo>
                      <a:pt x="7772" y="5560"/>
                    </a:lnTo>
                    <a:lnTo>
                      <a:pt x="7751" y="5515"/>
                    </a:lnTo>
                    <a:lnTo>
                      <a:pt x="7719" y="5513"/>
                    </a:lnTo>
                    <a:lnTo>
                      <a:pt x="7673" y="5497"/>
                    </a:lnTo>
                    <a:lnTo>
                      <a:pt x="7608" y="5454"/>
                    </a:lnTo>
                    <a:lnTo>
                      <a:pt x="7553" y="5465"/>
                    </a:lnTo>
                    <a:lnTo>
                      <a:pt x="7497" y="5508"/>
                    </a:lnTo>
                    <a:lnTo>
                      <a:pt x="7470" y="5500"/>
                    </a:lnTo>
                    <a:lnTo>
                      <a:pt x="7464" y="5506"/>
                    </a:lnTo>
                    <a:lnTo>
                      <a:pt x="7405" y="5481"/>
                    </a:lnTo>
                    <a:lnTo>
                      <a:pt x="7342" y="5413"/>
                    </a:lnTo>
                    <a:lnTo>
                      <a:pt x="7308" y="5388"/>
                    </a:lnTo>
                    <a:lnTo>
                      <a:pt x="7250" y="5383"/>
                    </a:lnTo>
                    <a:lnTo>
                      <a:pt x="7218" y="5332"/>
                    </a:lnTo>
                    <a:lnTo>
                      <a:pt x="7244" y="5343"/>
                    </a:lnTo>
                    <a:lnTo>
                      <a:pt x="7265" y="5339"/>
                    </a:lnTo>
                    <a:lnTo>
                      <a:pt x="7304" y="5264"/>
                    </a:lnTo>
                    <a:lnTo>
                      <a:pt x="7291" y="5229"/>
                    </a:lnTo>
                    <a:lnTo>
                      <a:pt x="7244" y="5187"/>
                    </a:lnTo>
                    <a:lnTo>
                      <a:pt x="7224" y="5111"/>
                    </a:lnTo>
                    <a:lnTo>
                      <a:pt x="7169" y="5032"/>
                    </a:lnTo>
                    <a:lnTo>
                      <a:pt x="7135" y="5009"/>
                    </a:lnTo>
                    <a:lnTo>
                      <a:pt x="7098" y="4962"/>
                    </a:lnTo>
                    <a:lnTo>
                      <a:pt x="7108" y="4922"/>
                    </a:lnTo>
                    <a:lnTo>
                      <a:pt x="7095" y="4886"/>
                    </a:lnTo>
                    <a:lnTo>
                      <a:pt x="7086" y="4798"/>
                    </a:lnTo>
                    <a:lnTo>
                      <a:pt x="7051" y="4757"/>
                    </a:lnTo>
                    <a:lnTo>
                      <a:pt x="7029" y="4757"/>
                    </a:lnTo>
                    <a:lnTo>
                      <a:pt x="6969" y="4718"/>
                    </a:lnTo>
                    <a:lnTo>
                      <a:pt x="6880" y="4715"/>
                    </a:lnTo>
                    <a:lnTo>
                      <a:pt x="6852" y="4667"/>
                    </a:lnTo>
                    <a:lnTo>
                      <a:pt x="6800" y="4640"/>
                    </a:lnTo>
                    <a:lnTo>
                      <a:pt x="6801" y="4596"/>
                    </a:lnTo>
                    <a:lnTo>
                      <a:pt x="6786" y="4568"/>
                    </a:lnTo>
                    <a:lnTo>
                      <a:pt x="6786" y="4542"/>
                    </a:lnTo>
                    <a:lnTo>
                      <a:pt x="6745" y="4568"/>
                    </a:lnTo>
                    <a:lnTo>
                      <a:pt x="6627" y="4562"/>
                    </a:lnTo>
                    <a:lnTo>
                      <a:pt x="6587" y="4566"/>
                    </a:lnTo>
                    <a:lnTo>
                      <a:pt x="6537" y="4534"/>
                    </a:lnTo>
                    <a:lnTo>
                      <a:pt x="6531" y="4487"/>
                    </a:lnTo>
                    <a:lnTo>
                      <a:pt x="6516" y="4487"/>
                    </a:lnTo>
                    <a:lnTo>
                      <a:pt x="6501" y="4459"/>
                    </a:lnTo>
                    <a:lnTo>
                      <a:pt x="6506" y="4398"/>
                    </a:lnTo>
                    <a:lnTo>
                      <a:pt x="6461" y="4320"/>
                    </a:lnTo>
                    <a:lnTo>
                      <a:pt x="6401" y="4284"/>
                    </a:lnTo>
                    <a:lnTo>
                      <a:pt x="6414" y="4258"/>
                    </a:lnTo>
                    <a:lnTo>
                      <a:pt x="6406" y="4238"/>
                    </a:lnTo>
                    <a:lnTo>
                      <a:pt x="6378" y="4236"/>
                    </a:lnTo>
                    <a:lnTo>
                      <a:pt x="6358" y="4214"/>
                    </a:lnTo>
                    <a:lnTo>
                      <a:pt x="6368" y="4179"/>
                    </a:lnTo>
                    <a:lnTo>
                      <a:pt x="6370" y="4141"/>
                    </a:lnTo>
                    <a:lnTo>
                      <a:pt x="6330" y="4110"/>
                    </a:lnTo>
                    <a:lnTo>
                      <a:pt x="6356" y="4090"/>
                    </a:lnTo>
                    <a:lnTo>
                      <a:pt x="6403" y="4089"/>
                    </a:lnTo>
                    <a:lnTo>
                      <a:pt x="6446" y="4045"/>
                    </a:lnTo>
                    <a:lnTo>
                      <a:pt x="6487" y="4045"/>
                    </a:lnTo>
                    <a:lnTo>
                      <a:pt x="6581" y="4025"/>
                    </a:lnTo>
                    <a:lnTo>
                      <a:pt x="6711" y="3977"/>
                    </a:lnTo>
                    <a:lnTo>
                      <a:pt x="6760" y="3934"/>
                    </a:lnTo>
                    <a:lnTo>
                      <a:pt x="6801" y="3925"/>
                    </a:lnTo>
                    <a:lnTo>
                      <a:pt x="6835" y="3938"/>
                    </a:lnTo>
                    <a:lnTo>
                      <a:pt x="6877" y="3921"/>
                    </a:lnTo>
                    <a:lnTo>
                      <a:pt x="6895" y="3880"/>
                    </a:lnTo>
                    <a:lnTo>
                      <a:pt x="6957" y="3856"/>
                    </a:lnTo>
                    <a:lnTo>
                      <a:pt x="7076" y="3806"/>
                    </a:lnTo>
                    <a:lnTo>
                      <a:pt x="7088" y="3820"/>
                    </a:lnTo>
                    <a:lnTo>
                      <a:pt x="7069" y="3856"/>
                    </a:lnTo>
                    <a:lnTo>
                      <a:pt x="7073" y="3882"/>
                    </a:lnTo>
                    <a:lnTo>
                      <a:pt x="7046" y="3900"/>
                    </a:lnTo>
                    <a:lnTo>
                      <a:pt x="7014" y="3970"/>
                    </a:lnTo>
                    <a:lnTo>
                      <a:pt x="7015" y="4008"/>
                    </a:lnTo>
                    <a:lnTo>
                      <a:pt x="7086" y="4065"/>
                    </a:lnTo>
                    <a:lnTo>
                      <a:pt x="7150" y="4064"/>
                    </a:lnTo>
                    <a:lnTo>
                      <a:pt x="7113" y="4046"/>
                    </a:lnTo>
                    <a:lnTo>
                      <a:pt x="7053" y="3988"/>
                    </a:lnTo>
                    <a:lnTo>
                      <a:pt x="7051" y="3964"/>
                    </a:lnTo>
                    <a:lnTo>
                      <a:pt x="7079" y="3926"/>
                    </a:lnTo>
                    <a:lnTo>
                      <a:pt x="7148" y="3885"/>
                    </a:lnTo>
                    <a:lnTo>
                      <a:pt x="7172" y="3823"/>
                    </a:lnTo>
                    <a:lnTo>
                      <a:pt x="7148" y="3774"/>
                    </a:lnTo>
                    <a:lnTo>
                      <a:pt x="7106" y="3774"/>
                    </a:lnTo>
                    <a:lnTo>
                      <a:pt x="7056" y="3740"/>
                    </a:lnTo>
                    <a:lnTo>
                      <a:pt x="7068" y="3710"/>
                    </a:lnTo>
                    <a:lnTo>
                      <a:pt x="7014" y="3707"/>
                    </a:lnTo>
                    <a:lnTo>
                      <a:pt x="6998" y="3729"/>
                    </a:lnTo>
                    <a:lnTo>
                      <a:pt x="6976" y="3711"/>
                    </a:lnTo>
                    <a:lnTo>
                      <a:pt x="6960" y="3665"/>
                    </a:lnTo>
                    <a:lnTo>
                      <a:pt x="6903" y="3667"/>
                    </a:lnTo>
                    <a:lnTo>
                      <a:pt x="6875" y="3679"/>
                    </a:lnTo>
                    <a:lnTo>
                      <a:pt x="6835" y="3631"/>
                    </a:lnTo>
                    <a:lnTo>
                      <a:pt x="6852" y="3620"/>
                    </a:lnTo>
                    <a:lnTo>
                      <a:pt x="6858" y="3592"/>
                    </a:lnTo>
                    <a:lnTo>
                      <a:pt x="6877" y="3582"/>
                    </a:lnTo>
                    <a:lnTo>
                      <a:pt x="6909" y="3612"/>
                    </a:lnTo>
                    <a:lnTo>
                      <a:pt x="6950" y="3611"/>
                    </a:lnTo>
                    <a:lnTo>
                      <a:pt x="6985" y="3592"/>
                    </a:lnTo>
                    <a:lnTo>
                      <a:pt x="6973" y="3571"/>
                    </a:lnTo>
                    <a:lnTo>
                      <a:pt x="6955" y="3581"/>
                    </a:lnTo>
                    <a:lnTo>
                      <a:pt x="6922" y="3590"/>
                    </a:lnTo>
                    <a:lnTo>
                      <a:pt x="6889" y="3564"/>
                    </a:lnTo>
                    <a:lnTo>
                      <a:pt x="6882" y="3531"/>
                    </a:lnTo>
                    <a:lnTo>
                      <a:pt x="6844" y="3526"/>
                    </a:lnTo>
                    <a:lnTo>
                      <a:pt x="6789" y="3510"/>
                    </a:lnTo>
                    <a:lnTo>
                      <a:pt x="6755" y="3525"/>
                    </a:lnTo>
                    <a:lnTo>
                      <a:pt x="6734" y="3490"/>
                    </a:lnTo>
                    <a:lnTo>
                      <a:pt x="6752" y="3468"/>
                    </a:lnTo>
                    <a:lnTo>
                      <a:pt x="6750" y="3437"/>
                    </a:lnTo>
                    <a:lnTo>
                      <a:pt x="6729" y="3416"/>
                    </a:lnTo>
                    <a:lnTo>
                      <a:pt x="6736" y="3404"/>
                    </a:lnTo>
                    <a:lnTo>
                      <a:pt x="6760" y="3409"/>
                    </a:lnTo>
                    <a:lnTo>
                      <a:pt x="6796" y="3459"/>
                    </a:lnTo>
                    <a:lnTo>
                      <a:pt x="6828" y="3450"/>
                    </a:lnTo>
                    <a:lnTo>
                      <a:pt x="6865" y="3503"/>
                    </a:lnTo>
                    <a:lnTo>
                      <a:pt x="6870" y="3471"/>
                    </a:lnTo>
                    <a:lnTo>
                      <a:pt x="6864" y="3446"/>
                    </a:lnTo>
                    <a:lnTo>
                      <a:pt x="6895" y="3424"/>
                    </a:lnTo>
                    <a:lnTo>
                      <a:pt x="6901" y="3356"/>
                    </a:lnTo>
                    <a:lnTo>
                      <a:pt x="6875" y="3335"/>
                    </a:lnTo>
                    <a:lnTo>
                      <a:pt x="6884" y="3322"/>
                    </a:lnTo>
                    <a:lnTo>
                      <a:pt x="6919" y="3328"/>
                    </a:lnTo>
                    <a:lnTo>
                      <a:pt x="6936" y="3302"/>
                    </a:lnTo>
                    <a:lnTo>
                      <a:pt x="6856" y="3283"/>
                    </a:lnTo>
                    <a:lnTo>
                      <a:pt x="6840" y="3306"/>
                    </a:lnTo>
                    <a:lnTo>
                      <a:pt x="6814" y="3305"/>
                    </a:lnTo>
                    <a:lnTo>
                      <a:pt x="6815" y="3271"/>
                    </a:lnTo>
                    <a:lnTo>
                      <a:pt x="6847" y="3245"/>
                    </a:lnTo>
                    <a:lnTo>
                      <a:pt x="6905" y="3242"/>
                    </a:lnTo>
                    <a:lnTo>
                      <a:pt x="6948" y="3227"/>
                    </a:lnTo>
                    <a:lnTo>
                      <a:pt x="6943" y="3196"/>
                    </a:lnTo>
                    <a:lnTo>
                      <a:pt x="6976" y="3159"/>
                    </a:lnTo>
                    <a:lnTo>
                      <a:pt x="6976" y="3126"/>
                    </a:lnTo>
                    <a:lnTo>
                      <a:pt x="6989" y="3113"/>
                    </a:lnTo>
                    <a:lnTo>
                      <a:pt x="6983" y="3097"/>
                    </a:lnTo>
                    <a:lnTo>
                      <a:pt x="7015" y="3050"/>
                    </a:lnTo>
                    <a:lnTo>
                      <a:pt x="7029" y="3050"/>
                    </a:lnTo>
                    <a:lnTo>
                      <a:pt x="7044" y="3073"/>
                    </a:lnTo>
                    <a:lnTo>
                      <a:pt x="7061" y="3065"/>
                    </a:lnTo>
                    <a:lnTo>
                      <a:pt x="7073" y="3033"/>
                    </a:lnTo>
                    <a:lnTo>
                      <a:pt x="7086" y="3032"/>
                    </a:lnTo>
                    <a:lnTo>
                      <a:pt x="7066" y="3002"/>
                    </a:lnTo>
                    <a:lnTo>
                      <a:pt x="7079" y="2982"/>
                    </a:lnTo>
                    <a:lnTo>
                      <a:pt x="7123" y="2968"/>
                    </a:lnTo>
                    <a:lnTo>
                      <a:pt x="7143" y="2960"/>
                    </a:lnTo>
                    <a:lnTo>
                      <a:pt x="7151" y="2928"/>
                    </a:lnTo>
                    <a:lnTo>
                      <a:pt x="7169" y="2925"/>
                    </a:lnTo>
                    <a:lnTo>
                      <a:pt x="7200" y="2937"/>
                    </a:lnTo>
                    <a:lnTo>
                      <a:pt x="7259" y="2925"/>
                    </a:lnTo>
                    <a:lnTo>
                      <a:pt x="7245" y="2903"/>
                    </a:lnTo>
                    <a:lnTo>
                      <a:pt x="7251" y="2877"/>
                    </a:lnTo>
                    <a:lnTo>
                      <a:pt x="7326" y="2865"/>
                    </a:lnTo>
                    <a:lnTo>
                      <a:pt x="7368" y="2841"/>
                    </a:lnTo>
                    <a:lnTo>
                      <a:pt x="7384" y="2804"/>
                    </a:lnTo>
                    <a:lnTo>
                      <a:pt x="7480" y="2764"/>
                    </a:lnTo>
                    <a:lnTo>
                      <a:pt x="7488" y="2731"/>
                    </a:lnTo>
                    <a:lnTo>
                      <a:pt x="7467" y="2725"/>
                    </a:lnTo>
                    <a:lnTo>
                      <a:pt x="7409" y="2761"/>
                    </a:lnTo>
                    <a:lnTo>
                      <a:pt x="7389" y="2742"/>
                    </a:lnTo>
                    <a:lnTo>
                      <a:pt x="7350" y="2781"/>
                    </a:lnTo>
                    <a:lnTo>
                      <a:pt x="7330" y="2760"/>
                    </a:lnTo>
                    <a:lnTo>
                      <a:pt x="7331" y="2685"/>
                    </a:lnTo>
                    <a:lnTo>
                      <a:pt x="7350" y="2672"/>
                    </a:lnTo>
                    <a:lnTo>
                      <a:pt x="7365" y="2641"/>
                    </a:lnTo>
                    <a:lnTo>
                      <a:pt x="7378" y="2646"/>
                    </a:lnTo>
                    <a:lnTo>
                      <a:pt x="7383" y="2663"/>
                    </a:lnTo>
                    <a:lnTo>
                      <a:pt x="7394" y="2669"/>
                    </a:lnTo>
                    <a:lnTo>
                      <a:pt x="7420" y="2643"/>
                    </a:lnTo>
                    <a:lnTo>
                      <a:pt x="7382" y="2607"/>
                    </a:lnTo>
                    <a:lnTo>
                      <a:pt x="7425" y="2601"/>
                    </a:lnTo>
                    <a:lnTo>
                      <a:pt x="7455" y="2621"/>
                    </a:lnTo>
                    <a:lnTo>
                      <a:pt x="7485" y="2627"/>
                    </a:lnTo>
                    <a:lnTo>
                      <a:pt x="7534" y="2591"/>
                    </a:lnTo>
                    <a:lnTo>
                      <a:pt x="7568" y="2602"/>
                    </a:lnTo>
                    <a:lnTo>
                      <a:pt x="7659" y="2569"/>
                    </a:lnTo>
                    <a:lnTo>
                      <a:pt x="7697" y="2576"/>
                    </a:lnTo>
                    <a:lnTo>
                      <a:pt x="7710" y="2603"/>
                    </a:lnTo>
                    <a:lnTo>
                      <a:pt x="7675" y="2683"/>
                    </a:lnTo>
                    <a:lnTo>
                      <a:pt x="7675" y="2704"/>
                    </a:lnTo>
                    <a:lnTo>
                      <a:pt x="7712" y="2731"/>
                    </a:lnTo>
                    <a:lnTo>
                      <a:pt x="7724" y="2681"/>
                    </a:lnTo>
                    <a:lnTo>
                      <a:pt x="7756" y="2629"/>
                    </a:lnTo>
                    <a:lnTo>
                      <a:pt x="7748" y="2597"/>
                    </a:lnTo>
                    <a:lnTo>
                      <a:pt x="7756" y="2583"/>
                    </a:lnTo>
                    <a:lnTo>
                      <a:pt x="7783" y="2615"/>
                    </a:lnTo>
                    <a:lnTo>
                      <a:pt x="7789" y="2668"/>
                    </a:lnTo>
                    <a:lnTo>
                      <a:pt x="7818" y="2668"/>
                    </a:lnTo>
                    <a:lnTo>
                      <a:pt x="7831" y="2631"/>
                    </a:lnTo>
                    <a:lnTo>
                      <a:pt x="7818" y="2594"/>
                    </a:lnTo>
                    <a:lnTo>
                      <a:pt x="7842" y="2574"/>
                    </a:lnTo>
                    <a:lnTo>
                      <a:pt x="7857" y="2578"/>
                    </a:lnTo>
                    <a:lnTo>
                      <a:pt x="7863" y="2615"/>
                    </a:lnTo>
                    <a:lnTo>
                      <a:pt x="7913" y="2577"/>
                    </a:lnTo>
                    <a:lnTo>
                      <a:pt x="7920" y="2557"/>
                    </a:lnTo>
                    <a:lnTo>
                      <a:pt x="7897" y="2528"/>
                    </a:lnTo>
                    <a:lnTo>
                      <a:pt x="7934" y="2529"/>
                    </a:lnTo>
                    <a:lnTo>
                      <a:pt x="7953" y="2509"/>
                    </a:lnTo>
                    <a:lnTo>
                      <a:pt x="7917" y="2496"/>
                    </a:lnTo>
                    <a:lnTo>
                      <a:pt x="7957" y="2458"/>
                    </a:lnTo>
                    <a:lnTo>
                      <a:pt x="8001" y="2456"/>
                    </a:lnTo>
                    <a:lnTo>
                      <a:pt x="8033" y="2437"/>
                    </a:lnTo>
                    <a:lnTo>
                      <a:pt x="8052" y="2444"/>
                    </a:lnTo>
                    <a:lnTo>
                      <a:pt x="8053" y="2466"/>
                    </a:lnTo>
                    <a:lnTo>
                      <a:pt x="8066" y="2475"/>
                    </a:lnTo>
                    <a:lnTo>
                      <a:pt x="8120" y="2479"/>
                    </a:lnTo>
                    <a:lnTo>
                      <a:pt x="8120" y="2528"/>
                    </a:lnTo>
                    <a:lnTo>
                      <a:pt x="8138" y="2549"/>
                    </a:lnTo>
                    <a:lnTo>
                      <a:pt x="8111" y="2628"/>
                    </a:lnTo>
                    <a:lnTo>
                      <a:pt x="8158" y="2604"/>
                    </a:lnTo>
                    <a:lnTo>
                      <a:pt x="8192" y="2533"/>
                    </a:lnTo>
                    <a:lnTo>
                      <a:pt x="8153" y="2463"/>
                    </a:lnTo>
                    <a:lnTo>
                      <a:pt x="8109" y="2437"/>
                    </a:lnTo>
                    <a:lnTo>
                      <a:pt x="8077" y="2391"/>
                    </a:lnTo>
                    <a:lnTo>
                      <a:pt x="8041" y="2414"/>
                    </a:lnTo>
                    <a:lnTo>
                      <a:pt x="8020" y="2399"/>
                    </a:lnTo>
                    <a:lnTo>
                      <a:pt x="7979" y="2407"/>
                    </a:lnTo>
                    <a:lnTo>
                      <a:pt x="7972" y="2378"/>
                    </a:lnTo>
                    <a:lnTo>
                      <a:pt x="7937" y="2367"/>
                    </a:lnTo>
                    <a:lnTo>
                      <a:pt x="7931" y="2353"/>
                    </a:lnTo>
                    <a:lnTo>
                      <a:pt x="7954" y="2327"/>
                    </a:lnTo>
                    <a:lnTo>
                      <a:pt x="8024" y="2328"/>
                    </a:lnTo>
                    <a:lnTo>
                      <a:pt x="8048" y="2302"/>
                    </a:lnTo>
                    <a:lnTo>
                      <a:pt x="8079" y="2302"/>
                    </a:lnTo>
                    <a:lnTo>
                      <a:pt x="8113" y="2309"/>
                    </a:lnTo>
                    <a:lnTo>
                      <a:pt x="8147" y="2295"/>
                    </a:lnTo>
                    <a:lnTo>
                      <a:pt x="8170" y="2311"/>
                    </a:lnTo>
                    <a:lnTo>
                      <a:pt x="8247" y="2278"/>
                    </a:lnTo>
                    <a:lnTo>
                      <a:pt x="8288" y="2299"/>
                    </a:lnTo>
                    <a:lnTo>
                      <a:pt x="8315" y="2295"/>
                    </a:lnTo>
                    <a:lnTo>
                      <a:pt x="8345" y="2302"/>
                    </a:lnTo>
                    <a:lnTo>
                      <a:pt x="8373" y="2281"/>
                    </a:lnTo>
                    <a:lnTo>
                      <a:pt x="8360" y="2260"/>
                    </a:lnTo>
                    <a:lnTo>
                      <a:pt x="8306" y="2257"/>
                    </a:lnTo>
                    <a:lnTo>
                      <a:pt x="8252" y="2234"/>
                    </a:lnTo>
                    <a:lnTo>
                      <a:pt x="8210" y="2252"/>
                    </a:lnTo>
                    <a:lnTo>
                      <a:pt x="8148" y="2246"/>
                    </a:lnTo>
                    <a:lnTo>
                      <a:pt x="8148" y="2220"/>
                    </a:lnTo>
                    <a:lnTo>
                      <a:pt x="8132" y="2179"/>
                    </a:lnTo>
                    <a:lnTo>
                      <a:pt x="8182" y="2147"/>
                    </a:lnTo>
                    <a:lnTo>
                      <a:pt x="8135" y="2135"/>
                    </a:lnTo>
                    <a:lnTo>
                      <a:pt x="8096" y="2085"/>
                    </a:lnTo>
                    <a:lnTo>
                      <a:pt x="8062" y="2088"/>
                    </a:lnTo>
                    <a:lnTo>
                      <a:pt x="8031" y="2047"/>
                    </a:lnTo>
                    <a:lnTo>
                      <a:pt x="8024" y="2005"/>
                    </a:lnTo>
                    <a:lnTo>
                      <a:pt x="8056" y="2005"/>
                    </a:lnTo>
                    <a:lnTo>
                      <a:pt x="8056" y="1965"/>
                    </a:lnTo>
                    <a:lnTo>
                      <a:pt x="8014" y="1928"/>
                    </a:lnTo>
                    <a:lnTo>
                      <a:pt x="8020" y="1769"/>
                    </a:lnTo>
                    <a:lnTo>
                      <a:pt x="8056" y="1726"/>
                    </a:lnTo>
                    <a:lnTo>
                      <a:pt x="8043" y="1685"/>
                    </a:lnTo>
                    <a:lnTo>
                      <a:pt x="8051" y="1629"/>
                    </a:lnTo>
                    <a:lnTo>
                      <a:pt x="8083" y="1596"/>
                    </a:lnTo>
                    <a:lnTo>
                      <a:pt x="8061" y="1561"/>
                    </a:lnTo>
                    <a:lnTo>
                      <a:pt x="8092" y="1552"/>
                    </a:lnTo>
                    <a:lnTo>
                      <a:pt x="8100" y="1524"/>
                    </a:lnTo>
                    <a:lnTo>
                      <a:pt x="8148" y="1482"/>
                    </a:lnTo>
                    <a:lnTo>
                      <a:pt x="8171" y="1484"/>
                    </a:lnTo>
                    <a:lnTo>
                      <a:pt x="8212" y="1531"/>
                    </a:lnTo>
                    <a:lnTo>
                      <a:pt x="8245" y="1499"/>
                    </a:lnTo>
                    <a:lnTo>
                      <a:pt x="8275" y="1498"/>
                    </a:lnTo>
                    <a:lnTo>
                      <a:pt x="8293" y="1546"/>
                    </a:lnTo>
                    <a:lnTo>
                      <a:pt x="8340" y="1555"/>
                    </a:lnTo>
                    <a:lnTo>
                      <a:pt x="8385" y="1516"/>
                    </a:lnTo>
                    <a:lnTo>
                      <a:pt x="8400" y="1521"/>
                    </a:lnTo>
                    <a:lnTo>
                      <a:pt x="8405" y="1570"/>
                    </a:lnTo>
                    <a:lnTo>
                      <a:pt x="8417" y="1585"/>
                    </a:lnTo>
                    <a:lnTo>
                      <a:pt x="8468" y="1599"/>
                    </a:lnTo>
                    <a:lnTo>
                      <a:pt x="8472" y="1613"/>
                    </a:lnTo>
                    <a:lnTo>
                      <a:pt x="8438" y="1634"/>
                    </a:lnTo>
                    <a:lnTo>
                      <a:pt x="8437" y="1649"/>
                    </a:lnTo>
                    <a:lnTo>
                      <a:pt x="8421" y="1679"/>
                    </a:lnTo>
                    <a:lnTo>
                      <a:pt x="8431" y="1715"/>
                    </a:lnTo>
                    <a:lnTo>
                      <a:pt x="8395" y="1771"/>
                    </a:lnTo>
                    <a:lnTo>
                      <a:pt x="8357" y="1779"/>
                    </a:lnTo>
                    <a:lnTo>
                      <a:pt x="8331" y="1824"/>
                    </a:lnTo>
                    <a:lnTo>
                      <a:pt x="8357" y="1832"/>
                    </a:lnTo>
                    <a:lnTo>
                      <a:pt x="8436" y="1800"/>
                    </a:lnTo>
                    <a:lnTo>
                      <a:pt x="8492" y="1718"/>
                    </a:lnTo>
                    <a:lnTo>
                      <a:pt x="8517" y="1723"/>
                    </a:lnTo>
                    <a:lnTo>
                      <a:pt x="8518" y="1748"/>
                    </a:lnTo>
                    <a:lnTo>
                      <a:pt x="8493" y="1783"/>
                    </a:lnTo>
                    <a:lnTo>
                      <a:pt x="8496" y="1808"/>
                    </a:lnTo>
                    <a:lnTo>
                      <a:pt x="8528" y="1808"/>
                    </a:lnTo>
                    <a:lnTo>
                      <a:pt x="8558" y="1762"/>
                    </a:lnTo>
                    <a:lnTo>
                      <a:pt x="8592" y="1744"/>
                    </a:lnTo>
                    <a:lnTo>
                      <a:pt x="8608" y="1759"/>
                    </a:lnTo>
                    <a:lnTo>
                      <a:pt x="8651" y="1755"/>
                    </a:lnTo>
                    <a:lnTo>
                      <a:pt x="8660" y="1716"/>
                    </a:lnTo>
                    <a:lnTo>
                      <a:pt x="8679" y="1714"/>
                    </a:lnTo>
                    <a:lnTo>
                      <a:pt x="8702" y="1729"/>
                    </a:lnTo>
                    <a:lnTo>
                      <a:pt x="8729" y="1714"/>
                    </a:lnTo>
                    <a:lnTo>
                      <a:pt x="8775" y="1759"/>
                    </a:lnTo>
                    <a:lnTo>
                      <a:pt x="8775" y="1793"/>
                    </a:lnTo>
                    <a:lnTo>
                      <a:pt x="8795" y="1845"/>
                    </a:lnTo>
                    <a:lnTo>
                      <a:pt x="8782" y="1865"/>
                    </a:lnTo>
                    <a:lnTo>
                      <a:pt x="8781" y="1898"/>
                    </a:lnTo>
                    <a:lnTo>
                      <a:pt x="8757" y="1947"/>
                    </a:lnTo>
                    <a:lnTo>
                      <a:pt x="8799" y="2015"/>
                    </a:lnTo>
                    <a:lnTo>
                      <a:pt x="8795" y="2054"/>
                    </a:lnTo>
                    <a:lnTo>
                      <a:pt x="8767" y="2065"/>
                    </a:lnTo>
                    <a:lnTo>
                      <a:pt x="8740" y="2088"/>
                    </a:lnTo>
                    <a:lnTo>
                      <a:pt x="8762" y="2093"/>
                    </a:lnTo>
                    <a:lnTo>
                      <a:pt x="8829" y="2078"/>
                    </a:lnTo>
                    <a:lnTo>
                      <a:pt x="8869" y="2038"/>
                    </a:lnTo>
                    <a:lnTo>
                      <a:pt x="8920" y="2035"/>
                    </a:lnTo>
                    <a:lnTo>
                      <a:pt x="8944" y="1987"/>
                    </a:lnTo>
                    <a:lnTo>
                      <a:pt x="8939" y="1926"/>
                    </a:lnTo>
                    <a:lnTo>
                      <a:pt x="8921" y="1879"/>
                    </a:lnTo>
                    <a:lnTo>
                      <a:pt x="8903" y="1883"/>
                    </a:lnTo>
                    <a:lnTo>
                      <a:pt x="8877" y="1872"/>
                    </a:lnTo>
                    <a:lnTo>
                      <a:pt x="8874" y="1837"/>
                    </a:lnTo>
                    <a:lnTo>
                      <a:pt x="8890" y="1825"/>
                    </a:lnTo>
                    <a:lnTo>
                      <a:pt x="8914" y="1825"/>
                    </a:lnTo>
                    <a:lnTo>
                      <a:pt x="8931" y="1837"/>
                    </a:lnTo>
                    <a:lnTo>
                      <a:pt x="8953" y="1829"/>
                    </a:lnTo>
                    <a:lnTo>
                      <a:pt x="9012" y="1814"/>
                    </a:lnTo>
                    <a:lnTo>
                      <a:pt x="9054" y="1769"/>
                    </a:lnTo>
                    <a:lnTo>
                      <a:pt x="9079" y="1775"/>
                    </a:lnTo>
                    <a:lnTo>
                      <a:pt x="9125" y="1775"/>
                    </a:lnTo>
                    <a:lnTo>
                      <a:pt x="9137" y="1741"/>
                    </a:lnTo>
                    <a:lnTo>
                      <a:pt x="9169" y="1712"/>
                    </a:lnTo>
                    <a:lnTo>
                      <a:pt x="9180" y="1720"/>
                    </a:lnTo>
                    <a:lnTo>
                      <a:pt x="9207" y="1694"/>
                    </a:lnTo>
                    <a:lnTo>
                      <a:pt x="9242" y="1686"/>
                    </a:lnTo>
                    <a:lnTo>
                      <a:pt x="9256" y="1700"/>
                    </a:lnTo>
                    <a:lnTo>
                      <a:pt x="9291" y="1691"/>
                    </a:lnTo>
                    <a:lnTo>
                      <a:pt x="9298" y="1713"/>
                    </a:lnTo>
                    <a:lnTo>
                      <a:pt x="9286" y="1730"/>
                    </a:lnTo>
                    <a:lnTo>
                      <a:pt x="9292" y="1759"/>
                    </a:lnTo>
                    <a:lnTo>
                      <a:pt x="9368" y="1753"/>
                    </a:lnTo>
                    <a:lnTo>
                      <a:pt x="9377" y="1763"/>
                    </a:lnTo>
                    <a:lnTo>
                      <a:pt x="9412" y="1776"/>
                    </a:lnTo>
                    <a:lnTo>
                      <a:pt x="9540" y="1850"/>
                    </a:lnTo>
                    <a:lnTo>
                      <a:pt x="9569" y="1856"/>
                    </a:lnTo>
                    <a:lnTo>
                      <a:pt x="9588" y="1892"/>
                    </a:lnTo>
                    <a:lnTo>
                      <a:pt x="9586" y="1918"/>
                    </a:lnTo>
                    <a:lnTo>
                      <a:pt x="9646" y="1986"/>
                    </a:lnTo>
                    <a:lnTo>
                      <a:pt x="9660" y="1979"/>
                    </a:lnTo>
                    <a:lnTo>
                      <a:pt x="9661" y="1953"/>
                    </a:lnTo>
                    <a:lnTo>
                      <a:pt x="9681" y="1941"/>
                    </a:lnTo>
                    <a:lnTo>
                      <a:pt x="9686" y="1923"/>
                    </a:lnTo>
                    <a:lnTo>
                      <a:pt x="9664" y="1907"/>
                    </a:lnTo>
                    <a:lnTo>
                      <a:pt x="9634" y="1905"/>
                    </a:lnTo>
                    <a:lnTo>
                      <a:pt x="9633" y="1873"/>
                    </a:lnTo>
                    <a:lnTo>
                      <a:pt x="9660" y="1854"/>
                    </a:lnTo>
                    <a:lnTo>
                      <a:pt x="9684" y="1854"/>
                    </a:lnTo>
                    <a:lnTo>
                      <a:pt x="9701" y="1882"/>
                    </a:lnTo>
                    <a:lnTo>
                      <a:pt x="9727" y="1904"/>
                    </a:lnTo>
                    <a:lnTo>
                      <a:pt x="9727" y="1933"/>
                    </a:lnTo>
                    <a:lnTo>
                      <a:pt x="9776" y="1978"/>
                    </a:lnTo>
                    <a:lnTo>
                      <a:pt x="9784" y="2015"/>
                    </a:lnTo>
                    <a:lnTo>
                      <a:pt x="9806" y="2025"/>
                    </a:lnTo>
                    <a:lnTo>
                      <a:pt x="9825" y="2014"/>
                    </a:lnTo>
                    <a:lnTo>
                      <a:pt x="9838" y="2011"/>
                    </a:lnTo>
                    <a:lnTo>
                      <a:pt x="9861" y="2025"/>
                    </a:lnTo>
                    <a:lnTo>
                      <a:pt x="9883" y="2058"/>
                    </a:lnTo>
                    <a:lnTo>
                      <a:pt x="9886" y="2090"/>
                    </a:lnTo>
                    <a:lnTo>
                      <a:pt x="9914" y="2126"/>
                    </a:lnTo>
                    <a:lnTo>
                      <a:pt x="9911" y="2153"/>
                    </a:lnTo>
                    <a:lnTo>
                      <a:pt x="9898" y="2151"/>
                    </a:lnTo>
                    <a:lnTo>
                      <a:pt x="9894" y="2131"/>
                    </a:lnTo>
                    <a:lnTo>
                      <a:pt x="9879" y="2112"/>
                    </a:lnTo>
                    <a:lnTo>
                      <a:pt x="9866" y="2113"/>
                    </a:lnTo>
                    <a:lnTo>
                      <a:pt x="9850" y="2130"/>
                    </a:lnTo>
                    <a:lnTo>
                      <a:pt x="9824" y="2106"/>
                    </a:lnTo>
                    <a:lnTo>
                      <a:pt x="9765" y="2082"/>
                    </a:lnTo>
                    <a:lnTo>
                      <a:pt x="9719" y="2085"/>
                    </a:lnTo>
                    <a:lnTo>
                      <a:pt x="9712" y="2095"/>
                    </a:lnTo>
                    <a:lnTo>
                      <a:pt x="9735" y="2126"/>
                    </a:lnTo>
                    <a:lnTo>
                      <a:pt x="9780" y="2131"/>
                    </a:lnTo>
                    <a:lnTo>
                      <a:pt x="9796" y="2143"/>
                    </a:lnTo>
                    <a:lnTo>
                      <a:pt x="9789" y="2153"/>
                    </a:lnTo>
                    <a:lnTo>
                      <a:pt x="9809" y="2193"/>
                    </a:lnTo>
                    <a:lnTo>
                      <a:pt x="9828" y="2206"/>
                    </a:lnTo>
                    <a:lnTo>
                      <a:pt x="9842" y="2194"/>
                    </a:lnTo>
                    <a:lnTo>
                      <a:pt x="9861" y="2156"/>
                    </a:lnTo>
                    <a:lnTo>
                      <a:pt x="9871" y="2156"/>
                    </a:lnTo>
                    <a:lnTo>
                      <a:pt x="9887" y="2182"/>
                    </a:lnTo>
                    <a:lnTo>
                      <a:pt x="9911" y="2196"/>
                    </a:lnTo>
                    <a:lnTo>
                      <a:pt x="9929" y="2186"/>
                    </a:lnTo>
                    <a:lnTo>
                      <a:pt x="9948" y="2192"/>
                    </a:lnTo>
                    <a:lnTo>
                      <a:pt x="9956" y="2216"/>
                    </a:lnTo>
                    <a:lnTo>
                      <a:pt x="9946" y="2234"/>
                    </a:lnTo>
                    <a:lnTo>
                      <a:pt x="9977" y="2288"/>
                    </a:lnTo>
                    <a:lnTo>
                      <a:pt x="9988" y="2347"/>
                    </a:lnTo>
                    <a:lnTo>
                      <a:pt x="9987" y="2413"/>
                    </a:lnTo>
                    <a:lnTo>
                      <a:pt x="9963" y="2467"/>
                    </a:lnTo>
                    <a:lnTo>
                      <a:pt x="9949" y="2473"/>
                    </a:lnTo>
                    <a:lnTo>
                      <a:pt x="9935" y="2500"/>
                    </a:lnTo>
                    <a:lnTo>
                      <a:pt x="9944" y="2532"/>
                    </a:lnTo>
                    <a:lnTo>
                      <a:pt x="9918" y="2575"/>
                    </a:lnTo>
                    <a:lnTo>
                      <a:pt x="9920" y="2592"/>
                    </a:lnTo>
                    <a:lnTo>
                      <a:pt x="9942" y="2614"/>
                    </a:lnTo>
                    <a:lnTo>
                      <a:pt x="9944" y="2642"/>
                    </a:lnTo>
                    <a:lnTo>
                      <a:pt x="9901" y="2663"/>
                    </a:lnTo>
                    <a:lnTo>
                      <a:pt x="9887" y="2698"/>
                    </a:lnTo>
                    <a:lnTo>
                      <a:pt x="9897" y="2714"/>
                    </a:lnTo>
                    <a:lnTo>
                      <a:pt x="9871" y="2770"/>
                    </a:lnTo>
                    <a:lnTo>
                      <a:pt x="9851" y="2792"/>
                    </a:lnTo>
                    <a:lnTo>
                      <a:pt x="9857" y="2811"/>
                    </a:lnTo>
                    <a:lnTo>
                      <a:pt x="9841" y="2845"/>
                    </a:lnTo>
                    <a:lnTo>
                      <a:pt x="9810" y="2860"/>
                    </a:lnTo>
                    <a:lnTo>
                      <a:pt x="9770" y="2893"/>
                    </a:lnTo>
                    <a:lnTo>
                      <a:pt x="9734" y="2894"/>
                    </a:lnTo>
                    <a:lnTo>
                      <a:pt x="9773" y="2906"/>
                    </a:lnTo>
                    <a:lnTo>
                      <a:pt x="9800" y="2905"/>
                    </a:lnTo>
                    <a:lnTo>
                      <a:pt x="9821" y="2882"/>
                    </a:lnTo>
                    <a:lnTo>
                      <a:pt x="9832" y="2882"/>
                    </a:lnTo>
                    <a:lnTo>
                      <a:pt x="9850" y="2931"/>
                    </a:lnTo>
                    <a:lnTo>
                      <a:pt x="9823" y="2989"/>
                    </a:lnTo>
                    <a:lnTo>
                      <a:pt x="9796" y="3026"/>
                    </a:lnTo>
                    <a:lnTo>
                      <a:pt x="9775" y="3108"/>
                    </a:lnTo>
                    <a:lnTo>
                      <a:pt x="9795" y="3145"/>
                    </a:lnTo>
                    <a:lnTo>
                      <a:pt x="9800" y="3173"/>
                    </a:lnTo>
                    <a:lnTo>
                      <a:pt x="9769" y="3249"/>
                    </a:lnTo>
                    <a:lnTo>
                      <a:pt x="9724" y="3265"/>
                    </a:lnTo>
                    <a:lnTo>
                      <a:pt x="9710" y="3259"/>
                    </a:lnTo>
                    <a:lnTo>
                      <a:pt x="9687" y="3262"/>
                    </a:lnTo>
                    <a:lnTo>
                      <a:pt x="9675" y="3284"/>
                    </a:lnTo>
                    <a:lnTo>
                      <a:pt x="9685" y="3303"/>
                    </a:lnTo>
                    <a:lnTo>
                      <a:pt x="9704" y="3370"/>
                    </a:lnTo>
                    <a:lnTo>
                      <a:pt x="9692" y="3401"/>
                    </a:lnTo>
                    <a:lnTo>
                      <a:pt x="9658" y="3421"/>
                    </a:lnTo>
                    <a:lnTo>
                      <a:pt x="9642" y="3468"/>
                    </a:lnTo>
                    <a:lnTo>
                      <a:pt x="9658" y="3515"/>
                    </a:lnTo>
                    <a:lnTo>
                      <a:pt x="9661" y="3556"/>
                    </a:lnTo>
                    <a:lnTo>
                      <a:pt x="9647" y="3575"/>
                    </a:lnTo>
                    <a:lnTo>
                      <a:pt x="9651" y="3602"/>
                    </a:lnTo>
                    <a:lnTo>
                      <a:pt x="9674" y="3619"/>
                    </a:lnTo>
                    <a:lnTo>
                      <a:pt x="9651" y="3709"/>
                    </a:lnTo>
                    <a:lnTo>
                      <a:pt x="9623" y="3731"/>
                    </a:lnTo>
                    <a:lnTo>
                      <a:pt x="9615" y="3763"/>
                    </a:lnTo>
                    <a:lnTo>
                      <a:pt x="9626" y="3741"/>
                    </a:lnTo>
                    <a:lnTo>
                      <a:pt x="9659" y="3738"/>
                    </a:lnTo>
                    <a:lnTo>
                      <a:pt x="9691" y="3705"/>
                    </a:lnTo>
                    <a:lnTo>
                      <a:pt x="9707" y="3674"/>
                    </a:lnTo>
                    <a:lnTo>
                      <a:pt x="9699" y="3660"/>
                    </a:lnTo>
                    <a:lnTo>
                      <a:pt x="9711" y="3636"/>
                    </a:lnTo>
                    <a:lnTo>
                      <a:pt x="9756" y="3634"/>
                    </a:lnTo>
                    <a:lnTo>
                      <a:pt x="9781" y="3627"/>
                    </a:lnTo>
                    <a:lnTo>
                      <a:pt x="9755" y="3620"/>
                    </a:lnTo>
                    <a:lnTo>
                      <a:pt x="9697" y="3560"/>
                    </a:lnTo>
                    <a:lnTo>
                      <a:pt x="9680" y="3515"/>
                    </a:lnTo>
                    <a:lnTo>
                      <a:pt x="9699" y="3477"/>
                    </a:lnTo>
                    <a:lnTo>
                      <a:pt x="9758" y="3472"/>
                    </a:lnTo>
                    <a:lnTo>
                      <a:pt x="9819" y="3465"/>
                    </a:lnTo>
                    <a:lnTo>
                      <a:pt x="9869" y="3420"/>
                    </a:lnTo>
                    <a:lnTo>
                      <a:pt x="9895" y="3419"/>
                    </a:lnTo>
                    <a:lnTo>
                      <a:pt x="9914" y="3402"/>
                    </a:lnTo>
                    <a:lnTo>
                      <a:pt x="9895" y="3374"/>
                    </a:lnTo>
                    <a:lnTo>
                      <a:pt x="9946" y="3334"/>
                    </a:lnTo>
                    <a:lnTo>
                      <a:pt x="9970" y="3293"/>
                    </a:lnTo>
                    <a:lnTo>
                      <a:pt x="9952" y="3257"/>
                    </a:lnTo>
                    <a:lnTo>
                      <a:pt x="9951" y="3245"/>
                    </a:lnTo>
                    <a:lnTo>
                      <a:pt x="9987" y="3265"/>
                    </a:lnTo>
                    <a:lnTo>
                      <a:pt x="10028" y="3252"/>
                    </a:lnTo>
                    <a:lnTo>
                      <a:pt x="10053" y="3215"/>
                    </a:lnTo>
                    <a:lnTo>
                      <a:pt x="10033" y="3188"/>
                    </a:lnTo>
                    <a:lnTo>
                      <a:pt x="10097" y="3141"/>
                    </a:lnTo>
                    <a:lnTo>
                      <a:pt x="10101" y="3103"/>
                    </a:lnTo>
                    <a:lnTo>
                      <a:pt x="10087" y="3077"/>
                    </a:lnTo>
                    <a:lnTo>
                      <a:pt x="10023" y="3113"/>
                    </a:lnTo>
                    <a:lnTo>
                      <a:pt x="10018" y="3137"/>
                    </a:lnTo>
                    <a:lnTo>
                      <a:pt x="9968" y="3175"/>
                    </a:lnTo>
                    <a:lnTo>
                      <a:pt x="9930" y="3156"/>
                    </a:lnTo>
                    <a:lnTo>
                      <a:pt x="9906" y="3112"/>
                    </a:lnTo>
                    <a:lnTo>
                      <a:pt x="9933" y="3073"/>
                    </a:lnTo>
                    <a:lnTo>
                      <a:pt x="9924" y="3016"/>
                    </a:lnTo>
                    <a:lnTo>
                      <a:pt x="9958" y="2988"/>
                    </a:lnTo>
                    <a:lnTo>
                      <a:pt x="10008" y="2986"/>
                    </a:lnTo>
                    <a:lnTo>
                      <a:pt x="10066" y="3025"/>
                    </a:lnTo>
                    <a:lnTo>
                      <a:pt x="10089" y="2997"/>
                    </a:lnTo>
                    <a:lnTo>
                      <a:pt x="10087" y="2958"/>
                    </a:lnTo>
                    <a:lnTo>
                      <a:pt x="10133" y="2938"/>
                    </a:lnTo>
                    <a:lnTo>
                      <a:pt x="10138" y="2966"/>
                    </a:lnTo>
                    <a:lnTo>
                      <a:pt x="10119" y="2988"/>
                    </a:lnTo>
                    <a:lnTo>
                      <a:pt x="10122" y="3022"/>
                    </a:lnTo>
                    <a:lnTo>
                      <a:pt x="10215" y="3097"/>
                    </a:lnTo>
                    <a:lnTo>
                      <a:pt x="10260" y="3101"/>
                    </a:lnTo>
                    <a:lnTo>
                      <a:pt x="10283" y="3086"/>
                    </a:lnTo>
                    <a:lnTo>
                      <a:pt x="10348" y="3075"/>
                    </a:lnTo>
                    <a:lnTo>
                      <a:pt x="10377" y="3043"/>
                    </a:lnTo>
                    <a:lnTo>
                      <a:pt x="10371" y="3007"/>
                    </a:lnTo>
                    <a:lnTo>
                      <a:pt x="10318" y="2946"/>
                    </a:lnTo>
                    <a:lnTo>
                      <a:pt x="10317" y="2926"/>
                    </a:lnTo>
                    <a:lnTo>
                      <a:pt x="10335" y="2930"/>
                    </a:lnTo>
                    <a:lnTo>
                      <a:pt x="10401" y="2995"/>
                    </a:lnTo>
                    <a:lnTo>
                      <a:pt x="10425" y="2998"/>
                    </a:lnTo>
                    <a:lnTo>
                      <a:pt x="10461" y="3031"/>
                    </a:lnTo>
                    <a:lnTo>
                      <a:pt x="10453" y="3056"/>
                    </a:lnTo>
                    <a:lnTo>
                      <a:pt x="10461" y="3081"/>
                    </a:lnTo>
                    <a:lnTo>
                      <a:pt x="10506" y="3117"/>
                    </a:lnTo>
                    <a:lnTo>
                      <a:pt x="10512" y="3182"/>
                    </a:lnTo>
                    <a:lnTo>
                      <a:pt x="10526" y="3193"/>
                    </a:lnTo>
                    <a:lnTo>
                      <a:pt x="10522" y="3176"/>
                    </a:lnTo>
                    <a:lnTo>
                      <a:pt x="10553" y="3142"/>
                    </a:lnTo>
                    <a:lnTo>
                      <a:pt x="10572" y="3138"/>
                    </a:lnTo>
                    <a:lnTo>
                      <a:pt x="10588" y="3112"/>
                    </a:lnTo>
                    <a:lnTo>
                      <a:pt x="10575" y="3102"/>
                    </a:lnTo>
                    <a:lnTo>
                      <a:pt x="10547" y="3115"/>
                    </a:lnTo>
                    <a:lnTo>
                      <a:pt x="10522" y="3107"/>
                    </a:lnTo>
                    <a:lnTo>
                      <a:pt x="10501" y="3065"/>
                    </a:lnTo>
                    <a:lnTo>
                      <a:pt x="10545" y="3023"/>
                    </a:lnTo>
                    <a:lnTo>
                      <a:pt x="10581" y="3002"/>
                    </a:lnTo>
                    <a:lnTo>
                      <a:pt x="10597" y="2978"/>
                    </a:lnTo>
                    <a:lnTo>
                      <a:pt x="10620" y="2978"/>
                    </a:lnTo>
                    <a:lnTo>
                      <a:pt x="10634" y="2954"/>
                    </a:lnTo>
                    <a:lnTo>
                      <a:pt x="10705" y="2941"/>
                    </a:lnTo>
                    <a:lnTo>
                      <a:pt x="10817" y="2912"/>
                    </a:lnTo>
                    <a:lnTo>
                      <a:pt x="10954" y="2906"/>
                    </a:lnTo>
                    <a:lnTo>
                      <a:pt x="11059" y="2860"/>
                    </a:lnTo>
                    <a:lnTo>
                      <a:pt x="11110" y="2858"/>
                    </a:lnTo>
                    <a:lnTo>
                      <a:pt x="11159" y="2877"/>
                    </a:lnTo>
                    <a:lnTo>
                      <a:pt x="11155" y="2903"/>
                    </a:lnTo>
                    <a:lnTo>
                      <a:pt x="11143" y="2911"/>
                    </a:lnTo>
                    <a:lnTo>
                      <a:pt x="11121" y="2951"/>
                    </a:lnTo>
                    <a:lnTo>
                      <a:pt x="11140" y="3015"/>
                    </a:lnTo>
                    <a:lnTo>
                      <a:pt x="11185" y="3051"/>
                    </a:lnTo>
                    <a:lnTo>
                      <a:pt x="11337" y="3058"/>
                    </a:lnTo>
                    <a:lnTo>
                      <a:pt x="11366" y="3067"/>
                    </a:lnTo>
                    <a:lnTo>
                      <a:pt x="11378" y="3061"/>
                    </a:lnTo>
                    <a:lnTo>
                      <a:pt x="11433" y="3062"/>
                    </a:lnTo>
                    <a:lnTo>
                      <a:pt x="11474" y="3075"/>
                    </a:lnTo>
                    <a:lnTo>
                      <a:pt x="11580" y="3058"/>
                    </a:lnTo>
                    <a:lnTo>
                      <a:pt x="11655" y="3016"/>
                    </a:lnTo>
                    <a:lnTo>
                      <a:pt x="11682" y="3026"/>
                    </a:lnTo>
                    <a:lnTo>
                      <a:pt x="11717" y="3024"/>
                    </a:lnTo>
                    <a:lnTo>
                      <a:pt x="11737" y="2991"/>
                    </a:lnTo>
                    <a:lnTo>
                      <a:pt x="11724" y="2966"/>
                    </a:lnTo>
                    <a:lnTo>
                      <a:pt x="11756" y="2959"/>
                    </a:lnTo>
                    <a:lnTo>
                      <a:pt x="11786" y="2967"/>
                    </a:lnTo>
                    <a:lnTo>
                      <a:pt x="11833" y="2954"/>
                    </a:lnTo>
                    <a:lnTo>
                      <a:pt x="11844" y="2980"/>
                    </a:lnTo>
                    <a:lnTo>
                      <a:pt x="11860" y="2986"/>
                    </a:lnTo>
                    <a:lnTo>
                      <a:pt x="11882" y="2952"/>
                    </a:lnTo>
                    <a:lnTo>
                      <a:pt x="11871" y="2926"/>
                    </a:lnTo>
                    <a:lnTo>
                      <a:pt x="11843" y="2898"/>
                    </a:lnTo>
                    <a:lnTo>
                      <a:pt x="11847" y="2865"/>
                    </a:lnTo>
                    <a:lnTo>
                      <a:pt x="11830" y="2840"/>
                    </a:lnTo>
                    <a:lnTo>
                      <a:pt x="11792" y="2831"/>
                    </a:lnTo>
                    <a:lnTo>
                      <a:pt x="11786" y="2787"/>
                    </a:lnTo>
                    <a:lnTo>
                      <a:pt x="11768" y="2779"/>
                    </a:lnTo>
                    <a:lnTo>
                      <a:pt x="11760" y="2745"/>
                    </a:lnTo>
                    <a:lnTo>
                      <a:pt x="11736" y="2718"/>
                    </a:lnTo>
                    <a:lnTo>
                      <a:pt x="11731" y="2675"/>
                    </a:lnTo>
                    <a:lnTo>
                      <a:pt x="11749" y="2643"/>
                    </a:lnTo>
                    <a:lnTo>
                      <a:pt x="11755" y="2663"/>
                    </a:lnTo>
                    <a:lnTo>
                      <a:pt x="11771" y="2673"/>
                    </a:lnTo>
                    <a:lnTo>
                      <a:pt x="11809" y="2642"/>
                    </a:lnTo>
                    <a:lnTo>
                      <a:pt x="11802" y="2629"/>
                    </a:lnTo>
                    <a:lnTo>
                      <a:pt x="11794" y="2599"/>
                    </a:lnTo>
                    <a:lnTo>
                      <a:pt x="11820" y="2596"/>
                    </a:lnTo>
                    <a:lnTo>
                      <a:pt x="11860" y="2628"/>
                    </a:lnTo>
                    <a:lnTo>
                      <a:pt x="11881" y="2612"/>
                    </a:lnTo>
                    <a:lnTo>
                      <a:pt x="11888" y="2585"/>
                    </a:lnTo>
                    <a:lnTo>
                      <a:pt x="11902" y="2604"/>
                    </a:lnTo>
                    <a:lnTo>
                      <a:pt x="11946" y="2602"/>
                    </a:lnTo>
                    <a:lnTo>
                      <a:pt x="11971" y="2597"/>
                    </a:lnTo>
                    <a:lnTo>
                      <a:pt x="11983" y="2575"/>
                    </a:lnTo>
                    <a:lnTo>
                      <a:pt x="12014" y="2609"/>
                    </a:lnTo>
                    <a:lnTo>
                      <a:pt x="12043" y="2619"/>
                    </a:lnTo>
                    <a:lnTo>
                      <a:pt x="12064" y="2646"/>
                    </a:lnTo>
                    <a:lnTo>
                      <a:pt x="12084" y="2630"/>
                    </a:lnTo>
                    <a:lnTo>
                      <a:pt x="12083" y="2598"/>
                    </a:lnTo>
                    <a:lnTo>
                      <a:pt x="12114" y="2605"/>
                    </a:lnTo>
                    <a:lnTo>
                      <a:pt x="12133" y="2638"/>
                    </a:lnTo>
                    <a:lnTo>
                      <a:pt x="12112" y="2656"/>
                    </a:lnTo>
                    <a:lnTo>
                      <a:pt x="12097" y="2685"/>
                    </a:lnTo>
                    <a:lnTo>
                      <a:pt x="12109" y="2695"/>
                    </a:lnTo>
                    <a:lnTo>
                      <a:pt x="12147" y="2686"/>
                    </a:lnTo>
                    <a:lnTo>
                      <a:pt x="12157" y="2692"/>
                    </a:lnTo>
                    <a:lnTo>
                      <a:pt x="12157" y="2666"/>
                    </a:lnTo>
                    <a:lnTo>
                      <a:pt x="12173" y="2658"/>
                    </a:lnTo>
                    <a:lnTo>
                      <a:pt x="12195" y="2664"/>
                    </a:lnTo>
                    <a:lnTo>
                      <a:pt x="12183" y="2628"/>
                    </a:lnTo>
                    <a:lnTo>
                      <a:pt x="12165" y="2612"/>
                    </a:lnTo>
                    <a:lnTo>
                      <a:pt x="12173" y="2597"/>
                    </a:lnTo>
                    <a:lnTo>
                      <a:pt x="12204" y="2598"/>
                    </a:lnTo>
                    <a:lnTo>
                      <a:pt x="12254" y="2584"/>
                    </a:lnTo>
                    <a:lnTo>
                      <a:pt x="12270" y="2599"/>
                    </a:lnTo>
                    <a:lnTo>
                      <a:pt x="12291" y="2588"/>
                    </a:lnTo>
                    <a:lnTo>
                      <a:pt x="12337" y="2588"/>
                    </a:lnTo>
                    <a:lnTo>
                      <a:pt x="12338" y="2612"/>
                    </a:lnTo>
                    <a:lnTo>
                      <a:pt x="12349" y="2658"/>
                    </a:lnTo>
                    <a:lnTo>
                      <a:pt x="12357" y="2636"/>
                    </a:lnTo>
                    <a:lnTo>
                      <a:pt x="12373" y="2634"/>
                    </a:lnTo>
                    <a:lnTo>
                      <a:pt x="12403" y="2605"/>
                    </a:lnTo>
                    <a:lnTo>
                      <a:pt x="12415" y="2654"/>
                    </a:lnTo>
                    <a:lnTo>
                      <a:pt x="12436" y="2654"/>
                    </a:lnTo>
                    <a:lnTo>
                      <a:pt x="12468" y="2630"/>
                    </a:lnTo>
                    <a:lnTo>
                      <a:pt x="12500" y="2658"/>
                    </a:lnTo>
                    <a:lnTo>
                      <a:pt x="12511" y="2723"/>
                    </a:lnTo>
                    <a:lnTo>
                      <a:pt x="12534" y="2681"/>
                    </a:lnTo>
                    <a:lnTo>
                      <a:pt x="12554" y="2665"/>
                    </a:lnTo>
                    <a:lnTo>
                      <a:pt x="12569" y="2680"/>
                    </a:lnTo>
                    <a:lnTo>
                      <a:pt x="12551" y="2724"/>
                    </a:lnTo>
                    <a:lnTo>
                      <a:pt x="12576" y="2745"/>
                    </a:lnTo>
                    <a:lnTo>
                      <a:pt x="12588" y="2759"/>
                    </a:lnTo>
                    <a:lnTo>
                      <a:pt x="12619" y="2760"/>
                    </a:lnTo>
                    <a:lnTo>
                      <a:pt x="12629" y="2792"/>
                    </a:lnTo>
                    <a:lnTo>
                      <a:pt x="12642" y="2780"/>
                    </a:lnTo>
                    <a:lnTo>
                      <a:pt x="12657" y="2776"/>
                    </a:lnTo>
                    <a:lnTo>
                      <a:pt x="12668" y="2814"/>
                    </a:lnTo>
                    <a:lnTo>
                      <a:pt x="12642" y="2842"/>
                    </a:lnTo>
                    <a:lnTo>
                      <a:pt x="12647" y="2882"/>
                    </a:lnTo>
                    <a:lnTo>
                      <a:pt x="12693" y="2835"/>
                    </a:lnTo>
                    <a:lnTo>
                      <a:pt x="12722" y="2838"/>
                    </a:lnTo>
                    <a:lnTo>
                      <a:pt x="12727" y="2862"/>
                    </a:lnTo>
                    <a:lnTo>
                      <a:pt x="12662" y="2921"/>
                    </a:lnTo>
                    <a:lnTo>
                      <a:pt x="12666" y="2967"/>
                    </a:lnTo>
                    <a:lnTo>
                      <a:pt x="12722" y="2975"/>
                    </a:lnTo>
                    <a:lnTo>
                      <a:pt x="12736" y="2956"/>
                    </a:lnTo>
                    <a:lnTo>
                      <a:pt x="12759" y="2941"/>
                    </a:lnTo>
                    <a:lnTo>
                      <a:pt x="12779" y="2953"/>
                    </a:lnTo>
                    <a:lnTo>
                      <a:pt x="12786" y="2981"/>
                    </a:lnTo>
                    <a:lnTo>
                      <a:pt x="12811" y="2966"/>
                    </a:lnTo>
                    <a:lnTo>
                      <a:pt x="12849" y="3008"/>
                    </a:lnTo>
                    <a:lnTo>
                      <a:pt x="12837" y="3059"/>
                    </a:lnTo>
                    <a:lnTo>
                      <a:pt x="12870" y="3053"/>
                    </a:lnTo>
                    <a:lnTo>
                      <a:pt x="12877" y="3080"/>
                    </a:lnTo>
                    <a:lnTo>
                      <a:pt x="12904" y="3068"/>
                    </a:lnTo>
                    <a:lnTo>
                      <a:pt x="12908" y="3095"/>
                    </a:lnTo>
                    <a:lnTo>
                      <a:pt x="12878" y="3147"/>
                    </a:lnTo>
                    <a:lnTo>
                      <a:pt x="12841" y="3162"/>
                    </a:lnTo>
                    <a:lnTo>
                      <a:pt x="12810" y="3140"/>
                    </a:lnTo>
                    <a:lnTo>
                      <a:pt x="12744" y="3122"/>
                    </a:lnTo>
                    <a:lnTo>
                      <a:pt x="12668" y="3122"/>
                    </a:lnTo>
                    <a:lnTo>
                      <a:pt x="12698" y="3142"/>
                    </a:lnTo>
                    <a:lnTo>
                      <a:pt x="12711" y="3178"/>
                    </a:lnTo>
                    <a:lnTo>
                      <a:pt x="12777" y="3186"/>
                    </a:lnTo>
                    <a:lnTo>
                      <a:pt x="12790" y="3212"/>
                    </a:lnTo>
                    <a:lnTo>
                      <a:pt x="12854" y="3260"/>
                    </a:lnTo>
                    <a:lnTo>
                      <a:pt x="12917" y="3276"/>
                    </a:lnTo>
                    <a:lnTo>
                      <a:pt x="12957" y="3250"/>
                    </a:lnTo>
                    <a:lnTo>
                      <a:pt x="12960" y="3215"/>
                    </a:lnTo>
                    <a:lnTo>
                      <a:pt x="12927" y="3183"/>
                    </a:lnTo>
                    <a:lnTo>
                      <a:pt x="12917" y="3161"/>
                    </a:lnTo>
                    <a:lnTo>
                      <a:pt x="12927" y="3161"/>
                    </a:lnTo>
                    <a:lnTo>
                      <a:pt x="12966" y="3200"/>
                    </a:lnTo>
                    <a:lnTo>
                      <a:pt x="13006" y="3220"/>
                    </a:lnTo>
                    <a:lnTo>
                      <a:pt x="13030" y="3235"/>
                    </a:lnTo>
                    <a:lnTo>
                      <a:pt x="13000" y="3232"/>
                    </a:lnTo>
                    <a:lnTo>
                      <a:pt x="12932" y="3296"/>
                    </a:lnTo>
                    <a:lnTo>
                      <a:pt x="12948" y="3317"/>
                    </a:lnTo>
                    <a:lnTo>
                      <a:pt x="12977" y="3321"/>
                    </a:lnTo>
                    <a:lnTo>
                      <a:pt x="13000" y="3304"/>
                    </a:lnTo>
                    <a:lnTo>
                      <a:pt x="13022" y="3304"/>
                    </a:lnTo>
                    <a:lnTo>
                      <a:pt x="13134" y="3406"/>
                    </a:lnTo>
                    <a:lnTo>
                      <a:pt x="13161" y="3417"/>
                    </a:lnTo>
                    <a:lnTo>
                      <a:pt x="13196" y="3463"/>
                    </a:lnTo>
                    <a:lnTo>
                      <a:pt x="13279" y="3471"/>
                    </a:lnTo>
                    <a:lnTo>
                      <a:pt x="13328" y="3527"/>
                    </a:lnTo>
                    <a:lnTo>
                      <a:pt x="13378" y="3540"/>
                    </a:lnTo>
                    <a:lnTo>
                      <a:pt x="13390" y="3517"/>
                    </a:lnTo>
                    <a:lnTo>
                      <a:pt x="13376" y="3494"/>
                    </a:lnTo>
                    <a:lnTo>
                      <a:pt x="13395" y="3481"/>
                    </a:lnTo>
                    <a:lnTo>
                      <a:pt x="13424" y="3512"/>
                    </a:lnTo>
                    <a:lnTo>
                      <a:pt x="13433" y="3540"/>
                    </a:lnTo>
                    <a:lnTo>
                      <a:pt x="13453" y="3570"/>
                    </a:lnTo>
                    <a:lnTo>
                      <a:pt x="13474" y="3569"/>
                    </a:lnTo>
                    <a:lnTo>
                      <a:pt x="13483" y="3530"/>
                    </a:lnTo>
                    <a:lnTo>
                      <a:pt x="13448" y="3349"/>
                    </a:lnTo>
                    <a:lnTo>
                      <a:pt x="13411" y="3267"/>
                    </a:lnTo>
                    <a:lnTo>
                      <a:pt x="13364" y="3165"/>
                    </a:lnTo>
                    <a:lnTo>
                      <a:pt x="13354" y="3075"/>
                    </a:lnTo>
                    <a:lnTo>
                      <a:pt x="13328" y="3018"/>
                    </a:lnTo>
                    <a:lnTo>
                      <a:pt x="13324" y="2993"/>
                    </a:lnTo>
                    <a:lnTo>
                      <a:pt x="13355" y="3006"/>
                    </a:lnTo>
                    <a:lnTo>
                      <a:pt x="13375" y="3050"/>
                    </a:lnTo>
                    <a:lnTo>
                      <a:pt x="13413" y="3090"/>
                    </a:lnTo>
                    <a:lnTo>
                      <a:pt x="13454" y="3101"/>
                    </a:lnTo>
                    <a:lnTo>
                      <a:pt x="13490" y="3142"/>
                    </a:lnTo>
                    <a:lnTo>
                      <a:pt x="13554" y="3148"/>
                    </a:lnTo>
                    <a:lnTo>
                      <a:pt x="13689" y="3133"/>
                    </a:lnTo>
                    <a:lnTo>
                      <a:pt x="13718" y="3145"/>
                    </a:lnTo>
                    <a:lnTo>
                      <a:pt x="13744" y="3132"/>
                    </a:lnTo>
                    <a:lnTo>
                      <a:pt x="13778" y="3160"/>
                    </a:lnTo>
                    <a:lnTo>
                      <a:pt x="13784" y="3151"/>
                    </a:lnTo>
                    <a:lnTo>
                      <a:pt x="13758" y="3112"/>
                    </a:lnTo>
                    <a:lnTo>
                      <a:pt x="13766" y="3090"/>
                    </a:lnTo>
                    <a:lnTo>
                      <a:pt x="13740" y="3066"/>
                    </a:lnTo>
                    <a:lnTo>
                      <a:pt x="13754" y="3048"/>
                    </a:lnTo>
                    <a:lnTo>
                      <a:pt x="13759" y="3016"/>
                    </a:lnTo>
                    <a:lnTo>
                      <a:pt x="13875" y="2968"/>
                    </a:lnTo>
                    <a:lnTo>
                      <a:pt x="13893" y="2977"/>
                    </a:lnTo>
                    <a:lnTo>
                      <a:pt x="13922" y="2972"/>
                    </a:lnTo>
                    <a:lnTo>
                      <a:pt x="13958" y="2993"/>
                    </a:lnTo>
                    <a:lnTo>
                      <a:pt x="14010" y="2993"/>
                    </a:lnTo>
                    <a:lnTo>
                      <a:pt x="14051" y="3033"/>
                    </a:lnTo>
                    <a:lnTo>
                      <a:pt x="14091" y="3045"/>
                    </a:lnTo>
                    <a:lnTo>
                      <a:pt x="14113" y="3081"/>
                    </a:lnTo>
                    <a:lnTo>
                      <a:pt x="14169" y="3082"/>
                    </a:lnTo>
                    <a:lnTo>
                      <a:pt x="14188" y="3116"/>
                    </a:lnTo>
                    <a:lnTo>
                      <a:pt x="14264" y="3116"/>
                    </a:lnTo>
                    <a:lnTo>
                      <a:pt x="14217" y="3088"/>
                    </a:lnTo>
                    <a:lnTo>
                      <a:pt x="14214" y="3072"/>
                    </a:lnTo>
                    <a:lnTo>
                      <a:pt x="14261" y="3085"/>
                    </a:lnTo>
                    <a:lnTo>
                      <a:pt x="14292" y="3061"/>
                    </a:lnTo>
                    <a:lnTo>
                      <a:pt x="14254" y="3041"/>
                    </a:lnTo>
                    <a:lnTo>
                      <a:pt x="14281" y="3017"/>
                    </a:lnTo>
                    <a:lnTo>
                      <a:pt x="14252" y="2987"/>
                    </a:lnTo>
                    <a:lnTo>
                      <a:pt x="14207" y="3010"/>
                    </a:lnTo>
                    <a:lnTo>
                      <a:pt x="14168" y="3000"/>
                    </a:lnTo>
                    <a:lnTo>
                      <a:pt x="14163" y="2945"/>
                    </a:lnTo>
                    <a:lnTo>
                      <a:pt x="14148" y="2906"/>
                    </a:lnTo>
                    <a:lnTo>
                      <a:pt x="14168" y="2890"/>
                    </a:lnTo>
                    <a:lnTo>
                      <a:pt x="14189" y="2907"/>
                    </a:lnTo>
                    <a:lnTo>
                      <a:pt x="14219" y="2888"/>
                    </a:lnTo>
                    <a:lnTo>
                      <a:pt x="14201" y="2861"/>
                    </a:lnTo>
                    <a:lnTo>
                      <a:pt x="14227" y="2852"/>
                    </a:lnTo>
                    <a:lnTo>
                      <a:pt x="14279" y="2892"/>
                    </a:lnTo>
                    <a:lnTo>
                      <a:pt x="14294" y="2930"/>
                    </a:lnTo>
                    <a:lnTo>
                      <a:pt x="14316" y="2922"/>
                    </a:lnTo>
                    <a:lnTo>
                      <a:pt x="14336" y="2938"/>
                    </a:lnTo>
                    <a:lnTo>
                      <a:pt x="14356" y="2927"/>
                    </a:lnTo>
                    <a:lnTo>
                      <a:pt x="14344" y="2887"/>
                    </a:lnTo>
                    <a:lnTo>
                      <a:pt x="14381" y="2872"/>
                    </a:lnTo>
                    <a:lnTo>
                      <a:pt x="14407" y="2891"/>
                    </a:lnTo>
                    <a:lnTo>
                      <a:pt x="14416" y="2860"/>
                    </a:lnTo>
                    <a:lnTo>
                      <a:pt x="14363" y="2797"/>
                    </a:lnTo>
                    <a:lnTo>
                      <a:pt x="14322" y="2793"/>
                    </a:lnTo>
                    <a:lnTo>
                      <a:pt x="14279" y="2751"/>
                    </a:lnTo>
                    <a:lnTo>
                      <a:pt x="14288" y="2712"/>
                    </a:lnTo>
                    <a:lnTo>
                      <a:pt x="14269" y="2685"/>
                    </a:lnTo>
                    <a:lnTo>
                      <a:pt x="14233" y="2701"/>
                    </a:lnTo>
                    <a:lnTo>
                      <a:pt x="14198" y="2692"/>
                    </a:lnTo>
                    <a:lnTo>
                      <a:pt x="14241" y="2667"/>
                    </a:lnTo>
                    <a:lnTo>
                      <a:pt x="14226" y="2637"/>
                    </a:lnTo>
                    <a:lnTo>
                      <a:pt x="14233" y="2628"/>
                    </a:lnTo>
                    <a:lnTo>
                      <a:pt x="14206" y="2587"/>
                    </a:lnTo>
                    <a:lnTo>
                      <a:pt x="14264" y="2586"/>
                    </a:lnTo>
                    <a:lnTo>
                      <a:pt x="14276" y="2523"/>
                    </a:lnTo>
                    <a:lnTo>
                      <a:pt x="14213" y="2543"/>
                    </a:lnTo>
                    <a:lnTo>
                      <a:pt x="14177" y="2578"/>
                    </a:lnTo>
                    <a:lnTo>
                      <a:pt x="14169" y="2617"/>
                    </a:lnTo>
                    <a:lnTo>
                      <a:pt x="14109" y="2599"/>
                    </a:lnTo>
                    <a:lnTo>
                      <a:pt x="14073" y="2533"/>
                    </a:lnTo>
                    <a:lnTo>
                      <a:pt x="14092" y="2501"/>
                    </a:lnTo>
                    <a:lnTo>
                      <a:pt x="14099" y="2453"/>
                    </a:lnTo>
                    <a:lnTo>
                      <a:pt x="14157" y="2431"/>
                    </a:lnTo>
                    <a:lnTo>
                      <a:pt x="14193" y="2437"/>
                    </a:lnTo>
                    <a:lnTo>
                      <a:pt x="14253" y="2381"/>
                    </a:lnTo>
                    <a:lnTo>
                      <a:pt x="14257" y="2356"/>
                    </a:lnTo>
                    <a:lnTo>
                      <a:pt x="14222" y="2314"/>
                    </a:lnTo>
                    <a:lnTo>
                      <a:pt x="14189" y="2319"/>
                    </a:lnTo>
                    <a:lnTo>
                      <a:pt x="14157" y="2307"/>
                    </a:lnTo>
                    <a:lnTo>
                      <a:pt x="14099" y="2307"/>
                    </a:lnTo>
                    <a:lnTo>
                      <a:pt x="14062" y="2262"/>
                    </a:lnTo>
                    <a:lnTo>
                      <a:pt x="14110" y="2242"/>
                    </a:lnTo>
                    <a:lnTo>
                      <a:pt x="14178" y="2232"/>
                    </a:lnTo>
                    <a:lnTo>
                      <a:pt x="14254" y="2265"/>
                    </a:lnTo>
                    <a:lnTo>
                      <a:pt x="14326" y="2252"/>
                    </a:lnTo>
                    <a:lnTo>
                      <a:pt x="14441" y="2249"/>
                    </a:lnTo>
                    <a:lnTo>
                      <a:pt x="14638" y="2234"/>
                    </a:lnTo>
                    <a:lnTo>
                      <a:pt x="14671" y="2215"/>
                    </a:lnTo>
                    <a:lnTo>
                      <a:pt x="14817" y="2213"/>
                    </a:lnTo>
                    <a:lnTo>
                      <a:pt x="14883" y="2220"/>
                    </a:lnTo>
                    <a:lnTo>
                      <a:pt x="14932" y="2213"/>
                    </a:lnTo>
                    <a:lnTo>
                      <a:pt x="15015" y="2214"/>
                    </a:lnTo>
                    <a:lnTo>
                      <a:pt x="14971" y="2228"/>
                    </a:lnTo>
                    <a:lnTo>
                      <a:pt x="14857" y="2278"/>
                    </a:lnTo>
                    <a:lnTo>
                      <a:pt x="14820" y="2259"/>
                    </a:lnTo>
                    <a:lnTo>
                      <a:pt x="14801" y="2265"/>
                    </a:lnTo>
                    <a:lnTo>
                      <a:pt x="14765" y="2252"/>
                    </a:lnTo>
                    <a:lnTo>
                      <a:pt x="14743" y="2324"/>
                    </a:lnTo>
                    <a:lnTo>
                      <a:pt x="14778" y="2363"/>
                    </a:lnTo>
                    <a:lnTo>
                      <a:pt x="14750" y="2374"/>
                    </a:lnTo>
                    <a:lnTo>
                      <a:pt x="14742" y="2400"/>
                    </a:lnTo>
                    <a:lnTo>
                      <a:pt x="14776" y="2421"/>
                    </a:lnTo>
                    <a:lnTo>
                      <a:pt x="14826" y="2384"/>
                    </a:lnTo>
                    <a:lnTo>
                      <a:pt x="14829" y="2348"/>
                    </a:lnTo>
                    <a:lnTo>
                      <a:pt x="14918" y="2288"/>
                    </a:lnTo>
                    <a:lnTo>
                      <a:pt x="15033" y="2242"/>
                    </a:lnTo>
                    <a:lnTo>
                      <a:pt x="15050" y="2304"/>
                    </a:lnTo>
                    <a:lnTo>
                      <a:pt x="15055" y="2392"/>
                    </a:lnTo>
                    <a:lnTo>
                      <a:pt x="15045" y="2412"/>
                    </a:lnTo>
                    <a:lnTo>
                      <a:pt x="15024" y="2356"/>
                    </a:lnTo>
                    <a:lnTo>
                      <a:pt x="14991" y="2324"/>
                    </a:lnTo>
                    <a:lnTo>
                      <a:pt x="14989" y="2288"/>
                    </a:lnTo>
                    <a:lnTo>
                      <a:pt x="14955" y="2318"/>
                    </a:lnTo>
                    <a:lnTo>
                      <a:pt x="14931" y="2309"/>
                    </a:lnTo>
                    <a:lnTo>
                      <a:pt x="14952" y="2370"/>
                    </a:lnTo>
                    <a:lnTo>
                      <a:pt x="14987" y="2384"/>
                    </a:lnTo>
                    <a:lnTo>
                      <a:pt x="15001" y="2453"/>
                    </a:lnTo>
                    <a:lnTo>
                      <a:pt x="14976" y="2508"/>
                    </a:lnTo>
                    <a:lnTo>
                      <a:pt x="14952" y="2497"/>
                    </a:lnTo>
                    <a:lnTo>
                      <a:pt x="14928" y="2518"/>
                    </a:lnTo>
                    <a:lnTo>
                      <a:pt x="14969" y="2545"/>
                    </a:lnTo>
                    <a:lnTo>
                      <a:pt x="14966" y="2568"/>
                    </a:lnTo>
                    <a:lnTo>
                      <a:pt x="14981" y="2586"/>
                    </a:lnTo>
                    <a:lnTo>
                      <a:pt x="15010" y="2586"/>
                    </a:lnTo>
                    <a:lnTo>
                      <a:pt x="15054" y="2551"/>
                    </a:lnTo>
                    <a:lnTo>
                      <a:pt x="15054" y="2504"/>
                    </a:lnTo>
                    <a:lnTo>
                      <a:pt x="15087" y="2454"/>
                    </a:lnTo>
                    <a:lnTo>
                      <a:pt x="15075" y="2422"/>
                    </a:lnTo>
                    <a:lnTo>
                      <a:pt x="15079" y="2376"/>
                    </a:lnTo>
                    <a:lnTo>
                      <a:pt x="15066" y="2200"/>
                    </a:lnTo>
                    <a:lnTo>
                      <a:pt x="15125" y="2153"/>
                    </a:lnTo>
                    <a:lnTo>
                      <a:pt x="15216" y="2133"/>
                    </a:lnTo>
                    <a:lnTo>
                      <a:pt x="15315" y="2108"/>
                    </a:lnTo>
                    <a:lnTo>
                      <a:pt x="15407" y="2119"/>
                    </a:lnTo>
                    <a:lnTo>
                      <a:pt x="15521" y="2160"/>
                    </a:lnTo>
                    <a:lnTo>
                      <a:pt x="15578" y="2235"/>
                    </a:lnTo>
                    <a:lnTo>
                      <a:pt x="15573" y="2274"/>
                    </a:lnTo>
                    <a:lnTo>
                      <a:pt x="15544" y="2295"/>
                    </a:lnTo>
                    <a:lnTo>
                      <a:pt x="15483" y="2247"/>
                    </a:lnTo>
                    <a:lnTo>
                      <a:pt x="15476" y="2258"/>
                    </a:lnTo>
                    <a:lnTo>
                      <a:pt x="15488" y="2294"/>
                    </a:lnTo>
                    <a:lnTo>
                      <a:pt x="15485" y="2328"/>
                    </a:lnTo>
                    <a:lnTo>
                      <a:pt x="15493" y="2360"/>
                    </a:lnTo>
                    <a:lnTo>
                      <a:pt x="15463" y="2384"/>
                    </a:lnTo>
                    <a:lnTo>
                      <a:pt x="15488" y="2394"/>
                    </a:lnTo>
                    <a:lnTo>
                      <a:pt x="15525" y="2372"/>
                    </a:lnTo>
                    <a:lnTo>
                      <a:pt x="15583" y="2368"/>
                    </a:lnTo>
                    <a:lnTo>
                      <a:pt x="15618" y="2333"/>
                    </a:lnTo>
                    <a:lnTo>
                      <a:pt x="15634" y="2383"/>
                    </a:lnTo>
                    <a:lnTo>
                      <a:pt x="15653" y="2419"/>
                    </a:lnTo>
                    <a:lnTo>
                      <a:pt x="15658" y="2462"/>
                    </a:lnTo>
                    <a:lnTo>
                      <a:pt x="15679" y="2484"/>
                    </a:lnTo>
                    <a:lnTo>
                      <a:pt x="15701" y="2446"/>
                    </a:lnTo>
                    <a:lnTo>
                      <a:pt x="15694" y="2422"/>
                    </a:lnTo>
                    <a:lnTo>
                      <a:pt x="15736" y="2384"/>
                    </a:lnTo>
                    <a:lnTo>
                      <a:pt x="15778" y="2405"/>
                    </a:lnTo>
                    <a:lnTo>
                      <a:pt x="15793" y="2448"/>
                    </a:lnTo>
                    <a:lnTo>
                      <a:pt x="15778" y="2472"/>
                    </a:lnTo>
                    <a:lnTo>
                      <a:pt x="15764" y="2519"/>
                    </a:lnTo>
                    <a:lnTo>
                      <a:pt x="15775" y="2536"/>
                    </a:lnTo>
                    <a:lnTo>
                      <a:pt x="15799" y="2523"/>
                    </a:lnTo>
                    <a:lnTo>
                      <a:pt x="15818" y="2481"/>
                    </a:lnTo>
                    <a:lnTo>
                      <a:pt x="15835" y="2473"/>
                    </a:lnTo>
                    <a:lnTo>
                      <a:pt x="15850" y="2498"/>
                    </a:lnTo>
                    <a:lnTo>
                      <a:pt x="15849" y="2459"/>
                    </a:lnTo>
                    <a:lnTo>
                      <a:pt x="15882" y="2391"/>
                    </a:lnTo>
                    <a:lnTo>
                      <a:pt x="15897" y="2377"/>
                    </a:lnTo>
                    <a:lnTo>
                      <a:pt x="15923" y="2389"/>
                    </a:lnTo>
                    <a:lnTo>
                      <a:pt x="16003" y="2444"/>
                    </a:lnTo>
                    <a:lnTo>
                      <a:pt x="16089" y="2464"/>
                    </a:lnTo>
                    <a:lnTo>
                      <a:pt x="16137" y="2522"/>
                    </a:lnTo>
                    <a:lnTo>
                      <a:pt x="16129" y="2552"/>
                    </a:lnTo>
                    <a:lnTo>
                      <a:pt x="16074" y="2586"/>
                    </a:lnTo>
                    <a:lnTo>
                      <a:pt x="16037" y="2624"/>
                    </a:lnTo>
                    <a:lnTo>
                      <a:pt x="16085" y="2599"/>
                    </a:lnTo>
                    <a:lnTo>
                      <a:pt x="16158" y="2584"/>
                    </a:lnTo>
                    <a:lnTo>
                      <a:pt x="16206" y="2601"/>
                    </a:lnTo>
                    <a:lnTo>
                      <a:pt x="16263" y="2587"/>
                    </a:lnTo>
                    <a:lnTo>
                      <a:pt x="16304" y="2549"/>
                    </a:lnTo>
                    <a:lnTo>
                      <a:pt x="16343" y="2531"/>
                    </a:lnTo>
                    <a:lnTo>
                      <a:pt x="16412" y="2474"/>
                    </a:lnTo>
                    <a:lnTo>
                      <a:pt x="16446" y="2461"/>
                    </a:lnTo>
                    <a:lnTo>
                      <a:pt x="16501" y="2405"/>
                    </a:lnTo>
                    <a:lnTo>
                      <a:pt x="16548" y="2393"/>
                    </a:lnTo>
                    <a:lnTo>
                      <a:pt x="16677" y="2329"/>
                    </a:lnTo>
                    <a:lnTo>
                      <a:pt x="16741" y="2307"/>
                    </a:lnTo>
                    <a:lnTo>
                      <a:pt x="16778" y="2314"/>
                    </a:lnTo>
                    <a:lnTo>
                      <a:pt x="16782" y="2300"/>
                    </a:lnTo>
                    <a:lnTo>
                      <a:pt x="16855" y="2253"/>
                    </a:lnTo>
                    <a:lnTo>
                      <a:pt x="16895" y="2244"/>
                    </a:lnTo>
                    <a:lnTo>
                      <a:pt x="16982" y="2247"/>
                    </a:lnTo>
                    <a:lnTo>
                      <a:pt x="17150" y="2303"/>
                    </a:lnTo>
                    <a:lnTo>
                      <a:pt x="17220" y="2378"/>
                    </a:lnTo>
                    <a:lnTo>
                      <a:pt x="17292" y="2416"/>
                    </a:lnTo>
                    <a:lnTo>
                      <a:pt x="17354" y="2486"/>
                    </a:lnTo>
                    <a:lnTo>
                      <a:pt x="17386" y="2547"/>
                    </a:lnTo>
                    <a:lnTo>
                      <a:pt x="17390" y="2578"/>
                    </a:lnTo>
                    <a:lnTo>
                      <a:pt x="17405" y="2597"/>
                    </a:lnTo>
                    <a:lnTo>
                      <a:pt x="17403" y="2646"/>
                    </a:lnTo>
                    <a:lnTo>
                      <a:pt x="17438" y="2713"/>
                    </a:lnTo>
                    <a:lnTo>
                      <a:pt x="17441" y="2746"/>
                    </a:lnTo>
                    <a:lnTo>
                      <a:pt x="17417" y="2782"/>
                    </a:lnTo>
                    <a:lnTo>
                      <a:pt x="17456" y="2773"/>
                    </a:lnTo>
                    <a:lnTo>
                      <a:pt x="17496" y="2725"/>
                    </a:lnTo>
                    <a:lnTo>
                      <a:pt x="17543" y="2725"/>
                    </a:lnTo>
                    <a:lnTo>
                      <a:pt x="17565" y="2747"/>
                    </a:lnTo>
                    <a:lnTo>
                      <a:pt x="17568" y="2722"/>
                    </a:lnTo>
                    <a:lnTo>
                      <a:pt x="17614" y="2716"/>
                    </a:lnTo>
                    <a:lnTo>
                      <a:pt x="17651" y="2738"/>
                    </a:lnTo>
                    <a:lnTo>
                      <a:pt x="17667" y="2779"/>
                    </a:lnTo>
                    <a:lnTo>
                      <a:pt x="17675" y="2747"/>
                    </a:lnTo>
                    <a:lnTo>
                      <a:pt x="17660" y="2694"/>
                    </a:lnTo>
                    <a:lnTo>
                      <a:pt x="17690" y="2691"/>
                    </a:lnTo>
                    <a:lnTo>
                      <a:pt x="17716" y="2736"/>
                    </a:lnTo>
                    <a:lnTo>
                      <a:pt x="17773" y="2790"/>
                    </a:lnTo>
                    <a:lnTo>
                      <a:pt x="17784" y="2852"/>
                    </a:lnTo>
                    <a:lnTo>
                      <a:pt x="17814" y="2852"/>
                    </a:lnTo>
                    <a:lnTo>
                      <a:pt x="17865" y="2916"/>
                    </a:lnTo>
                    <a:lnTo>
                      <a:pt x="17864" y="2896"/>
                    </a:lnTo>
                    <a:lnTo>
                      <a:pt x="17847" y="2842"/>
                    </a:lnTo>
                    <a:lnTo>
                      <a:pt x="17813" y="2826"/>
                    </a:lnTo>
                    <a:lnTo>
                      <a:pt x="17806" y="2795"/>
                    </a:lnTo>
                    <a:lnTo>
                      <a:pt x="17843" y="2816"/>
                    </a:lnTo>
                    <a:lnTo>
                      <a:pt x="17872" y="2812"/>
                    </a:lnTo>
                    <a:lnTo>
                      <a:pt x="17906" y="2847"/>
                    </a:lnTo>
                    <a:lnTo>
                      <a:pt x="17953" y="2912"/>
                    </a:lnTo>
                    <a:lnTo>
                      <a:pt x="17944" y="2860"/>
                    </a:lnTo>
                    <a:lnTo>
                      <a:pt x="17880" y="2771"/>
                    </a:lnTo>
                    <a:lnTo>
                      <a:pt x="17883" y="2691"/>
                    </a:lnTo>
                    <a:lnTo>
                      <a:pt x="17882" y="2625"/>
                    </a:lnTo>
                    <a:lnTo>
                      <a:pt x="17923" y="2577"/>
                    </a:lnTo>
                    <a:lnTo>
                      <a:pt x="17992" y="2570"/>
                    </a:lnTo>
                    <a:lnTo>
                      <a:pt x="18024" y="2545"/>
                    </a:lnTo>
                    <a:lnTo>
                      <a:pt x="18083" y="2521"/>
                    </a:lnTo>
                    <a:lnTo>
                      <a:pt x="18078" y="2495"/>
                    </a:lnTo>
                    <a:lnTo>
                      <a:pt x="18090" y="2482"/>
                    </a:lnTo>
                    <a:lnTo>
                      <a:pt x="18113" y="2483"/>
                    </a:lnTo>
                    <a:lnTo>
                      <a:pt x="18147" y="2515"/>
                    </a:lnTo>
                    <a:lnTo>
                      <a:pt x="18176" y="2524"/>
                    </a:lnTo>
                    <a:lnTo>
                      <a:pt x="18226" y="2514"/>
                    </a:lnTo>
                    <a:lnTo>
                      <a:pt x="18272" y="2479"/>
                    </a:lnTo>
                    <a:lnTo>
                      <a:pt x="18297" y="2487"/>
                    </a:lnTo>
                    <a:lnTo>
                      <a:pt x="18358" y="2464"/>
                    </a:lnTo>
                    <a:lnTo>
                      <a:pt x="18430" y="2471"/>
                    </a:lnTo>
                    <a:lnTo>
                      <a:pt x="18462" y="2449"/>
                    </a:lnTo>
                    <a:lnTo>
                      <a:pt x="18478" y="2448"/>
                    </a:lnTo>
                    <a:lnTo>
                      <a:pt x="18482" y="2468"/>
                    </a:lnTo>
                    <a:lnTo>
                      <a:pt x="18504" y="2491"/>
                    </a:lnTo>
                    <a:lnTo>
                      <a:pt x="18519" y="2454"/>
                    </a:lnTo>
                    <a:lnTo>
                      <a:pt x="18559" y="2399"/>
                    </a:lnTo>
                    <a:lnTo>
                      <a:pt x="18552" y="2375"/>
                    </a:lnTo>
                    <a:lnTo>
                      <a:pt x="18552" y="2329"/>
                    </a:lnTo>
                    <a:lnTo>
                      <a:pt x="18556" y="2291"/>
                    </a:lnTo>
                    <a:lnTo>
                      <a:pt x="18575" y="2274"/>
                    </a:lnTo>
                    <a:lnTo>
                      <a:pt x="18629" y="2288"/>
                    </a:lnTo>
                    <a:lnTo>
                      <a:pt x="18647" y="2327"/>
                    </a:lnTo>
                    <a:lnTo>
                      <a:pt x="18654" y="2347"/>
                    </a:lnTo>
                    <a:lnTo>
                      <a:pt x="18698" y="2352"/>
                    </a:lnTo>
                    <a:lnTo>
                      <a:pt x="18729" y="2377"/>
                    </a:lnTo>
                    <a:lnTo>
                      <a:pt x="18728" y="2418"/>
                    </a:lnTo>
                    <a:lnTo>
                      <a:pt x="18777" y="2473"/>
                    </a:lnTo>
                    <a:lnTo>
                      <a:pt x="18802" y="2489"/>
                    </a:lnTo>
                    <a:lnTo>
                      <a:pt x="18853" y="2482"/>
                    </a:lnTo>
                    <a:lnTo>
                      <a:pt x="18936" y="2499"/>
                    </a:lnTo>
                    <a:lnTo>
                      <a:pt x="18947" y="2489"/>
                    </a:lnTo>
                    <a:lnTo>
                      <a:pt x="18971" y="2493"/>
                    </a:lnTo>
                    <a:lnTo>
                      <a:pt x="19028" y="2571"/>
                    </a:lnTo>
                    <a:lnTo>
                      <a:pt x="19028" y="2608"/>
                    </a:lnTo>
                    <a:lnTo>
                      <a:pt x="19051" y="2629"/>
                    </a:lnTo>
                    <a:lnTo>
                      <a:pt x="19107" y="2637"/>
                    </a:lnTo>
                    <a:lnTo>
                      <a:pt x="19135" y="2618"/>
                    </a:lnTo>
                    <a:lnTo>
                      <a:pt x="19177" y="2612"/>
                    </a:lnTo>
                    <a:lnTo>
                      <a:pt x="19172" y="2586"/>
                    </a:lnTo>
                    <a:lnTo>
                      <a:pt x="19212" y="2559"/>
                    </a:lnTo>
                    <a:lnTo>
                      <a:pt x="19236" y="2567"/>
                    </a:lnTo>
                    <a:lnTo>
                      <a:pt x="19250" y="2553"/>
                    </a:lnTo>
                    <a:lnTo>
                      <a:pt x="19226" y="2521"/>
                    </a:lnTo>
                    <a:lnTo>
                      <a:pt x="19242" y="2507"/>
                    </a:lnTo>
                    <a:lnTo>
                      <a:pt x="19231" y="2486"/>
                    </a:lnTo>
                    <a:lnTo>
                      <a:pt x="19236" y="2462"/>
                    </a:lnTo>
                    <a:lnTo>
                      <a:pt x="19202" y="2419"/>
                    </a:lnTo>
                    <a:lnTo>
                      <a:pt x="19152" y="2403"/>
                    </a:lnTo>
                    <a:lnTo>
                      <a:pt x="19141" y="2348"/>
                    </a:lnTo>
                    <a:lnTo>
                      <a:pt x="19079" y="2288"/>
                    </a:lnTo>
                    <a:lnTo>
                      <a:pt x="19055" y="2281"/>
                    </a:lnTo>
                    <a:lnTo>
                      <a:pt x="19039" y="2255"/>
                    </a:lnTo>
                    <a:lnTo>
                      <a:pt x="18978" y="2227"/>
                    </a:lnTo>
                    <a:lnTo>
                      <a:pt x="18947" y="2254"/>
                    </a:lnTo>
                    <a:lnTo>
                      <a:pt x="18927" y="2253"/>
                    </a:lnTo>
                    <a:lnTo>
                      <a:pt x="18926" y="2208"/>
                    </a:lnTo>
                    <a:lnTo>
                      <a:pt x="18941" y="2188"/>
                    </a:lnTo>
                    <a:lnTo>
                      <a:pt x="18915" y="2135"/>
                    </a:lnTo>
                    <a:lnTo>
                      <a:pt x="18905" y="2102"/>
                    </a:lnTo>
                    <a:lnTo>
                      <a:pt x="18883" y="2085"/>
                    </a:lnTo>
                    <a:lnTo>
                      <a:pt x="18862" y="2030"/>
                    </a:lnTo>
                    <a:lnTo>
                      <a:pt x="18814" y="1995"/>
                    </a:lnTo>
                    <a:lnTo>
                      <a:pt x="18821" y="1985"/>
                    </a:lnTo>
                    <a:lnTo>
                      <a:pt x="18899" y="1973"/>
                    </a:lnTo>
                    <a:lnTo>
                      <a:pt x="18921" y="1987"/>
                    </a:lnTo>
                    <a:lnTo>
                      <a:pt x="19015" y="1978"/>
                    </a:lnTo>
                    <a:lnTo>
                      <a:pt x="19092" y="1979"/>
                    </a:lnTo>
                    <a:lnTo>
                      <a:pt x="19096" y="1955"/>
                    </a:lnTo>
                    <a:lnTo>
                      <a:pt x="19136" y="1940"/>
                    </a:lnTo>
                    <a:lnTo>
                      <a:pt x="19181" y="1970"/>
                    </a:lnTo>
                    <a:lnTo>
                      <a:pt x="19210" y="1958"/>
                    </a:lnTo>
                    <a:lnTo>
                      <a:pt x="19232" y="1960"/>
                    </a:lnTo>
                    <a:lnTo>
                      <a:pt x="19231" y="1928"/>
                    </a:lnTo>
                    <a:lnTo>
                      <a:pt x="19280" y="1923"/>
                    </a:lnTo>
                    <a:lnTo>
                      <a:pt x="19292" y="1945"/>
                    </a:lnTo>
                    <a:lnTo>
                      <a:pt x="19305" y="1944"/>
                    </a:lnTo>
                    <a:lnTo>
                      <a:pt x="19324" y="1905"/>
                    </a:lnTo>
                    <a:lnTo>
                      <a:pt x="19356" y="1918"/>
                    </a:lnTo>
                    <a:lnTo>
                      <a:pt x="19359" y="1884"/>
                    </a:lnTo>
                    <a:lnTo>
                      <a:pt x="19496" y="1848"/>
                    </a:lnTo>
                    <a:lnTo>
                      <a:pt x="19512" y="1879"/>
                    </a:lnTo>
                    <a:lnTo>
                      <a:pt x="19520" y="1853"/>
                    </a:lnTo>
                    <a:lnTo>
                      <a:pt x="19542" y="1824"/>
                    </a:lnTo>
                    <a:lnTo>
                      <a:pt x="19555" y="1833"/>
                    </a:lnTo>
                    <a:lnTo>
                      <a:pt x="19603" y="1826"/>
                    </a:lnTo>
                    <a:lnTo>
                      <a:pt x="19626" y="1823"/>
                    </a:lnTo>
                    <a:lnTo>
                      <a:pt x="19656" y="1849"/>
                    </a:lnTo>
                    <a:lnTo>
                      <a:pt x="19720" y="1850"/>
                    </a:lnTo>
                    <a:lnTo>
                      <a:pt x="19752" y="1835"/>
                    </a:lnTo>
                    <a:lnTo>
                      <a:pt x="19769" y="1858"/>
                    </a:lnTo>
                    <a:lnTo>
                      <a:pt x="19794" y="1866"/>
                    </a:lnTo>
                    <a:lnTo>
                      <a:pt x="19813" y="1843"/>
                    </a:lnTo>
                    <a:lnTo>
                      <a:pt x="19869" y="1837"/>
                    </a:lnTo>
                    <a:lnTo>
                      <a:pt x="19974" y="1870"/>
                    </a:lnTo>
                    <a:lnTo>
                      <a:pt x="20013" y="1889"/>
                    </a:lnTo>
                    <a:lnTo>
                      <a:pt x="20038" y="1880"/>
                    </a:lnTo>
                    <a:lnTo>
                      <a:pt x="20026" y="1870"/>
                    </a:lnTo>
                    <a:lnTo>
                      <a:pt x="20063" y="1861"/>
                    </a:lnTo>
                    <a:lnTo>
                      <a:pt x="20090" y="1880"/>
                    </a:lnTo>
                    <a:lnTo>
                      <a:pt x="20070" y="1899"/>
                    </a:lnTo>
                    <a:lnTo>
                      <a:pt x="20087" y="1910"/>
                    </a:lnTo>
                    <a:lnTo>
                      <a:pt x="20138" y="1898"/>
                    </a:lnTo>
                    <a:lnTo>
                      <a:pt x="20255" y="1910"/>
                    </a:lnTo>
                    <a:lnTo>
                      <a:pt x="20355" y="1978"/>
                    </a:lnTo>
                    <a:lnTo>
                      <a:pt x="20350" y="1994"/>
                    </a:lnTo>
                    <a:lnTo>
                      <a:pt x="20319" y="1978"/>
                    </a:lnTo>
                    <a:lnTo>
                      <a:pt x="20259" y="1956"/>
                    </a:lnTo>
                    <a:lnTo>
                      <a:pt x="20255" y="1969"/>
                    </a:lnTo>
                    <a:lnTo>
                      <a:pt x="20358" y="2005"/>
                    </a:lnTo>
                    <a:lnTo>
                      <a:pt x="20409" y="2008"/>
                    </a:lnTo>
                    <a:lnTo>
                      <a:pt x="20421" y="1980"/>
                    </a:lnTo>
                    <a:lnTo>
                      <a:pt x="20465" y="1977"/>
                    </a:lnTo>
                    <a:lnTo>
                      <a:pt x="20514" y="1979"/>
                    </a:lnTo>
                    <a:lnTo>
                      <a:pt x="20506" y="1950"/>
                    </a:lnTo>
                    <a:lnTo>
                      <a:pt x="20526" y="1940"/>
                    </a:lnTo>
                    <a:lnTo>
                      <a:pt x="20557" y="1965"/>
                    </a:lnTo>
                    <a:lnTo>
                      <a:pt x="20589" y="1975"/>
                    </a:lnTo>
                    <a:lnTo>
                      <a:pt x="20607" y="1987"/>
                    </a:lnTo>
                    <a:lnTo>
                      <a:pt x="20608" y="1969"/>
                    </a:lnTo>
                    <a:lnTo>
                      <a:pt x="20614" y="1960"/>
                    </a:lnTo>
                    <a:lnTo>
                      <a:pt x="20664" y="1973"/>
                    </a:lnTo>
                    <a:lnTo>
                      <a:pt x="20666" y="1995"/>
                    </a:lnTo>
                    <a:lnTo>
                      <a:pt x="20721" y="2014"/>
                    </a:lnTo>
                    <a:lnTo>
                      <a:pt x="20762" y="1999"/>
                    </a:lnTo>
                    <a:lnTo>
                      <a:pt x="20907" y="2027"/>
                    </a:lnTo>
                    <a:lnTo>
                      <a:pt x="20892" y="2000"/>
                    </a:lnTo>
                    <a:lnTo>
                      <a:pt x="20941" y="1999"/>
                    </a:lnTo>
                    <a:lnTo>
                      <a:pt x="20956" y="2029"/>
                    </a:lnTo>
                    <a:lnTo>
                      <a:pt x="20984" y="2038"/>
                    </a:lnTo>
                    <a:lnTo>
                      <a:pt x="20977" y="2005"/>
                    </a:lnTo>
                    <a:lnTo>
                      <a:pt x="20991" y="2000"/>
                    </a:lnTo>
                    <a:lnTo>
                      <a:pt x="21046" y="2010"/>
                    </a:lnTo>
                    <a:lnTo>
                      <a:pt x="21036" y="2027"/>
                    </a:lnTo>
                    <a:lnTo>
                      <a:pt x="21063" y="2060"/>
                    </a:lnTo>
                    <a:lnTo>
                      <a:pt x="21111" y="2048"/>
                    </a:lnTo>
                    <a:lnTo>
                      <a:pt x="21111" y="2030"/>
                    </a:lnTo>
                    <a:lnTo>
                      <a:pt x="21092" y="2018"/>
                    </a:lnTo>
                    <a:lnTo>
                      <a:pt x="21147" y="2020"/>
                    </a:lnTo>
                    <a:lnTo>
                      <a:pt x="21164" y="2033"/>
                    </a:lnTo>
                    <a:lnTo>
                      <a:pt x="21156" y="2057"/>
                    </a:lnTo>
                    <a:lnTo>
                      <a:pt x="21187" y="2088"/>
                    </a:lnTo>
                    <a:lnTo>
                      <a:pt x="21247" y="2113"/>
                    </a:lnTo>
                    <a:lnTo>
                      <a:pt x="21293" y="2094"/>
                    </a:lnTo>
                    <a:lnTo>
                      <a:pt x="21229" y="2072"/>
                    </a:lnTo>
                    <a:lnTo>
                      <a:pt x="21199" y="2054"/>
                    </a:lnTo>
                    <a:lnTo>
                      <a:pt x="21192" y="2032"/>
                    </a:lnTo>
                    <a:lnTo>
                      <a:pt x="21227" y="2024"/>
                    </a:lnTo>
                    <a:lnTo>
                      <a:pt x="21267" y="2029"/>
                    </a:lnTo>
                    <a:lnTo>
                      <a:pt x="21335" y="2066"/>
                    </a:lnTo>
                    <a:lnTo>
                      <a:pt x="21350" y="2104"/>
                    </a:lnTo>
                    <a:lnTo>
                      <a:pt x="21365" y="2114"/>
                    </a:lnTo>
                    <a:lnTo>
                      <a:pt x="21375" y="2085"/>
                    </a:lnTo>
                    <a:lnTo>
                      <a:pt x="21366" y="2073"/>
                    </a:lnTo>
                    <a:lnTo>
                      <a:pt x="21394" y="2078"/>
                    </a:lnTo>
                    <a:lnTo>
                      <a:pt x="21415" y="2098"/>
                    </a:lnTo>
                    <a:lnTo>
                      <a:pt x="21410" y="2113"/>
                    </a:lnTo>
                    <a:lnTo>
                      <a:pt x="21444" y="2153"/>
                    </a:lnTo>
                    <a:lnTo>
                      <a:pt x="21498" y="2251"/>
                    </a:lnTo>
                    <a:lnTo>
                      <a:pt x="21558" y="2270"/>
                    </a:lnTo>
                    <a:lnTo>
                      <a:pt x="21568" y="2307"/>
                    </a:lnTo>
                    <a:lnTo>
                      <a:pt x="21599" y="2335"/>
                    </a:lnTo>
                    <a:lnTo>
                      <a:pt x="21620" y="2370"/>
                    </a:lnTo>
                    <a:lnTo>
                      <a:pt x="21604" y="2387"/>
                    </a:lnTo>
                    <a:lnTo>
                      <a:pt x="21616" y="2424"/>
                    </a:lnTo>
                    <a:lnTo>
                      <a:pt x="21642" y="2436"/>
                    </a:lnTo>
                    <a:lnTo>
                      <a:pt x="21676" y="2404"/>
                    </a:lnTo>
                    <a:lnTo>
                      <a:pt x="21720" y="2411"/>
                    </a:lnTo>
                    <a:lnTo>
                      <a:pt x="21748" y="2459"/>
                    </a:lnTo>
                    <a:lnTo>
                      <a:pt x="21778" y="2466"/>
                    </a:lnTo>
                    <a:lnTo>
                      <a:pt x="21784" y="2456"/>
                    </a:lnTo>
                    <a:lnTo>
                      <a:pt x="21769" y="2445"/>
                    </a:lnTo>
                    <a:lnTo>
                      <a:pt x="21758" y="2413"/>
                    </a:lnTo>
                    <a:lnTo>
                      <a:pt x="21778" y="2384"/>
                    </a:lnTo>
                    <a:lnTo>
                      <a:pt x="21799" y="2393"/>
                    </a:lnTo>
                    <a:lnTo>
                      <a:pt x="21819" y="2437"/>
                    </a:lnTo>
                    <a:lnTo>
                      <a:pt x="21850" y="2468"/>
                    </a:lnTo>
                    <a:lnTo>
                      <a:pt x="21848" y="2454"/>
                    </a:lnTo>
                    <a:lnTo>
                      <a:pt x="21825" y="2399"/>
                    </a:lnTo>
                    <a:lnTo>
                      <a:pt x="21823" y="2369"/>
                    </a:lnTo>
                    <a:lnTo>
                      <a:pt x="21798" y="2340"/>
                    </a:lnTo>
                    <a:lnTo>
                      <a:pt x="21754" y="2363"/>
                    </a:lnTo>
                    <a:lnTo>
                      <a:pt x="21710" y="2371"/>
                    </a:lnTo>
                    <a:lnTo>
                      <a:pt x="21703" y="2343"/>
                    </a:lnTo>
                    <a:lnTo>
                      <a:pt x="21725" y="2317"/>
                    </a:lnTo>
                    <a:lnTo>
                      <a:pt x="21715" y="2277"/>
                    </a:lnTo>
                    <a:lnTo>
                      <a:pt x="21654" y="2234"/>
                    </a:lnTo>
                    <a:lnTo>
                      <a:pt x="21622" y="2204"/>
                    </a:lnTo>
                    <a:lnTo>
                      <a:pt x="21606" y="2169"/>
                    </a:lnTo>
                    <a:lnTo>
                      <a:pt x="21585" y="2169"/>
                    </a:lnTo>
                    <a:lnTo>
                      <a:pt x="21539" y="2205"/>
                    </a:lnTo>
                    <a:lnTo>
                      <a:pt x="21534" y="2187"/>
                    </a:lnTo>
                    <a:lnTo>
                      <a:pt x="21569" y="2158"/>
                    </a:lnTo>
                    <a:lnTo>
                      <a:pt x="21594" y="2108"/>
                    </a:lnTo>
                    <a:lnTo>
                      <a:pt x="21638" y="2045"/>
                    </a:lnTo>
                    <a:lnTo>
                      <a:pt x="21661" y="2040"/>
                    </a:lnTo>
                    <a:lnTo>
                      <a:pt x="21656" y="2058"/>
                    </a:lnTo>
                    <a:lnTo>
                      <a:pt x="21682" y="2122"/>
                    </a:lnTo>
                    <a:lnTo>
                      <a:pt x="21717" y="2131"/>
                    </a:lnTo>
                    <a:lnTo>
                      <a:pt x="21726" y="2118"/>
                    </a:lnTo>
                    <a:lnTo>
                      <a:pt x="21696" y="2092"/>
                    </a:lnTo>
                    <a:lnTo>
                      <a:pt x="21683" y="2062"/>
                    </a:lnTo>
                    <a:lnTo>
                      <a:pt x="21701" y="2059"/>
                    </a:lnTo>
                    <a:lnTo>
                      <a:pt x="21741" y="2035"/>
                    </a:lnTo>
                    <a:lnTo>
                      <a:pt x="21753" y="2010"/>
                    </a:lnTo>
                    <a:lnTo>
                      <a:pt x="21710" y="2010"/>
                    </a:lnTo>
                    <a:lnTo>
                      <a:pt x="21729" y="1995"/>
                    </a:lnTo>
                    <a:lnTo>
                      <a:pt x="21744" y="1986"/>
                    </a:lnTo>
                    <a:lnTo>
                      <a:pt x="21778" y="1978"/>
                    </a:lnTo>
                    <a:lnTo>
                      <a:pt x="21808" y="1929"/>
                    </a:lnTo>
                    <a:lnTo>
                      <a:pt x="21837" y="1933"/>
                    </a:lnTo>
                    <a:lnTo>
                      <a:pt x="21851" y="1953"/>
                    </a:lnTo>
                    <a:lnTo>
                      <a:pt x="21868" y="1947"/>
                    </a:lnTo>
                    <a:lnTo>
                      <a:pt x="21899" y="1955"/>
                    </a:lnTo>
                    <a:lnTo>
                      <a:pt x="21903" y="1971"/>
                    </a:lnTo>
                    <a:lnTo>
                      <a:pt x="21933" y="2000"/>
                    </a:lnTo>
                    <a:lnTo>
                      <a:pt x="21982" y="2009"/>
                    </a:lnTo>
                    <a:lnTo>
                      <a:pt x="22006" y="1997"/>
                    </a:lnTo>
                    <a:lnTo>
                      <a:pt x="22111" y="2015"/>
                    </a:lnTo>
                    <a:lnTo>
                      <a:pt x="22104" y="2051"/>
                    </a:lnTo>
                    <a:lnTo>
                      <a:pt x="22112" y="2068"/>
                    </a:lnTo>
                    <a:lnTo>
                      <a:pt x="22132" y="2058"/>
                    </a:lnTo>
                    <a:lnTo>
                      <a:pt x="22135" y="2034"/>
                    </a:lnTo>
                    <a:lnTo>
                      <a:pt x="22165" y="2037"/>
                    </a:lnTo>
                    <a:lnTo>
                      <a:pt x="22167" y="2080"/>
                    </a:lnTo>
                    <a:lnTo>
                      <a:pt x="22195" y="2058"/>
                    </a:lnTo>
                    <a:lnTo>
                      <a:pt x="22229" y="2021"/>
                    </a:lnTo>
                    <a:lnTo>
                      <a:pt x="22261" y="2033"/>
                    </a:lnTo>
                    <a:lnTo>
                      <a:pt x="22260" y="2058"/>
                    </a:lnTo>
                    <a:lnTo>
                      <a:pt x="22240" y="2084"/>
                    </a:lnTo>
                    <a:lnTo>
                      <a:pt x="22233" y="2105"/>
                    </a:lnTo>
                    <a:lnTo>
                      <a:pt x="22263" y="2196"/>
                    </a:lnTo>
                    <a:lnTo>
                      <a:pt x="22251" y="2241"/>
                    </a:lnTo>
                    <a:lnTo>
                      <a:pt x="22255" y="2261"/>
                    </a:lnTo>
                    <a:lnTo>
                      <a:pt x="22287" y="2253"/>
                    </a:lnTo>
                    <a:lnTo>
                      <a:pt x="22308" y="2290"/>
                    </a:lnTo>
                    <a:lnTo>
                      <a:pt x="22345" y="2306"/>
                    </a:lnTo>
                    <a:lnTo>
                      <a:pt x="22358" y="2342"/>
                    </a:lnTo>
                    <a:lnTo>
                      <a:pt x="22340" y="2364"/>
                    </a:lnTo>
                    <a:lnTo>
                      <a:pt x="22286" y="2362"/>
                    </a:lnTo>
                    <a:lnTo>
                      <a:pt x="22229" y="2371"/>
                    </a:lnTo>
                    <a:lnTo>
                      <a:pt x="22305" y="2388"/>
                    </a:lnTo>
                    <a:lnTo>
                      <a:pt x="22326" y="2419"/>
                    </a:lnTo>
                    <a:lnTo>
                      <a:pt x="22317" y="2448"/>
                    </a:lnTo>
                    <a:lnTo>
                      <a:pt x="22278" y="2457"/>
                    </a:lnTo>
                    <a:lnTo>
                      <a:pt x="22246" y="2515"/>
                    </a:lnTo>
                    <a:lnTo>
                      <a:pt x="22235" y="2496"/>
                    </a:lnTo>
                    <a:lnTo>
                      <a:pt x="22193" y="2529"/>
                    </a:lnTo>
                    <a:lnTo>
                      <a:pt x="22148" y="2528"/>
                    </a:lnTo>
                    <a:lnTo>
                      <a:pt x="22112" y="2560"/>
                    </a:lnTo>
                    <a:lnTo>
                      <a:pt x="22160" y="2553"/>
                    </a:lnTo>
                    <a:lnTo>
                      <a:pt x="22186" y="2565"/>
                    </a:lnTo>
                    <a:lnTo>
                      <a:pt x="22203" y="2592"/>
                    </a:lnTo>
                    <a:lnTo>
                      <a:pt x="22230" y="2564"/>
                    </a:lnTo>
                    <a:lnTo>
                      <a:pt x="22245" y="2565"/>
                    </a:lnTo>
                    <a:lnTo>
                      <a:pt x="22250" y="2595"/>
                    </a:lnTo>
                    <a:lnTo>
                      <a:pt x="22281" y="2639"/>
                    </a:lnTo>
                    <a:lnTo>
                      <a:pt x="22253" y="2658"/>
                    </a:lnTo>
                    <a:lnTo>
                      <a:pt x="22245" y="2711"/>
                    </a:lnTo>
                    <a:lnTo>
                      <a:pt x="22286" y="2669"/>
                    </a:lnTo>
                    <a:lnTo>
                      <a:pt x="22329" y="2665"/>
                    </a:lnTo>
                    <a:lnTo>
                      <a:pt x="22374" y="2703"/>
                    </a:lnTo>
                    <a:lnTo>
                      <a:pt x="22369" y="2728"/>
                    </a:lnTo>
                    <a:lnTo>
                      <a:pt x="22394" y="2772"/>
                    </a:lnTo>
                    <a:lnTo>
                      <a:pt x="22354" y="2801"/>
                    </a:lnTo>
                    <a:lnTo>
                      <a:pt x="22375" y="2811"/>
                    </a:lnTo>
                    <a:lnTo>
                      <a:pt x="22384" y="2862"/>
                    </a:lnTo>
                    <a:lnTo>
                      <a:pt x="22347" y="2879"/>
                    </a:lnTo>
                    <a:lnTo>
                      <a:pt x="22344" y="2903"/>
                    </a:lnTo>
                    <a:lnTo>
                      <a:pt x="22358" y="2926"/>
                    </a:lnTo>
                    <a:lnTo>
                      <a:pt x="22362" y="2898"/>
                    </a:lnTo>
                    <a:lnTo>
                      <a:pt x="22390" y="2891"/>
                    </a:lnTo>
                    <a:lnTo>
                      <a:pt x="22412" y="2914"/>
                    </a:lnTo>
                    <a:lnTo>
                      <a:pt x="22405" y="2958"/>
                    </a:lnTo>
                    <a:lnTo>
                      <a:pt x="22444" y="2949"/>
                    </a:lnTo>
                    <a:lnTo>
                      <a:pt x="22457" y="2973"/>
                    </a:lnTo>
                    <a:lnTo>
                      <a:pt x="22459" y="2945"/>
                    </a:lnTo>
                    <a:lnTo>
                      <a:pt x="22480" y="2927"/>
                    </a:lnTo>
                    <a:lnTo>
                      <a:pt x="22504" y="2940"/>
                    </a:lnTo>
                    <a:lnTo>
                      <a:pt x="22539" y="2945"/>
                    </a:lnTo>
                    <a:lnTo>
                      <a:pt x="22539" y="2988"/>
                    </a:lnTo>
                    <a:lnTo>
                      <a:pt x="22514" y="3000"/>
                    </a:lnTo>
                    <a:lnTo>
                      <a:pt x="22483" y="2980"/>
                    </a:lnTo>
                    <a:lnTo>
                      <a:pt x="22461" y="3010"/>
                    </a:lnTo>
                    <a:lnTo>
                      <a:pt x="22499" y="3033"/>
                    </a:lnTo>
                    <a:lnTo>
                      <a:pt x="22528" y="3028"/>
                    </a:lnTo>
                    <a:lnTo>
                      <a:pt x="22552" y="3075"/>
                    </a:lnTo>
                    <a:lnTo>
                      <a:pt x="22550" y="3098"/>
                    </a:lnTo>
                    <a:lnTo>
                      <a:pt x="22502" y="3120"/>
                    </a:lnTo>
                    <a:lnTo>
                      <a:pt x="22464" y="3065"/>
                    </a:lnTo>
                    <a:lnTo>
                      <a:pt x="22453" y="3056"/>
                    </a:lnTo>
                    <a:lnTo>
                      <a:pt x="22472" y="3120"/>
                    </a:lnTo>
                    <a:lnTo>
                      <a:pt x="22445" y="3145"/>
                    </a:lnTo>
                    <a:lnTo>
                      <a:pt x="22428" y="3142"/>
                    </a:lnTo>
                    <a:lnTo>
                      <a:pt x="22419" y="3127"/>
                    </a:lnTo>
                    <a:lnTo>
                      <a:pt x="22392" y="3132"/>
                    </a:lnTo>
                    <a:lnTo>
                      <a:pt x="22371" y="3117"/>
                    </a:lnTo>
                    <a:lnTo>
                      <a:pt x="22291" y="3110"/>
                    </a:lnTo>
                    <a:lnTo>
                      <a:pt x="22262" y="3127"/>
                    </a:lnTo>
                    <a:lnTo>
                      <a:pt x="22229" y="3127"/>
                    </a:lnTo>
                    <a:lnTo>
                      <a:pt x="22237" y="3103"/>
                    </a:lnTo>
                    <a:lnTo>
                      <a:pt x="22224" y="3079"/>
                    </a:lnTo>
                    <a:lnTo>
                      <a:pt x="22198" y="3075"/>
                    </a:lnTo>
                    <a:lnTo>
                      <a:pt x="22205" y="3119"/>
                    </a:lnTo>
                    <a:lnTo>
                      <a:pt x="22185" y="3119"/>
                    </a:lnTo>
                    <a:lnTo>
                      <a:pt x="22179" y="3129"/>
                    </a:lnTo>
                    <a:lnTo>
                      <a:pt x="22195" y="3157"/>
                    </a:lnTo>
                    <a:lnTo>
                      <a:pt x="22167" y="3189"/>
                    </a:lnTo>
                    <a:lnTo>
                      <a:pt x="22157" y="3189"/>
                    </a:lnTo>
                    <a:lnTo>
                      <a:pt x="22157" y="3173"/>
                    </a:lnTo>
                    <a:lnTo>
                      <a:pt x="22145" y="3163"/>
                    </a:lnTo>
                    <a:lnTo>
                      <a:pt x="22073" y="3181"/>
                    </a:lnTo>
                    <a:lnTo>
                      <a:pt x="22054" y="3171"/>
                    </a:lnTo>
                    <a:lnTo>
                      <a:pt x="22056" y="3151"/>
                    </a:lnTo>
                    <a:lnTo>
                      <a:pt x="22043" y="3108"/>
                    </a:lnTo>
                    <a:lnTo>
                      <a:pt x="22031" y="3100"/>
                    </a:lnTo>
                    <a:lnTo>
                      <a:pt x="21947" y="3039"/>
                    </a:lnTo>
                    <a:lnTo>
                      <a:pt x="21937" y="3026"/>
                    </a:lnTo>
                    <a:lnTo>
                      <a:pt x="21945" y="3013"/>
                    </a:lnTo>
                    <a:lnTo>
                      <a:pt x="21888" y="2994"/>
                    </a:lnTo>
                    <a:lnTo>
                      <a:pt x="21880" y="3030"/>
                    </a:lnTo>
                    <a:lnTo>
                      <a:pt x="21822" y="3045"/>
                    </a:lnTo>
                    <a:lnTo>
                      <a:pt x="21793" y="3075"/>
                    </a:lnTo>
                    <a:lnTo>
                      <a:pt x="21773" y="3079"/>
                    </a:lnTo>
                    <a:lnTo>
                      <a:pt x="21769" y="3035"/>
                    </a:lnTo>
                    <a:lnTo>
                      <a:pt x="21751" y="3001"/>
                    </a:lnTo>
                    <a:lnTo>
                      <a:pt x="21760" y="3034"/>
                    </a:lnTo>
                    <a:lnTo>
                      <a:pt x="21753" y="3103"/>
                    </a:lnTo>
                    <a:lnTo>
                      <a:pt x="21769" y="3141"/>
                    </a:lnTo>
                    <a:lnTo>
                      <a:pt x="21756" y="3181"/>
                    </a:lnTo>
                    <a:lnTo>
                      <a:pt x="21694" y="3269"/>
                    </a:lnTo>
                    <a:lnTo>
                      <a:pt x="21662" y="3268"/>
                    </a:lnTo>
                    <a:lnTo>
                      <a:pt x="21660" y="3208"/>
                    </a:lnTo>
                    <a:lnTo>
                      <a:pt x="21623" y="3193"/>
                    </a:lnTo>
                    <a:lnTo>
                      <a:pt x="21592" y="3212"/>
                    </a:lnTo>
                    <a:lnTo>
                      <a:pt x="21509" y="3148"/>
                    </a:lnTo>
                    <a:lnTo>
                      <a:pt x="21514" y="3120"/>
                    </a:lnTo>
                    <a:lnTo>
                      <a:pt x="21501" y="3038"/>
                    </a:lnTo>
                    <a:lnTo>
                      <a:pt x="21470" y="3027"/>
                    </a:lnTo>
                    <a:lnTo>
                      <a:pt x="21458" y="3003"/>
                    </a:lnTo>
                    <a:lnTo>
                      <a:pt x="21439" y="2981"/>
                    </a:lnTo>
                    <a:lnTo>
                      <a:pt x="21421" y="2999"/>
                    </a:lnTo>
                    <a:lnTo>
                      <a:pt x="21434" y="3026"/>
                    </a:lnTo>
                    <a:lnTo>
                      <a:pt x="21431" y="3053"/>
                    </a:lnTo>
                    <a:lnTo>
                      <a:pt x="21451" y="3077"/>
                    </a:lnTo>
                    <a:lnTo>
                      <a:pt x="21443" y="3102"/>
                    </a:lnTo>
                    <a:lnTo>
                      <a:pt x="21388" y="3071"/>
                    </a:lnTo>
                    <a:lnTo>
                      <a:pt x="21350" y="3025"/>
                    </a:lnTo>
                    <a:lnTo>
                      <a:pt x="21344" y="3029"/>
                    </a:lnTo>
                    <a:lnTo>
                      <a:pt x="21363" y="3073"/>
                    </a:lnTo>
                    <a:lnTo>
                      <a:pt x="21341" y="3089"/>
                    </a:lnTo>
                    <a:lnTo>
                      <a:pt x="21357" y="3104"/>
                    </a:lnTo>
                    <a:lnTo>
                      <a:pt x="21398" y="3104"/>
                    </a:lnTo>
                    <a:lnTo>
                      <a:pt x="21420" y="3132"/>
                    </a:lnTo>
                    <a:lnTo>
                      <a:pt x="21406" y="3168"/>
                    </a:lnTo>
                    <a:lnTo>
                      <a:pt x="21356" y="3171"/>
                    </a:lnTo>
                    <a:lnTo>
                      <a:pt x="21350" y="3193"/>
                    </a:lnTo>
                    <a:lnTo>
                      <a:pt x="21373" y="3205"/>
                    </a:lnTo>
                    <a:lnTo>
                      <a:pt x="21469" y="3318"/>
                    </a:lnTo>
                    <a:lnTo>
                      <a:pt x="21537" y="3336"/>
                    </a:lnTo>
                    <a:lnTo>
                      <a:pt x="21576" y="3321"/>
                    </a:lnTo>
                    <a:lnTo>
                      <a:pt x="21620" y="3342"/>
                    </a:lnTo>
                    <a:lnTo>
                      <a:pt x="21632" y="3390"/>
                    </a:lnTo>
                    <a:lnTo>
                      <a:pt x="21625" y="3391"/>
                    </a:lnTo>
                    <a:lnTo>
                      <a:pt x="21594" y="3349"/>
                    </a:lnTo>
                    <a:lnTo>
                      <a:pt x="21577" y="3348"/>
                    </a:lnTo>
                    <a:lnTo>
                      <a:pt x="21600" y="3400"/>
                    </a:lnTo>
                    <a:lnTo>
                      <a:pt x="21649" y="3437"/>
                    </a:lnTo>
                    <a:lnTo>
                      <a:pt x="21662" y="3480"/>
                    </a:lnTo>
                    <a:lnTo>
                      <a:pt x="21694" y="3518"/>
                    </a:lnTo>
                    <a:lnTo>
                      <a:pt x="21694" y="3591"/>
                    </a:lnTo>
                    <a:lnTo>
                      <a:pt x="21666" y="3703"/>
                    </a:lnTo>
                    <a:lnTo>
                      <a:pt x="21682" y="3770"/>
                    </a:lnTo>
                    <a:lnTo>
                      <a:pt x="21681" y="3816"/>
                    </a:lnTo>
                    <a:lnTo>
                      <a:pt x="21692" y="3840"/>
                    </a:lnTo>
                    <a:lnTo>
                      <a:pt x="21650" y="3902"/>
                    </a:lnTo>
                    <a:lnTo>
                      <a:pt x="21650" y="3945"/>
                    </a:lnTo>
                    <a:lnTo>
                      <a:pt x="21621" y="3966"/>
                    </a:lnTo>
                    <a:lnTo>
                      <a:pt x="21630" y="3933"/>
                    </a:lnTo>
                    <a:lnTo>
                      <a:pt x="21621" y="3921"/>
                    </a:lnTo>
                    <a:lnTo>
                      <a:pt x="21542" y="3981"/>
                    </a:lnTo>
                    <a:lnTo>
                      <a:pt x="21522" y="3957"/>
                    </a:lnTo>
                    <a:lnTo>
                      <a:pt x="21486" y="3983"/>
                    </a:lnTo>
                    <a:lnTo>
                      <a:pt x="21460" y="3977"/>
                    </a:lnTo>
                    <a:lnTo>
                      <a:pt x="21442" y="3945"/>
                    </a:lnTo>
                    <a:lnTo>
                      <a:pt x="21406" y="3941"/>
                    </a:lnTo>
                    <a:lnTo>
                      <a:pt x="21357" y="3888"/>
                    </a:lnTo>
                    <a:lnTo>
                      <a:pt x="21316" y="3860"/>
                    </a:lnTo>
                    <a:lnTo>
                      <a:pt x="21272" y="3855"/>
                    </a:lnTo>
                    <a:lnTo>
                      <a:pt x="21245" y="3837"/>
                    </a:lnTo>
                    <a:lnTo>
                      <a:pt x="21215" y="3845"/>
                    </a:lnTo>
                    <a:lnTo>
                      <a:pt x="21184" y="3886"/>
                    </a:lnTo>
                    <a:lnTo>
                      <a:pt x="21146" y="3885"/>
                    </a:lnTo>
                    <a:lnTo>
                      <a:pt x="21184" y="3902"/>
                    </a:lnTo>
                    <a:lnTo>
                      <a:pt x="21232" y="3904"/>
                    </a:lnTo>
                    <a:lnTo>
                      <a:pt x="21254" y="3869"/>
                    </a:lnTo>
                    <a:lnTo>
                      <a:pt x="21345" y="3907"/>
                    </a:lnTo>
                    <a:lnTo>
                      <a:pt x="21362" y="3937"/>
                    </a:lnTo>
                    <a:lnTo>
                      <a:pt x="21316" y="3968"/>
                    </a:lnTo>
                    <a:lnTo>
                      <a:pt x="21287" y="3950"/>
                    </a:lnTo>
                    <a:lnTo>
                      <a:pt x="21248" y="3951"/>
                    </a:lnTo>
                    <a:lnTo>
                      <a:pt x="21247" y="3986"/>
                    </a:lnTo>
                    <a:lnTo>
                      <a:pt x="21214" y="3948"/>
                    </a:lnTo>
                    <a:lnTo>
                      <a:pt x="21183" y="3952"/>
                    </a:lnTo>
                    <a:lnTo>
                      <a:pt x="21198" y="3955"/>
                    </a:lnTo>
                    <a:lnTo>
                      <a:pt x="21216" y="4000"/>
                    </a:lnTo>
                    <a:lnTo>
                      <a:pt x="21267" y="4027"/>
                    </a:lnTo>
                    <a:lnTo>
                      <a:pt x="21255" y="4076"/>
                    </a:lnTo>
                    <a:lnTo>
                      <a:pt x="21275" y="4136"/>
                    </a:lnTo>
                    <a:lnTo>
                      <a:pt x="21307" y="4152"/>
                    </a:lnTo>
                    <a:lnTo>
                      <a:pt x="21288" y="4133"/>
                    </a:lnTo>
                    <a:lnTo>
                      <a:pt x="21292" y="4062"/>
                    </a:lnTo>
                    <a:lnTo>
                      <a:pt x="21315" y="4047"/>
                    </a:lnTo>
                    <a:lnTo>
                      <a:pt x="21345" y="4056"/>
                    </a:lnTo>
                    <a:lnTo>
                      <a:pt x="21345" y="4036"/>
                    </a:lnTo>
                    <a:lnTo>
                      <a:pt x="21398" y="3988"/>
                    </a:lnTo>
                    <a:lnTo>
                      <a:pt x="21426" y="3981"/>
                    </a:lnTo>
                    <a:lnTo>
                      <a:pt x="21448" y="3998"/>
                    </a:lnTo>
                    <a:lnTo>
                      <a:pt x="21448" y="4021"/>
                    </a:lnTo>
                    <a:lnTo>
                      <a:pt x="21491" y="4086"/>
                    </a:lnTo>
                    <a:lnTo>
                      <a:pt x="21534" y="4098"/>
                    </a:lnTo>
                    <a:lnTo>
                      <a:pt x="21575" y="4138"/>
                    </a:lnTo>
                    <a:lnTo>
                      <a:pt x="21623" y="4132"/>
                    </a:lnTo>
                    <a:lnTo>
                      <a:pt x="21637" y="4103"/>
                    </a:lnTo>
                    <a:lnTo>
                      <a:pt x="21629" y="4079"/>
                    </a:lnTo>
                    <a:lnTo>
                      <a:pt x="21644" y="4082"/>
                    </a:lnTo>
                    <a:lnTo>
                      <a:pt x="21733" y="4155"/>
                    </a:lnTo>
                    <a:lnTo>
                      <a:pt x="21749" y="4184"/>
                    </a:lnTo>
                    <a:lnTo>
                      <a:pt x="21715" y="4179"/>
                    </a:lnTo>
                    <a:lnTo>
                      <a:pt x="21711" y="4211"/>
                    </a:lnTo>
                    <a:lnTo>
                      <a:pt x="21774" y="4272"/>
                    </a:lnTo>
                    <a:lnTo>
                      <a:pt x="21796" y="4269"/>
                    </a:lnTo>
                    <a:lnTo>
                      <a:pt x="21795" y="4255"/>
                    </a:lnTo>
                    <a:lnTo>
                      <a:pt x="21798" y="4205"/>
                    </a:lnTo>
                    <a:lnTo>
                      <a:pt x="21847" y="4242"/>
                    </a:lnTo>
                    <a:lnTo>
                      <a:pt x="21916" y="4350"/>
                    </a:lnTo>
                    <a:lnTo>
                      <a:pt x="21890" y="4326"/>
                    </a:lnTo>
                    <a:lnTo>
                      <a:pt x="21868" y="4326"/>
                    </a:lnTo>
                    <a:lnTo>
                      <a:pt x="21860" y="4337"/>
                    </a:lnTo>
                    <a:lnTo>
                      <a:pt x="21886" y="4372"/>
                    </a:lnTo>
                    <a:lnTo>
                      <a:pt x="21851" y="4397"/>
                    </a:lnTo>
                    <a:lnTo>
                      <a:pt x="21847" y="4435"/>
                    </a:lnTo>
                    <a:lnTo>
                      <a:pt x="21860" y="4457"/>
                    </a:lnTo>
                    <a:lnTo>
                      <a:pt x="21895" y="4445"/>
                    </a:lnTo>
                    <a:lnTo>
                      <a:pt x="21901" y="4406"/>
                    </a:lnTo>
                    <a:lnTo>
                      <a:pt x="21915" y="4396"/>
                    </a:lnTo>
                    <a:lnTo>
                      <a:pt x="21939" y="4406"/>
                    </a:lnTo>
                    <a:lnTo>
                      <a:pt x="21948" y="4374"/>
                    </a:lnTo>
                    <a:lnTo>
                      <a:pt x="21976" y="4425"/>
                    </a:lnTo>
                    <a:lnTo>
                      <a:pt x="22053" y="4475"/>
                    </a:lnTo>
                    <a:lnTo>
                      <a:pt x="22130" y="4494"/>
                    </a:lnTo>
                    <a:lnTo>
                      <a:pt x="22176" y="4534"/>
                    </a:lnTo>
                    <a:lnTo>
                      <a:pt x="22151" y="4559"/>
                    </a:lnTo>
                    <a:lnTo>
                      <a:pt x="22195" y="4621"/>
                    </a:lnTo>
                    <a:lnTo>
                      <a:pt x="22233" y="4630"/>
                    </a:lnTo>
                    <a:lnTo>
                      <a:pt x="22278" y="4700"/>
                    </a:lnTo>
                    <a:lnTo>
                      <a:pt x="22281" y="4803"/>
                    </a:lnTo>
                    <a:lnTo>
                      <a:pt x="22259" y="4810"/>
                    </a:lnTo>
                    <a:lnTo>
                      <a:pt x="22259" y="4828"/>
                    </a:lnTo>
                    <a:lnTo>
                      <a:pt x="22293" y="4848"/>
                    </a:lnTo>
                    <a:lnTo>
                      <a:pt x="22310" y="4891"/>
                    </a:lnTo>
                    <a:lnTo>
                      <a:pt x="22294" y="4899"/>
                    </a:lnTo>
                    <a:lnTo>
                      <a:pt x="22271" y="4879"/>
                    </a:lnTo>
                    <a:lnTo>
                      <a:pt x="22146" y="4879"/>
                    </a:lnTo>
                    <a:lnTo>
                      <a:pt x="22109" y="4855"/>
                    </a:lnTo>
                    <a:lnTo>
                      <a:pt x="22084" y="4871"/>
                    </a:lnTo>
                    <a:lnTo>
                      <a:pt x="22053" y="4861"/>
                    </a:lnTo>
                    <a:lnTo>
                      <a:pt x="22046" y="4831"/>
                    </a:lnTo>
                    <a:lnTo>
                      <a:pt x="22027" y="4819"/>
                    </a:lnTo>
                    <a:lnTo>
                      <a:pt x="22018" y="4834"/>
                    </a:lnTo>
                    <a:lnTo>
                      <a:pt x="22034" y="4860"/>
                    </a:lnTo>
                    <a:lnTo>
                      <a:pt x="21979" y="4893"/>
                    </a:lnTo>
                    <a:lnTo>
                      <a:pt x="21936" y="4891"/>
                    </a:lnTo>
                    <a:lnTo>
                      <a:pt x="21924" y="4906"/>
                    </a:lnTo>
                    <a:lnTo>
                      <a:pt x="21948" y="4921"/>
                    </a:lnTo>
                    <a:lnTo>
                      <a:pt x="21890" y="4975"/>
                    </a:lnTo>
                    <a:lnTo>
                      <a:pt x="21859" y="4976"/>
                    </a:lnTo>
                    <a:lnTo>
                      <a:pt x="21857" y="5008"/>
                    </a:lnTo>
                    <a:lnTo>
                      <a:pt x="21880" y="5015"/>
                    </a:lnTo>
                    <a:lnTo>
                      <a:pt x="21827" y="5081"/>
                    </a:lnTo>
                    <a:lnTo>
                      <a:pt x="21809" y="5100"/>
                    </a:lnTo>
                    <a:lnTo>
                      <a:pt x="21804" y="5091"/>
                    </a:lnTo>
                    <a:lnTo>
                      <a:pt x="21775" y="5090"/>
                    </a:lnTo>
                    <a:lnTo>
                      <a:pt x="21775" y="5139"/>
                    </a:lnTo>
                    <a:lnTo>
                      <a:pt x="21796" y="5188"/>
                    </a:lnTo>
                    <a:lnTo>
                      <a:pt x="21761" y="5222"/>
                    </a:lnTo>
                    <a:lnTo>
                      <a:pt x="21742" y="5202"/>
                    </a:lnTo>
                    <a:lnTo>
                      <a:pt x="21736" y="5236"/>
                    </a:lnTo>
                    <a:lnTo>
                      <a:pt x="21751" y="5260"/>
                    </a:lnTo>
                    <a:lnTo>
                      <a:pt x="21712" y="5301"/>
                    </a:lnTo>
                    <a:lnTo>
                      <a:pt x="21684" y="5309"/>
                    </a:lnTo>
                    <a:lnTo>
                      <a:pt x="21702" y="5325"/>
                    </a:lnTo>
                    <a:lnTo>
                      <a:pt x="21694" y="5344"/>
                    </a:lnTo>
                    <a:lnTo>
                      <a:pt x="21680" y="5374"/>
                    </a:lnTo>
                    <a:lnTo>
                      <a:pt x="21660" y="5363"/>
                    </a:lnTo>
                    <a:lnTo>
                      <a:pt x="21633" y="5377"/>
                    </a:lnTo>
                    <a:lnTo>
                      <a:pt x="21655" y="5400"/>
                    </a:lnTo>
                    <a:lnTo>
                      <a:pt x="21657" y="5428"/>
                    </a:lnTo>
                    <a:lnTo>
                      <a:pt x="21622" y="5455"/>
                    </a:lnTo>
                    <a:lnTo>
                      <a:pt x="21639" y="5479"/>
                    </a:lnTo>
                    <a:lnTo>
                      <a:pt x="21631" y="5507"/>
                    </a:lnTo>
                    <a:lnTo>
                      <a:pt x="21607" y="5512"/>
                    </a:lnTo>
                    <a:lnTo>
                      <a:pt x="21590" y="5494"/>
                    </a:lnTo>
                    <a:lnTo>
                      <a:pt x="21567" y="5502"/>
                    </a:lnTo>
                    <a:lnTo>
                      <a:pt x="21586" y="5529"/>
                    </a:lnTo>
                    <a:lnTo>
                      <a:pt x="21636" y="5552"/>
                    </a:lnTo>
                    <a:lnTo>
                      <a:pt x="21620" y="5589"/>
                    </a:lnTo>
                    <a:lnTo>
                      <a:pt x="21571" y="5593"/>
                    </a:lnTo>
                    <a:lnTo>
                      <a:pt x="21571" y="5612"/>
                    </a:lnTo>
                    <a:lnTo>
                      <a:pt x="21595" y="5624"/>
                    </a:lnTo>
                    <a:lnTo>
                      <a:pt x="21620" y="5681"/>
                    </a:lnTo>
                    <a:lnTo>
                      <a:pt x="21599" y="5697"/>
                    </a:lnTo>
                    <a:lnTo>
                      <a:pt x="21611" y="5720"/>
                    </a:lnTo>
                    <a:lnTo>
                      <a:pt x="21575" y="5772"/>
                    </a:lnTo>
                    <a:lnTo>
                      <a:pt x="21585" y="5799"/>
                    </a:lnTo>
                    <a:lnTo>
                      <a:pt x="21561" y="5859"/>
                    </a:lnTo>
                    <a:lnTo>
                      <a:pt x="21548" y="5939"/>
                    </a:lnTo>
                    <a:lnTo>
                      <a:pt x="21529" y="5969"/>
                    </a:lnTo>
                    <a:lnTo>
                      <a:pt x="21525" y="6001"/>
                    </a:lnTo>
                    <a:lnTo>
                      <a:pt x="21547" y="6008"/>
                    </a:lnTo>
                    <a:lnTo>
                      <a:pt x="21557" y="6028"/>
                    </a:lnTo>
                    <a:lnTo>
                      <a:pt x="21545" y="6049"/>
                    </a:lnTo>
                    <a:lnTo>
                      <a:pt x="21595" y="6116"/>
                    </a:lnTo>
                    <a:lnTo>
                      <a:pt x="21596" y="6143"/>
                    </a:lnTo>
                    <a:lnTo>
                      <a:pt x="21569" y="6135"/>
                    </a:lnTo>
                    <a:lnTo>
                      <a:pt x="21529" y="6141"/>
                    </a:lnTo>
                    <a:lnTo>
                      <a:pt x="21499" y="6112"/>
                    </a:lnTo>
                    <a:lnTo>
                      <a:pt x="21481" y="6128"/>
                    </a:lnTo>
                    <a:lnTo>
                      <a:pt x="21432" y="6073"/>
                    </a:lnTo>
                    <a:lnTo>
                      <a:pt x="21447" y="6061"/>
                    </a:lnTo>
                    <a:lnTo>
                      <a:pt x="21431" y="6052"/>
                    </a:lnTo>
                    <a:lnTo>
                      <a:pt x="21401" y="6058"/>
                    </a:lnTo>
                    <a:lnTo>
                      <a:pt x="21375" y="6054"/>
                    </a:lnTo>
                    <a:lnTo>
                      <a:pt x="21368" y="6024"/>
                    </a:lnTo>
                    <a:lnTo>
                      <a:pt x="21277" y="5972"/>
                    </a:lnTo>
                    <a:lnTo>
                      <a:pt x="21230" y="5963"/>
                    </a:lnTo>
                    <a:lnTo>
                      <a:pt x="21173" y="5999"/>
                    </a:lnTo>
                    <a:lnTo>
                      <a:pt x="21155" y="5984"/>
                    </a:lnTo>
                    <a:lnTo>
                      <a:pt x="21118" y="5995"/>
                    </a:lnTo>
                    <a:lnTo>
                      <a:pt x="21082" y="6042"/>
                    </a:lnTo>
                    <a:lnTo>
                      <a:pt x="21048" y="6043"/>
                    </a:lnTo>
                    <a:lnTo>
                      <a:pt x="21032" y="6106"/>
                    </a:lnTo>
                    <a:lnTo>
                      <a:pt x="21008" y="6128"/>
                    </a:lnTo>
                    <a:lnTo>
                      <a:pt x="20974" y="6111"/>
                    </a:lnTo>
                    <a:lnTo>
                      <a:pt x="21001" y="6157"/>
                    </a:lnTo>
                    <a:lnTo>
                      <a:pt x="20981" y="6186"/>
                    </a:lnTo>
                    <a:lnTo>
                      <a:pt x="20989" y="6224"/>
                    </a:lnTo>
                    <a:lnTo>
                      <a:pt x="20977" y="6253"/>
                    </a:lnTo>
                    <a:lnTo>
                      <a:pt x="20966" y="6345"/>
                    </a:lnTo>
                    <a:lnTo>
                      <a:pt x="20949" y="6358"/>
                    </a:lnTo>
                    <a:lnTo>
                      <a:pt x="20927" y="6332"/>
                    </a:lnTo>
                    <a:lnTo>
                      <a:pt x="20886" y="6222"/>
                    </a:lnTo>
                    <a:lnTo>
                      <a:pt x="20883" y="6184"/>
                    </a:lnTo>
                    <a:lnTo>
                      <a:pt x="20852" y="6167"/>
                    </a:lnTo>
                    <a:lnTo>
                      <a:pt x="20826" y="6133"/>
                    </a:lnTo>
                    <a:lnTo>
                      <a:pt x="20822" y="6172"/>
                    </a:lnTo>
                    <a:lnTo>
                      <a:pt x="20781" y="6245"/>
                    </a:lnTo>
                    <a:lnTo>
                      <a:pt x="20753" y="6262"/>
                    </a:lnTo>
                    <a:lnTo>
                      <a:pt x="20747" y="6296"/>
                    </a:lnTo>
                    <a:lnTo>
                      <a:pt x="20784" y="6310"/>
                    </a:lnTo>
                    <a:lnTo>
                      <a:pt x="20748" y="6386"/>
                    </a:lnTo>
                    <a:lnTo>
                      <a:pt x="20723" y="6348"/>
                    </a:lnTo>
                    <a:lnTo>
                      <a:pt x="20704" y="6347"/>
                    </a:lnTo>
                    <a:lnTo>
                      <a:pt x="20688" y="6322"/>
                    </a:lnTo>
                    <a:lnTo>
                      <a:pt x="20662" y="6326"/>
                    </a:lnTo>
                    <a:lnTo>
                      <a:pt x="20648" y="6376"/>
                    </a:lnTo>
                    <a:lnTo>
                      <a:pt x="20628" y="6382"/>
                    </a:lnTo>
                    <a:lnTo>
                      <a:pt x="20593" y="6362"/>
                    </a:lnTo>
                    <a:lnTo>
                      <a:pt x="20568" y="6363"/>
                    </a:lnTo>
                    <a:lnTo>
                      <a:pt x="20564" y="6385"/>
                    </a:lnTo>
                    <a:lnTo>
                      <a:pt x="20587" y="6418"/>
                    </a:lnTo>
                    <a:lnTo>
                      <a:pt x="20569" y="6431"/>
                    </a:lnTo>
                    <a:lnTo>
                      <a:pt x="20558" y="6461"/>
                    </a:lnTo>
                    <a:lnTo>
                      <a:pt x="20554" y="6490"/>
                    </a:lnTo>
                    <a:lnTo>
                      <a:pt x="20585" y="6525"/>
                    </a:lnTo>
                    <a:lnTo>
                      <a:pt x="20593" y="6566"/>
                    </a:lnTo>
                    <a:lnTo>
                      <a:pt x="20577" y="6572"/>
                    </a:lnTo>
                    <a:lnTo>
                      <a:pt x="20585" y="6595"/>
                    </a:lnTo>
                    <a:lnTo>
                      <a:pt x="20621" y="6606"/>
                    </a:lnTo>
                    <a:lnTo>
                      <a:pt x="20646" y="6634"/>
                    </a:lnTo>
                    <a:lnTo>
                      <a:pt x="20653" y="6655"/>
                    </a:lnTo>
                    <a:lnTo>
                      <a:pt x="20640" y="6655"/>
                    </a:lnTo>
                    <a:lnTo>
                      <a:pt x="20629" y="6678"/>
                    </a:lnTo>
                    <a:lnTo>
                      <a:pt x="20656" y="6703"/>
                    </a:lnTo>
                    <a:lnTo>
                      <a:pt x="20681" y="6724"/>
                    </a:lnTo>
                    <a:lnTo>
                      <a:pt x="20678" y="6739"/>
                    </a:lnTo>
                    <a:lnTo>
                      <a:pt x="20648" y="6718"/>
                    </a:lnTo>
                    <a:lnTo>
                      <a:pt x="20624" y="6726"/>
                    </a:lnTo>
                    <a:lnTo>
                      <a:pt x="20619" y="6740"/>
                    </a:lnTo>
                    <a:lnTo>
                      <a:pt x="20653" y="6777"/>
                    </a:lnTo>
                    <a:lnTo>
                      <a:pt x="20671" y="6765"/>
                    </a:lnTo>
                    <a:lnTo>
                      <a:pt x="20671" y="6801"/>
                    </a:lnTo>
                    <a:lnTo>
                      <a:pt x="20661" y="6839"/>
                    </a:lnTo>
                    <a:lnTo>
                      <a:pt x="20664" y="6870"/>
                    </a:lnTo>
                    <a:lnTo>
                      <a:pt x="20643" y="6898"/>
                    </a:lnTo>
                    <a:lnTo>
                      <a:pt x="20661" y="6949"/>
                    </a:lnTo>
                    <a:lnTo>
                      <a:pt x="20649" y="6974"/>
                    </a:lnTo>
                    <a:lnTo>
                      <a:pt x="20666" y="7008"/>
                    </a:lnTo>
                    <a:lnTo>
                      <a:pt x="20665" y="7029"/>
                    </a:lnTo>
                    <a:lnTo>
                      <a:pt x="20666" y="7064"/>
                    </a:lnTo>
                    <a:lnTo>
                      <a:pt x="20694" y="7126"/>
                    </a:lnTo>
                    <a:lnTo>
                      <a:pt x="20680" y="7143"/>
                    </a:lnTo>
                    <a:lnTo>
                      <a:pt x="20706" y="7161"/>
                    </a:lnTo>
                    <a:lnTo>
                      <a:pt x="20737" y="7192"/>
                    </a:lnTo>
                    <a:lnTo>
                      <a:pt x="20783" y="7253"/>
                    </a:lnTo>
                    <a:lnTo>
                      <a:pt x="20825" y="7272"/>
                    </a:lnTo>
                    <a:lnTo>
                      <a:pt x="20840" y="7261"/>
                    </a:lnTo>
                    <a:lnTo>
                      <a:pt x="20845" y="7230"/>
                    </a:lnTo>
                    <a:lnTo>
                      <a:pt x="20802" y="7182"/>
                    </a:lnTo>
                    <a:lnTo>
                      <a:pt x="20800" y="7158"/>
                    </a:lnTo>
                    <a:lnTo>
                      <a:pt x="20824" y="7139"/>
                    </a:lnTo>
                    <a:lnTo>
                      <a:pt x="20859" y="7141"/>
                    </a:lnTo>
                    <a:lnTo>
                      <a:pt x="20918" y="7185"/>
                    </a:lnTo>
                    <a:lnTo>
                      <a:pt x="20946" y="7179"/>
                    </a:lnTo>
                    <a:lnTo>
                      <a:pt x="20970" y="7191"/>
                    </a:lnTo>
                    <a:lnTo>
                      <a:pt x="20971" y="7222"/>
                    </a:lnTo>
                    <a:lnTo>
                      <a:pt x="20963" y="7241"/>
                    </a:lnTo>
                    <a:lnTo>
                      <a:pt x="20985" y="7267"/>
                    </a:lnTo>
                    <a:lnTo>
                      <a:pt x="20964" y="7299"/>
                    </a:lnTo>
                    <a:lnTo>
                      <a:pt x="20973" y="7328"/>
                    </a:lnTo>
                    <a:lnTo>
                      <a:pt x="20961" y="7338"/>
                    </a:lnTo>
                    <a:lnTo>
                      <a:pt x="20936" y="7368"/>
                    </a:lnTo>
                    <a:lnTo>
                      <a:pt x="20968" y="7430"/>
                    </a:lnTo>
                    <a:lnTo>
                      <a:pt x="20993" y="7468"/>
                    </a:lnTo>
                    <a:lnTo>
                      <a:pt x="20991" y="7529"/>
                    </a:lnTo>
                    <a:lnTo>
                      <a:pt x="21027" y="7555"/>
                    </a:lnTo>
                    <a:lnTo>
                      <a:pt x="21045" y="7542"/>
                    </a:lnTo>
                    <a:lnTo>
                      <a:pt x="21043" y="7524"/>
                    </a:lnTo>
                    <a:lnTo>
                      <a:pt x="21071" y="7503"/>
                    </a:lnTo>
                    <a:lnTo>
                      <a:pt x="21081" y="7489"/>
                    </a:lnTo>
                    <a:lnTo>
                      <a:pt x="21090" y="7498"/>
                    </a:lnTo>
                    <a:lnTo>
                      <a:pt x="21126" y="7516"/>
                    </a:lnTo>
                    <a:lnTo>
                      <a:pt x="21125" y="7595"/>
                    </a:lnTo>
                    <a:lnTo>
                      <a:pt x="21201" y="7663"/>
                    </a:lnTo>
                    <a:lnTo>
                      <a:pt x="21228" y="7717"/>
                    </a:lnTo>
                    <a:lnTo>
                      <a:pt x="21213" y="7739"/>
                    </a:lnTo>
                    <a:lnTo>
                      <a:pt x="21211" y="7785"/>
                    </a:lnTo>
                    <a:lnTo>
                      <a:pt x="21187" y="7794"/>
                    </a:lnTo>
                    <a:lnTo>
                      <a:pt x="21143" y="7762"/>
                    </a:lnTo>
                    <a:lnTo>
                      <a:pt x="21091" y="7743"/>
                    </a:lnTo>
                    <a:lnTo>
                      <a:pt x="21087" y="7694"/>
                    </a:lnTo>
                    <a:lnTo>
                      <a:pt x="21103" y="7659"/>
                    </a:lnTo>
                    <a:lnTo>
                      <a:pt x="21107" y="7615"/>
                    </a:lnTo>
                    <a:lnTo>
                      <a:pt x="21098" y="7584"/>
                    </a:lnTo>
                    <a:lnTo>
                      <a:pt x="21076" y="7604"/>
                    </a:lnTo>
                    <a:lnTo>
                      <a:pt x="21087" y="7618"/>
                    </a:lnTo>
                    <a:lnTo>
                      <a:pt x="21087" y="7643"/>
                    </a:lnTo>
                    <a:lnTo>
                      <a:pt x="21053" y="7649"/>
                    </a:lnTo>
                    <a:lnTo>
                      <a:pt x="21022" y="7698"/>
                    </a:lnTo>
                    <a:lnTo>
                      <a:pt x="21031" y="7718"/>
                    </a:lnTo>
                    <a:lnTo>
                      <a:pt x="21071" y="7709"/>
                    </a:lnTo>
                    <a:lnTo>
                      <a:pt x="21071" y="7744"/>
                    </a:lnTo>
                    <a:lnTo>
                      <a:pt x="21046" y="7783"/>
                    </a:lnTo>
                    <a:lnTo>
                      <a:pt x="21061" y="7838"/>
                    </a:lnTo>
                    <a:lnTo>
                      <a:pt x="21052" y="7853"/>
                    </a:lnTo>
                    <a:lnTo>
                      <a:pt x="21056" y="7973"/>
                    </a:lnTo>
                    <a:lnTo>
                      <a:pt x="21081" y="7998"/>
                    </a:lnTo>
                    <a:lnTo>
                      <a:pt x="21078" y="8027"/>
                    </a:lnTo>
                    <a:lnTo>
                      <a:pt x="21166" y="8157"/>
                    </a:lnTo>
                    <a:lnTo>
                      <a:pt x="21192" y="8157"/>
                    </a:lnTo>
                    <a:lnTo>
                      <a:pt x="21251" y="8238"/>
                    </a:lnTo>
                    <a:lnTo>
                      <a:pt x="21289" y="8261"/>
                    </a:lnTo>
                    <a:lnTo>
                      <a:pt x="21266" y="8288"/>
                    </a:lnTo>
                    <a:lnTo>
                      <a:pt x="21270" y="8332"/>
                    </a:lnTo>
                    <a:lnTo>
                      <a:pt x="21169" y="8371"/>
                    </a:lnTo>
                    <a:lnTo>
                      <a:pt x="21161" y="8353"/>
                    </a:lnTo>
                    <a:lnTo>
                      <a:pt x="21106" y="8387"/>
                    </a:lnTo>
                    <a:lnTo>
                      <a:pt x="21079" y="8381"/>
                    </a:lnTo>
                    <a:lnTo>
                      <a:pt x="21093" y="8398"/>
                    </a:lnTo>
                    <a:lnTo>
                      <a:pt x="21063" y="8464"/>
                    </a:lnTo>
                    <a:lnTo>
                      <a:pt x="21056" y="8509"/>
                    </a:lnTo>
                    <a:lnTo>
                      <a:pt x="21034" y="8530"/>
                    </a:lnTo>
                    <a:lnTo>
                      <a:pt x="21063" y="8560"/>
                    </a:lnTo>
                    <a:lnTo>
                      <a:pt x="21042" y="8647"/>
                    </a:lnTo>
                    <a:lnTo>
                      <a:pt x="21074" y="8745"/>
                    </a:lnTo>
                    <a:lnTo>
                      <a:pt x="21121" y="8771"/>
                    </a:lnTo>
                    <a:lnTo>
                      <a:pt x="21118" y="8813"/>
                    </a:lnTo>
                    <a:lnTo>
                      <a:pt x="21167" y="8838"/>
                    </a:lnTo>
                    <a:lnTo>
                      <a:pt x="21192" y="8872"/>
                    </a:lnTo>
                    <a:lnTo>
                      <a:pt x="21153" y="8868"/>
                    </a:lnTo>
                    <a:lnTo>
                      <a:pt x="21142" y="8856"/>
                    </a:lnTo>
                    <a:lnTo>
                      <a:pt x="21109" y="8877"/>
                    </a:lnTo>
                    <a:lnTo>
                      <a:pt x="21081" y="8905"/>
                    </a:lnTo>
                    <a:lnTo>
                      <a:pt x="21055" y="8898"/>
                    </a:lnTo>
                    <a:lnTo>
                      <a:pt x="21004" y="8946"/>
                    </a:lnTo>
                    <a:lnTo>
                      <a:pt x="20971" y="8918"/>
                    </a:lnTo>
                    <a:lnTo>
                      <a:pt x="20953" y="8952"/>
                    </a:lnTo>
                    <a:lnTo>
                      <a:pt x="20973" y="8970"/>
                    </a:lnTo>
                    <a:lnTo>
                      <a:pt x="21009" y="8967"/>
                    </a:lnTo>
                    <a:lnTo>
                      <a:pt x="21001" y="9005"/>
                    </a:lnTo>
                    <a:lnTo>
                      <a:pt x="20993" y="9027"/>
                    </a:lnTo>
                    <a:lnTo>
                      <a:pt x="21027" y="9061"/>
                    </a:lnTo>
                    <a:lnTo>
                      <a:pt x="21013" y="9077"/>
                    </a:lnTo>
                    <a:lnTo>
                      <a:pt x="20994" y="9071"/>
                    </a:lnTo>
                    <a:lnTo>
                      <a:pt x="21017" y="9120"/>
                    </a:lnTo>
                    <a:lnTo>
                      <a:pt x="21006" y="9146"/>
                    </a:lnTo>
                    <a:lnTo>
                      <a:pt x="21028" y="9151"/>
                    </a:lnTo>
                    <a:lnTo>
                      <a:pt x="21047" y="9141"/>
                    </a:lnTo>
                    <a:lnTo>
                      <a:pt x="21078" y="9174"/>
                    </a:lnTo>
                    <a:lnTo>
                      <a:pt x="21049" y="9200"/>
                    </a:lnTo>
                    <a:lnTo>
                      <a:pt x="21046" y="9250"/>
                    </a:lnTo>
                    <a:lnTo>
                      <a:pt x="21066" y="9281"/>
                    </a:lnTo>
                    <a:lnTo>
                      <a:pt x="21053" y="9355"/>
                    </a:lnTo>
                    <a:lnTo>
                      <a:pt x="21039" y="9384"/>
                    </a:lnTo>
                    <a:lnTo>
                      <a:pt x="21047" y="9399"/>
                    </a:lnTo>
                    <a:lnTo>
                      <a:pt x="21039" y="9430"/>
                    </a:lnTo>
                    <a:lnTo>
                      <a:pt x="20998" y="9466"/>
                    </a:lnTo>
                    <a:lnTo>
                      <a:pt x="20994" y="9501"/>
                    </a:lnTo>
                    <a:lnTo>
                      <a:pt x="20984" y="9507"/>
                    </a:lnTo>
                    <a:lnTo>
                      <a:pt x="20966" y="9582"/>
                    </a:lnTo>
                    <a:lnTo>
                      <a:pt x="20929" y="9661"/>
                    </a:lnTo>
                    <a:lnTo>
                      <a:pt x="20936" y="9625"/>
                    </a:lnTo>
                    <a:lnTo>
                      <a:pt x="20927" y="9599"/>
                    </a:lnTo>
                    <a:lnTo>
                      <a:pt x="20928" y="9564"/>
                    </a:lnTo>
                    <a:lnTo>
                      <a:pt x="20918" y="9541"/>
                    </a:lnTo>
                    <a:lnTo>
                      <a:pt x="20851" y="9534"/>
                    </a:lnTo>
                    <a:lnTo>
                      <a:pt x="20814" y="9480"/>
                    </a:lnTo>
                    <a:lnTo>
                      <a:pt x="20807" y="9420"/>
                    </a:lnTo>
                    <a:lnTo>
                      <a:pt x="20741" y="9273"/>
                    </a:lnTo>
                    <a:lnTo>
                      <a:pt x="20697" y="9203"/>
                    </a:lnTo>
                    <a:lnTo>
                      <a:pt x="20721" y="9206"/>
                    </a:lnTo>
                    <a:lnTo>
                      <a:pt x="20749" y="9190"/>
                    </a:lnTo>
                    <a:lnTo>
                      <a:pt x="20763" y="9162"/>
                    </a:lnTo>
                    <a:lnTo>
                      <a:pt x="20735" y="9175"/>
                    </a:lnTo>
                    <a:lnTo>
                      <a:pt x="20690" y="9174"/>
                    </a:lnTo>
                    <a:lnTo>
                      <a:pt x="20629" y="9142"/>
                    </a:lnTo>
                    <a:lnTo>
                      <a:pt x="20497" y="8904"/>
                    </a:lnTo>
                    <a:lnTo>
                      <a:pt x="20377" y="8762"/>
                    </a:lnTo>
                    <a:lnTo>
                      <a:pt x="20374" y="8710"/>
                    </a:lnTo>
                    <a:lnTo>
                      <a:pt x="20330" y="8661"/>
                    </a:lnTo>
                    <a:lnTo>
                      <a:pt x="20235" y="8512"/>
                    </a:lnTo>
                    <a:lnTo>
                      <a:pt x="20145" y="8330"/>
                    </a:lnTo>
                    <a:lnTo>
                      <a:pt x="20070" y="8159"/>
                    </a:lnTo>
                    <a:lnTo>
                      <a:pt x="20070" y="8100"/>
                    </a:lnTo>
                    <a:lnTo>
                      <a:pt x="20024" y="8025"/>
                    </a:lnTo>
                    <a:lnTo>
                      <a:pt x="20007" y="7905"/>
                    </a:lnTo>
                    <a:lnTo>
                      <a:pt x="19980" y="7846"/>
                    </a:lnTo>
                    <a:lnTo>
                      <a:pt x="19987" y="7775"/>
                    </a:lnTo>
                    <a:lnTo>
                      <a:pt x="20025" y="7729"/>
                    </a:lnTo>
                    <a:lnTo>
                      <a:pt x="20034" y="7670"/>
                    </a:lnTo>
                    <a:lnTo>
                      <a:pt x="20061" y="7660"/>
                    </a:lnTo>
                    <a:lnTo>
                      <a:pt x="20041" y="7637"/>
                    </a:lnTo>
                    <a:lnTo>
                      <a:pt x="20056" y="7615"/>
                    </a:lnTo>
                    <a:lnTo>
                      <a:pt x="20060" y="7531"/>
                    </a:lnTo>
                    <a:lnTo>
                      <a:pt x="19995" y="7443"/>
                    </a:lnTo>
                    <a:lnTo>
                      <a:pt x="19951" y="7443"/>
                    </a:lnTo>
                    <a:lnTo>
                      <a:pt x="19949" y="7418"/>
                    </a:lnTo>
                    <a:lnTo>
                      <a:pt x="19982" y="7386"/>
                    </a:lnTo>
                    <a:lnTo>
                      <a:pt x="20049" y="7419"/>
                    </a:lnTo>
                    <a:lnTo>
                      <a:pt x="20087" y="7378"/>
                    </a:lnTo>
                    <a:lnTo>
                      <a:pt x="20078" y="7350"/>
                    </a:lnTo>
                    <a:lnTo>
                      <a:pt x="20078" y="7284"/>
                    </a:lnTo>
                    <a:lnTo>
                      <a:pt x="20136" y="7276"/>
                    </a:lnTo>
                    <a:lnTo>
                      <a:pt x="20169" y="7286"/>
                    </a:lnTo>
                    <a:lnTo>
                      <a:pt x="20140" y="7245"/>
                    </a:lnTo>
                    <a:lnTo>
                      <a:pt x="20193" y="7144"/>
                    </a:lnTo>
                    <a:lnTo>
                      <a:pt x="20171" y="7080"/>
                    </a:lnTo>
                    <a:lnTo>
                      <a:pt x="20173" y="7012"/>
                    </a:lnTo>
                    <a:lnTo>
                      <a:pt x="20151" y="6976"/>
                    </a:lnTo>
                    <a:lnTo>
                      <a:pt x="20180" y="6945"/>
                    </a:lnTo>
                    <a:lnTo>
                      <a:pt x="20180" y="6902"/>
                    </a:lnTo>
                    <a:lnTo>
                      <a:pt x="20169" y="6883"/>
                    </a:lnTo>
                    <a:lnTo>
                      <a:pt x="20179" y="6826"/>
                    </a:lnTo>
                    <a:lnTo>
                      <a:pt x="20206" y="6826"/>
                    </a:lnTo>
                    <a:lnTo>
                      <a:pt x="20174" y="6795"/>
                    </a:lnTo>
                    <a:lnTo>
                      <a:pt x="20167" y="6767"/>
                    </a:lnTo>
                    <a:lnTo>
                      <a:pt x="20178" y="6752"/>
                    </a:lnTo>
                    <a:lnTo>
                      <a:pt x="20186" y="6686"/>
                    </a:lnTo>
                    <a:lnTo>
                      <a:pt x="20172" y="6673"/>
                    </a:lnTo>
                    <a:lnTo>
                      <a:pt x="20177" y="6639"/>
                    </a:lnTo>
                    <a:lnTo>
                      <a:pt x="20216" y="6624"/>
                    </a:lnTo>
                    <a:lnTo>
                      <a:pt x="20232" y="6600"/>
                    </a:lnTo>
                    <a:lnTo>
                      <a:pt x="20221" y="6545"/>
                    </a:lnTo>
                    <a:lnTo>
                      <a:pt x="20232" y="6472"/>
                    </a:lnTo>
                    <a:lnTo>
                      <a:pt x="20215" y="6461"/>
                    </a:lnTo>
                    <a:lnTo>
                      <a:pt x="20208" y="6439"/>
                    </a:lnTo>
                    <a:lnTo>
                      <a:pt x="20237" y="6385"/>
                    </a:lnTo>
                    <a:lnTo>
                      <a:pt x="20241" y="6339"/>
                    </a:lnTo>
                    <a:lnTo>
                      <a:pt x="20216" y="6347"/>
                    </a:lnTo>
                    <a:lnTo>
                      <a:pt x="20203" y="6304"/>
                    </a:lnTo>
                    <a:lnTo>
                      <a:pt x="20220" y="6278"/>
                    </a:lnTo>
                    <a:lnTo>
                      <a:pt x="20224" y="6245"/>
                    </a:lnTo>
                    <a:lnTo>
                      <a:pt x="20251" y="6235"/>
                    </a:lnTo>
                    <a:lnTo>
                      <a:pt x="20258" y="6218"/>
                    </a:lnTo>
                    <a:lnTo>
                      <a:pt x="20297" y="6195"/>
                    </a:lnTo>
                    <a:lnTo>
                      <a:pt x="20301" y="6161"/>
                    </a:lnTo>
                    <a:lnTo>
                      <a:pt x="20343" y="6121"/>
                    </a:lnTo>
                    <a:lnTo>
                      <a:pt x="20355" y="6122"/>
                    </a:lnTo>
                    <a:lnTo>
                      <a:pt x="20386" y="6097"/>
                    </a:lnTo>
                    <a:lnTo>
                      <a:pt x="20407" y="6097"/>
                    </a:lnTo>
                    <a:lnTo>
                      <a:pt x="20414" y="6076"/>
                    </a:lnTo>
                    <a:lnTo>
                      <a:pt x="20406" y="6062"/>
                    </a:lnTo>
                    <a:lnTo>
                      <a:pt x="20373" y="6057"/>
                    </a:lnTo>
                    <a:lnTo>
                      <a:pt x="20352" y="6071"/>
                    </a:lnTo>
                    <a:lnTo>
                      <a:pt x="20325" y="6052"/>
                    </a:lnTo>
                    <a:lnTo>
                      <a:pt x="20326" y="5986"/>
                    </a:lnTo>
                    <a:lnTo>
                      <a:pt x="20346" y="5934"/>
                    </a:lnTo>
                    <a:lnTo>
                      <a:pt x="20333" y="5913"/>
                    </a:lnTo>
                    <a:lnTo>
                      <a:pt x="20314" y="5878"/>
                    </a:lnTo>
                    <a:lnTo>
                      <a:pt x="20302" y="5875"/>
                    </a:lnTo>
                    <a:lnTo>
                      <a:pt x="20290" y="5899"/>
                    </a:lnTo>
                    <a:lnTo>
                      <a:pt x="20278" y="5895"/>
                    </a:lnTo>
                    <a:lnTo>
                      <a:pt x="20269" y="5812"/>
                    </a:lnTo>
                    <a:lnTo>
                      <a:pt x="20284" y="5795"/>
                    </a:lnTo>
                    <a:lnTo>
                      <a:pt x="20285" y="5776"/>
                    </a:lnTo>
                    <a:lnTo>
                      <a:pt x="20276" y="5735"/>
                    </a:lnTo>
                    <a:lnTo>
                      <a:pt x="20240" y="5721"/>
                    </a:lnTo>
                    <a:lnTo>
                      <a:pt x="20248" y="5707"/>
                    </a:lnTo>
                    <a:lnTo>
                      <a:pt x="20244" y="5702"/>
                    </a:lnTo>
                    <a:lnTo>
                      <a:pt x="20242" y="5684"/>
                    </a:lnTo>
                    <a:lnTo>
                      <a:pt x="20204" y="5641"/>
                    </a:lnTo>
                    <a:lnTo>
                      <a:pt x="20198" y="5615"/>
                    </a:lnTo>
                    <a:lnTo>
                      <a:pt x="20177" y="5596"/>
                    </a:lnTo>
                    <a:lnTo>
                      <a:pt x="20175" y="5560"/>
                    </a:lnTo>
                    <a:lnTo>
                      <a:pt x="20156" y="5517"/>
                    </a:lnTo>
                    <a:lnTo>
                      <a:pt x="20159" y="5492"/>
                    </a:lnTo>
                    <a:lnTo>
                      <a:pt x="20206" y="5443"/>
                    </a:lnTo>
                    <a:lnTo>
                      <a:pt x="20245" y="5453"/>
                    </a:lnTo>
                    <a:lnTo>
                      <a:pt x="20280" y="5440"/>
                    </a:lnTo>
                    <a:lnTo>
                      <a:pt x="20258" y="5424"/>
                    </a:lnTo>
                    <a:lnTo>
                      <a:pt x="20302" y="5398"/>
                    </a:lnTo>
                    <a:lnTo>
                      <a:pt x="20281" y="5403"/>
                    </a:lnTo>
                    <a:lnTo>
                      <a:pt x="20246" y="5399"/>
                    </a:lnTo>
                    <a:lnTo>
                      <a:pt x="20227" y="5391"/>
                    </a:lnTo>
                    <a:lnTo>
                      <a:pt x="20180" y="5393"/>
                    </a:lnTo>
                    <a:lnTo>
                      <a:pt x="20131" y="5352"/>
                    </a:lnTo>
                    <a:lnTo>
                      <a:pt x="20117" y="5364"/>
                    </a:lnTo>
                    <a:lnTo>
                      <a:pt x="20073" y="5362"/>
                    </a:lnTo>
                    <a:lnTo>
                      <a:pt x="20042" y="5398"/>
                    </a:lnTo>
                    <a:lnTo>
                      <a:pt x="20006" y="5401"/>
                    </a:lnTo>
                    <a:lnTo>
                      <a:pt x="19962" y="5443"/>
                    </a:lnTo>
                    <a:lnTo>
                      <a:pt x="19978" y="5461"/>
                    </a:lnTo>
                    <a:lnTo>
                      <a:pt x="19972" y="5490"/>
                    </a:lnTo>
                    <a:lnTo>
                      <a:pt x="20010" y="5519"/>
                    </a:lnTo>
                    <a:lnTo>
                      <a:pt x="20019" y="5555"/>
                    </a:lnTo>
                    <a:lnTo>
                      <a:pt x="20005" y="5570"/>
                    </a:lnTo>
                    <a:lnTo>
                      <a:pt x="20016" y="5619"/>
                    </a:lnTo>
                    <a:lnTo>
                      <a:pt x="20048" y="5644"/>
                    </a:lnTo>
                    <a:lnTo>
                      <a:pt x="20050" y="5662"/>
                    </a:lnTo>
                    <a:lnTo>
                      <a:pt x="20073" y="5676"/>
                    </a:lnTo>
                    <a:lnTo>
                      <a:pt x="20091" y="5746"/>
                    </a:lnTo>
                    <a:lnTo>
                      <a:pt x="20141" y="5770"/>
                    </a:lnTo>
                    <a:lnTo>
                      <a:pt x="20135" y="5805"/>
                    </a:lnTo>
                    <a:lnTo>
                      <a:pt x="20156" y="5830"/>
                    </a:lnTo>
                    <a:lnTo>
                      <a:pt x="20144" y="5850"/>
                    </a:lnTo>
                    <a:lnTo>
                      <a:pt x="20118" y="5830"/>
                    </a:lnTo>
                    <a:lnTo>
                      <a:pt x="20106" y="5802"/>
                    </a:lnTo>
                    <a:lnTo>
                      <a:pt x="20059" y="5813"/>
                    </a:lnTo>
                    <a:lnTo>
                      <a:pt x="20033" y="5833"/>
                    </a:lnTo>
                    <a:lnTo>
                      <a:pt x="20013" y="5885"/>
                    </a:lnTo>
                    <a:lnTo>
                      <a:pt x="20035" y="5906"/>
                    </a:lnTo>
                    <a:lnTo>
                      <a:pt x="20026" y="5957"/>
                    </a:lnTo>
                    <a:lnTo>
                      <a:pt x="20013" y="5967"/>
                    </a:lnTo>
                    <a:lnTo>
                      <a:pt x="20012" y="5978"/>
                    </a:lnTo>
                    <a:lnTo>
                      <a:pt x="20024" y="5986"/>
                    </a:lnTo>
                    <a:lnTo>
                      <a:pt x="20023" y="6014"/>
                    </a:lnTo>
                    <a:lnTo>
                      <a:pt x="19994" y="6041"/>
                    </a:lnTo>
                    <a:lnTo>
                      <a:pt x="20018" y="6062"/>
                    </a:lnTo>
                    <a:lnTo>
                      <a:pt x="19995" y="6087"/>
                    </a:lnTo>
                    <a:lnTo>
                      <a:pt x="19993" y="6173"/>
                    </a:lnTo>
                    <a:lnTo>
                      <a:pt x="19981" y="6194"/>
                    </a:lnTo>
                    <a:lnTo>
                      <a:pt x="19980" y="6214"/>
                    </a:lnTo>
                    <a:lnTo>
                      <a:pt x="19955" y="6230"/>
                    </a:lnTo>
                    <a:lnTo>
                      <a:pt x="19934" y="6281"/>
                    </a:lnTo>
                    <a:lnTo>
                      <a:pt x="19924" y="6243"/>
                    </a:lnTo>
                    <a:lnTo>
                      <a:pt x="19893" y="6215"/>
                    </a:lnTo>
                    <a:lnTo>
                      <a:pt x="19922" y="6165"/>
                    </a:lnTo>
                    <a:lnTo>
                      <a:pt x="19907" y="6147"/>
                    </a:lnTo>
                    <a:lnTo>
                      <a:pt x="19884" y="6144"/>
                    </a:lnTo>
                    <a:lnTo>
                      <a:pt x="19853" y="6172"/>
                    </a:lnTo>
                    <a:lnTo>
                      <a:pt x="19852" y="6198"/>
                    </a:lnTo>
                    <a:lnTo>
                      <a:pt x="19835" y="6211"/>
                    </a:lnTo>
                    <a:lnTo>
                      <a:pt x="19829" y="6151"/>
                    </a:lnTo>
                    <a:lnTo>
                      <a:pt x="19795" y="6142"/>
                    </a:lnTo>
                    <a:lnTo>
                      <a:pt x="19783" y="6119"/>
                    </a:lnTo>
                    <a:lnTo>
                      <a:pt x="19753" y="6147"/>
                    </a:lnTo>
                    <a:lnTo>
                      <a:pt x="19742" y="6130"/>
                    </a:lnTo>
                    <a:lnTo>
                      <a:pt x="19752" y="6117"/>
                    </a:lnTo>
                    <a:lnTo>
                      <a:pt x="19767" y="6094"/>
                    </a:lnTo>
                    <a:lnTo>
                      <a:pt x="19757" y="6080"/>
                    </a:lnTo>
                    <a:lnTo>
                      <a:pt x="19757" y="6054"/>
                    </a:lnTo>
                    <a:lnTo>
                      <a:pt x="19767" y="6051"/>
                    </a:lnTo>
                    <a:lnTo>
                      <a:pt x="19757" y="6015"/>
                    </a:lnTo>
                    <a:lnTo>
                      <a:pt x="19741" y="6006"/>
                    </a:lnTo>
                    <a:lnTo>
                      <a:pt x="19764" y="5981"/>
                    </a:lnTo>
                    <a:lnTo>
                      <a:pt x="19753" y="5950"/>
                    </a:lnTo>
                    <a:lnTo>
                      <a:pt x="19738" y="5933"/>
                    </a:lnTo>
                    <a:lnTo>
                      <a:pt x="19748" y="5917"/>
                    </a:lnTo>
                    <a:lnTo>
                      <a:pt x="19746" y="5876"/>
                    </a:lnTo>
                    <a:lnTo>
                      <a:pt x="19710" y="5850"/>
                    </a:lnTo>
                    <a:lnTo>
                      <a:pt x="19700" y="5823"/>
                    </a:lnTo>
                    <a:lnTo>
                      <a:pt x="19686" y="5825"/>
                    </a:lnTo>
                    <a:lnTo>
                      <a:pt x="19678" y="5866"/>
                    </a:lnTo>
                    <a:lnTo>
                      <a:pt x="19656" y="5873"/>
                    </a:lnTo>
                    <a:lnTo>
                      <a:pt x="19659" y="5915"/>
                    </a:lnTo>
                    <a:lnTo>
                      <a:pt x="19630" y="5951"/>
                    </a:lnTo>
                    <a:lnTo>
                      <a:pt x="19618" y="5951"/>
                    </a:lnTo>
                    <a:lnTo>
                      <a:pt x="19597" y="5909"/>
                    </a:lnTo>
                    <a:lnTo>
                      <a:pt x="19585" y="5906"/>
                    </a:lnTo>
                    <a:lnTo>
                      <a:pt x="19570" y="5916"/>
                    </a:lnTo>
                    <a:lnTo>
                      <a:pt x="19562" y="5884"/>
                    </a:lnTo>
                    <a:lnTo>
                      <a:pt x="19522" y="5884"/>
                    </a:lnTo>
                    <a:lnTo>
                      <a:pt x="19511" y="5896"/>
                    </a:lnTo>
                    <a:lnTo>
                      <a:pt x="19496" y="5896"/>
                    </a:lnTo>
                    <a:lnTo>
                      <a:pt x="19488" y="5929"/>
                    </a:lnTo>
                    <a:lnTo>
                      <a:pt x="19463" y="5936"/>
                    </a:lnTo>
                    <a:lnTo>
                      <a:pt x="19459" y="5952"/>
                    </a:lnTo>
                    <a:lnTo>
                      <a:pt x="19396" y="5955"/>
                    </a:lnTo>
                    <a:lnTo>
                      <a:pt x="19377" y="5981"/>
                    </a:lnTo>
                    <a:lnTo>
                      <a:pt x="19354" y="5973"/>
                    </a:lnTo>
                    <a:lnTo>
                      <a:pt x="19334" y="5988"/>
                    </a:lnTo>
                    <a:lnTo>
                      <a:pt x="19293" y="5982"/>
                    </a:lnTo>
                    <a:lnTo>
                      <a:pt x="19256" y="6043"/>
                    </a:lnTo>
                    <a:lnTo>
                      <a:pt x="19235" y="6055"/>
                    </a:lnTo>
                    <a:lnTo>
                      <a:pt x="19239" y="6101"/>
                    </a:lnTo>
                    <a:lnTo>
                      <a:pt x="19209" y="6125"/>
                    </a:lnTo>
                    <a:lnTo>
                      <a:pt x="19206" y="6141"/>
                    </a:lnTo>
                    <a:lnTo>
                      <a:pt x="19229" y="6158"/>
                    </a:lnTo>
                    <a:lnTo>
                      <a:pt x="19236" y="6203"/>
                    </a:lnTo>
                    <a:lnTo>
                      <a:pt x="19271" y="6251"/>
                    </a:lnTo>
                    <a:lnTo>
                      <a:pt x="19243" y="6275"/>
                    </a:lnTo>
                    <a:lnTo>
                      <a:pt x="19225" y="6395"/>
                    </a:lnTo>
                    <a:lnTo>
                      <a:pt x="19268" y="6444"/>
                    </a:lnTo>
                    <a:lnTo>
                      <a:pt x="19234" y="6456"/>
                    </a:lnTo>
                    <a:lnTo>
                      <a:pt x="19243" y="6462"/>
                    </a:lnTo>
                    <a:lnTo>
                      <a:pt x="19244" y="6500"/>
                    </a:lnTo>
                    <a:lnTo>
                      <a:pt x="19211" y="6535"/>
                    </a:lnTo>
                    <a:lnTo>
                      <a:pt x="19207" y="6588"/>
                    </a:lnTo>
                    <a:lnTo>
                      <a:pt x="19182" y="6618"/>
                    </a:lnTo>
                    <a:lnTo>
                      <a:pt x="19181" y="6656"/>
                    </a:lnTo>
                    <a:lnTo>
                      <a:pt x="19165" y="6716"/>
                    </a:lnTo>
                    <a:lnTo>
                      <a:pt x="19197" y="6760"/>
                    </a:lnTo>
                    <a:lnTo>
                      <a:pt x="19169" y="6781"/>
                    </a:lnTo>
                    <a:lnTo>
                      <a:pt x="19215" y="6843"/>
                    </a:lnTo>
                    <a:lnTo>
                      <a:pt x="19199" y="6853"/>
                    </a:lnTo>
                    <a:lnTo>
                      <a:pt x="19190" y="6883"/>
                    </a:lnTo>
                    <a:lnTo>
                      <a:pt x="19217" y="6897"/>
                    </a:lnTo>
                    <a:lnTo>
                      <a:pt x="19230" y="6885"/>
                    </a:lnTo>
                    <a:lnTo>
                      <a:pt x="19262" y="6886"/>
                    </a:lnTo>
                    <a:lnTo>
                      <a:pt x="19259" y="6868"/>
                    </a:lnTo>
                    <a:lnTo>
                      <a:pt x="19268" y="6863"/>
                    </a:lnTo>
                    <a:lnTo>
                      <a:pt x="19299" y="6879"/>
                    </a:lnTo>
                    <a:lnTo>
                      <a:pt x="19318" y="6879"/>
                    </a:lnTo>
                    <a:lnTo>
                      <a:pt x="19316" y="6865"/>
                    </a:lnTo>
                    <a:lnTo>
                      <a:pt x="19320" y="6858"/>
                    </a:lnTo>
                    <a:lnTo>
                      <a:pt x="19339" y="6871"/>
                    </a:lnTo>
                    <a:lnTo>
                      <a:pt x="19374" y="6885"/>
                    </a:lnTo>
                    <a:lnTo>
                      <a:pt x="19376" y="6903"/>
                    </a:lnTo>
                    <a:lnTo>
                      <a:pt x="19370" y="6915"/>
                    </a:lnTo>
                    <a:lnTo>
                      <a:pt x="19400" y="6947"/>
                    </a:lnTo>
                    <a:lnTo>
                      <a:pt x="19393" y="6965"/>
                    </a:lnTo>
                    <a:lnTo>
                      <a:pt x="19370" y="6961"/>
                    </a:lnTo>
                    <a:lnTo>
                      <a:pt x="19350" y="6975"/>
                    </a:lnTo>
                    <a:lnTo>
                      <a:pt x="19325" y="6965"/>
                    </a:lnTo>
                    <a:lnTo>
                      <a:pt x="19299" y="6982"/>
                    </a:lnTo>
                    <a:lnTo>
                      <a:pt x="19295" y="6993"/>
                    </a:lnTo>
                    <a:lnTo>
                      <a:pt x="19317" y="7012"/>
                    </a:lnTo>
                    <a:lnTo>
                      <a:pt x="19272" y="7055"/>
                    </a:lnTo>
                    <a:lnTo>
                      <a:pt x="19248" y="7043"/>
                    </a:lnTo>
                    <a:lnTo>
                      <a:pt x="19244" y="7017"/>
                    </a:lnTo>
                    <a:lnTo>
                      <a:pt x="19225" y="7001"/>
                    </a:lnTo>
                    <a:lnTo>
                      <a:pt x="19202" y="7015"/>
                    </a:lnTo>
                    <a:lnTo>
                      <a:pt x="19181" y="7000"/>
                    </a:lnTo>
                    <a:lnTo>
                      <a:pt x="19159" y="7009"/>
                    </a:lnTo>
                    <a:lnTo>
                      <a:pt x="19164" y="7032"/>
                    </a:lnTo>
                    <a:lnTo>
                      <a:pt x="19162" y="7061"/>
                    </a:lnTo>
                    <a:lnTo>
                      <a:pt x="19151" y="7061"/>
                    </a:lnTo>
                    <a:lnTo>
                      <a:pt x="19135" y="7084"/>
                    </a:lnTo>
                    <a:lnTo>
                      <a:pt x="19112" y="7100"/>
                    </a:lnTo>
                    <a:lnTo>
                      <a:pt x="19128" y="7116"/>
                    </a:lnTo>
                    <a:lnTo>
                      <a:pt x="19112" y="7139"/>
                    </a:lnTo>
                    <a:lnTo>
                      <a:pt x="19088" y="7134"/>
                    </a:lnTo>
                    <a:lnTo>
                      <a:pt x="19045" y="7090"/>
                    </a:lnTo>
                    <a:lnTo>
                      <a:pt x="19024" y="7090"/>
                    </a:lnTo>
                    <a:lnTo>
                      <a:pt x="19051" y="7126"/>
                    </a:lnTo>
                    <a:lnTo>
                      <a:pt x="19016" y="7144"/>
                    </a:lnTo>
                    <a:lnTo>
                      <a:pt x="19023" y="7156"/>
                    </a:lnTo>
                    <a:lnTo>
                      <a:pt x="19001" y="7185"/>
                    </a:lnTo>
                    <a:lnTo>
                      <a:pt x="18949" y="7200"/>
                    </a:lnTo>
                    <a:lnTo>
                      <a:pt x="18936" y="7217"/>
                    </a:lnTo>
                    <a:lnTo>
                      <a:pt x="18889" y="7155"/>
                    </a:lnTo>
                    <a:lnTo>
                      <a:pt x="18863" y="7155"/>
                    </a:lnTo>
                    <a:lnTo>
                      <a:pt x="18848" y="7146"/>
                    </a:lnTo>
                    <a:lnTo>
                      <a:pt x="18857" y="7129"/>
                    </a:lnTo>
                    <a:lnTo>
                      <a:pt x="18886" y="7129"/>
                    </a:lnTo>
                    <a:lnTo>
                      <a:pt x="18882" y="7094"/>
                    </a:lnTo>
                    <a:lnTo>
                      <a:pt x="18895" y="7076"/>
                    </a:lnTo>
                    <a:lnTo>
                      <a:pt x="18948" y="7076"/>
                    </a:lnTo>
                    <a:lnTo>
                      <a:pt x="19007" y="7032"/>
                    </a:lnTo>
                    <a:lnTo>
                      <a:pt x="19000" y="7011"/>
                    </a:lnTo>
                    <a:lnTo>
                      <a:pt x="18973" y="7006"/>
                    </a:lnTo>
                    <a:lnTo>
                      <a:pt x="18943" y="7035"/>
                    </a:lnTo>
                    <a:lnTo>
                      <a:pt x="18901" y="7026"/>
                    </a:lnTo>
                    <a:lnTo>
                      <a:pt x="18897" y="7011"/>
                    </a:lnTo>
                    <a:lnTo>
                      <a:pt x="18866" y="6986"/>
                    </a:lnTo>
                    <a:lnTo>
                      <a:pt x="18834" y="6982"/>
                    </a:lnTo>
                    <a:lnTo>
                      <a:pt x="18784" y="6974"/>
                    </a:lnTo>
                    <a:lnTo>
                      <a:pt x="18734" y="6976"/>
                    </a:lnTo>
                    <a:lnTo>
                      <a:pt x="18748" y="7001"/>
                    </a:lnTo>
                    <a:lnTo>
                      <a:pt x="18727" y="7007"/>
                    </a:lnTo>
                    <a:lnTo>
                      <a:pt x="18704" y="6992"/>
                    </a:lnTo>
                    <a:lnTo>
                      <a:pt x="18708" y="6975"/>
                    </a:lnTo>
                    <a:lnTo>
                      <a:pt x="18662" y="6979"/>
                    </a:lnTo>
                    <a:lnTo>
                      <a:pt x="18602" y="6964"/>
                    </a:lnTo>
                    <a:lnTo>
                      <a:pt x="18574" y="6977"/>
                    </a:lnTo>
                    <a:lnTo>
                      <a:pt x="18548" y="6959"/>
                    </a:lnTo>
                    <a:lnTo>
                      <a:pt x="18499" y="6956"/>
                    </a:lnTo>
                    <a:lnTo>
                      <a:pt x="18454" y="7010"/>
                    </a:lnTo>
                    <a:lnTo>
                      <a:pt x="18432" y="7011"/>
                    </a:lnTo>
                    <a:lnTo>
                      <a:pt x="18430" y="7034"/>
                    </a:lnTo>
                    <a:lnTo>
                      <a:pt x="18475" y="7061"/>
                    </a:lnTo>
                    <a:lnTo>
                      <a:pt x="18427" y="7081"/>
                    </a:lnTo>
                    <a:lnTo>
                      <a:pt x="18419" y="7056"/>
                    </a:lnTo>
                    <a:lnTo>
                      <a:pt x="18393" y="7096"/>
                    </a:lnTo>
                    <a:lnTo>
                      <a:pt x="18434" y="7119"/>
                    </a:lnTo>
                    <a:lnTo>
                      <a:pt x="18448" y="7107"/>
                    </a:lnTo>
                    <a:lnTo>
                      <a:pt x="18469" y="7119"/>
                    </a:lnTo>
                    <a:lnTo>
                      <a:pt x="18469" y="7145"/>
                    </a:lnTo>
                    <a:lnTo>
                      <a:pt x="18403" y="7170"/>
                    </a:lnTo>
                    <a:lnTo>
                      <a:pt x="18380" y="7142"/>
                    </a:lnTo>
                    <a:lnTo>
                      <a:pt x="18324" y="7140"/>
                    </a:lnTo>
                    <a:lnTo>
                      <a:pt x="18304" y="7155"/>
                    </a:lnTo>
                    <a:lnTo>
                      <a:pt x="18313" y="7184"/>
                    </a:lnTo>
                    <a:lnTo>
                      <a:pt x="18287" y="7180"/>
                    </a:lnTo>
                    <a:lnTo>
                      <a:pt x="18268" y="7200"/>
                    </a:lnTo>
                    <a:lnTo>
                      <a:pt x="18250" y="7200"/>
                    </a:lnTo>
                    <a:lnTo>
                      <a:pt x="18239" y="7176"/>
                    </a:lnTo>
                    <a:lnTo>
                      <a:pt x="18169" y="7171"/>
                    </a:lnTo>
                    <a:lnTo>
                      <a:pt x="18140" y="7189"/>
                    </a:lnTo>
                    <a:lnTo>
                      <a:pt x="18074" y="7180"/>
                    </a:lnTo>
                    <a:lnTo>
                      <a:pt x="18035" y="7200"/>
                    </a:lnTo>
                    <a:lnTo>
                      <a:pt x="18035" y="7217"/>
                    </a:lnTo>
                    <a:lnTo>
                      <a:pt x="18085" y="7255"/>
                    </a:lnTo>
                    <a:lnTo>
                      <a:pt x="18058" y="7278"/>
                    </a:lnTo>
                    <a:lnTo>
                      <a:pt x="18040" y="7311"/>
                    </a:lnTo>
                    <a:lnTo>
                      <a:pt x="18010" y="7281"/>
                    </a:lnTo>
                    <a:lnTo>
                      <a:pt x="17985" y="7273"/>
                    </a:lnTo>
                    <a:lnTo>
                      <a:pt x="17999" y="7235"/>
                    </a:lnTo>
                    <a:lnTo>
                      <a:pt x="17970" y="7216"/>
                    </a:lnTo>
                    <a:lnTo>
                      <a:pt x="17954" y="7241"/>
                    </a:lnTo>
                    <a:lnTo>
                      <a:pt x="17924" y="7245"/>
                    </a:lnTo>
                    <a:lnTo>
                      <a:pt x="17895" y="7244"/>
                    </a:lnTo>
                    <a:lnTo>
                      <a:pt x="17860" y="7269"/>
                    </a:lnTo>
                    <a:lnTo>
                      <a:pt x="17825" y="7266"/>
                    </a:lnTo>
                    <a:lnTo>
                      <a:pt x="17774" y="7298"/>
                    </a:lnTo>
                    <a:lnTo>
                      <a:pt x="17724" y="7300"/>
                    </a:lnTo>
                    <a:lnTo>
                      <a:pt x="17664" y="7348"/>
                    </a:lnTo>
                    <a:lnTo>
                      <a:pt x="17627" y="7354"/>
                    </a:lnTo>
                    <a:lnTo>
                      <a:pt x="17605" y="7330"/>
                    </a:lnTo>
                    <a:lnTo>
                      <a:pt x="17582" y="7333"/>
                    </a:lnTo>
                    <a:lnTo>
                      <a:pt x="17574" y="7366"/>
                    </a:lnTo>
                    <a:lnTo>
                      <a:pt x="17511" y="7413"/>
                    </a:lnTo>
                    <a:lnTo>
                      <a:pt x="17502" y="7449"/>
                    </a:lnTo>
                    <a:lnTo>
                      <a:pt x="17470" y="7479"/>
                    </a:lnTo>
                    <a:lnTo>
                      <a:pt x="17464" y="7518"/>
                    </a:lnTo>
                    <a:lnTo>
                      <a:pt x="17507" y="7586"/>
                    </a:lnTo>
                    <a:lnTo>
                      <a:pt x="17496" y="7652"/>
                    </a:lnTo>
                    <a:lnTo>
                      <a:pt x="17445" y="7709"/>
                    </a:lnTo>
                    <a:lnTo>
                      <a:pt x="17421" y="7764"/>
                    </a:lnTo>
                    <a:lnTo>
                      <a:pt x="17431" y="7806"/>
                    </a:lnTo>
                    <a:lnTo>
                      <a:pt x="17429" y="7873"/>
                    </a:lnTo>
                    <a:lnTo>
                      <a:pt x="17444" y="7899"/>
                    </a:lnTo>
                    <a:lnTo>
                      <a:pt x="17445" y="7937"/>
                    </a:lnTo>
                    <a:lnTo>
                      <a:pt x="17430" y="7935"/>
                    </a:lnTo>
                    <a:lnTo>
                      <a:pt x="17407" y="7949"/>
                    </a:lnTo>
                    <a:lnTo>
                      <a:pt x="17406" y="7989"/>
                    </a:lnTo>
                    <a:lnTo>
                      <a:pt x="17390" y="8002"/>
                    </a:lnTo>
                    <a:lnTo>
                      <a:pt x="17410" y="8060"/>
                    </a:lnTo>
                    <a:lnTo>
                      <a:pt x="17376" y="8084"/>
                    </a:lnTo>
                    <a:lnTo>
                      <a:pt x="17370" y="8128"/>
                    </a:lnTo>
                    <a:lnTo>
                      <a:pt x="17324" y="8186"/>
                    </a:lnTo>
                    <a:lnTo>
                      <a:pt x="17331" y="8223"/>
                    </a:lnTo>
                    <a:lnTo>
                      <a:pt x="17305" y="8237"/>
                    </a:lnTo>
                    <a:lnTo>
                      <a:pt x="17295" y="8301"/>
                    </a:lnTo>
                    <a:lnTo>
                      <a:pt x="17282" y="8301"/>
                    </a:lnTo>
                    <a:lnTo>
                      <a:pt x="17263" y="8383"/>
                    </a:lnTo>
                    <a:lnTo>
                      <a:pt x="17266" y="8446"/>
                    </a:lnTo>
                    <a:lnTo>
                      <a:pt x="17254" y="8467"/>
                    </a:lnTo>
                    <a:lnTo>
                      <a:pt x="17268" y="8506"/>
                    </a:lnTo>
                    <a:lnTo>
                      <a:pt x="17244" y="8543"/>
                    </a:lnTo>
                    <a:lnTo>
                      <a:pt x="17237" y="8582"/>
                    </a:lnTo>
                    <a:lnTo>
                      <a:pt x="17205" y="8632"/>
                    </a:lnTo>
                    <a:lnTo>
                      <a:pt x="17207" y="8651"/>
                    </a:lnTo>
                    <a:lnTo>
                      <a:pt x="17191" y="8657"/>
                    </a:lnTo>
                    <a:lnTo>
                      <a:pt x="17190" y="8701"/>
                    </a:lnTo>
                    <a:lnTo>
                      <a:pt x="17137" y="8743"/>
                    </a:lnTo>
                    <a:lnTo>
                      <a:pt x="17135" y="8801"/>
                    </a:lnTo>
                    <a:lnTo>
                      <a:pt x="17087" y="8845"/>
                    </a:lnTo>
                    <a:lnTo>
                      <a:pt x="17087" y="8871"/>
                    </a:lnTo>
                    <a:lnTo>
                      <a:pt x="17054" y="8922"/>
                    </a:lnTo>
                    <a:lnTo>
                      <a:pt x="17044" y="8958"/>
                    </a:lnTo>
                    <a:lnTo>
                      <a:pt x="17026" y="8989"/>
                    </a:lnTo>
                    <a:lnTo>
                      <a:pt x="17046" y="9021"/>
                    </a:lnTo>
                    <a:lnTo>
                      <a:pt x="17077" y="9041"/>
                    </a:lnTo>
                    <a:lnTo>
                      <a:pt x="17110" y="9030"/>
                    </a:lnTo>
                    <a:lnTo>
                      <a:pt x="17138" y="9056"/>
                    </a:lnTo>
                    <a:lnTo>
                      <a:pt x="17172" y="9058"/>
                    </a:lnTo>
                    <a:lnTo>
                      <a:pt x="17215" y="9027"/>
                    </a:lnTo>
                    <a:lnTo>
                      <a:pt x="17241" y="9018"/>
                    </a:lnTo>
                    <a:lnTo>
                      <a:pt x="17270" y="8998"/>
                    </a:lnTo>
                    <a:lnTo>
                      <a:pt x="17285" y="9002"/>
                    </a:lnTo>
                    <a:lnTo>
                      <a:pt x="17322" y="8992"/>
                    </a:lnTo>
                    <a:lnTo>
                      <a:pt x="17322" y="9080"/>
                    </a:lnTo>
                    <a:lnTo>
                      <a:pt x="17361" y="9132"/>
                    </a:lnTo>
                    <a:lnTo>
                      <a:pt x="17376" y="9185"/>
                    </a:lnTo>
                    <a:lnTo>
                      <a:pt x="17369" y="9229"/>
                    </a:lnTo>
                    <a:lnTo>
                      <a:pt x="17413" y="9266"/>
                    </a:lnTo>
                    <a:lnTo>
                      <a:pt x="17436" y="9238"/>
                    </a:lnTo>
                    <a:lnTo>
                      <a:pt x="17445" y="9241"/>
                    </a:lnTo>
                    <a:lnTo>
                      <a:pt x="17466" y="9226"/>
                    </a:lnTo>
                    <a:lnTo>
                      <a:pt x="17481" y="9192"/>
                    </a:lnTo>
                    <a:lnTo>
                      <a:pt x="17505" y="9184"/>
                    </a:lnTo>
                    <a:lnTo>
                      <a:pt x="17517" y="9203"/>
                    </a:lnTo>
                    <a:lnTo>
                      <a:pt x="17537" y="9185"/>
                    </a:lnTo>
                    <a:lnTo>
                      <a:pt x="17575" y="9189"/>
                    </a:lnTo>
                    <a:lnTo>
                      <a:pt x="17561" y="9203"/>
                    </a:lnTo>
                    <a:lnTo>
                      <a:pt x="17545" y="9229"/>
                    </a:lnTo>
                    <a:lnTo>
                      <a:pt x="17549" y="9279"/>
                    </a:lnTo>
                    <a:lnTo>
                      <a:pt x="17530" y="9279"/>
                    </a:lnTo>
                    <a:lnTo>
                      <a:pt x="17502" y="9304"/>
                    </a:lnTo>
                    <a:lnTo>
                      <a:pt x="17512" y="9320"/>
                    </a:lnTo>
                    <a:lnTo>
                      <a:pt x="17589" y="9308"/>
                    </a:lnTo>
                    <a:lnTo>
                      <a:pt x="17629" y="9284"/>
                    </a:lnTo>
                    <a:lnTo>
                      <a:pt x="17644" y="9231"/>
                    </a:lnTo>
                    <a:lnTo>
                      <a:pt x="17637" y="9198"/>
                    </a:lnTo>
                    <a:lnTo>
                      <a:pt x="17650" y="9174"/>
                    </a:lnTo>
                    <a:lnTo>
                      <a:pt x="17671" y="9220"/>
                    </a:lnTo>
                    <a:lnTo>
                      <a:pt x="17664" y="9262"/>
                    </a:lnTo>
                    <a:lnTo>
                      <a:pt x="17666" y="9305"/>
                    </a:lnTo>
                    <a:lnTo>
                      <a:pt x="17689" y="9291"/>
                    </a:lnTo>
                    <a:lnTo>
                      <a:pt x="17701" y="9245"/>
                    </a:lnTo>
                    <a:lnTo>
                      <a:pt x="17683" y="9187"/>
                    </a:lnTo>
                    <a:lnTo>
                      <a:pt x="17697" y="9157"/>
                    </a:lnTo>
                    <a:lnTo>
                      <a:pt x="17668" y="9126"/>
                    </a:lnTo>
                    <a:lnTo>
                      <a:pt x="17651" y="9068"/>
                    </a:lnTo>
                    <a:lnTo>
                      <a:pt x="17685" y="9066"/>
                    </a:lnTo>
                    <a:lnTo>
                      <a:pt x="17718" y="9085"/>
                    </a:lnTo>
                    <a:lnTo>
                      <a:pt x="17715" y="9101"/>
                    </a:lnTo>
                    <a:lnTo>
                      <a:pt x="17728" y="9116"/>
                    </a:lnTo>
                    <a:lnTo>
                      <a:pt x="17747" y="9116"/>
                    </a:lnTo>
                    <a:lnTo>
                      <a:pt x="17761" y="9095"/>
                    </a:lnTo>
                    <a:lnTo>
                      <a:pt x="17794" y="9091"/>
                    </a:lnTo>
                    <a:lnTo>
                      <a:pt x="17834" y="9061"/>
                    </a:lnTo>
                    <a:lnTo>
                      <a:pt x="17872" y="9092"/>
                    </a:lnTo>
                    <a:lnTo>
                      <a:pt x="17911" y="9096"/>
                    </a:lnTo>
                    <a:lnTo>
                      <a:pt x="17937" y="9118"/>
                    </a:lnTo>
                    <a:lnTo>
                      <a:pt x="17956" y="9159"/>
                    </a:lnTo>
                    <a:lnTo>
                      <a:pt x="17977" y="9174"/>
                    </a:lnTo>
                    <a:lnTo>
                      <a:pt x="18024" y="9180"/>
                    </a:lnTo>
                    <a:lnTo>
                      <a:pt x="18041" y="9203"/>
                    </a:lnTo>
                    <a:lnTo>
                      <a:pt x="18115" y="9230"/>
                    </a:lnTo>
                    <a:lnTo>
                      <a:pt x="18125" y="9253"/>
                    </a:lnTo>
                    <a:lnTo>
                      <a:pt x="18152" y="9257"/>
                    </a:lnTo>
                    <a:lnTo>
                      <a:pt x="18175" y="9285"/>
                    </a:lnTo>
                    <a:lnTo>
                      <a:pt x="18195" y="9283"/>
                    </a:lnTo>
                    <a:lnTo>
                      <a:pt x="18223" y="9337"/>
                    </a:lnTo>
                    <a:lnTo>
                      <a:pt x="18205" y="9366"/>
                    </a:lnTo>
                    <a:lnTo>
                      <a:pt x="18203" y="9395"/>
                    </a:lnTo>
                    <a:lnTo>
                      <a:pt x="18179" y="9409"/>
                    </a:lnTo>
                    <a:lnTo>
                      <a:pt x="18213" y="9446"/>
                    </a:lnTo>
                    <a:lnTo>
                      <a:pt x="18238" y="9445"/>
                    </a:lnTo>
                    <a:lnTo>
                      <a:pt x="18283" y="9504"/>
                    </a:lnTo>
                    <a:lnTo>
                      <a:pt x="18285" y="9535"/>
                    </a:lnTo>
                    <a:lnTo>
                      <a:pt x="18266" y="9558"/>
                    </a:lnTo>
                    <a:lnTo>
                      <a:pt x="18264" y="9595"/>
                    </a:lnTo>
                    <a:lnTo>
                      <a:pt x="18299" y="9625"/>
                    </a:lnTo>
                    <a:lnTo>
                      <a:pt x="18328" y="9633"/>
                    </a:lnTo>
                    <a:lnTo>
                      <a:pt x="18350" y="9614"/>
                    </a:lnTo>
                    <a:lnTo>
                      <a:pt x="18357" y="9644"/>
                    </a:lnTo>
                    <a:lnTo>
                      <a:pt x="18341" y="9663"/>
                    </a:lnTo>
                    <a:lnTo>
                      <a:pt x="18347" y="9704"/>
                    </a:lnTo>
                    <a:lnTo>
                      <a:pt x="18374" y="9730"/>
                    </a:lnTo>
                    <a:lnTo>
                      <a:pt x="18354" y="9746"/>
                    </a:lnTo>
                    <a:lnTo>
                      <a:pt x="18350" y="9771"/>
                    </a:lnTo>
                    <a:lnTo>
                      <a:pt x="18364" y="9801"/>
                    </a:lnTo>
                    <a:lnTo>
                      <a:pt x="18347" y="9836"/>
                    </a:lnTo>
                    <a:lnTo>
                      <a:pt x="18360" y="9848"/>
                    </a:lnTo>
                    <a:lnTo>
                      <a:pt x="18358" y="9871"/>
                    </a:lnTo>
                    <a:lnTo>
                      <a:pt x="18350" y="9888"/>
                    </a:lnTo>
                    <a:lnTo>
                      <a:pt x="18368" y="9900"/>
                    </a:lnTo>
                    <a:lnTo>
                      <a:pt x="18348" y="9924"/>
                    </a:lnTo>
                    <a:lnTo>
                      <a:pt x="18374" y="10005"/>
                    </a:lnTo>
                    <a:lnTo>
                      <a:pt x="18363" y="10029"/>
                    </a:lnTo>
                    <a:lnTo>
                      <a:pt x="18369" y="10093"/>
                    </a:lnTo>
                    <a:lnTo>
                      <a:pt x="18374" y="10118"/>
                    </a:lnTo>
                    <a:lnTo>
                      <a:pt x="18373" y="10145"/>
                    </a:lnTo>
                    <a:lnTo>
                      <a:pt x="18408" y="10258"/>
                    </a:lnTo>
                    <a:lnTo>
                      <a:pt x="18435" y="10264"/>
                    </a:lnTo>
                    <a:lnTo>
                      <a:pt x="18467" y="10242"/>
                    </a:lnTo>
                    <a:lnTo>
                      <a:pt x="18470" y="10257"/>
                    </a:lnTo>
                    <a:lnTo>
                      <a:pt x="18444" y="10301"/>
                    </a:lnTo>
                    <a:lnTo>
                      <a:pt x="18430" y="10317"/>
                    </a:lnTo>
                    <a:lnTo>
                      <a:pt x="18447" y="10347"/>
                    </a:lnTo>
                    <a:lnTo>
                      <a:pt x="18463" y="10347"/>
                    </a:lnTo>
                    <a:lnTo>
                      <a:pt x="18510" y="10399"/>
                    </a:lnTo>
                    <a:lnTo>
                      <a:pt x="18507" y="10464"/>
                    </a:lnTo>
                    <a:lnTo>
                      <a:pt x="18518" y="10488"/>
                    </a:lnTo>
                    <a:lnTo>
                      <a:pt x="18514" y="10509"/>
                    </a:lnTo>
                    <a:lnTo>
                      <a:pt x="18527" y="10592"/>
                    </a:lnTo>
                    <a:lnTo>
                      <a:pt x="18552" y="10589"/>
                    </a:lnTo>
                    <a:lnTo>
                      <a:pt x="18551" y="10629"/>
                    </a:lnTo>
                    <a:lnTo>
                      <a:pt x="18539" y="10643"/>
                    </a:lnTo>
                    <a:lnTo>
                      <a:pt x="18542" y="10694"/>
                    </a:lnTo>
                    <a:lnTo>
                      <a:pt x="18558" y="10727"/>
                    </a:lnTo>
                    <a:lnTo>
                      <a:pt x="18561" y="10772"/>
                    </a:lnTo>
                    <a:lnTo>
                      <a:pt x="18512" y="10824"/>
                    </a:lnTo>
                    <a:lnTo>
                      <a:pt x="18508" y="10873"/>
                    </a:lnTo>
                    <a:lnTo>
                      <a:pt x="18486" y="10928"/>
                    </a:lnTo>
                    <a:lnTo>
                      <a:pt x="18493" y="10984"/>
                    </a:lnTo>
                    <a:lnTo>
                      <a:pt x="18502" y="10989"/>
                    </a:lnTo>
                    <a:lnTo>
                      <a:pt x="18498" y="11041"/>
                    </a:lnTo>
                    <a:lnTo>
                      <a:pt x="18465" y="11071"/>
                    </a:lnTo>
                    <a:lnTo>
                      <a:pt x="18467" y="11116"/>
                    </a:lnTo>
                    <a:lnTo>
                      <a:pt x="18442" y="11171"/>
                    </a:lnTo>
                    <a:lnTo>
                      <a:pt x="18457" y="11173"/>
                    </a:lnTo>
                    <a:lnTo>
                      <a:pt x="18459" y="11200"/>
                    </a:lnTo>
                    <a:lnTo>
                      <a:pt x="18429" y="11236"/>
                    </a:lnTo>
                    <a:lnTo>
                      <a:pt x="18447" y="11312"/>
                    </a:lnTo>
                    <a:lnTo>
                      <a:pt x="18410" y="11348"/>
                    </a:lnTo>
                    <a:lnTo>
                      <a:pt x="18423" y="11393"/>
                    </a:lnTo>
                    <a:lnTo>
                      <a:pt x="18439" y="11398"/>
                    </a:lnTo>
                    <a:lnTo>
                      <a:pt x="18437" y="11434"/>
                    </a:lnTo>
                    <a:lnTo>
                      <a:pt x="18395" y="11485"/>
                    </a:lnTo>
                    <a:lnTo>
                      <a:pt x="18388" y="11525"/>
                    </a:lnTo>
                    <a:lnTo>
                      <a:pt x="18353" y="11556"/>
                    </a:lnTo>
                    <a:lnTo>
                      <a:pt x="18350" y="11586"/>
                    </a:lnTo>
                    <a:lnTo>
                      <a:pt x="18315" y="11632"/>
                    </a:lnTo>
                    <a:lnTo>
                      <a:pt x="18283" y="11779"/>
                    </a:lnTo>
                    <a:lnTo>
                      <a:pt x="18263" y="11790"/>
                    </a:lnTo>
                    <a:lnTo>
                      <a:pt x="18257" y="11830"/>
                    </a:lnTo>
                    <a:lnTo>
                      <a:pt x="18272" y="11842"/>
                    </a:lnTo>
                    <a:lnTo>
                      <a:pt x="18264" y="11860"/>
                    </a:lnTo>
                    <a:lnTo>
                      <a:pt x="18218" y="11891"/>
                    </a:lnTo>
                    <a:lnTo>
                      <a:pt x="18217" y="11926"/>
                    </a:lnTo>
                    <a:lnTo>
                      <a:pt x="18185" y="11942"/>
                    </a:lnTo>
                    <a:lnTo>
                      <a:pt x="18189" y="11996"/>
                    </a:lnTo>
                    <a:lnTo>
                      <a:pt x="18172" y="12001"/>
                    </a:lnTo>
                    <a:lnTo>
                      <a:pt x="18188" y="12034"/>
                    </a:lnTo>
                    <a:lnTo>
                      <a:pt x="18148" y="12090"/>
                    </a:lnTo>
                    <a:lnTo>
                      <a:pt x="18145" y="12081"/>
                    </a:lnTo>
                    <a:lnTo>
                      <a:pt x="18120" y="12074"/>
                    </a:lnTo>
                    <a:lnTo>
                      <a:pt x="18133" y="12110"/>
                    </a:lnTo>
                    <a:lnTo>
                      <a:pt x="18133" y="12150"/>
                    </a:lnTo>
                    <a:lnTo>
                      <a:pt x="18093" y="12168"/>
                    </a:lnTo>
                    <a:lnTo>
                      <a:pt x="18103" y="12186"/>
                    </a:lnTo>
                    <a:lnTo>
                      <a:pt x="18046" y="12256"/>
                    </a:lnTo>
                    <a:lnTo>
                      <a:pt x="18020" y="12300"/>
                    </a:lnTo>
                    <a:lnTo>
                      <a:pt x="17995" y="12301"/>
                    </a:lnTo>
                    <a:lnTo>
                      <a:pt x="17989" y="12325"/>
                    </a:lnTo>
                    <a:lnTo>
                      <a:pt x="17941" y="12333"/>
                    </a:lnTo>
                    <a:lnTo>
                      <a:pt x="17903" y="12373"/>
                    </a:lnTo>
                    <a:lnTo>
                      <a:pt x="17881" y="12350"/>
                    </a:lnTo>
                    <a:lnTo>
                      <a:pt x="17863" y="12370"/>
                    </a:lnTo>
                    <a:lnTo>
                      <a:pt x="17809" y="12336"/>
                    </a:lnTo>
                    <a:lnTo>
                      <a:pt x="17756" y="12321"/>
                    </a:lnTo>
                    <a:lnTo>
                      <a:pt x="17752" y="12261"/>
                    </a:lnTo>
                    <a:lnTo>
                      <a:pt x="17733" y="12244"/>
                    </a:lnTo>
                    <a:lnTo>
                      <a:pt x="17691" y="12263"/>
                    </a:lnTo>
                    <a:lnTo>
                      <a:pt x="17655" y="12239"/>
                    </a:lnTo>
                    <a:lnTo>
                      <a:pt x="17645" y="12258"/>
                    </a:lnTo>
                    <a:lnTo>
                      <a:pt x="17646" y="12289"/>
                    </a:lnTo>
                    <a:lnTo>
                      <a:pt x="17615" y="12313"/>
                    </a:lnTo>
                    <a:lnTo>
                      <a:pt x="17611" y="12375"/>
                    </a:lnTo>
                    <a:lnTo>
                      <a:pt x="17589" y="12390"/>
                    </a:lnTo>
                    <a:lnTo>
                      <a:pt x="17575" y="12448"/>
                    </a:lnTo>
                    <a:lnTo>
                      <a:pt x="17561" y="12432"/>
                    </a:lnTo>
                    <a:lnTo>
                      <a:pt x="17516" y="12440"/>
                    </a:lnTo>
                    <a:lnTo>
                      <a:pt x="17505" y="12490"/>
                    </a:lnTo>
                    <a:lnTo>
                      <a:pt x="17494" y="12489"/>
                    </a:lnTo>
                    <a:lnTo>
                      <a:pt x="17494" y="12489"/>
                    </a:lnTo>
                    <a:close/>
                    <a:moveTo>
                      <a:pt x="5680" y="12607"/>
                    </a:moveTo>
                    <a:lnTo>
                      <a:pt x="5638" y="12577"/>
                    </a:lnTo>
                    <a:lnTo>
                      <a:pt x="5436" y="12617"/>
                    </a:lnTo>
                    <a:lnTo>
                      <a:pt x="5680" y="12607"/>
                    </a:lnTo>
                    <a:lnTo>
                      <a:pt x="5680" y="12607"/>
                    </a:lnTo>
                    <a:close/>
                    <a:moveTo>
                      <a:pt x="20017" y="11884"/>
                    </a:moveTo>
                    <a:lnTo>
                      <a:pt x="20032" y="11890"/>
                    </a:lnTo>
                    <a:lnTo>
                      <a:pt x="20062" y="11869"/>
                    </a:lnTo>
                    <a:lnTo>
                      <a:pt x="20068" y="11843"/>
                    </a:lnTo>
                    <a:lnTo>
                      <a:pt x="20042" y="11854"/>
                    </a:lnTo>
                    <a:lnTo>
                      <a:pt x="20017" y="11884"/>
                    </a:lnTo>
                    <a:lnTo>
                      <a:pt x="20017" y="11884"/>
                    </a:lnTo>
                    <a:close/>
                    <a:moveTo>
                      <a:pt x="17480" y="2140"/>
                    </a:moveTo>
                    <a:lnTo>
                      <a:pt x="17494" y="2135"/>
                    </a:lnTo>
                    <a:lnTo>
                      <a:pt x="17501" y="2115"/>
                    </a:lnTo>
                    <a:lnTo>
                      <a:pt x="17483" y="2100"/>
                    </a:lnTo>
                    <a:lnTo>
                      <a:pt x="17471" y="2115"/>
                    </a:lnTo>
                    <a:lnTo>
                      <a:pt x="17480" y="2140"/>
                    </a:lnTo>
                    <a:lnTo>
                      <a:pt x="17480" y="2140"/>
                    </a:lnTo>
                    <a:close/>
                    <a:moveTo>
                      <a:pt x="17351" y="2113"/>
                    </a:moveTo>
                    <a:lnTo>
                      <a:pt x="17373" y="2110"/>
                    </a:lnTo>
                    <a:lnTo>
                      <a:pt x="17385" y="2091"/>
                    </a:lnTo>
                    <a:lnTo>
                      <a:pt x="17343" y="2080"/>
                    </a:lnTo>
                    <a:lnTo>
                      <a:pt x="17334" y="2095"/>
                    </a:lnTo>
                    <a:lnTo>
                      <a:pt x="17351" y="2113"/>
                    </a:lnTo>
                    <a:lnTo>
                      <a:pt x="17351" y="2113"/>
                    </a:lnTo>
                    <a:close/>
                    <a:moveTo>
                      <a:pt x="17222" y="2159"/>
                    </a:moveTo>
                    <a:lnTo>
                      <a:pt x="17236" y="2158"/>
                    </a:lnTo>
                    <a:lnTo>
                      <a:pt x="17248" y="2147"/>
                    </a:lnTo>
                    <a:lnTo>
                      <a:pt x="17241" y="2117"/>
                    </a:lnTo>
                    <a:lnTo>
                      <a:pt x="17216" y="2110"/>
                    </a:lnTo>
                    <a:lnTo>
                      <a:pt x="17201" y="2132"/>
                    </a:lnTo>
                    <a:lnTo>
                      <a:pt x="17222" y="2159"/>
                    </a:lnTo>
                    <a:lnTo>
                      <a:pt x="17222" y="2159"/>
                    </a:lnTo>
                    <a:close/>
                    <a:moveTo>
                      <a:pt x="20192" y="5794"/>
                    </a:moveTo>
                    <a:lnTo>
                      <a:pt x="20181" y="5799"/>
                    </a:lnTo>
                    <a:lnTo>
                      <a:pt x="20193" y="5834"/>
                    </a:lnTo>
                    <a:lnTo>
                      <a:pt x="20208" y="5814"/>
                    </a:lnTo>
                    <a:lnTo>
                      <a:pt x="20209" y="5794"/>
                    </a:lnTo>
                    <a:lnTo>
                      <a:pt x="20198" y="5785"/>
                    </a:lnTo>
                    <a:lnTo>
                      <a:pt x="20192" y="5794"/>
                    </a:lnTo>
                    <a:lnTo>
                      <a:pt x="20192" y="5794"/>
                    </a:lnTo>
                    <a:close/>
                    <a:moveTo>
                      <a:pt x="20146" y="5727"/>
                    </a:moveTo>
                    <a:lnTo>
                      <a:pt x="20182" y="5761"/>
                    </a:lnTo>
                    <a:lnTo>
                      <a:pt x="20197" y="5756"/>
                    </a:lnTo>
                    <a:lnTo>
                      <a:pt x="20199" y="5740"/>
                    </a:lnTo>
                    <a:lnTo>
                      <a:pt x="20176" y="5709"/>
                    </a:lnTo>
                    <a:lnTo>
                      <a:pt x="20153" y="5710"/>
                    </a:lnTo>
                    <a:lnTo>
                      <a:pt x="20146" y="5727"/>
                    </a:lnTo>
                    <a:lnTo>
                      <a:pt x="20146" y="5727"/>
                    </a:lnTo>
                    <a:close/>
                    <a:moveTo>
                      <a:pt x="3210" y="3648"/>
                    </a:moveTo>
                    <a:lnTo>
                      <a:pt x="3223" y="3643"/>
                    </a:lnTo>
                    <a:lnTo>
                      <a:pt x="3233" y="3626"/>
                    </a:lnTo>
                    <a:lnTo>
                      <a:pt x="3279" y="3595"/>
                    </a:lnTo>
                    <a:lnTo>
                      <a:pt x="3285" y="3571"/>
                    </a:lnTo>
                    <a:lnTo>
                      <a:pt x="3274" y="3569"/>
                    </a:lnTo>
                    <a:lnTo>
                      <a:pt x="3237" y="3596"/>
                    </a:lnTo>
                    <a:lnTo>
                      <a:pt x="3215" y="3603"/>
                    </a:lnTo>
                    <a:lnTo>
                      <a:pt x="3197" y="3626"/>
                    </a:lnTo>
                    <a:lnTo>
                      <a:pt x="3210" y="3648"/>
                    </a:lnTo>
                    <a:lnTo>
                      <a:pt x="3210" y="3648"/>
                    </a:lnTo>
                    <a:close/>
                    <a:moveTo>
                      <a:pt x="3001" y="4746"/>
                    </a:moveTo>
                    <a:lnTo>
                      <a:pt x="3052" y="4747"/>
                    </a:lnTo>
                    <a:lnTo>
                      <a:pt x="3101" y="4723"/>
                    </a:lnTo>
                    <a:lnTo>
                      <a:pt x="3142" y="4704"/>
                    </a:lnTo>
                    <a:lnTo>
                      <a:pt x="3174" y="4711"/>
                    </a:lnTo>
                    <a:lnTo>
                      <a:pt x="3190" y="4731"/>
                    </a:lnTo>
                    <a:lnTo>
                      <a:pt x="3228" y="4740"/>
                    </a:lnTo>
                    <a:lnTo>
                      <a:pt x="3254" y="4725"/>
                    </a:lnTo>
                    <a:lnTo>
                      <a:pt x="3240" y="4706"/>
                    </a:lnTo>
                    <a:lnTo>
                      <a:pt x="3242" y="4682"/>
                    </a:lnTo>
                    <a:lnTo>
                      <a:pt x="3257" y="4687"/>
                    </a:lnTo>
                    <a:lnTo>
                      <a:pt x="3273" y="4721"/>
                    </a:lnTo>
                    <a:lnTo>
                      <a:pt x="3301" y="4735"/>
                    </a:lnTo>
                    <a:lnTo>
                      <a:pt x="3351" y="4735"/>
                    </a:lnTo>
                    <a:lnTo>
                      <a:pt x="3359" y="4717"/>
                    </a:lnTo>
                    <a:lnTo>
                      <a:pt x="3385" y="4710"/>
                    </a:lnTo>
                    <a:lnTo>
                      <a:pt x="3402" y="4668"/>
                    </a:lnTo>
                    <a:lnTo>
                      <a:pt x="3400" y="4631"/>
                    </a:lnTo>
                    <a:lnTo>
                      <a:pt x="3422" y="4594"/>
                    </a:lnTo>
                    <a:lnTo>
                      <a:pt x="3427" y="4563"/>
                    </a:lnTo>
                    <a:lnTo>
                      <a:pt x="3403" y="4543"/>
                    </a:lnTo>
                    <a:lnTo>
                      <a:pt x="3385" y="4501"/>
                    </a:lnTo>
                    <a:lnTo>
                      <a:pt x="3353" y="4494"/>
                    </a:lnTo>
                    <a:lnTo>
                      <a:pt x="3329" y="4494"/>
                    </a:lnTo>
                    <a:lnTo>
                      <a:pt x="3317" y="4477"/>
                    </a:lnTo>
                    <a:lnTo>
                      <a:pt x="3336" y="4468"/>
                    </a:lnTo>
                    <a:lnTo>
                      <a:pt x="3364" y="4475"/>
                    </a:lnTo>
                    <a:lnTo>
                      <a:pt x="3387" y="4468"/>
                    </a:lnTo>
                    <a:lnTo>
                      <a:pt x="3404" y="4495"/>
                    </a:lnTo>
                    <a:lnTo>
                      <a:pt x="3404" y="4515"/>
                    </a:lnTo>
                    <a:lnTo>
                      <a:pt x="3422" y="4525"/>
                    </a:lnTo>
                    <a:lnTo>
                      <a:pt x="3438" y="4503"/>
                    </a:lnTo>
                    <a:lnTo>
                      <a:pt x="3425" y="4452"/>
                    </a:lnTo>
                    <a:lnTo>
                      <a:pt x="3389" y="4404"/>
                    </a:lnTo>
                    <a:lnTo>
                      <a:pt x="3356" y="4358"/>
                    </a:lnTo>
                    <a:lnTo>
                      <a:pt x="3365" y="4339"/>
                    </a:lnTo>
                    <a:lnTo>
                      <a:pt x="3389" y="4366"/>
                    </a:lnTo>
                    <a:lnTo>
                      <a:pt x="3394" y="4391"/>
                    </a:lnTo>
                    <a:lnTo>
                      <a:pt x="3426" y="4406"/>
                    </a:lnTo>
                    <a:lnTo>
                      <a:pt x="3456" y="4414"/>
                    </a:lnTo>
                    <a:lnTo>
                      <a:pt x="3464" y="4395"/>
                    </a:lnTo>
                    <a:lnTo>
                      <a:pt x="3461" y="4372"/>
                    </a:lnTo>
                    <a:lnTo>
                      <a:pt x="3446" y="4359"/>
                    </a:lnTo>
                    <a:lnTo>
                      <a:pt x="3449" y="4338"/>
                    </a:lnTo>
                    <a:lnTo>
                      <a:pt x="3469" y="4303"/>
                    </a:lnTo>
                    <a:lnTo>
                      <a:pt x="3465" y="4272"/>
                    </a:lnTo>
                    <a:lnTo>
                      <a:pt x="3439" y="4240"/>
                    </a:lnTo>
                    <a:lnTo>
                      <a:pt x="3403" y="4194"/>
                    </a:lnTo>
                    <a:lnTo>
                      <a:pt x="3428" y="4191"/>
                    </a:lnTo>
                    <a:lnTo>
                      <a:pt x="3456" y="4216"/>
                    </a:lnTo>
                    <a:lnTo>
                      <a:pt x="3478" y="4210"/>
                    </a:lnTo>
                    <a:lnTo>
                      <a:pt x="3493" y="4173"/>
                    </a:lnTo>
                    <a:lnTo>
                      <a:pt x="3483" y="4163"/>
                    </a:lnTo>
                    <a:lnTo>
                      <a:pt x="3462" y="4162"/>
                    </a:lnTo>
                    <a:lnTo>
                      <a:pt x="3464" y="4118"/>
                    </a:lnTo>
                    <a:lnTo>
                      <a:pt x="3484" y="4112"/>
                    </a:lnTo>
                    <a:lnTo>
                      <a:pt x="3514" y="4133"/>
                    </a:lnTo>
                    <a:lnTo>
                      <a:pt x="3558" y="4150"/>
                    </a:lnTo>
                    <a:lnTo>
                      <a:pt x="3573" y="4131"/>
                    </a:lnTo>
                    <a:lnTo>
                      <a:pt x="3548" y="4114"/>
                    </a:lnTo>
                    <a:lnTo>
                      <a:pt x="3544" y="4096"/>
                    </a:lnTo>
                    <a:lnTo>
                      <a:pt x="3571" y="4098"/>
                    </a:lnTo>
                    <a:lnTo>
                      <a:pt x="3591" y="4107"/>
                    </a:lnTo>
                    <a:lnTo>
                      <a:pt x="3616" y="4085"/>
                    </a:lnTo>
                    <a:lnTo>
                      <a:pt x="3618" y="4051"/>
                    </a:lnTo>
                    <a:lnTo>
                      <a:pt x="3607" y="4038"/>
                    </a:lnTo>
                    <a:lnTo>
                      <a:pt x="3613" y="4025"/>
                    </a:lnTo>
                    <a:lnTo>
                      <a:pt x="3657" y="4003"/>
                    </a:lnTo>
                    <a:lnTo>
                      <a:pt x="3666" y="3980"/>
                    </a:lnTo>
                    <a:lnTo>
                      <a:pt x="3637" y="3960"/>
                    </a:lnTo>
                    <a:lnTo>
                      <a:pt x="3624" y="3935"/>
                    </a:lnTo>
                    <a:lnTo>
                      <a:pt x="3642" y="3907"/>
                    </a:lnTo>
                    <a:lnTo>
                      <a:pt x="3657" y="3935"/>
                    </a:lnTo>
                    <a:lnTo>
                      <a:pt x="3679" y="3919"/>
                    </a:lnTo>
                    <a:lnTo>
                      <a:pt x="3727" y="3857"/>
                    </a:lnTo>
                    <a:lnTo>
                      <a:pt x="3739" y="3819"/>
                    </a:lnTo>
                    <a:lnTo>
                      <a:pt x="3759" y="3801"/>
                    </a:lnTo>
                    <a:lnTo>
                      <a:pt x="3764" y="3759"/>
                    </a:lnTo>
                    <a:lnTo>
                      <a:pt x="3813" y="3728"/>
                    </a:lnTo>
                    <a:lnTo>
                      <a:pt x="3840" y="3679"/>
                    </a:lnTo>
                    <a:lnTo>
                      <a:pt x="3859" y="3618"/>
                    </a:lnTo>
                    <a:lnTo>
                      <a:pt x="3887" y="3616"/>
                    </a:lnTo>
                    <a:lnTo>
                      <a:pt x="3950" y="3568"/>
                    </a:lnTo>
                    <a:lnTo>
                      <a:pt x="4019" y="3489"/>
                    </a:lnTo>
                    <a:lnTo>
                      <a:pt x="4074" y="3445"/>
                    </a:lnTo>
                    <a:lnTo>
                      <a:pt x="4094" y="3441"/>
                    </a:lnTo>
                    <a:lnTo>
                      <a:pt x="4140" y="3402"/>
                    </a:lnTo>
                    <a:lnTo>
                      <a:pt x="4193" y="3385"/>
                    </a:lnTo>
                    <a:lnTo>
                      <a:pt x="4226" y="3360"/>
                    </a:lnTo>
                    <a:lnTo>
                      <a:pt x="4274" y="3301"/>
                    </a:lnTo>
                    <a:lnTo>
                      <a:pt x="4301" y="3284"/>
                    </a:lnTo>
                    <a:lnTo>
                      <a:pt x="4320" y="3287"/>
                    </a:lnTo>
                    <a:lnTo>
                      <a:pt x="4346" y="3276"/>
                    </a:lnTo>
                    <a:lnTo>
                      <a:pt x="4348" y="3254"/>
                    </a:lnTo>
                    <a:lnTo>
                      <a:pt x="4338" y="3237"/>
                    </a:lnTo>
                    <a:lnTo>
                      <a:pt x="4354" y="3206"/>
                    </a:lnTo>
                    <a:lnTo>
                      <a:pt x="4350" y="3178"/>
                    </a:lnTo>
                    <a:lnTo>
                      <a:pt x="4350" y="3130"/>
                    </a:lnTo>
                    <a:lnTo>
                      <a:pt x="4338" y="3122"/>
                    </a:lnTo>
                    <a:lnTo>
                      <a:pt x="4316" y="3118"/>
                    </a:lnTo>
                    <a:lnTo>
                      <a:pt x="4313" y="3075"/>
                    </a:lnTo>
                    <a:lnTo>
                      <a:pt x="4329" y="3033"/>
                    </a:lnTo>
                    <a:lnTo>
                      <a:pt x="4320" y="3018"/>
                    </a:lnTo>
                    <a:lnTo>
                      <a:pt x="4285" y="3013"/>
                    </a:lnTo>
                    <a:lnTo>
                      <a:pt x="4267" y="2995"/>
                    </a:lnTo>
                    <a:lnTo>
                      <a:pt x="4236" y="2990"/>
                    </a:lnTo>
                    <a:lnTo>
                      <a:pt x="4217" y="2965"/>
                    </a:lnTo>
                    <a:lnTo>
                      <a:pt x="4216" y="2937"/>
                    </a:lnTo>
                    <a:lnTo>
                      <a:pt x="4203" y="2920"/>
                    </a:lnTo>
                    <a:lnTo>
                      <a:pt x="4164" y="2944"/>
                    </a:lnTo>
                    <a:lnTo>
                      <a:pt x="4156" y="2962"/>
                    </a:lnTo>
                    <a:lnTo>
                      <a:pt x="4136" y="2954"/>
                    </a:lnTo>
                    <a:lnTo>
                      <a:pt x="4109" y="2941"/>
                    </a:lnTo>
                    <a:lnTo>
                      <a:pt x="4080" y="2950"/>
                    </a:lnTo>
                    <a:lnTo>
                      <a:pt x="4039" y="2977"/>
                    </a:lnTo>
                    <a:lnTo>
                      <a:pt x="4030" y="3007"/>
                    </a:lnTo>
                    <a:lnTo>
                      <a:pt x="4009" y="3023"/>
                    </a:lnTo>
                    <a:lnTo>
                      <a:pt x="3985" y="3028"/>
                    </a:lnTo>
                    <a:lnTo>
                      <a:pt x="3964" y="3049"/>
                    </a:lnTo>
                    <a:lnTo>
                      <a:pt x="3961" y="3073"/>
                    </a:lnTo>
                    <a:lnTo>
                      <a:pt x="3935" y="3101"/>
                    </a:lnTo>
                    <a:lnTo>
                      <a:pt x="3932" y="3118"/>
                    </a:lnTo>
                    <a:lnTo>
                      <a:pt x="3953" y="3152"/>
                    </a:lnTo>
                    <a:lnTo>
                      <a:pt x="3955" y="3175"/>
                    </a:lnTo>
                    <a:lnTo>
                      <a:pt x="3926" y="3175"/>
                    </a:lnTo>
                    <a:lnTo>
                      <a:pt x="3911" y="3192"/>
                    </a:lnTo>
                    <a:lnTo>
                      <a:pt x="3911" y="3217"/>
                    </a:lnTo>
                    <a:lnTo>
                      <a:pt x="3894" y="3229"/>
                    </a:lnTo>
                    <a:lnTo>
                      <a:pt x="3875" y="3254"/>
                    </a:lnTo>
                    <a:lnTo>
                      <a:pt x="3815" y="3293"/>
                    </a:lnTo>
                    <a:lnTo>
                      <a:pt x="3794" y="3310"/>
                    </a:lnTo>
                    <a:lnTo>
                      <a:pt x="3780" y="3304"/>
                    </a:lnTo>
                    <a:lnTo>
                      <a:pt x="3753" y="3304"/>
                    </a:lnTo>
                    <a:lnTo>
                      <a:pt x="3726" y="3323"/>
                    </a:lnTo>
                    <a:lnTo>
                      <a:pt x="3698" y="3366"/>
                    </a:lnTo>
                    <a:lnTo>
                      <a:pt x="3673" y="3382"/>
                    </a:lnTo>
                    <a:lnTo>
                      <a:pt x="3659" y="3373"/>
                    </a:lnTo>
                    <a:lnTo>
                      <a:pt x="3649" y="3348"/>
                    </a:lnTo>
                    <a:lnTo>
                      <a:pt x="3634" y="3348"/>
                    </a:lnTo>
                    <a:lnTo>
                      <a:pt x="3630" y="3371"/>
                    </a:lnTo>
                    <a:lnTo>
                      <a:pt x="3634" y="3408"/>
                    </a:lnTo>
                    <a:lnTo>
                      <a:pt x="3624" y="3420"/>
                    </a:lnTo>
                    <a:lnTo>
                      <a:pt x="3613" y="3391"/>
                    </a:lnTo>
                    <a:lnTo>
                      <a:pt x="3597" y="3362"/>
                    </a:lnTo>
                    <a:lnTo>
                      <a:pt x="3545" y="3368"/>
                    </a:lnTo>
                    <a:lnTo>
                      <a:pt x="3481" y="3384"/>
                    </a:lnTo>
                    <a:lnTo>
                      <a:pt x="3468" y="3398"/>
                    </a:lnTo>
                    <a:lnTo>
                      <a:pt x="3443" y="3402"/>
                    </a:lnTo>
                    <a:lnTo>
                      <a:pt x="3433" y="3419"/>
                    </a:lnTo>
                    <a:lnTo>
                      <a:pt x="3453" y="3464"/>
                    </a:lnTo>
                    <a:lnTo>
                      <a:pt x="3467" y="3477"/>
                    </a:lnTo>
                    <a:lnTo>
                      <a:pt x="3463" y="3492"/>
                    </a:lnTo>
                    <a:lnTo>
                      <a:pt x="3447" y="3499"/>
                    </a:lnTo>
                    <a:lnTo>
                      <a:pt x="3426" y="3528"/>
                    </a:lnTo>
                    <a:lnTo>
                      <a:pt x="3412" y="3523"/>
                    </a:lnTo>
                    <a:lnTo>
                      <a:pt x="3414" y="3504"/>
                    </a:lnTo>
                    <a:lnTo>
                      <a:pt x="3427" y="3490"/>
                    </a:lnTo>
                    <a:lnTo>
                      <a:pt x="3427" y="3466"/>
                    </a:lnTo>
                    <a:lnTo>
                      <a:pt x="3405" y="3466"/>
                    </a:lnTo>
                    <a:lnTo>
                      <a:pt x="3377" y="3505"/>
                    </a:lnTo>
                    <a:lnTo>
                      <a:pt x="3353" y="3522"/>
                    </a:lnTo>
                    <a:lnTo>
                      <a:pt x="3354" y="3547"/>
                    </a:lnTo>
                    <a:lnTo>
                      <a:pt x="3375" y="3557"/>
                    </a:lnTo>
                    <a:lnTo>
                      <a:pt x="3358" y="3571"/>
                    </a:lnTo>
                    <a:lnTo>
                      <a:pt x="3345" y="3598"/>
                    </a:lnTo>
                    <a:lnTo>
                      <a:pt x="3307" y="3599"/>
                    </a:lnTo>
                    <a:lnTo>
                      <a:pt x="3286" y="3617"/>
                    </a:lnTo>
                    <a:lnTo>
                      <a:pt x="3281" y="3636"/>
                    </a:lnTo>
                    <a:lnTo>
                      <a:pt x="3250" y="3648"/>
                    </a:lnTo>
                    <a:lnTo>
                      <a:pt x="3231" y="3667"/>
                    </a:lnTo>
                    <a:lnTo>
                      <a:pt x="3224" y="3714"/>
                    </a:lnTo>
                    <a:lnTo>
                      <a:pt x="3234" y="3726"/>
                    </a:lnTo>
                    <a:lnTo>
                      <a:pt x="3254" y="3730"/>
                    </a:lnTo>
                    <a:lnTo>
                      <a:pt x="3228" y="3753"/>
                    </a:lnTo>
                    <a:lnTo>
                      <a:pt x="3178" y="3754"/>
                    </a:lnTo>
                    <a:lnTo>
                      <a:pt x="3160" y="3769"/>
                    </a:lnTo>
                    <a:lnTo>
                      <a:pt x="3153" y="3814"/>
                    </a:lnTo>
                    <a:lnTo>
                      <a:pt x="3158" y="3840"/>
                    </a:lnTo>
                    <a:lnTo>
                      <a:pt x="3174" y="3841"/>
                    </a:lnTo>
                    <a:lnTo>
                      <a:pt x="3199" y="3836"/>
                    </a:lnTo>
                    <a:lnTo>
                      <a:pt x="3209" y="3850"/>
                    </a:lnTo>
                    <a:lnTo>
                      <a:pt x="3204" y="3868"/>
                    </a:lnTo>
                    <a:lnTo>
                      <a:pt x="3207" y="3896"/>
                    </a:lnTo>
                    <a:lnTo>
                      <a:pt x="3184" y="3915"/>
                    </a:lnTo>
                    <a:lnTo>
                      <a:pt x="3164" y="3908"/>
                    </a:lnTo>
                    <a:lnTo>
                      <a:pt x="3123" y="3898"/>
                    </a:lnTo>
                    <a:lnTo>
                      <a:pt x="3087" y="3917"/>
                    </a:lnTo>
                    <a:lnTo>
                      <a:pt x="3077" y="3941"/>
                    </a:lnTo>
                    <a:lnTo>
                      <a:pt x="3077" y="3965"/>
                    </a:lnTo>
                    <a:lnTo>
                      <a:pt x="3063" y="3994"/>
                    </a:lnTo>
                    <a:lnTo>
                      <a:pt x="3032" y="4020"/>
                    </a:lnTo>
                    <a:lnTo>
                      <a:pt x="3008" y="4007"/>
                    </a:lnTo>
                    <a:lnTo>
                      <a:pt x="2990" y="3984"/>
                    </a:lnTo>
                    <a:lnTo>
                      <a:pt x="2982" y="3960"/>
                    </a:lnTo>
                    <a:lnTo>
                      <a:pt x="2969" y="3967"/>
                    </a:lnTo>
                    <a:lnTo>
                      <a:pt x="2959" y="4010"/>
                    </a:lnTo>
                    <a:lnTo>
                      <a:pt x="2965" y="4047"/>
                    </a:lnTo>
                    <a:lnTo>
                      <a:pt x="2996" y="4072"/>
                    </a:lnTo>
                    <a:lnTo>
                      <a:pt x="3018" y="4066"/>
                    </a:lnTo>
                    <a:lnTo>
                      <a:pt x="3029" y="4070"/>
                    </a:lnTo>
                    <a:lnTo>
                      <a:pt x="3031" y="4093"/>
                    </a:lnTo>
                    <a:lnTo>
                      <a:pt x="3015" y="4129"/>
                    </a:lnTo>
                    <a:lnTo>
                      <a:pt x="3020" y="4144"/>
                    </a:lnTo>
                    <a:lnTo>
                      <a:pt x="3040" y="4155"/>
                    </a:lnTo>
                    <a:lnTo>
                      <a:pt x="3058" y="4135"/>
                    </a:lnTo>
                    <a:lnTo>
                      <a:pt x="3072" y="4135"/>
                    </a:lnTo>
                    <a:lnTo>
                      <a:pt x="3087" y="4145"/>
                    </a:lnTo>
                    <a:lnTo>
                      <a:pt x="3121" y="4145"/>
                    </a:lnTo>
                    <a:lnTo>
                      <a:pt x="3142" y="4131"/>
                    </a:lnTo>
                    <a:lnTo>
                      <a:pt x="3151" y="4139"/>
                    </a:lnTo>
                    <a:lnTo>
                      <a:pt x="3140" y="4163"/>
                    </a:lnTo>
                    <a:lnTo>
                      <a:pt x="3113" y="4169"/>
                    </a:lnTo>
                    <a:lnTo>
                      <a:pt x="3072" y="4169"/>
                    </a:lnTo>
                    <a:lnTo>
                      <a:pt x="3057" y="4188"/>
                    </a:lnTo>
                    <a:lnTo>
                      <a:pt x="3037" y="4180"/>
                    </a:lnTo>
                    <a:lnTo>
                      <a:pt x="3025" y="4202"/>
                    </a:lnTo>
                    <a:lnTo>
                      <a:pt x="3036" y="4238"/>
                    </a:lnTo>
                    <a:lnTo>
                      <a:pt x="3063" y="4253"/>
                    </a:lnTo>
                    <a:lnTo>
                      <a:pt x="3085" y="4257"/>
                    </a:lnTo>
                    <a:lnTo>
                      <a:pt x="3108" y="4248"/>
                    </a:lnTo>
                    <a:lnTo>
                      <a:pt x="3119" y="4259"/>
                    </a:lnTo>
                    <a:lnTo>
                      <a:pt x="3110" y="4272"/>
                    </a:lnTo>
                    <a:lnTo>
                      <a:pt x="3072" y="4288"/>
                    </a:lnTo>
                    <a:lnTo>
                      <a:pt x="3032" y="4287"/>
                    </a:lnTo>
                    <a:lnTo>
                      <a:pt x="3013" y="4301"/>
                    </a:lnTo>
                    <a:lnTo>
                      <a:pt x="3010" y="4320"/>
                    </a:lnTo>
                    <a:lnTo>
                      <a:pt x="3026" y="4331"/>
                    </a:lnTo>
                    <a:lnTo>
                      <a:pt x="3056" y="4327"/>
                    </a:lnTo>
                    <a:lnTo>
                      <a:pt x="3090" y="4330"/>
                    </a:lnTo>
                    <a:lnTo>
                      <a:pt x="3090" y="4341"/>
                    </a:lnTo>
                    <a:lnTo>
                      <a:pt x="3068" y="4350"/>
                    </a:lnTo>
                    <a:lnTo>
                      <a:pt x="3034" y="4355"/>
                    </a:lnTo>
                    <a:lnTo>
                      <a:pt x="3036" y="4373"/>
                    </a:lnTo>
                    <a:lnTo>
                      <a:pt x="3048" y="4380"/>
                    </a:lnTo>
                    <a:lnTo>
                      <a:pt x="3090" y="4386"/>
                    </a:lnTo>
                    <a:lnTo>
                      <a:pt x="3137" y="4415"/>
                    </a:lnTo>
                    <a:lnTo>
                      <a:pt x="3164" y="4427"/>
                    </a:lnTo>
                    <a:lnTo>
                      <a:pt x="3164" y="4436"/>
                    </a:lnTo>
                    <a:lnTo>
                      <a:pt x="3167" y="4458"/>
                    </a:lnTo>
                    <a:lnTo>
                      <a:pt x="3144" y="4432"/>
                    </a:lnTo>
                    <a:lnTo>
                      <a:pt x="3110" y="4418"/>
                    </a:lnTo>
                    <a:lnTo>
                      <a:pt x="3081" y="4415"/>
                    </a:lnTo>
                    <a:lnTo>
                      <a:pt x="3053" y="4398"/>
                    </a:lnTo>
                    <a:lnTo>
                      <a:pt x="3023" y="4397"/>
                    </a:lnTo>
                    <a:lnTo>
                      <a:pt x="3002" y="4416"/>
                    </a:lnTo>
                    <a:lnTo>
                      <a:pt x="2997" y="4439"/>
                    </a:lnTo>
                    <a:lnTo>
                      <a:pt x="2984" y="4451"/>
                    </a:lnTo>
                    <a:lnTo>
                      <a:pt x="2985" y="4470"/>
                    </a:lnTo>
                    <a:lnTo>
                      <a:pt x="2997" y="4484"/>
                    </a:lnTo>
                    <a:lnTo>
                      <a:pt x="2993" y="4500"/>
                    </a:lnTo>
                    <a:lnTo>
                      <a:pt x="2977" y="4506"/>
                    </a:lnTo>
                    <a:lnTo>
                      <a:pt x="2961" y="4503"/>
                    </a:lnTo>
                    <a:lnTo>
                      <a:pt x="2942" y="4527"/>
                    </a:lnTo>
                    <a:lnTo>
                      <a:pt x="2932" y="4555"/>
                    </a:lnTo>
                    <a:lnTo>
                      <a:pt x="2937" y="4568"/>
                    </a:lnTo>
                    <a:lnTo>
                      <a:pt x="2927" y="4581"/>
                    </a:lnTo>
                    <a:lnTo>
                      <a:pt x="2899" y="4588"/>
                    </a:lnTo>
                    <a:lnTo>
                      <a:pt x="2898" y="4599"/>
                    </a:lnTo>
                    <a:lnTo>
                      <a:pt x="2935" y="4636"/>
                    </a:lnTo>
                    <a:lnTo>
                      <a:pt x="2965" y="4653"/>
                    </a:lnTo>
                    <a:lnTo>
                      <a:pt x="2980" y="4644"/>
                    </a:lnTo>
                    <a:lnTo>
                      <a:pt x="2988" y="4624"/>
                    </a:lnTo>
                    <a:lnTo>
                      <a:pt x="3012" y="4611"/>
                    </a:lnTo>
                    <a:lnTo>
                      <a:pt x="3056" y="4576"/>
                    </a:lnTo>
                    <a:lnTo>
                      <a:pt x="3090" y="4563"/>
                    </a:lnTo>
                    <a:lnTo>
                      <a:pt x="3125" y="4568"/>
                    </a:lnTo>
                    <a:lnTo>
                      <a:pt x="3141" y="4582"/>
                    </a:lnTo>
                    <a:lnTo>
                      <a:pt x="3140" y="4599"/>
                    </a:lnTo>
                    <a:lnTo>
                      <a:pt x="3125" y="4600"/>
                    </a:lnTo>
                    <a:lnTo>
                      <a:pt x="3104" y="4583"/>
                    </a:lnTo>
                    <a:lnTo>
                      <a:pt x="3085" y="4583"/>
                    </a:lnTo>
                    <a:lnTo>
                      <a:pt x="3073" y="4603"/>
                    </a:lnTo>
                    <a:lnTo>
                      <a:pt x="3028" y="4630"/>
                    </a:lnTo>
                    <a:lnTo>
                      <a:pt x="3009" y="4658"/>
                    </a:lnTo>
                    <a:lnTo>
                      <a:pt x="3002" y="4688"/>
                    </a:lnTo>
                    <a:lnTo>
                      <a:pt x="3012" y="4717"/>
                    </a:lnTo>
                    <a:lnTo>
                      <a:pt x="3004" y="4730"/>
                    </a:lnTo>
                    <a:lnTo>
                      <a:pt x="3004" y="4730"/>
                    </a:lnTo>
                    <a:lnTo>
                      <a:pt x="3003" y="4738"/>
                    </a:lnTo>
                    <a:lnTo>
                      <a:pt x="3002" y="4744"/>
                    </a:lnTo>
                    <a:lnTo>
                      <a:pt x="3001" y="4746"/>
                    </a:lnTo>
                    <a:lnTo>
                      <a:pt x="3001" y="4746"/>
                    </a:lnTo>
                    <a:close/>
                    <a:moveTo>
                      <a:pt x="3156" y="5673"/>
                    </a:moveTo>
                    <a:lnTo>
                      <a:pt x="3169" y="5679"/>
                    </a:lnTo>
                    <a:lnTo>
                      <a:pt x="3172" y="5659"/>
                    </a:lnTo>
                    <a:lnTo>
                      <a:pt x="3156" y="5638"/>
                    </a:lnTo>
                    <a:lnTo>
                      <a:pt x="3172" y="5611"/>
                    </a:lnTo>
                    <a:lnTo>
                      <a:pt x="3161" y="5585"/>
                    </a:lnTo>
                    <a:lnTo>
                      <a:pt x="3123" y="5573"/>
                    </a:lnTo>
                    <a:lnTo>
                      <a:pt x="3115" y="5550"/>
                    </a:lnTo>
                    <a:lnTo>
                      <a:pt x="3093" y="5538"/>
                    </a:lnTo>
                    <a:lnTo>
                      <a:pt x="3054" y="5542"/>
                    </a:lnTo>
                    <a:lnTo>
                      <a:pt x="3030" y="5565"/>
                    </a:lnTo>
                    <a:lnTo>
                      <a:pt x="3035" y="5583"/>
                    </a:lnTo>
                    <a:lnTo>
                      <a:pt x="3058" y="5596"/>
                    </a:lnTo>
                    <a:lnTo>
                      <a:pt x="3075" y="5589"/>
                    </a:lnTo>
                    <a:lnTo>
                      <a:pt x="3100" y="5600"/>
                    </a:lnTo>
                    <a:lnTo>
                      <a:pt x="3103" y="5630"/>
                    </a:lnTo>
                    <a:lnTo>
                      <a:pt x="3131" y="5637"/>
                    </a:lnTo>
                    <a:lnTo>
                      <a:pt x="3156" y="5673"/>
                    </a:lnTo>
                    <a:lnTo>
                      <a:pt x="3156" y="5673"/>
                    </a:lnTo>
                    <a:close/>
                    <a:moveTo>
                      <a:pt x="3770" y="5669"/>
                    </a:moveTo>
                    <a:lnTo>
                      <a:pt x="3732" y="5642"/>
                    </a:lnTo>
                    <a:lnTo>
                      <a:pt x="3712" y="5651"/>
                    </a:lnTo>
                    <a:lnTo>
                      <a:pt x="3686" y="5644"/>
                    </a:lnTo>
                    <a:lnTo>
                      <a:pt x="3661" y="5600"/>
                    </a:lnTo>
                    <a:lnTo>
                      <a:pt x="3626" y="5600"/>
                    </a:lnTo>
                    <a:lnTo>
                      <a:pt x="3570" y="5555"/>
                    </a:lnTo>
                    <a:lnTo>
                      <a:pt x="3550" y="5521"/>
                    </a:lnTo>
                    <a:lnTo>
                      <a:pt x="3513" y="5521"/>
                    </a:lnTo>
                    <a:lnTo>
                      <a:pt x="3471" y="5446"/>
                    </a:lnTo>
                    <a:lnTo>
                      <a:pt x="3411" y="5375"/>
                    </a:lnTo>
                    <a:lnTo>
                      <a:pt x="3389" y="5301"/>
                    </a:lnTo>
                    <a:lnTo>
                      <a:pt x="3357" y="5246"/>
                    </a:lnTo>
                    <a:lnTo>
                      <a:pt x="3355" y="5162"/>
                    </a:lnTo>
                    <a:lnTo>
                      <a:pt x="3330" y="5112"/>
                    </a:lnTo>
                    <a:lnTo>
                      <a:pt x="3315" y="5019"/>
                    </a:lnTo>
                    <a:lnTo>
                      <a:pt x="3308" y="4996"/>
                    </a:lnTo>
                    <a:lnTo>
                      <a:pt x="3323" y="4968"/>
                    </a:lnTo>
                    <a:lnTo>
                      <a:pt x="3320" y="4947"/>
                    </a:lnTo>
                    <a:lnTo>
                      <a:pt x="3290" y="4940"/>
                    </a:lnTo>
                    <a:lnTo>
                      <a:pt x="3264" y="4952"/>
                    </a:lnTo>
                    <a:lnTo>
                      <a:pt x="3243" y="4937"/>
                    </a:lnTo>
                    <a:lnTo>
                      <a:pt x="3251" y="4925"/>
                    </a:lnTo>
                    <a:lnTo>
                      <a:pt x="3297" y="4928"/>
                    </a:lnTo>
                    <a:lnTo>
                      <a:pt x="3335" y="4906"/>
                    </a:lnTo>
                    <a:lnTo>
                      <a:pt x="3342" y="4840"/>
                    </a:lnTo>
                    <a:lnTo>
                      <a:pt x="3334" y="4810"/>
                    </a:lnTo>
                    <a:lnTo>
                      <a:pt x="3305" y="4816"/>
                    </a:lnTo>
                    <a:lnTo>
                      <a:pt x="3274" y="4826"/>
                    </a:lnTo>
                    <a:lnTo>
                      <a:pt x="3286" y="4810"/>
                    </a:lnTo>
                    <a:lnTo>
                      <a:pt x="3332" y="4793"/>
                    </a:lnTo>
                    <a:lnTo>
                      <a:pt x="3341" y="4773"/>
                    </a:lnTo>
                    <a:lnTo>
                      <a:pt x="3327" y="4759"/>
                    </a:lnTo>
                    <a:lnTo>
                      <a:pt x="3264" y="4759"/>
                    </a:lnTo>
                    <a:lnTo>
                      <a:pt x="3181" y="4746"/>
                    </a:lnTo>
                    <a:lnTo>
                      <a:pt x="3149" y="4725"/>
                    </a:lnTo>
                    <a:lnTo>
                      <a:pt x="3123" y="4725"/>
                    </a:lnTo>
                    <a:lnTo>
                      <a:pt x="3062" y="4765"/>
                    </a:lnTo>
                    <a:lnTo>
                      <a:pt x="3004" y="4765"/>
                    </a:lnTo>
                    <a:lnTo>
                      <a:pt x="2983" y="4782"/>
                    </a:lnTo>
                    <a:lnTo>
                      <a:pt x="2939" y="4814"/>
                    </a:lnTo>
                    <a:lnTo>
                      <a:pt x="2935" y="4852"/>
                    </a:lnTo>
                    <a:lnTo>
                      <a:pt x="2924" y="4875"/>
                    </a:lnTo>
                    <a:lnTo>
                      <a:pt x="2933" y="4908"/>
                    </a:lnTo>
                    <a:lnTo>
                      <a:pt x="2962" y="4912"/>
                    </a:lnTo>
                    <a:lnTo>
                      <a:pt x="2975" y="4924"/>
                    </a:lnTo>
                    <a:lnTo>
                      <a:pt x="2967" y="4943"/>
                    </a:lnTo>
                    <a:lnTo>
                      <a:pt x="2937" y="4941"/>
                    </a:lnTo>
                    <a:lnTo>
                      <a:pt x="2901" y="4952"/>
                    </a:lnTo>
                    <a:lnTo>
                      <a:pt x="2872" y="5001"/>
                    </a:lnTo>
                    <a:lnTo>
                      <a:pt x="2870" y="5039"/>
                    </a:lnTo>
                    <a:lnTo>
                      <a:pt x="2885" y="5058"/>
                    </a:lnTo>
                    <a:lnTo>
                      <a:pt x="2913" y="5050"/>
                    </a:lnTo>
                    <a:lnTo>
                      <a:pt x="2956" y="5026"/>
                    </a:lnTo>
                    <a:lnTo>
                      <a:pt x="2963" y="5041"/>
                    </a:lnTo>
                    <a:lnTo>
                      <a:pt x="2933" y="5068"/>
                    </a:lnTo>
                    <a:lnTo>
                      <a:pt x="2926" y="5097"/>
                    </a:lnTo>
                    <a:lnTo>
                      <a:pt x="2945" y="5097"/>
                    </a:lnTo>
                    <a:lnTo>
                      <a:pt x="2967" y="5069"/>
                    </a:lnTo>
                    <a:lnTo>
                      <a:pt x="2989" y="5063"/>
                    </a:lnTo>
                    <a:lnTo>
                      <a:pt x="2996" y="5078"/>
                    </a:lnTo>
                    <a:lnTo>
                      <a:pt x="2970" y="5103"/>
                    </a:lnTo>
                    <a:lnTo>
                      <a:pt x="2963" y="5127"/>
                    </a:lnTo>
                    <a:lnTo>
                      <a:pt x="2988" y="5155"/>
                    </a:lnTo>
                    <a:lnTo>
                      <a:pt x="3023" y="5155"/>
                    </a:lnTo>
                    <a:lnTo>
                      <a:pt x="3002" y="5166"/>
                    </a:lnTo>
                    <a:lnTo>
                      <a:pt x="2980" y="5167"/>
                    </a:lnTo>
                    <a:lnTo>
                      <a:pt x="2957" y="5187"/>
                    </a:lnTo>
                    <a:lnTo>
                      <a:pt x="2958" y="5211"/>
                    </a:lnTo>
                    <a:lnTo>
                      <a:pt x="2977" y="5246"/>
                    </a:lnTo>
                    <a:lnTo>
                      <a:pt x="2962" y="5258"/>
                    </a:lnTo>
                    <a:lnTo>
                      <a:pt x="2945" y="5249"/>
                    </a:lnTo>
                    <a:lnTo>
                      <a:pt x="2914" y="5258"/>
                    </a:lnTo>
                    <a:lnTo>
                      <a:pt x="2889" y="5245"/>
                    </a:lnTo>
                    <a:lnTo>
                      <a:pt x="2867" y="5247"/>
                    </a:lnTo>
                    <a:lnTo>
                      <a:pt x="2838" y="5284"/>
                    </a:lnTo>
                    <a:lnTo>
                      <a:pt x="2839" y="5318"/>
                    </a:lnTo>
                    <a:lnTo>
                      <a:pt x="2848" y="5362"/>
                    </a:lnTo>
                    <a:lnTo>
                      <a:pt x="2841" y="5400"/>
                    </a:lnTo>
                    <a:lnTo>
                      <a:pt x="2850" y="5431"/>
                    </a:lnTo>
                    <a:lnTo>
                      <a:pt x="2896" y="5469"/>
                    </a:lnTo>
                    <a:lnTo>
                      <a:pt x="2897" y="5490"/>
                    </a:lnTo>
                    <a:lnTo>
                      <a:pt x="2943" y="5526"/>
                    </a:lnTo>
                    <a:lnTo>
                      <a:pt x="2974" y="5538"/>
                    </a:lnTo>
                    <a:lnTo>
                      <a:pt x="2990" y="5528"/>
                    </a:lnTo>
                    <a:lnTo>
                      <a:pt x="3018" y="5521"/>
                    </a:lnTo>
                    <a:lnTo>
                      <a:pt x="3046" y="5477"/>
                    </a:lnTo>
                    <a:lnTo>
                      <a:pt x="3035" y="5432"/>
                    </a:lnTo>
                    <a:lnTo>
                      <a:pt x="3042" y="5399"/>
                    </a:lnTo>
                    <a:lnTo>
                      <a:pt x="3063" y="5367"/>
                    </a:lnTo>
                    <a:lnTo>
                      <a:pt x="3048" y="5407"/>
                    </a:lnTo>
                    <a:lnTo>
                      <a:pt x="3046" y="5432"/>
                    </a:lnTo>
                    <a:lnTo>
                      <a:pt x="3061" y="5456"/>
                    </a:lnTo>
                    <a:lnTo>
                      <a:pt x="3073" y="5500"/>
                    </a:lnTo>
                    <a:lnTo>
                      <a:pt x="3094" y="5506"/>
                    </a:lnTo>
                    <a:lnTo>
                      <a:pt x="3116" y="5490"/>
                    </a:lnTo>
                    <a:lnTo>
                      <a:pt x="3116" y="5466"/>
                    </a:lnTo>
                    <a:lnTo>
                      <a:pt x="3135" y="5432"/>
                    </a:lnTo>
                    <a:lnTo>
                      <a:pt x="3143" y="5450"/>
                    </a:lnTo>
                    <a:lnTo>
                      <a:pt x="3138" y="5464"/>
                    </a:lnTo>
                    <a:lnTo>
                      <a:pt x="3140" y="5495"/>
                    </a:lnTo>
                    <a:lnTo>
                      <a:pt x="3173" y="5546"/>
                    </a:lnTo>
                    <a:lnTo>
                      <a:pt x="3212" y="5570"/>
                    </a:lnTo>
                    <a:lnTo>
                      <a:pt x="3240" y="5569"/>
                    </a:lnTo>
                    <a:lnTo>
                      <a:pt x="3262" y="5552"/>
                    </a:lnTo>
                    <a:lnTo>
                      <a:pt x="3279" y="5562"/>
                    </a:lnTo>
                    <a:lnTo>
                      <a:pt x="3271" y="5575"/>
                    </a:lnTo>
                    <a:lnTo>
                      <a:pt x="3252" y="5575"/>
                    </a:lnTo>
                    <a:lnTo>
                      <a:pt x="3241" y="5596"/>
                    </a:lnTo>
                    <a:lnTo>
                      <a:pt x="3217" y="5611"/>
                    </a:lnTo>
                    <a:lnTo>
                      <a:pt x="3211" y="5630"/>
                    </a:lnTo>
                    <a:lnTo>
                      <a:pt x="3242" y="5657"/>
                    </a:lnTo>
                    <a:lnTo>
                      <a:pt x="3245" y="5682"/>
                    </a:lnTo>
                    <a:lnTo>
                      <a:pt x="3224" y="5684"/>
                    </a:lnTo>
                    <a:lnTo>
                      <a:pt x="3205" y="5678"/>
                    </a:lnTo>
                    <a:lnTo>
                      <a:pt x="3206" y="5698"/>
                    </a:lnTo>
                    <a:lnTo>
                      <a:pt x="3224" y="5717"/>
                    </a:lnTo>
                    <a:lnTo>
                      <a:pt x="3275" y="5722"/>
                    </a:lnTo>
                    <a:lnTo>
                      <a:pt x="3310" y="5737"/>
                    </a:lnTo>
                    <a:lnTo>
                      <a:pt x="3345" y="5729"/>
                    </a:lnTo>
                    <a:lnTo>
                      <a:pt x="3388" y="5747"/>
                    </a:lnTo>
                    <a:lnTo>
                      <a:pt x="3385" y="5716"/>
                    </a:lnTo>
                    <a:lnTo>
                      <a:pt x="3404" y="5722"/>
                    </a:lnTo>
                    <a:lnTo>
                      <a:pt x="3416" y="5743"/>
                    </a:lnTo>
                    <a:lnTo>
                      <a:pt x="3429" y="5790"/>
                    </a:lnTo>
                    <a:lnTo>
                      <a:pt x="3456" y="5811"/>
                    </a:lnTo>
                    <a:lnTo>
                      <a:pt x="3478" y="5809"/>
                    </a:lnTo>
                    <a:lnTo>
                      <a:pt x="3502" y="5782"/>
                    </a:lnTo>
                    <a:lnTo>
                      <a:pt x="3495" y="5747"/>
                    </a:lnTo>
                    <a:lnTo>
                      <a:pt x="3450" y="5727"/>
                    </a:lnTo>
                    <a:lnTo>
                      <a:pt x="3435" y="5717"/>
                    </a:lnTo>
                    <a:lnTo>
                      <a:pt x="3449" y="5709"/>
                    </a:lnTo>
                    <a:lnTo>
                      <a:pt x="3474" y="5714"/>
                    </a:lnTo>
                    <a:lnTo>
                      <a:pt x="3508" y="5734"/>
                    </a:lnTo>
                    <a:lnTo>
                      <a:pt x="3522" y="5759"/>
                    </a:lnTo>
                    <a:lnTo>
                      <a:pt x="3538" y="5793"/>
                    </a:lnTo>
                    <a:lnTo>
                      <a:pt x="3550" y="5792"/>
                    </a:lnTo>
                    <a:lnTo>
                      <a:pt x="3558" y="5762"/>
                    </a:lnTo>
                    <a:lnTo>
                      <a:pt x="3572" y="5757"/>
                    </a:lnTo>
                    <a:lnTo>
                      <a:pt x="3591" y="5785"/>
                    </a:lnTo>
                    <a:lnTo>
                      <a:pt x="3629" y="5803"/>
                    </a:lnTo>
                    <a:lnTo>
                      <a:pt x="3654" y="5800"/>
                    </a:lnTo>
                    <a:lnTo>
                      <a:pt x="3654" y="5780"/>
                    </a:lnTo>
                    <a:lnTo>
                      <a:pt x="3625" y="5756"/>
                    </a:lnTo>
                    <a:lnTo>
                      <a:pt x="3625" y="5743"/>
                    </a:lnTo>
                    <a:lnTo>
                      <a:pt x="3640" y="5736"/>
                    </a:lnTo>
                    <a:lnTo>
                      <a:pt x="3673" y="5755"/>
                    </a:lnTo>
                    <a:lnTo>
                      <a:pt x="3687" y="5770"/>
                    </a:lnTo>
                    <a:lnTo>
                      <a:pt x="3697" y="5771"/>
                    </a:lnTo>
                    <a:lnTo>
                      <a:pt x="3707" y="5803"/>
                    </a:lnTo>
                    <a:lnTo>
                      <a:pt x="3728" y="5818"/>
                    </a:lnTo>
                    <a:lnTo>
                      <a:pt x="3743" y="5809"/>
                    </a:lnTo>
                    <a:lnTo>
                      <a:pt x="3749" y="5782"/>
                    </a:lnTo>
                    <a:lnTo>
                      <a:pt x="3736" y="5756"/>
                    </a:lnTo>
                    <a:lnTo>
                      <a:pt x="3716" y="5755"/>
                    </a:lnTo>
                    <a:lnTo>
                      <a:pt x="3698" y="5740"/>
                    </a:lnTo>
                    <a:lnTo>
                      <a:pt x="3704" y="5729"/>
                    </a:lnTo>
                    <a:lnTo>
                      <a:pt x="3721" y="5736"/>
                    </a:lnTo>
                    <a:lnTo>
                      <a:pt x="3740" y="5736"/>
                    </a:lnTo>
                    <a:lnTo>
                      <a:pt x="3762" y="5709"/>
                    </a:lnTo>
                    <a:lnTo>
                      <a:pt x="3771" y="5687"/>
                    </a:lnTo>
                    <a:lnTo>
                      <a:pt x="3770" y="5669"/>
                    </a:lnTo>
                    <a:lnTo>
                      <a:pt x="3770" y="5669"/>
                    </a:lnTo>
                    <a:close/>
                    <a:moveTo>
                      <a:pt x="1197" y="7810"/>
                    </a:moveTo>
                    <a:lnTo>
                      <a:pt x="1181" y="7781"/>
                    </a:lnTo>
                    <a:lnTo>
                      <a:pt x="1193" y="7767"/>
                    </a:lnTo>
                    <a:lnTo>
                      <a:pt x="1189" y="7746"/>
                    </a:lnTo>
                    <a:lnTo>
                      <a:pt x="1166" y="7742"/>
                    </a:lnTo>
                    <a:lnTo>
                      <a:pt x="1145" y="7765"/>
                    </a:lnTo>
                    <a:lnTo>
                      <a:pt x="1146" y="7788"/>
                    </a:lnTo>
                    <a:lnTo>
                      <a:pt x="1171" y="7812"/>
                    </a:lnTo>
                    <a:lnTo>
                      <a:pt x="1179" y="7826"/>
                    </a:lnTo>
                    <a:lnTo>
                      <a:pt x="1193" y="7826"/>
                    </a:lnTo>
                    <a:lnTo>
                      <a:pt x="1197" y="7810"/>
                    </a:lnTo>
                    <a:lnTo>
                      <a:pt x="1197" y="7810"/>
                    </a:lnTo>
                    <a:close/>
                    <a:moveTo>
                      <a:pt x="2084" y="7246"/>
                    </a:moveTo>
                    <a:lnTo>
                      <a:pt x="2100" y="7244"/>
                    </a:lnTo>
                    <a:lnTo>
                      <a:pt x="2098" y="7226"/>
                    </a:lnTo>
                    <a:lnTo>
                      <a:pt x="2080" y="7204"/>
                    </a:lnTo>
                    <a:lnTo>
                      <a:pt x="2062" y="7207"/>
                    </a:lnTo>
                    <a:lnTo>
                      <a:pt x="2061" y="7226"/>
                    </a:lnTo>
                    <a:lnTo>
                      <a:pt x="2084" y="7246"/>
                    </a:lnTo>
                    <a:lnTo>
                      <a:pt x="2084" y="7246"/>
                    </a:lnTo>
                    <a:close/>
                    <a:moveTo>
                      <a:pt x="2772" y="6504"/>
                    </a:moveTo>
                    <a:lnTo>
                      <a:pt x="2808" y="6501"/>
                    </a:lnTo>
                    <a:lnTo>
                      <a:pt x="2853" y="6463"/>
                    </a:lnTo>
                    <a:lnTo>
                      <a:pt x="2884" y="6425"/>
                    </a:lnTo>
                    <a:lnTo>
                      <a:pt x="2884" y="6365"/>
                    </a:lnTo>
                    <a:lnTo>
                      <a:pt x="2906" y="6344"/>
                    </a:lnTo>
                    <a:lnTo>
                      <a:pt x="2918" y="6373"/>
                    </a:lnTo>
                    <a:lnTo>
                      <a:pt x="2908" y="6420"/>
                    </a:lnTo>
                    <a:lnTo>
                      <a:pt x="2933" y="6377"/>
                    </a:lnTo>
                    <a:lnTo>
                      <a:pt x="2933" y="6338"/>
                    </a:lnTo>
                    <a:lnTo>
                      <a:pt x="2901" y="6301"/>
                    </a:lnTo>
                    <a:lnTo>
                      <a:pt x="2777" y="6248"/>
                    </a:lnTo>
                    <a:lnTo>
                      <a:pt x="2721" y="6239"/>
                    </a:lnTo>
                    <a:lnTo>
                      <a:pt x="2685" y="6261"/>
                    </a:lnTo>
                    <a:lnTo>
                      <a:pt x="2663" y="6332"/>
                    </a:lnTo>
                    <a:lnTo>
                      <a:pt x="2662" y="6416"/>
                    </a:lnTo>
                    <a:lnTo>
                      <a:pt x="2684" y="6455"/>
                    </a:lnTo>
                    <a:lnTo>
                      <a:pt x="2693" y="6498"/>
                    </a:lnTo>
                    <a:lnTo>
                      <a:pt x="2704" y="6489"/>
                    </a:lnTo>
                    <a:lnTo>
                      <a:pt x="2730" y="6504"/>
                    </a:lnTo>
                    <a:lnTo>
                      <a:pt x="2721" y="6527"/>
                    </a:lnTo>
                    <a:lnTo>
                      <a:pt x="2747" y="6527"/>
                    </a:lnTo>
                    <a:lnTo>
                      <a:pt x="2772" y="6504"/>
                    </a:lnTo>
                    <a:lnTo>
                      <a:pt x="2772" y="6504"/>
                    </a:lnTo>
                    <a:close/>
                    <a:moveTo>
                      <a:pt x="3079" y="6568"/>
                    </a:moveTo>
                    <a:lnTo>
                      <a:pt x="3091" y="6568"/>
                    </a:lnTo>
                    <a:lnTo>
                      <a:pt x="3100" y="6558"/>
                    </a:lnTo>
                    <a:lnTo>
                      <a:pt x="3138" y="6549"/>
                    </a:lnTo>
                    <a:lnTo>
                      <a:pt x="3157" y="6537"/>
                    </a:lnTo>
                    <a:lnTo>
                      <a:pt x="3113" y="6533"/>
                    </a:lnTo>
                    <a:lnTo>
                      <a:pt x="3082" y="6549"/>
                    </a:lnTo>
                    <a:lnTo>
                      <a:pt x="3079" y="6568"/>
                    </a:lnTo>
                    <a:lnTo>
                      <a:pt x="3079" y="6568"/>
                    </a:lnTo>
                    <a:close/>
                    <a:moveTo>
                      <a:pt x="3573" y="6558"/>
                    </a:moveTo>
                    <a:lnTo>
                      <a:pt x="3584" y="6571"/>
                    </a:lnTo>
                    <a:lnTo>
                      <a:pt x="3609" y="6538"/>
                    </a:lnTo>
                    <a:lnTo>
                      <a:pt x="3607" y="6514"/>
                    </a:lnTo>
                    <a:lnTo>
                      <a:pt x="3585" y="6519"/>
                    </a:lnTo>
                    <a:lnTo>
                      <a:pt x="3572" y="6540"/>
                    </a:lnTo>
                    <a:lnTo>
                      <a:pt x="3573" y="6558"/>
                    </a:lnTo>
                    <a:lnTo>
                      <a:pt x="3573" y="6558"/>
                    </a:lnTo>
                    <a:close/>
                    <a:moveTo>
                      <a:pt x="3507" y="6565"/>
                    </a:moveTo>
                    <a:lnTo>
                      <a:pt x="3532" y="6568"/>
                    </a:lnTo>
                    <a:lnTo>
                      <a:pt x="3547" y="6547"/>
                    </a:lnTo>
                    <a:lnTo>
                      <a:pt x="3536" y="6531"/>
                    </a:lnTo>
                    <a:lnTo>
                      <a:pt x="3518" y="6537"/>
                    </a:lnTo>
                    <a:lnTo>
                      <a:pt x="3507" y="6565"/>
                    </a:lnTo>
                    <a:lnTo>
                      <a:pt x="3507" y="6565"/>
                    </a:lnTo>
                    <a:close/>
                    <a:moveTo>
                      <a:pt x="3915" y="6392"/>
                    </a:moveTo>
                    <a:lnTo>
                      <a:pt x="3929" y="6396"/>
                    </a:lnTo>
                    <a:lnTo>
                      <a:pt x="3948" y="6382"/>
                    </a:lnTo>
                    <a:lnTo>
                      <a:pt x="3995" y="6367"/>
                    </a:lnTo>
                    <a:lnTo>
                      <a:pt x="4008" y="6350"/>
                    </a:lnTo>
                    <a:lnTo>
                      <a:pt x="3977" y="6341"/>
                    </a:lnTo>
                    <a:lnTo>
                      <a:pt x="3932" y="6364"/>
                    </a:lnTo>
                    <a:lnTo>
                      <a:pt x="3915" y="6392"/>
                    </a:lnTo>
                    <a:lnTo>
                      <a:pt x="3915" y="6392"/>
                    </a:lnTo>
                    <a:close/>
                    <a:moveTo>
                      <a:pt x="3751" y="6356"/>
                    </a:moveTo>
                    <a:lnTo>
                      <a:pt x="3765" y="6376"/>
                    </a:lnTo>
                    <a:lnTo>
                      <a:pt x="3786" y="6376"/>
                    </a:lnTo>
                    <a:lnTo>
                      <a:pt x="3792" y="6358"/>
                    </a:lnTo>
                    <a:lnTo>
                      <a:pt x="3766" y="6346"/>
                    </a:lnTo>
                    <a:lnTo>
                      <a:pt x="3751" y="6356"/>
                    </a:lnTo>
                    <a:lnTo>
                      <a:pt x="3751" y="6356"/>
                    </a:lnTo>
                    <a:close/>
                    <a:moveTo>
                      <a:pt x="3647" y="6349"/>
                    </a:moveTo>
                    <a:lnTo>
                      <a:pt x="3669" y="6356"/>
                    </a:lnTo>
                    <a:lnTo>
                      <a:pt x="3685" y="6372"/>
                    </a:lnTo>
                    <a:lnTo>
                      <a:pt x="3716" y="6379"/>
                    </a:lnTo>
                    <a:lnTo>
                      <a:pt x="3702" y="6346"/>
                    </a:lnTo>
                    <a:lnTo>
                      <a:pt x="3671" y="6333"/>
                    </a:lnTo>
                    <a:lnTo>
                      <a:pt x="3647" y="6349"/>
                    </a:lnTo>
                    <a:lnTo>
                      <a:pt x="3647" y="6349"/>
                    </a:lnTo>
                    <a:close/>
                    <a:moveTo>
                      <a:pt x="3594" y="6352"/>
                    </a:moveTo>
                    <a:lnTo>
                      <a:pt x="3599" y="6361"/>
                    </a:lnTo>
                    <a:lnTo>
                      <a:pt x="3620" y="6362"/>
                    </a:lnTo>
                    <a:lnTo>
                      <a:pt x="3634" y="6344"/>
                    </a:lnTo>
                    <a:lnTo>
                      <a:pt x="3618" y="6338"/>
                    </a:lnTo>
                    <a:lnTo>
                      <a:pt x="3594" y="6352"/>
                    </a:lnTo>
                    <a:lnTo>
                      <a:pt x="3594" y="6352"/>
                    </a:lnTo>
                    <a:close/>
                    <a:moveTo>
                      <a:pt x="7254" y="5239"/>
                    </a:moveTo>
                    <a:lnTo>
                      <a:pt x="7255" y="5277"/>
                    </a:lnTo>
                    <a:lnTo>
                      <a:pt x="7271" y="5297"/>
                    </a:lnTo>
                    <a:lnTo>
                      <a:pt x="7278" y="5265"/>
                    </a:lnTo>
                    <a:lnTo>
                      <a:pt x="7267" y="5241"/>
                    </a:lnTo>
                    <a:lnTo>
                      <a:pt x="7254" y="5239"/>
                    </a:lnTo>
                    <a:lnTo>
                      <a:pt x="7254" y="5239"/>
                    </a:lnTo>
                    <a:close/>
                    <a:moveTo>
                      <a:pt x="7187" y="5136"/>
                    </a:moveTo>
                    <a:lnTo>
                      <a:pt x="7187" y="5196"/>
                    </a:lnTo>
                    <a:lnTo>
                      <a:pt x="7203" y="5233"/>
                    </a:lnTo>
                    <a:lnTo>
                      <a:pt x="7199" y="5288"/>
                    </a:lnTo>
                    <a:lnTo>
                      <a:pt x="7210" y="5301"/>
                    </a:lnTo>
                    <a:lnTo>
                      <a:pt x="7229" y="5270"/>
                    </a:lnTo>
                    <a:lnTo>
                      <a:pt x="7221" y="5177"/>
                    </a:lnTo>
                    <a:lnTo>
                      <a:pt x="7198" y="5134"/>
                    </a:lnTo>
                    <a:lnTo>
                      <a:pt x="7187" y="5136"/>
                    </a:lnTo>
                    <a:lnTo>
                      <a:pt x="7187" y="5136"/>
                    </a:lnTo>
                    <a:close/>
                    <a:moveTo>
                      <a:pt x="7140" y="5070"/>
                    </a:moveTo>
                    <a:lnTo>
                      <a:pt x="7156" y="5106"/>
                    </a:lnTo>
                    <a:lnTo>
                      <a:pt x="7175" y="5115"/>
                    </a:lnTo>
                    <a:lnTo>
                      <a:pt x="7176" y="5088"/>
                    </a:lnTo>
                    <a:lnTo>
                      <a:pt x="7153" y="5065"/>
                    </a:lnTo>
                    <a:lnTo>
                      <a:pt x="7140" y="5070"/>
                    </a:lnTo>
                    <a:lnTo>
                      <a:pt x="7140" y="5070"/>
                    </a:lnTo>
                    <a:close/>
                    <a:moveTo>
                      <a:pt x="4025" y="6101"/>
                    </a:moveTo>
                    <a:lnTo>
                      <a:pt x="4038" y="6095"/>
                    </a:lnTo>
                    <a:lnTo>
                      <a:pt x="4043" y="6069"/>
                    </a:lnTo>
                    <a:lnTo>
                      <a:pt x="4026" y="6060"/>
                    </a:lnTo>
                    <a:lnTo>
                      <a:pt x="4025" y="6101"/>
                    </a:lnTo>
                    <a:lnTo>
                      <a:pt x="4025" y="6101"/>
                    </a:lnTo>
                    <a:close/>
                    <a:moveTo>
                      <a:pt x="4191" y="6240"/>
                    </a:moveTo>
                    <a:lnTo>
                      <a:pt x="4191" y="6240"/>
                    </a:lnTo>
                    <a:lnTo>
                      <a:pt x="4192" y="6238"/>
                    </a:lnTo>
                    <a:lnTo>
                      <a:pt x="4194" y="6235"/>
                    </a:lnTo>
                    <a:lnTo>
                      <a:pt x="4202" y="6227"/>
                    </a:lnTo>
                    <a:lnTo>
                      <a:pt x="4212" y="6214"/>
                    </a:lnTo>
                    <a:lnTo>
                      <a:pt x="4185" y="6218"/>
                    </a:lnTo>
                    <a:lnTo>
                      <a:pt x="4191" y="6240"/>
                    </a:lnTo>
                    <a:lnTo>
                      <a:pt x="4191" y="6240"/>
                    </a:lnTo>
                    <a:close/>
                    <a:moveTo>
                      <a:pt x="4162" y="6190"/>
                    </a:moveTo>
                    <a:lnTo>
                      <a:pt x="4155" y="6151"/>
                    </a:lnTo>
                    <a:lnTo>
                      <a:pt x="4101" y="6123"/>
                    </a:lnTo>
                    <a:lnTo>
                      <a:pt x="4079" y="6099"/>
                    </a:lnTo>
                    <a:lnTo>
                      <a:pt x="4072" y="6117"/>
                    </a:lnTo>
                    <a:lnTo>
                      <a:pt x="4106" y="6150"/>
                    </a:lnTo>
                    <a:lnTo>
                      <a:pt x="4162" y="6190"/>
                    </a:lnTo>
                    <a:lnTo>
                      <a:pt x="4162" y="6190"/>
                    </a:lnTo>
                    <a:close/>
                    <a:moveTo>
                      <a:pt x="4249" y="6024"/>
                    </a:moveTo>
                    <a:lnTo>
                      <a:pt x="4266" y="5990"/>
                    </a:lnTo>
                    <a:lnTo>
                      <a:pt x="4258" y="5937"/>
                    </a:lnTo>
                    <a:lnTo>
                      <a:pt x="4195" y="5897"/>
                    </a:lnTo>
                    <a:lnTo>
                      <a:pt x="4155" y="5853"/>
                    </a:lnTo>
                    <a:lnTo>
                      <a:pt x="4121" y="5848"/>
                    </a:lnTo>
                    <a:lnTo>
                      <a:pt x="4084" y="5810"/>
                    </a:lnTo>
                    <a:lnTo>
                      <a:pt x="4049" y="5791"/>
                    </a:lnTo>
                    <a:lnTo>
                      <a:pt x="4037" y="5767"/>
                    </a:lnTo>
                    <a:lnTo>
                      <a:pt x="3994" y="5735"/>
                    </a:lnTo>
                    <a:lnTo>
                      <a:pt x="3970" y="5734"/>
                    </a:lnTo>
                    <a:lnTo>
                      <a:pt x="3952" y="5749"/>
                    </a:lnTo>
                    <a:lnTo>
                      <a:pt x="3955" y="5767"/>
                    </a:lnTo>
                    <a:lnTo>
                      <a:pt x="3931" y="5787"/>
                    </a:lnTo>
                    <a:lnTo>
                      <a:pt x="3951" y="5816"/>
                    </a:lnTo>
                    <a:lnTo>
                      <a:pt x="3980" y="5821"/>
                    </a:lnTo>
                    <a:lnTo>
                      <a:pt x="3974" y="5836"/>
                    </a:lnTo>
                    <a:lnTo>
                      <a:pt x="3956" y="5842"/>
                    </a:lnTo>
                    <a:lnTo>
                      <a:pt x="3931" y="5822"/>
                    </a:lnTo>
                    <a:lnTo>
                      <a:pt x="3918" y="5824"/>
                    </a:lnTo>
                    <a:lnTo>
                      <a:pt x="3930" y="5853"/>
                    </a:lnTo>
                    <a:lnTo>
                      <a:pt x="3989" y="5919"/>
                    </a:lnTo>
                    <a:lnTo>
                      <a:pt x="4023" y="5938"/>
                    </a:lnTo>
                    <a:lnTo>
                      <a:pt x="4044" y="5969"/>
                    </a:lnTo>
                    <a:lnTo>
                      <a:pt x="4061" y="5971"/>
                    </a:lnTo>
                    <a:lnTo>
                      <a:pt x="4063" y="5933"/>
                    </a:lnTo>
                    <a:lnTo>
                      <a:pt x="4088" y="5944"/>
                    </a:lnTo>
                    <a:lnTo>
                      <a:pt x="4117" y="5940"/>
                    </a:lnTo>
                    <a:lnTo>
                      <a:pt x="4128" y="5953"/>
                    </a:lnTo>
                    <a:lnTo>
                      <a:pt x="4138" y="5995"/>
                    </a:lnTo>
                    <a:lnTo>
                      <a:pt x="4132" y="6011"/>
                    </a:lnTo>
                    <a:lnTo>
                      <a:pt x="4152" y="6030"/>
                    </a:lnTo>
                    <a:lnTo>
                      <a:pt x="4197" y="6038"/>
                    </a:lnTo>
                    <a:lnTo>
                      <a:pt x="4214" y="6014"/>
                    </a:lnTo>
                    <a:lnTo>
                      <a:pt x="4249" y="6024"/>
                    </a:lnTo>
                    <a:lnTo>
                      <a:pt x="4249" y="6024"/>
                    </a:lnTo>
                    <a:close/>
                    <a:moveTo>
                      <a:pt x="5063" y="4570"/>
                    </a:moveTo>
                    <a:lnTo>
                      <a:pt x="5076" y="4573"/>
                    </a:lnTo>
                    <a:lnTo>
                      <a:pt x="5068" y="4553"/>
                    </a:lnTo>
                    <a:lnTo>
                      <a:pt x="5070" y="4533"/>
                    </a:lnTo>
                    <a:lnTo>
                      <a:pt x="5091" y="4531"/>
                    </a:lnTo>
                    <a:lnTo>
                      <a:pt x="5104" y="4562"/>
                    </a:lnTo>
                    <a:lnTo>
                      <a:pt x="5122" y="4554"/>
                    </a:lnTo>
                    <a:lnTo>
                      <a:pt x="5137" y="4561"/>
                    </a:lnTo>
                    <a:lnTo>
                      <a:pt x="5161" y="4555"/>
                    </a:lnTo>
                    <a:lnTo>
                      <a:pt x="5174" y="4527"/>
                    </a:lnTo>
                    <a:lnTo>
                      <a:pt x="5207" y="4500"/>
                    </a:lnTo>
                    <a:lnTo>
                      <a:pt x="5241" y="4487"/>
                    </a:lnTo>
                    <a:lnTo>
                      <a:pt x="5245" y="4470"/>
                    </a:lnTo>
                    <a:lnTo>
                      <a:pt x="5228" y="4434"/>
                    </a:lnTo>
                    <a:lnTo>
                      <a:pt x="5182" y="4410"/>
                    </a:lnTo>
                    <a:lnTo>
                      <a:pt x="5176" y="4384"/>
                    </a:lnTo>
                    <a:lnTo>
                      <a:pt x="5146" y="4347"/>
                    </a:lnTo>
                    <a:lnTo>
                      <a:pt x="5126" y="4335"/>
                    </a:lnTo>
                    <a:lnTo>
                      <a:pt x="5101" y="4346"/>
                    </a:lnTo>
                    <a:lnTo>
                      <a:pt x="5071" y="4375"/>
                    </a:lnTo>
                    <a:lnTo>
                      <a:pt x="5043" y="4377"/>
                    </a:lnTo>
                    <a:lnTo>
                      <a:pt x="5009" y="4406"/>
                    </a:lnTo>
                    <a:lnTo>
                      <a:pt x="5011" y="4433"/>
                    </a:lnTo>
                    <a:lnTo>
                      <a:pt x="5033" y="4465"/>
                    </a:lnTo>
                    <a:lnTo>
                      <a:pt x="5038" y="4497"/>
                    </a:lnTo>
                    <a:lnTo>
                      <a:pt x="5033" y="4545"/>
                    </a:lnTo>
                    <a:lnTo>
                      <a:pt x="5063" y="4570"/>
                    </a:lnTo>
                    <a:lnTo>
                      <a:pt x="5063" y="4570"/>
                    </a:lnTo>
                    <a:close/>
                    <a:moveTo>
                      <a:pt x="5167" y="6011"/>
                    </a:moveTo>
                    <a:lnTo>
                      <a:pt x="5167" y="6011"/>
                    </a:lnTo>
                    <a:lnTo>
                      <a:pt x="5170" y="6018"/>
                    </a:lnTo>
                    <a:lnTo>
                      <a:pt x="5174" y="6025"/>
                    </a:lnTo>
                    <a:lnTo>
                      <a:pt x="5197" y="6033"/>
                    </a:lnTo>
                    <a:lnTo>
                      <a:pt x="5217" y="6009"/>
                    </a:lnTo>
                    <a:lnTo>
                      <a:pt x="5213" y="5983"/>
                    </a:lnTo>
                    <a:lnTo>
                      <a:pt x="5196" y="5965"/>
                    </a:lnTo>
                    <a:lnTo>
                      <a:pt x="5176" y="5978"/>
                    </a:lnTo>
                    <a:lnTo>
                      <a:pt x="5176" y="5994"/>
                    </a:lnTo>
                    <a:lnTo>
                      <a:pt x="5167" y="6011"/>
                    </a:lnTo>
                    <a:lnTo>
                      <a:pt x="5167" y="6011"/>
                    </a:lnTo>
                    <a:close/>
                    <a:moveTo>
                      <a:pt x="5807" y="6824"/>
                    </a:moveTo>
                    <a:lnTo>
                      <a:pt x="5810" y="6839"/>
                    </a:lnTo>
                    <a:lnTo>
                      <a:pt x="5832" y="6847"/>
                    </a:lnTo>
                    <a:lnTo>
                      <a:pt x="5835" y="6867"/>
                    </a:lnTo>
                    <a:lnTo>
                      <a:pt x="5873" y="6892"/>
                    </a:lnTo>
                    <a:lnTo>
                      <a:pt x="5907" y="6879"/>
                    </a:lnTo>
                    <a:lnTo>
                      <a:pt x="5921" y="6865"/>
                    </a:lnTo>
                    <a:lnTo>
                      <a:pt x="5907" y="6832"/>
                    </a:lnTo>
                    <a:lnTo>
                      <a:pt x="5881" y="6825"/>
                    </a:lnTo>
                    <a:lnTo>
                      <a:pt x="5854" y="6832"/>
                    </a:lnTo>
                    <a:lnTo>
                      <a:pt x="5830" y="6824"/>
                    </a:lnTo>
                    <a:lnTo>
                      <a:pt x="5807" y="6824"/>
                    </a:lnTo>
                    <a:lnTo>
                      <a:pt x="5807" y="6824"/>
                    </a:lnTo>
                    <a:close/>
                    <a:moveTo>
                      <a:pt x="5691" y="4550"/>
                    </a:moveTo>
                    <a:lnTo>
                      <a:pt x="5684" y="4516"/>
                    </a:lnTo>
                    <a:lnTo>
                      <a:pt x="5666" y="4498"/>
                    </a:lnTo>
                    <a:lnTo>
                      <a:pt x="5667" y="4474"/>
                    </a:lnTo>
                    <a:lnTo>
                      <a:pt x="5684" y="4460"/>
                    </a:lnTo>
                    <a:lnTo>
                      <a:pt x="5673" y="4436"/>
                    </a:lnTo>
                    <a:lnTo>
                      <a:pt x="5643" y="4428"/>
                    </a:lnTo>
                    <a:lnTo>
                      <a:pt x="5617" y="4441"/>
                    </a:lnTo>
                    <a:lnTo>
                      <a:pt x="5607" y="4500"/>
                    </a:lnTo>
                    <a:lnTo>
                      <a:pt x="5620" y="4523"/>
                    </a:lnTo>
                    <a:lnTo>
                      <a:pt x="5647" y="4526"/>
                    </a:lnTo>
                    <a:lnTo>
                      <a:pt x="5666" y="4548"/>
                    </a:lnTo>
                    <a:lnTo>
                      <a:pt x="5691" y="4550"/>
                    </a:lnTo>
                    <a:lnTo>
                      <a:pt x="5691" y="4550"/>
                    </a:lnTo>
                    <a:close/>
                    <a:moveTo>
                      <a:pt x="5634" y="4301"/>
                    </a:moveTo>
                    <a:lnTo>
                      <a:pt x="5665" y="4268"/>
                    </a:lnTo>
                    <a:lnTo>
                      <a:pt x="5684" y="4279"/>
                    </a:lnTo>
                    <a:lnTo>
                      <a:pt x="5715" y="4256"/>
                    </a:lnTo>
                    <a:lnTo>
                      <a:pt x="5708" y="4238"/>
                    </a:lnTo>
                    <a:lnTo>
                      <a:pt x="5714" y="4219"/>
                    </a:lnTo>
                    <a:lnTo>
                      <a:pt x="5733" y="4209"/>
                    </a:lnTo>
                    <a:lnTo>
                      <a:pt x="5724" y="4200"/>
                    </a:lnTo>
                    <a:lnTo>
                      <a:pt x="5698" y="4202"/>
                    </a:lnTo>
                    <a:lnTo>
                      <a:pt x="5651" y="4237"/>
                    </a:lnTo>
                    <a:lnTo>
                      <a:pt x="5632" y="4276"/>
                    </a:lnTo>
                    <a:lnTo>
                      <a:pt x="5634" y="4301"/>
                    </a:lnTo>
                    <a:lnTo>
                      <a:pt x="5634" y="4301"/>
                    </a:lnTo>
                    <a:close/>
                    <a:moveTo>
                      <a:pt x="5782" y="4341"/>
                    </a:moveTo>
                    <a:lnTo>
                      <a:pt x="5817" y="4371"/>
                    </a:lnTo>
                    <a:lnTo>
                      <a:pt x="5861" y="4378"/>
                    </a:lnTo>
                    <a:lnTo>
                      <a:pt x="5885" y="4372"/>
                    </a:lnTo>
                    <a:lnTo>
                      <a:pt x="5883" y="4353"/>
                    </a:lnTo>
                    <a:lnTo>
                      <a:pt x="5835" y="4346"/>
                    </a:lnTo>
                    <a:lnTo>
                      <a:pt x="5803" y="4332"/>
                    </a:lnTo>
                    <a:lnTo>
                      <a:pt x="5782" y="4341"/>
                    </a:lnTo>
                    <a:lnTo>
                      <a:pt x="5782" y="4341"/>
                    </a:lnTo>
                    <a:close/>
                    <a:moveTo>
                      <a:pt x="6112" y="4586"/>
                    </a:moveTo>
                    <a:lnTo>
                      <a:pt x="6116" y="4619"/>
                    </a:lnTo>
                    <a:lnTo>
                      <a:pt x="6093" y="4650"/>
                    </a:lnTo>
                    <a:lnTo>
                      <a:pt x="6074" y="4664"/>
                    </a:lnTo>
                    <a:lnTo>
                      <a:pt x="6069" y="4696"/>
                    </a:lnTo>
                    <a:lnTo>
                      <a:pt x="6085" y="4718"/>
                    </a:lnTo>
                    <a:lnTo>
                      <a:pt x="6104" y="4715"/>
                    </a:lnTo>
                    <a:lnTo>
                      <a:pt x="6138" y="4685"/>
                    </a:lnTo>
                    <a:lnTo>
                      <a:pt x="6159" y="4674"/>
                    </a:lnTo>
                    <a:lnTo>
                      <a:pt x="6183" y="4635"/>
                    </a:lnTo>
                    <a:lnTo>
                      <a:pt x="6210" y="4623"/>
                    </a:lnTo>
                    <a:lnTo>
                      <a:pt x="6239" y="4585"/>
                    </a:lnTo>
                    <a:lnTo>
                      <a:pt x="6236" y="4558"/>
                    </a:lnTo>
                    <a:lnTo>
                      <a:pt x="6220" y="4549"/>
                    </a:lnTo>
                    <a:lnTo>
                      <a:pt x="6185" y="4545"/>
                    </a:lnTo>
                    <a:lnTo>
                      <a:pt x="6136" y="4558"/>
                    </a:lnTo>
                    <a:lnTo>
                      <a:pt x="6112" y="4586"/>
                    </a:lnTo>
                    <a:lnTo>
                      <a:pt x="6112" y="4586"/>
                    </a:lnTo>
                    <a:close/>
                    <a:moveTo>
                      <a:pt x="6235" y="4274"/>
                    </a:moveTo>
                    <a:lnTo>
                      <a:pt x="6205" y="4314"/>
                    </a:lnTo>
                    <a:lnTo>
                      <a:pt x="6197" y="4367"/>
                    </a:lnTo>
                    <a:lnTo>
                      <a:pt x="6177" y="4409"/>
                    </a:lnTo>
                    <a:lnTo>
                      <a:pt x="6181" y="4434"/>
                    </a:lnTo>
                    <a:lnTo>
                      <a:pt x="6221" y="4440"/>
                    </a:lnTo>
                    <a:lnTo>
                      <a:pt x="6234" y="4458"/>
                    </a:lnTo>
                    <a:lnTo>
                      <a:pt x="6269" y="4462"/>
                    </a:lnTo>
                    <a:lnTo>
                      <a:pt x="6297" y="4474"/>
                    </a:lnTo>
                    <a:lnTo>
                      <a:pt x="6326" y="4464"/>
                    </a:lnTo>
                    <a:lnTo>
                      <a:pt x="6327" y="4441"/>
                    </a:lnTo>
                    <a:lnTo>
                      <a:pt x="6300" y="4392"/>
                    </a:lnTo>
                    <a:lnTo>
                      <a:pt x="6292" y="4346"/>
                    </a:lnTo>
                    <a:lnTo>
                      <a:pt x="6253" y="4311"/>
                    </a:lnTo>
                    <a:lnTo>
                      <a:pt x="6235" y="4274"/>
                    </a:lnTo>
                    <a:lnTo>
                      <a:pt x="6235" y="4274"/>
                    </a:lnTo>
                    <a:close/>
                    <a:moveTo>
                      <a:pt x="6001" y="3702"/>
                    </a:moveTo>
                    <a:lnTo>
                      <a:pt x="5993" y="3674"/>
                    </a:lnTo>
                    <a:lnTo>
                      <a:pt x="5995" y="3653"/>
                    </a:lnTo>
                    <a:lnTo>
                      <a:pt x="5971" y="3643"/>
                    </a:lnTo>
                    <a:lnTo>
                      <a:pt x="5934" y="3650"/>
                    </a:lnTo>
                    <a:lnTo>
                      <a:pt x="5926" y="3666"/>
                    </a:lnTo>
                    <a:lnTo>
                      <a:pt x="5944" y="3677"/>
                    </a:lnTo>
                    <a:lnTo>
                      <a:pt x="5952" y="3703"/>
                    </a:lnTo>
                    <a:lnTo>
                      <a:pt x="5978" y="3716"/>
                    </a:lnTo>
                    <a:lnTo>
                      <a:pt x="6001" y="3702"/>
                    </a:lnTo>
                    <a:lnTo>
                      <a:pt x="6001" y="3702"/>
                    </a:lnTo>
                    <a:close/>
                    <a:moveTo>
                      <a:pt x="6104" y="3273"/>
                    </a:moveTo>
                    <a:lnTo>
                      <a:pt x="6088" y="3267"/>
                    </a:lnTo>
                    <a:lnTo>
                      <a:pt x="6074" y="3251"/>
                    </a:lnTo>
                    <a:lnTo>
                      <a:pt x="6077" y="3315"/>
                    </a:lnTo>
                    <a:lnTo>
                      <a:pt x="6100" y="3323"/>
                    </a:lnTo>
                    <a:lnTo>
                      <a:pt x="6117" y="3307"/>
                    </a:lnTo>
                    <a:lnTo>
                      <a:pt x="6130" y="3318"/>
                    </a:lnTo>
                    <a:lnTo>
                      <a:pt x="6135" y="3354"/>
                    </a:lnTo>
                    <a:lnTo>
                      <a:pt x="6151" y="3372"/>
                    </a:lnTo>
                    <a:lnTo>
                      <a:pt x="6154" y="3338"/>
                    </a:lnTo>
                    <a:lnTo>
                      <a:pt x="6144" y="3300"/>
                    </a:lnTo>
                    <a:lnTo>
                      <a:pt x="6166" y="3285"/>
                    </a:lnTo>
                    <a:lnTo>
                      <a:pt x="6166" y="3265"/>
                    </a:lnTo>
                    <a:lnTo>
                      <a:pt x="6143" y="3243"/>
                    </a:lnTo>
                    <a:lnTo>
                      <a:pt x="6143" y="3221"/>
                    </a:lnTo>
                    <a:lnTo>
                      <a:pt x="6134" y="3192"/>
                    </a:lnTo>
                    <a:lnTo>
                      <a:pt x="6110" y="3208"/>
                    </a:lnTo>
                    <a:lnTo>
                      <a:pt x="6094" y="3208"/>
                    </a:lnTo>
                    <a:lnTo>
                      <a:pt x="6083" y="3222"/>
                    </a:lnTo>
                    <a:lnTo>
                      <a:pt x="6109" y="3248"/>
                    </a:lnTo>
                    <a:lnTo>
                      <a:pt x="6104" y="3273"/>
                    </a:lnTo>
                    <a:lnTo>
                      <a:pt x="6104" y="3273"/>
                    </a:lnTo>
                    <a:close/>
                    <a:moveTo>
                      <a:pt x="6050" y="3071"/>
                    </a:moveTo>
                    <a:lnTo>
                      <a:pt x="6006" y="3060"/>
                    </a:lnTo>
                    <a:lnTo>
                      <a:pt x="5995" y="3039"/>
                    </a:lnTo>
                    <a:lnTo>
                      <a:pt x="5974" y="3033"/>
                    </a:lnTo>
                    <a:lnTo>
                      <a:pt x="5959" y="3047"/>
                    </a:lnTo>
                    <a:lnTo>
                      <a:pt x="5964" y="3069"/>
                    </a:lnTo>
                    <a:lnTo>
                      <a:pt x="6004" y="3086"/>
                    </a:lnTo>
                    <a:lnTo>
                      <a:pt x="6037" y="3088"/>
                    </a:lnTo>
                    <a:lnTo>
                      <a:pt x="6050" y="3071"/>
                    </a:lnTo>
                    <a:lnTo>
                      <a:pt x="6050" y="3071"/>
                    </a:lnTo>
                    <a:close/>
                    <a:moveTo>
                      <a:pt x="6055" y="3036"/>
                    </a:moveTo>
                    <a:lnTo>
                      <a:pt x="6055" y="3036"/>
                    </a:lnTo>
                    <a:lnTo>
                      <a:pt x="6058" y="3037"/>
                    </a:lnTo>
                    <a:lnTo>
                      <a:pt x="6063" y="3040"/>
                    </a:lnTo>
                    <a:lnTo>
                      <a:pt x="6071" y="3044"/>
                    </a:lnTo>
                    <a:lnTo>
                      <a:pt x="6111" y="3037"/>
                    </a:lnTo>
                    <a:lnTo>
                      <a:pt x="6136" y="3040"/>
                    </a:lnTo>
                    <a:lnTo>
                      <a:pt x="6166" y="3027"/>
                    </a:lnTo>
                    <a:lnTo>
                      <a:pt x="6171" y="3014"/>
                    </a:lnTo>
                    <a:lnTo>
                      <a:pt x="6118" y="3006"/>
                    </a:lnTo>
                    <a:lnTo>
                      <a:pt x="6096" y="2992"/>
                    </a:lnTo>
                    <a:lnTo>
                      <a:pt x="6074" y="2998"/>
                    </a:lnTo>
                    <a:lnTo>
                      <a:pt x="6055" y="3036"/>
                    </a:lnTo>
                    <a:lnTo>
                      <a:pt x="6055" y="3036"/>
                    </a:lnTo>
                    <a:close/>
                    <a:moveTo>
                      <a:pt x="6443" y="3859"/>
                    </a:moveTo>
                    <a:lnTo>
                      <a:pt x="6470" y="3821"/>
                    </a:lnTo>
                    <a:lnTo>
                      <a:pt x="6456" y="3806"/>
                    </a:lnTo>
                    <a:lnTo>
                      <a:pt x="6426" y="3808"/>
                    </a:lnTo>
                    <a:lnTo>
                      <a:pt x="6405" y="3827"/>
                    </a:lnTo>
                    <a:lnTo>
                      <a:pt x="6417" y="3855"/>
                    </a:lnTo>
                    <a:lnTo>
                      <a:pt x="6443" y="3859"/>
                    </a:lnTo>
                    <a:lnTo>
                      <a:pt x="6443" y="3859"/>
                    </a:lnTo>
                    <a:close/>
                    <a:moveTo>
                      <a:pt x="6545" y="3833"/>
                    </a:moveTo>
                    <a:lnTo>
                      <a:pt x="6567" y="3812"/>
                    </a:lnTo>
                    <a:lnTo>
                      <a:pt x="6573" y="3789"/>
                    </a:lnTo>
                    <a:lnTo>
                      <a:pt x="6537" y="3783"/>
                    </a:lnTo>
                    <a:lnTo>
                      <a:pt x="6522" y="3796"/>
                    </a:lnTo>
                    <a:lnTo>
                      <a:pt x="6496" y="3806"/>
                    </a:lnTo>
                    <a:lnTo>
                      <a:pt x="6509" y="3821"/>
                    </a:lnTo>
                    <a:lnTo>
                      <a:pt x="6545" y="3833"/>
                    </a:lnTo>
                    <a:lnTo>
                      <a:pt x="6545" y="3833"/>
                    </a:lnTo>
                    <a:close/>
                    <a:moveTo>
                      <a:pt x="6697" y="3855"/>
                    </a:moveTo>
                    <a:lnTo>
                      <a:pt x="6712" y="3844"/>
                    </a:lnTo>
                    <a:lnTo>
                      <a:pt x="6678" y="3826"/>
                    </a:lnTo>
                    <a:lnTo>
                      <a:pt x="6636" y="3843"/>
                    </a:lnTo>
                    <a:lnTo>
                      <a:pt x="6649" y="3853"/>
                    </a:lnTo>
                    <a:lnTo>
                      <a:pt x="6697" y="3855"/>
                    </a:lnTo>
                    <a:lnTo>
                      <a:pt x="6697" y="3855"/>
                    </a:lnTo>
                    <a:close/>
                    <a:moveTo>
                      <a:pt x="6942" y="3777"/>
                    </a:moveTo>
                    <a:lnTo>
                      <a:pt x="6957" y="3819"/>
                    </a:lnTo>
                    <a:lnTo>
                      <a:pt x="6974" y="3828"/>
                    </a:lnTo>
                    <a:lnTo>
                      <a:pt x="6990" y="3810"/>
                    </a:lnTo>
                    <a:lnTo>
                      <a:pt x="6969" y="3787"/>
                    </a:lnTo>
                    <a:lnTo>
                      <a:pt x="6942" y="3777"/>
                    </a:lnTo>
                    <a:lnTo>
                      <a:pt x="6942" y="3777"/>
                    </a:lnTo>
                    <a:close/>
                    <a:moveTo>
                      <a:pt x="6799" y="3752"/>
                    </a:moveTo>
                    <a:lnTo>
                      <a:pt x="6836" y="3750"/>
                    </a:lnTo>
                    <a:lnTo>
                      <a:pt x="6856" y="3725"/>
                    </a:lnTo>
                    <a:lnTo>
                      <a:pt x="6826" y="3714"/>
                    </a:lnTo>
                    <a:lnTo>
                      <a:pt x="6806" y="3721"/>
                    </a:lnTo>
                    <a:lnTo>
                      <a:pt x="6809" y="3736"/>
                    </a:lnTo>
                    <a:lnTo>
                      <a:pt x="6799" y="3752"/>
                    </a:lnTo>
                    <a:lnTo>
                      <a:pt x="6799" y="3752"/>
                    </a:lnTo>
                    <a:close/>
                    <a:moveTo>
                      <a:pt x="6688" y="3607"/>
                    </a:moveTo>
                    <a:lnTo>
                      <a:pt x="6688" y="3591"/>
                    </a:lnTo>
                    <a:lnTo>
                      <a:pt x="6670" y="3590"/>
                    </a:lnTo>
                    <a:lnTo>
                      <a:pt x="6629" y="3620"/>
                    </a:lnTo>
                    <a:lnTo>
                      <a:pt x="6629" y="3639"/>
                    </a:lnTo>
                    <a:lnTo>
                      <a:pt x="6661" y="3653"/>
                    </a:lnTo>
                    <a:lnTo>
                      <a:pt x="6669" y="3640"/>
                    </a:lnTo>
                    <a:lnTo>
                      <a:pt x="6663" y="3629"/>
                    </a:lnTo>
                    <a:lnTo>
                      <a:pt x="6667" y="3620"/>
                    </a:lnTo>
                    <a:lnTo>
                      <a:pt x="6688" y="3607"/>
                    </a:lnTo>
                    <a:lnTo>
                      <a:pt x="6688" y="3607"/>
                    </a:lnTo>
                    <a:close/>
                    <a:moveTo>
                      <a:pt x="6778" y="3583"/>
                    </a:moveTo>
                    <a:lnTo>
                      <a:pt x="6772" y="3562"/>
                    </a:lnTo>
                    <a:lnTo>
                      <a:pt x="6736" y="3560"/>
                    </a:lnTo>
                    <a:lnTo>
                      <a:pt x="6725" y="3576"/>
                    </a:lnTo>
                    <a:lnTo>
                      <a:pt x="6732" y="3604"/>
                    </a:lnTo>
                    <a:lnTo>
                      <a:pt x="6756" y="3605"/>
                    </a:lnTo>
                    <a:lnTo>
                      <a:pt x="6775" y="3594"/>
                    </a:lnTo>
                    <a:lnTo>
                      <a:pt x="6778" y="3583"/>
                    </a:lnTo>
                    <a:lnTo>
                      <a:pt x="6778" y="3583"/>
                    </a:lnTo>
                    <a:close/>
                    <a:moveTo>
                      <a:pt x="6792" y="3599"/>
                    </a:moveTo>
                    <a:lnTo>
                      <a:pt x="6800" y="3607"/>
                    </a:lnTo>
                    <a:lnTo>
                      <a:pt x="6814" y="3602"/>
                    </a:lnTo>
                    <a:lnTo>
                      <a:pt x="6847" y="3575"/>
                    </a:lnTo>
                    <a:lnTo>
                      <a:pt x="6849" y="3552"/>
                    </a:lnTo>
                    <a:lnTo>
                      <a:pt x="6832" y="3532"/>
                    </a:lnTo>
                    <a:lnTo>
                      <a:pt x="6801" y="3534"/>
                    </a:lnTo>
                    <a:lnTo>
                      <a:pt x="6798" y="3559"/>
                    </a:lnTo>
                    <a:lnTo>
                      <a:pt x="6804" y="3579"/>
                    </a:lnTo>
                    <a:lnTo>
                      <a:pt x="6792" y="3599"/>
                    </a:lnTo>
                    <a:lnTo>
                      <a:pt x="6792" y="3599"/>
                    </a:lnTo>
                    <a:close/>
                    <a:moveTo>
                      <a:pt x="6689" y="3496"/>
                    </a:moveTo>
                    <a:lnTo>
                      <a:pt x="6714" y="3464"/>
                    </a:lnTo>
                    <a:lnTo>
                      <a:pt x="6707" y="3450"/>
                    </a:lnTo>
                    <a:lnTo>
                      <a:pt x="6684" y="3444"/>
                    </a:lnTo>
                    <a:lnTo>
                      <a:pt x="6659" y="3455"/>
                    </a:lnTo>
                    <a:lnTo>
                      <a:pt x="6631" y="3462"/>
                    </a:lnTo>
                    <a:lnTo>
                      <a:pt x="6633" y="3471"/>
                    </a:lnTo>
                    <a:lnTo>
                      <a:pt x="6674" y="3484"/>
                    </a:lnTo>
                    <a:lnTo>
                      <a:pt x="6689" y="3496"/>
                    </a:lnTo>
                    <a:lnTo>
                      <a:pt x="6689" y="3496"/>
                    </a:lnTo>
                    <a:close/>
                    <a:moveTo>
                      <a:pt x="6851" y="3417"/>
                    </a:moveTo>
                    <a:lnTo>
                      <a:pt x="6865" y="3410"/>
                    </a:lnTo>
                    <a:lnTo>
                      <a:pt x="6863" y="3399"/>
                    </a:lnTo>
                    <a:lnTo>
                      <a:pt x="6850" y="3379"/>
                    </a:lnTo>
                    <a:lnTo>
                      <a:pt x="6877" y="3374"/>
                    </a:lnTo>
                    <a:lnTo>
                      <a:pt x="6879" y="3360"/>
                    </a:lnTo>
                    <a:lnTo>
                      <a:pt x="6856" y="3335"/>
                    </a:lnTo>
                    <a:lnTo>
                      <a:pt x="6815" y="3329"/>
                    </a:lnTo>
                    <a:lnTo>
                      <a:pt x="6798" y="3340"/>
                    </a:lnTo>
                    <a:lnTo>
                      <a:pt x="6801" y="3363"/>
                    </a:lnTo>
                    <a:lnTo>
                      <a:pt x="6792" y="3365"/>
                    </a:lnTo>
                    <a:lnTo>
                      <a:pt x="6767" y="3350"/>
                    </a:lnTo>
                    <a:lnTo>
                      <a:pt x="6756" y="3357"/>
                    </a:lnTo>
                    <a:lnTo>
                      <a:pt x="6774" y="3386"/>
                    </a:lnTo>
                    <a:lnTo>
                      <a:pt x="6792" y="3399"/>
                    </a:lnTo>
                    <a:lnTo>
                      <a:pt x="6826" y="3400"/>
                    </a:lnTo>
                    <a:lnTo>
                      <a:pt x="6851" y="3417"/>
                    </a:lnTo>
                    <a:lnTo>
                      <a:pt x="6851" y="3417"/>
                    </a:lnTo>
                    <a:close/>
                    <a:moveTo>
                      <a:pt x="6728" y="1944"/>
                    </a:moveTo>
                    <a:lnTo>
                      <a:pt x="6744" y="1940"/>
                    </a:lnTo>
                    <a:lnTo>
                      <a:pt x="6742" y="1918"/>
                    </a:lnTo>
                    <a:lnTo>
                      <a:pt x="6719" y="1907"/>
                    </a:lnTo>
                    <a:lnTo>
                      <a:pt x="6705" y="1916"/>
                    </a:lnTo>
                    <a:lnTo>
                      <a:pt x="6728" y="1944"/>
                    </a:lnTo>
                    <a:lnTo>
                      <a:pt x="6728" y="1944"/>
                    </a:lnTo>
                    <a:close/>
                    <a:moveTo>
                      <a:pt x="6536" y="2243"/>
                    </a:moveTo>
                    <a:lnTo>
                      <a:pt x="6543" y="2264"/>
                    </a:lnTo>
                    <a:lnTo>
                      <a:pt x="6560" y="2267"/>
                    </a:lnTo>
                    <a:lnTo>
                      <a:pt x="6591" y="2253"/>
                    </a:lnTo>
                    <a:lnTo>
                      <a:pt x="6601" y="2231"/>
                    </a:lnTo>
                    <a:lnTo>
                      <a:pt x="6598" y="2186"/>
                    </a:lnTo>
                    <a:lnTo>
                      <a:pt x="6573" y="2164"/>
                    </a:lnTo>
                    <a:lnTo>
                      <a:pt x="6552" y="2162"/>
                    </a:lnTo>
                    <a:lnTo>
                      <a:pt x="6535" y="2181"/>
                    </a:lnTo>
                    <a:lnTo>
                      <a:pt x="6539" y="2210"/>
                    </a:lnTo>
                    <a:lnTo>
                      <a:pt x="6536" y="2243"/>
                    </a:lnTo>
                    <a:lnTo>
                      <a:pt x="6536" y="2243"/>
                    </a:lnTo>
                    <a:close/>
                    <a:moveTo>
                      <a:pt x="7296" y="2182"/>
                    </a:moveTo>
                    <a:lnTo>
                      <a:pt x="7312" y="2183"/>
                    </a:lnTo>
                    <a:lnTo>
                      <a:pt x="7343" y="2171"/>
                    </a:lnTo>
                    <a:lnTo>
                      <a:pt x="7367" y="2146"/>
                    </a:lnTo>
                    <a:lnTo>
                      <a:pt x="7382" y="2143"/>
                    </a:lnTo>
                    <a:lnTo>
                      <a:pt x="7384" y="2158"/>
                    </a:lnTo>
                    <a:lnTo>
                      <a:pt x="7374" y="2177"/>
                    </a:lnTo>
                    <a:lnTo>
                      <a:pt x="7409" y="2153"/>
                    </a:lnTo>
                    <a:lnTo>
                      <a:pt x="7439" y="2119"/>
                    </a:lnTo>
                    <a:lnTo>
                      <a:pt x="7441" y="2089"/>
                    </a:lnTo>
                    <a:lnTo>
                      <a:pt x="7460" y="2076"/>
                    </a:lnTo>
                    <a:lnTo>
                      <a:pt x="7459" y="2037"/>
                    </a:lnTo>
                    <a:lnTo>
                      <a:pt x="7447" y="2025"/>
                    </a:lnTo>
                    <a:lnTo>
                      <a:pt x="7429" y="2034"/>
                    </a:lnTo>
                    <a:lnTo>
                      <a:pt x="7418" y="2049"/>
                    </a:lnTo>
                    <a:lnTo>
                      <a:pt x="7386" y="2076"/>
                    </a:lnTo>
                    <a:lnTo>
                      <a:pt x="7345" y="2097"/>
                    </a:lnTo>
                    <a:lnTo>
                      <a:pt x="7311" y="2144"/>
                    </a:lnTo>
                    <a:lnTo>
                      <a:pt x="7296" y="2182"/>
                    </a:lnTo>
                    <a:lnTo>
                      <a:pt x="7296" y="2182"/>
                    </a:lnTo>
                    <a:close/>
                    <a:moveTo>
                      <a:pt x="7632" y="2207"/>
                    </a:moveTo>
                    <a:lnTo>
                      <a:pt x="7669" y="2200"/>
                    </a:lnTo>
                    <a:lnTo>
                      <a:pt x="7685" y="2176"/>
                    </a:lnTo>
                    <a:lnTo>
                      <a:pt x="7661" y="2169"/>
                    </a:lnTo>
                    <a:lnTo>
                      <a:pt x="7633" y="2182"/>
                    </a:lnTo>
                    <a:lnTo>
                      <a:pt x="7624" y="2198"/>
                    </a:lnTo>
                    <a:lnTo>
                      <a:pt x="7632" y="2207"/>
                    </a:lnTo>
                    <a:lnTo>
                      <a:pt x="7632" y="2207"/>
                    </a:lnTo>
                    <a:close/>
                    <a:moveTo>
                      <a:pt x="7684" y="2283"/>
                    </a:moveTo>
                    <a:lnTo>
                      <a:pt x="7700" y="2283"/>
                    </a:lnTo>
                    <a:lnTo>
                      <a:pt x="7713" y="2275"/>
                    </a:lnTo>
                    <a:lnTo>
                      <a:pt x="7720" y="2256"/>
                    </a:lnTo>
                    <a:lnTo>
                      <a:pt x="7691" y="2245"/>
                    </a:lnTo>
                    <a:lnTo>
                      <a:pt x="7677" y="2220"/>
                    </a:lnTo>
                    <a:lnTo>
                      <a:pt x="7664" y="2219"/>
                    </a:lnTo>
                    <a:lnTo>
                      <a:pt x="7661" y="2234"/>
                    </a:lnTo>
                    <a:lnTo>
                      <a:pt x="7678" y="2254"/>
                    </a:lnTo>
                    <a:lnTo>
                      <a:pt x="7684" y="2283"/>
                    </a:lnTo>
                    <a:lnTo>
                      <a:pt x="7684" y="2283"/>
                    </a:lnTo>
                    <a:close/>
                    <a:moveTo>
                      <a:pt x="7388" y="2365"/>
                    </a:moveTo>
                    <a:lnTo>
                      <a:pt x="7423" y="2351"/>
                    </a:lnTo>
                    <a:lnTo>
                      <a:pt x="7421" y="2334"/>
                    </a:lnTo>
                    <a:lnTo>
                      <a:pt x="7399" y="2317"/>
                    </a:lnTo>
                    <a:lnTo>
                      <a:pt x="7383" y="2340"/>
                    </a:lnTo>
                    <a:lnTo>
                      <a:pt x="7346" y="2353"/>
                    </a:lnTo>
                    <a:lnTo>
                      <a:pt x="7356" y="2368"/>
                    </a:lnTo>
                    <a:lnTo>
                      <a:pt x="7388" y="2365"/>
                    </a:lnTo>
                    <a:lnTo>
                      <a:pt x="7388" y="2365"/>
                    </a:lnTo>
                    <a:close/>
                    <a:moveTo>
                      <a:pt x="7558" y="2370"/>
                    </a:moveTo>
                    <a:lnTo>
                      <a:pt x="7572" y="2353"/>
                    </a:lnTo>
                    <a:lnTo>
                      <a:pt x="7575" y="2327"/>
                    </a:lnTo>
                    <a:lnTo>
                      <a:pt x="7563" y="2316"/>
                    </a:lnTo>
                    <a:lnTo>
                      <a:pt x="7566" y="2278"/>
                    </a:lnTo>
                    <a:lnTo>
                      <a:pt x="7545" y="2278"/>
                    </a:lnTo>
                    <a:lnTo>
                      <a:pt x="7529" y="2294"/>
                    </a:lnTo>
                    <a:lnTo>
                      <a:pt x="7520" y="2320"/>
                    </a:lnTo>
                    <a:lnTo>
                      <a:pt x="7492" y="2342"/>
                    </a:lnTo>
                    <a:lnTo>
                      <a:pt x="7498" y="2354"/>
                    </a:lnTo>
                    <a:lnTo>
                      <a:pt x="7517" y="2347"/>
                    </a:lnTo>
                    <a:lnTo>
                      <a:pt x="7537" y="2329"/>
                    </a:lnTo>
                    <a:lnTo>
                      <a:pt x="7550" y="2338"/>
                    </a:lnTo>
                    <a:lnTo>
                      <a:pt x="7558" y="2370"/>
                    </a:lnTo>
                    <a:lnTo>
                      <a:pt x="7558" y="2370"/>
                    </a:lnTo>
                    <a:close/>
                    <a:moveTo>
                      <a:pt x="7572" y="2540"/>
                    </a:moveTo>
                    <a:lnTo>
                      <a:pt x="7598" y="2535"/>
                    </a:lnTo>
                    <a:lnTo>
                      <a:pt x="7615" y="2552"/>
                    </a:lnTo>
                    <a:lnTo>
                      <a:pt x="7647" y="2552"/>
                    </a:lnTo>
                    <a:lnTo>
                      <a:pt x="7669" y="2544"/>
                    </a:lnTo>
                    <a:lnTo>
                      <a:pt x="7704" y="2549"/>
                    </a:lnTo>
                    <a:lnTo>
                      <a:pt x="7729" y="2543"/>
                    </a:lnTo>
                    <a:lnTo>
                      <a:pt x="7742" y="2520"/>
                    </a:lnTo>
                    <a:lnTo>
                      <a:pt x="7742" y="2507"/>
                    </a:lnTo>
                    <a:lnTo>
                      <a:pt x="7731" y="2503"/>
                    </a:lnTo>
                    <a:lnTo>
                      <a:pt x="7738" y="2487"/>
                    </a:lnTo>
                    <a:lnTo>
                      <a:pt x="7728" y="2457"/>
                    </a:lnTo>
                    <a:lnTo>
                      <a:pt x="7701" y="2458"/>
                    </a:lnTo>
                    <a:lnTo>
                      <a:pt x="7683" y="2476"/>
                    </a:lnTo>
                    <a:lnTo>
                      <a:pt x="7688" y="2493"/>
                    </a:lnTo>
                    <a:lnTo>
                      <a:pt x="7676" y="2500"/>
                    </a:lnTo>
                    <a:lnTo>
                      <a:pt x="7660" y="2495"/>
                    </a:lnTo>
                    <a:lnTo>
                      <a:pt x="7648" y="2480"/>
                    </a:lnTo>
                    <a:lnTo>
                      <a:pt x="7635" y="2479"/>
                    </a:lnTo>
                    <a:lnTo>
                      <a:pt x="7620" y="2499"/>
                    </a:lnTo>
                    <a:lnTo>
                      <a:pt x="7603" y="2508"/>
                    </a:lnTo>
                    <a:lnTo>
                      <a:pt x="7577" y="2504"/>
                    </a:lnTo>
                    <a:lnTo>
                      <a:pt x="7562" y="2528"/>
                    </a:lnTo>
                    <a:lnTo>
                      <a:pt x="7572" y="2540"/>
                    </a:lnTo>
                    <a:lnTo>
                      <a:pt x="7572" y="2540"/>
                    </a:lnTo>
                    <a:close/>
                    <a:moveTo>
                      <a:pt x="4501" y="1529"/>
                    </a:moveTo>
                    <a:lnTo>
                      <a:pt x="4535" y="1535"/>
                    </a:lnTo>
                    <a:lnTo>
                      <a:pt x="4559" y="1557"/>
                    </a:lnTo>
                    <a:lnTo>
                      <a:pt x="4578" y="1556"/>
                    </a:lnTo>
                    <a:lnTo>
                      <a:pt x="4626" y="1534"/>
                    </a:lnTo>
                    <a:lnTo>
                      <a:pt x="4630" y="1516"/>
                    </a:lnTo>
                    <a:lnTo>
                      <a:pt x="4612" y="1507"/>
                    </a:lnTo>
                    <a:lnTo>
                      <a:pt x="4566" y="1519"/>
                    </a:lnTo>
                    <a:lnTo>
                      <a:pt x="4539" y="1509"/>
                    </a:lnTo>
                    <a:lnTo>
                      <a:pt x="4519" y="1495"/>
                    </a:lnTo>
                    <a:lnTo>
                      <a:pt x="4498" y="1500"/>
                    </a:lnTo>
                    <a:lnTo>
                      <a:pt x="4491" y="1519"/>
                    </a:lnTo>
                    <a:lnTo>
                      <a:pt x="4501" y="1529"/>
                    </a:lnTo>
                    <a:lnTo>
                      <a:pt x="4501" y="1529"/>
                    </a:lnTo>
                    <a:close/>
                    <a:moveTo>
                      <a:pt x="4418" y="800"/>
                    </a:moveTo>
                    <a:lnTo>
                      <a:pt x="4406" y="786"/>
                    </a:lnTo>
                    <a:lnTo>
                      <a:pt x="4407" y="761"/>
                    </a:lnTo>
                    <a:lnTo>
                      <a:pt x="4450" y="724"/>
                    </a:lnTo>
                    <a:lnTo>
                      <a:pt x="4508" y="721"/>
                    </a:lnTo>
                    <a:lnTo>
                      <a:pt x="4555" y="733"/>
                    </a:lnTo>
                    <a:lnTo>
                      <a:pt x="4570" y="767"/>
                    </a:lnTo>
                    <a:lnTo>
                      <a:pt x="4550" y="794"/>
                    </a:lnTo>
                    <a:lnTo>
                      <a:pt x="4508" y="806"/>
                    </a:lnTo>
                    <a:lnTo>
                      <a:pt x="4444" y="806"/>
                    </a:lnTo>
                    <a:lnTo>
                      <a:pt x="4444" y="806"/>
                    </a:lnTo>
                    <a:lnTo>
                      <a:pt x="4418" y="800"/>
                    </a:lnTo>
                    <a:lnTo>
                      <a:pt x="4418" y="800"/>
                    </a:lnTo>
                    <a:close/>
                    <a:moveTo>
                      <a:pt x="5483" y="251"/>
                    </a:moveTo>
                    <a:lnTo>
                      <a:pt x="5515" y="217"/>
                    </a:lnTo>
                    <a:lnTo>
                      <a:pt x="5534" y="188"/>
                    </a:lnTo>
                    <a:lnTo>
                      <a:pt x="5584" y="184"/>
                    </a:lnTo>
                    <a:lnTo>
                      <a:pt x="5625" y="196"/>
                    </a:lnTo>
                    <a:lnTo>
                      <a:pt x="5610" y="217"/>
                    </a:lnTo>
                    <a:lnTo>
                      <a:pt x="5606" y="241"/>
                    </a:lnTo>
                    <a:lnTo>
                      <a:pt x="5578" y="269"/>
                    </a:lnTo>
                    <a:lnTo>
                      <a:pt x="5537" y="277"/>
                    </a:lnTo>
                    <a:lnTo>
                      <a:pt x="5502" y="269"/>
                    </a:lnTo>
                    <a:lnTo>
                      <a:pt x="5483" y="251"/>
                    </a:lnTo>
                    <a:lnTo>
                      <a:pt x="5483" y="251"/>
                    </a:lnTo>
                    <a:close/>
                    <a:moveTo>
                      <a:pt x="6248" y="734"/>
                    </a:moveTo>
                    <a:lnTo>
                      <a:pt x="6306" y="700"/>
                    </a:lnTo>
                    <a:lnTo>
                      <a:pt x="6329" y="666"/>
                    </a:lnTo>
                    <a:lnTo>
                      <a:pt x="6333" y="633"/>
                    </a:lnTo>
                    <a:lnTo>
                      <a:pt x="6375" y="592"/>
                    </a:lnTo>
                    <a:lnTo>
                      <a:pt x="6442" y="544"/>
                    </a:lnTo>
                    <a:lnTo>
                      <a:pt x="6487" y="518"/>
                    </a:lnTo>
                    <a:lnTo>
                      <a:pt x="6503" y="489"/>
                    </a:lnTo>
                    <a:lnTo>
                      <a:pt x="6499" y="453"/>
                    </a:lnTo>
                    <a:lnTo>
                      <a:pt x="6442" y="421"/>
                    </a:lnTo>
                    <a:lnTo>
                      <a:pt x="6389" y="371"/>
                    </a:lnTo>
                    <a:lnTo>
                      <a:pt x="6359" y="316"/>
                    </a:lnTo>
                    <a:lnTo>
                      <a:pt x="6362" y="279"/>
                    </a:lnTo>
                    <a:lnTo>
                      <a:pt x="6380" y="243"/>
                    </a:lnTo>
                    <a:lnTo>
                      <a:pt x="6381" y="215"/>
                    </a:lnTo>
                    <a:lnTo>
                      <a:pt x="6365" y="205"/>
                    </a:lnTo>
                    <a:lnTo>
                      <a:pt x="6279" y="206"/>
                    </a:lnTo>
                    <a:lnTo>
                      <a:pt x="6216" y="186"/>
                    </a:lnTo>
                    <a:lnTo>
                      <a:pt x="6172" y="155"/>
                    </a:lnTo>
                    <a:lnTo>
                      <a:pt x="6103" y="70"/>
                    </a:lnTo>
                    <a:lnTo>
                      <a:pt x="6052" y="31"/>
                    </a:lnTo>
                    <a:lnTo>
                      <a:pt x="5995" y="2"/>
                    </a:lnTo>
                    <a:lnTo>
                      <a:pt x="5970" y="0"/>
                    </a:lnTo>
                    <a:lnTo>
                      <a:pt x="5961" y="16"/>
                    </a:lnTo>
                    <a:lnTo>
                      <a:pt x="5953" y="44"/>
                    </a:lnTo>
                    <a:lnTo>
                      <a:pt x="5961" y="69"/>
                    </a:lnTo>
                    <a:lnTo>
                      <a:pt x="5959" y="117"/>
                    </a:lnTo>
                    <a:lnTo>
                      <a:pt x="5930" y="157"/>
                    </a:lnTo>
                    <a:lnTo>
                      <a:pt x="5900" y="208"/>
                    </a:lnTo>
                    <a:lnTo>
                      <a:pt x="5864" y="253"/>
                    </a:lnTo>
                    <a:lnTo>
                      <a:pt x="5858" y="287"/>
                    </a:lnTo>
                    <a:lnTo>
                      <a:pt x="5864" y="423"/>
                    </a:lnTo>
                    <a:lnTo>
                      <a:pt x="5888" y="458"/>
                    </a:lnTo>
                    <a:lnTo>
                      <a:pt x="5919" y="476"/>
                    </a:lnTo>
                    <a:lnTo>
                      <a:pt x="5923" y="509"/>
                    </a:lnTo>
                    <a:lnTo>
                      <a:pt x="5911" y="604"/>
                    </a:lnTo>
                    <a:lnTo>
                      <a:pt x="5894" y="640"/>
                    </a:lnTo>
                    <a:lnTo>
                      <a:pt x="5883" y="670"/>
                    </a:lnTo>
                    <a:lnTo>
                      <a:pt x="5893" y="693"/>
                    </a:lnTo>
                    <a:lnTo>
                      <a:pt x="5911" y="688"/>
                    </a:lnTo>
                    <a:lnTo>
                      <a:pt x="5931" y="653"/>
                    </a:lnTo>
                    <a:lnTo>
                      <a:pt x="5975" y="637"/>
                    </a:lnTo>
                    <a:lnTo>
                      <a:pt x="5990" y="648"/>
                    </a:lnTo>
                    <a:lnTo>
                      <a:pt x="6000" y="682"/>
                    </a:lnTo>
                    <a:lnTo>
                      <a:pt x="6050" y="718"/>
                    </a:lnTo>
                    <a:lnTo>
                      <a:pt x="6077" y="718"/>
                    </a:lnTo>
                    <a:lnTo>
                      <a:pt x="6093" y="700"/>
                    </a:lnTo>
                    <a:lnTo>
                      <a:pt x="6121" y="707"/>
                    </a:lnTo>
                    <a:lnTo>
                      <a:pt x="6166" y="733"/>
                    </a:lnTo>
                    <a:lnTo>
                      <a:pt x="6210" y="739"/>
                    </a:lnTo>
                    <a:lnTo>
                      <a:pt x="6248" y="734"/>
                    </a:lnTo>
                    <a:lnTo>
                      <a:pt x="6248" y="734"/>
                    </a:lnTo>
                    <a:close/>
                    <a:moveTo>
                      <a:pt x="6089" y="972"/>
                    </a:moveTo>
                    <a:lnTo>
                      <a:pt x="6092" y="987"/>
                    </a:lnTo>
                    <a:lnTo>
                      <a:pt x="6123" y="1006"/>
                    </a:lnTo>
                    <a:lnTo>
                      <a:pt x="6159" y="1009"/>
                    </a:lnTo>
                    <a:lnTo>
                      <a:pt x="6193" y="983"/>
                    </a:lnTo>
                    <a:lnTo>
                      <a:pt x="6232" y="949"/>
                    </a:lnTo>
                    <a:lnTo>
                      <a:pt x="6256" y="936"/>
                    </a:lnTo>
                    <a:lnTo>
                      <a:pt x="6270" y="889"/>
                    </a:lnTo>
                    <a:lnTo>
                      <a:pt x="6291" y="838"/>
                    </a:lnTo>
                    <a:lnTo>
                      <a:pt x="6283" y="815"/>
                    </a:lnTo>
                    <a:lnTo>
                      <a:pt x="6211" y="776"/>
                    </a:lnTo>
                    <a:lnTo>
                      <a:pt x="6150" y="766"/>
                    </a:lnTo>
                    <a:lnTo>
                      <a:pt x="6099" y="778"/>
                    </a:lnTo>
                    <a:lnTo>
                      <a:pt x="6068" y="792"/>
                    </a:lnTo>
                    <a:lnTo>
                      <a:pt x="6036" y="779"/>
                    </a:lnTo>
                    <a:lnTo>
                      <a:pt x="6015" y="780"/>
                    </a:lnTo>
                    <a:lnTo>
                      <a:pt x="5986" y="804"/>
                    </a:lnTo>
                    <a:lnTo>
                      <a:pt x="5943" y="805"/>
                    </a:lnTo>
                    <a:lnTo>
                      <a:pt x="5933" y="815"/>
                    </a:lnTo>
                    <a:lnTo>
                      <a:pt x="5947" y="837"/>
                    </a:lnTo>
                    <a:lnTo>
                      <a:pt x="5989" y="846"/>
                    </a:lnTo>
                    <a:lnTo>
                      <a:pt x="6006" y="875"/>
                    </a:lnTo>
                    <a:lnTo>
                      <a:pt x="6042" y="892"/>
                    </a:lnTo>
                    <a:lnTo>
                      <a:pt x="6064" y="926"/>
                    </a:lnTo>
                    <a:lnTo>
                      <a:pt x="6107" y="941"/>
                    </a:lnTo>
                    <a:lnTo>
                      <a:pt x="6170" y="939"/>
                    </a:lnTo>
                    <a:lnTo>
                      <a:pt x="6193" y="947"/>
                    </a:lnTo>
                    <a:lnTo>
                      <a:pt x="6179" y="957"/>
                    </a:lnTo>
                    <a:lnTo>
                      <a:pt x="6130" y="972"/>
                    </a:lnTo>
                    <a:lnTo>
                      <a:pt x="6089" y="972"/>
                    </a:lnTo>
                    <a:lnTo>
                      <a:pt x="6089" y="972"/>
                    </a:lnTo>
                    <a:close/>
                    <a:moveTo>
                      <a:pt x="7250" y="1077"/>
                    </a:moveTo>
                    <a:lnTo>
                      <a:pt x="7250" y="1104"/>
                    </a:lnTo>
                    <a:lnTo>
                      <a:pt x="7208" y="1159"/>
                    </a:lnTo>
                    <a:lnTo>
                      <a:pt x="7159" y="1172"/>
                    </a:lnTo>
                    <a:lnTo>
                      <a:pt x="7118" y="1211"/>
                    </a:lnTo>
                    <a:lnTo>
                      <a:pt x="7086" y="1236"/>
                    </a:lnTo>
                    <a:lnTo>
                      <a:pt x="7055" y="1240"/>
                    </a:lnTo>
                    <a:lnTo>
                      <a:pt x="7021" y="1211"/>
                    </a:lnTo>
                    <a:lnTo>
                      <a:pt x="7000" y="1192"/>
                    </a:lnTo>
                    <a:lnTo>
                      <a:pt x="6968" y="1195"/>
                    </a:lnTo>
                    <a:lnTo>
                      <a:pt x="6941" y="1186"/>
                    </a:lnTo>
                    <a:lnTo>
                      <a:pt x="6906" y="1195"/>
                    </a:lnTo>
                    <a:lnTo>
                      <a:pt x="6824" y="1190"/>
                    </a:lnTo>
                    <a:lnTo>
                      <a:pt x="6781" y="1165"/>
                    </a:lnTo>
                    <a:lnTo>
                      <a:pt x="6759" y="1149"/>
                    </a:lnTo>
                    <a:lnTo>
                      <a:pt x="6713" y="1165"/>
                    </a:lnTo>
                    <a:lnTo>
                      <a:pt x="6672" y="1186"/>
                    </a:lnTo>
                    <a:lnTo>
                      <a:pt x="6641" y="1177"/>
                    </a:lnTo>
                    <a:lnTo>
                      <a:pt x="6604" y="1154"/>
                    </a:lnTo>
                    <a:lnTo>
                      <a:pt x="6562" y="1149"/>
                    </a:lnTo>
                    <a:lnTo>
                      <a:pt x="6538" y="1124"/>
                    </a:lnTo>
                    <a:lnTo>
                      <a:pt x="6517" y="1058"/>
                    </a:lnTo>
                    <a:lnTo>
                      <a:pt x="6492" y="1025"/>
                    </a:lnTo>
                    <a:lnTo>
                      <a:pt x="6470" y="1021"/>
                    </a:lnTo>
                    <a:lnTo>
                      <a:pt x="6440" y="1038"/>
                    </a:lnTo>
                    <a:lnTo>
                      <a:pt x="6411" y="1014"/>
                    </a:lnTo>
                    <a:lnTo>
                      <a:pt x="6382" y="1001"/>
                    </a:lnTo>
                    <a:lnTo>
                      <a:pt x="6374" y="1018"/>
                    </a:lnTo>
                    <a:lnTo>
                      <a:pt x="6382" y="1043"/>
                    </a:lnTo>
                    <a:lnTo>
                      <a:pt x="6364" y="1050"/>
                    </a:lnTo>
                    <a:lnTo>
                      <a:pt x="6351" y="1037"/>
                    </a:lnTo>
                    <a:lnTo>
                      <a:pt x="6315" y="1014"/>
                    </a:lnTo>
                    <a:lnTo>
                      <a:pt x="6322" y="996"/>
                    </a:lnTo>
                    <a:lnTo>
                      <a:pt x="6361" y="972"/>
                    </a:lnTo>
                    <a:lnTo>
                      <a:pt x="6366" y="950"/>
                    </a:lnTo>
                    <a:lnTo>
                      <a:pt x="6352" y="897"/>
                    </a:lnTo>
                    <a:lnTo>
                      <a:pt x="6362" y="865"/>
                    </a:lnTo>
                    <a:lnTo>
                      <a:pt x="6402" y="829"/>
                    </a:lnTo>
                    <a:lnTo>
                      <a:pt x="6388" y="807"/>
                    </a:lnTo>
                    <a:lnTo>
                      <a:pt x="6366" y="807"/>
                    </a:lnTo>
                    <a:lnTo>
                      <a:pt x="6333" y="787"/>
                    </a:lnTo>
                    <a:lnTo>
                      <a:pt x="6329" y="759"/>
                    </a:lnTo>
                    <a:lnTo>
                      <a:pt x="6346" y="706"/>
                    </a:lnTo>
                    <a:lnTo>
                      <a:pt x="6376" y="679"/>
                    </a:lnTo>
                    <a:lnTo>
                      <a:pt x="6421" y="668"/>
                    </a:lnTo>
                    <a:lnTo>
                      <a:pt x="6425" y="641"/>
                    </a:lnTo>
                    <a:lnTo>
                      <a:pt x="6440" y="616"/>
                    </a:lnTo>
                    <a:lnTo>
                      <a:pt x="6483" y="599"/>
                    </a:lnTo>
                    <a:lnTo>
                      <a:pt x="6538" y="562"/>
                    </a:lnTo>
                    <a:lnTo>
                      <a:pt x="6553" y="521"/>
                    </a:lnTo>
                    <a:lnTo>
                      <a:pt x="6566" y="511"/>
                    </a:lnTo>
                    <a:lnTo>
                      <a:pt x="6631" y="517"/>
                    </a:lnTo>
                    <a:lnTo>
                      <a:pt x="6677" y="550"/>
                    </a:lnTo>
                    <a:lnTo>
                      <a:pt x="6735" y="628"/>
                    </a:lnTo>
                    <a:lnTo>
                      <a:pt x="6750" y="661"/>
                    </a:lnTo>
                    <a:lnTo>
                      <a:pt x="6732" y="716"/>
                    </a:lnTo>
                    <a:lnTo>
                      <a:pt x="6748" y="730"/>
                    </a:lnTo>
                    <a:lnTo>
                      <a:pt x="6739" y="761"/>
                    </a:lnTo>
                    <a:lnTo>
                      <a:pt x="6721" y="790"/>
                    </a:lnTo>
                    <a:lnTo>
                      <a:pt x="6726" y="816"/>
                    </a:lnTo>
                    <a:lnTo>
                      <a:pt x="6744" y="802"/>
                    </a:lnTo>
                    <a:lnTo>
                      <a:pt x="6765" y="756"/>
                    </a:lnTo>
                    <a:lnTo>
                      <a:pt x="6772" y="715"/>
                    </a:lnTo>
                    <a:lnTo>
                      <a:pt x="6773" y="685"/>
                    </a:lnTo>
                    <a:lnTo>
                      <a:pt x="6787" y="657"/>
                    </a:lnTo>
                    <a:lnTo>
                      <a:pt x="6783" y="636"/>
                    </a:lnTo>
                    <a:lnTo>
                      <a:pt x="6739" y="583"/>
                    </a:lnTo>
                    <a:lnTo>
                      <a:pt x="6733" y="561"/>
                    </a:lnTo>
                    <a:lnTo>
                      <a:pt x="6739" y="538"/>
                    </a:lnTo>
                    <a:lnTo>
                      <a:pt x="6796" y="530"/>
                    </a:lnTo>
                    <a:lnTo>
                      <a:pt x="6862" y="537"/>
                    </a:lnTo>
                    <a:lnTo>
                      <a:pt x="6967" y="625"/>
                    </a:lnTo>
                    <a:lnTo>
                      <a:pt x="6984" y="629"/>
                    </a:lnTo>
                    <a:lnTo>
                      <a:pt x="7003" y="643"/>
                    </a:lnTo>
                    <a:lnTo>
                      <a:pt x="7005" y="682"/>
                    </a:lnTo>
                    <a:lnTo>
                      <a:pt x="7034" y="700"/>
                    </a:lnTo>
                    <a:lnTo>
                      <a:pt x="7042" y="748"/>
                    </a:lnTo>
                    <a:lnTo>
                      <a:pt x="7042" y="793"/>
                    </a:lnTo>
                    <a:lnTo>
                      <a:pt x="7092" y="845"/>
                    </a:lnTo>
                    <a:lnTo>
                      <a:pt x="7129" y="896"/>
                    </a:lnTo>
                    <a:lnTo>
                      <a:pt x="7127" y="915"/>
                    </a:lnTo>
                    <a:lnTo>
                      <a:pt x="7095" y="916"/>
                    </a:lnTo>
                    <a:lnTo>
                      <a:pt x="7073" y="902"/>
                    </a:lnTo>
                    <a:lnTo>
                      <a:pt x="7053" y="903"/>
                    </a:lnTo>
                    <a:lnTo>
                      <a:pt x="7058" y="944"/>
                    </a:lnTo>
                    <a:lnTo>
                      <a:pt x="7096" y="970"/>
                    </a:lnTo>
                    <a:lnTo>
                      <a:pt x="7142" y="977"/>
                    </a:lnTo>
                    <a:lnTo>
                      <a:pt x="7183" y="1022"/>
                    </a:lnTo>
                    <a:lnTo>
                      <a:pt x="7207" y="1029"/>
                    </a:lnTo>
                    <a:lnTo>
                      <a:pt x="7250" y="1077"/>
                    </a:lnTo>
                    <a:lnTo>
                      <a:pt x="7250" y="1077"/>
                    </a:lnTo>
                    <a:close/>
                    <a:moveTo>
                      <a:pt x="13508" y="120"/>
                    </a:moveTo>
                    <a:lnTo>
                      <a:pt x="13523" y="55"/>
                    </a:lnTo>
                    <a:lnTo>
                      <a:pt x="13570" y="8"/>
                    </a:lnTo>
                    <a:lnTo>
                      <a:pt x="13582" y="18"/>
                    </a:lnTo>
                    <a:lnTo>
                      <a:pt x="13584" y="47"/>
                    </a:lnTo>
                    <a:lnTo>
                      <a:pt x="13595" y="61"/>
                    </a:lnTo>
                    <a:lnTo>
                      <a:pt x="13568" y="80"/>
                    </a:lnTo>
                    <a:lnTo>
                      <a:pt x="13547" y="105"/>
                    </a:lnTo>
                    <a:lnTo>
                      <a:pt x="13508" y="120"/>
                    </a:lnTo>
                    <a:lnTo>
                      <a:pt x="13508" y="120"/>
                    </a:lnTo>
                    <a:close/>
                    <a:moveTo>
                      <a:pt x="13877" y="706"/>
                    </a:moveTo>
                    <a:lnTo>
                      <a:pt x="13891" y="768"/>
                    </a:lnTo>
                    <a:lnTo>
                      <a:pt x="13951" y="845"/>
                    </a:lnTo>
                    <a:lnTo>
                      <a:pt x="13967" y="878"/>
                    </a:lnTo>
                    <a:lnTo>
                      <a:pt x="14084" y="919"/>
                    </a:lnTo>
                    <a:lnTo>
                      <a:pt x="14173" y="928"/>
                    </a:lnTo>
                    <a:lnTo>
                      <a:pt x="14232" y="956"/>
                    </a:lnTo>
                    <a:lnTo>
                      <a:pt x="14291" y="958"/>
                    </a:lnTo>
                    <a:lnTo>
                      <a:pt x="14335" y="944"/>
                    </a:lnTo>
                    <a:lnTo>
                      <a:pt x="14385" y="959"/>
                    </a:lnTo>
                    <a:lnTo>
                      <a:pt x="14416" y="947"/>
                    </a:lnTo>
                    <a:lnTo>
                      <a:pt x="14483" y="906"/>
                    </a:lnTo>
                    <a:lnTo>
                      <a:pt x="14496" y="861"/>
                    </a:lnTo>
                    <a:lnTo>
                      <a:pt x="14522" y="824"/>
                    </a:lnTo>
                    <a:lnTo>
                      <a:pt x="14509" y="776"/>
                    </a:lnTo>
                    <a:lnTo>
                      <a:pt x="14479" y="764"/>
                    </a:lnTo>
                    <a:lnTo>
                      <a:pt x="14455" y="767"/>
                    </a:lnTo>
                    <a:lnTo>
                      <a:pt x="14446" y="742"/>
                    </a:lnTo>
                    <a:lnTo>
                      <a:pt x="14448" y="722"/>
                    </a:lnTo>
                    <a:lnTo>
                      <a:pt x="14430" y="702"/>
                    </a:lnTo>
                    <a:lnTo>
                      <a:pt x="14403" y="719"/>
                    </a:lnTo>
                    <a:lnTo>
                      <a:pt x="14350" y="706"/>
                    </a:lnTo>
                    <a:lnTo>
                      <a:pt x="14268" y="722"/>
                    </a:lnTo>
                    <a:lnTo>
                      <a:pt x="14217" y="759"/>
                    </a:lnTo>
                    <a:lnTo>
                      <a:pt x="14182" y="767"/>
                    </a:lnTo>
                    <a:lnTo>
                      <a:pt x="14169" y="748"/>
                    </a:lnTo>
                    <a:lnTo>
                      <a:pt x="14161" y="719"/>
                    </a:lnTo>
                    <a:lnTo>
                      <a:pt x="14138" y="721"/>
                    </a:lnTo>
                    <a:lnTo>
                      <a:pt x="14100" y="729"/>
                    </a:lnTo>
                    <a:lnTo>
                      <a:pt x="14044" y="729"/>
                    </a:lnTo>
                    <a:lnTo>
                      <a:pt x="14018" y="719"/>
                    </a:lnTo>
                    <a:lnTo>
                      <a:pt x="14018" y="748"/>
                    </a:lnTo>
                    <a:lnTo>
                      <a:pt x="13995" y="772"/>
                    </a:lnTo>
                    <a:lnTo>
                      <a:pt x="13932" y="758"/>
                    </a:lnTo>
                    <a:lnTo>
                      <a:pt x="13908" y="734"/>
                    </a:lnTo>
                    <a:lnTo>
                      <a:pt x="13904" y="711"/>
                    </a:lnTo>
                    <a:lnTo>
                      <a:pt x="13877" y="706"/>
                    </a:lnTo>
                    <a:lnTo>
                      <a:pt x="13877" y="706"/>
                    </a:lnTo>
                    <a:close/>
                    <a:moveTo>
                      <a:pt x="12556" y="1294"/>
                    </a:moveTo>
                    <a:lnTo>
                      <a:pt x="12520" y="1211"/>
                    </a:lnTo>
                    <a:lnTo>
                      <a:pt x="12511" y="1169"/>
                    </a:lnTo>
                    <a:lnTo>
                      <a:pt x="12482" y="1148"/>
                    </a:lnTo>
                    <a:lnTo>
                      <a:pt x="12421" y="1142"/>
                    </a:lnTo>
                    <a:lnTo>
                      <a:pt x="12393" y="1098"/>
                    </a:lnTo>
                    <a:lnTo>
                      <a:pt x="12363" y="1075"/>
                    </a:lnTo>
                    <a:lnTo>
                      <a:pt x="12343" y="1067"/>
                    </a:lnTo>
                    <a:lnTo>
                      <a:pt x="12351" y="1094"/>
                    </a:lnTo>
                    <a:lnTo>
                      <a:pt x="12383" y="1144"/>
                    </a:lnTo>
                    <a:lnTo>
                      <a:pt x="12431" y="1191"/>
                    </a:lnTo>
                    <a:lnTo>
                      <a:pt x="12479" y="1261"/>
                    </a:lnTo>
                    <a:lnTo>
                      <a:pt x="12507" y="1331"/>
                    </a:lnTo>
                    <a:lnTo>
                      <a:pt x="12539" y="1347"/>
                    </a:lnTo>
                    <a:lnTo>
                      <a:pt x="12558" y="1334"/>
                    </a:lnTo>
                    <a:lnTo>
                      <a:pt x="12556" y="1294"/>
                    </a:lnTo>
                    <a:lnTo>
                      <a:pt x="12556" y="1294"/>
                    </a:lnTo>
                    <a:close/>
                    <a:moveTo>
                      <a:pt x="13225" y="1370"/>
                    </a:moveTo>
                    <a:lnTo>
                      <a:pt x="13202" y="1373"/>
                    </a:lnTo>
                    <a:lnTo>
                      <a:pt x="13182" y="1356"/>
                    </a:lnTo>
                    <a:lnTo>
                      <a:pt x="13179" y="1332"/>
                    </a:lnTo>
                    <a:lnTo>
                      <a:pt x="13187" y="1313"/>
                    </a:lnTo>
                    <a:lnTo>
                      <a:pt x="13206" y="1326"/>
                    </a:lnTo>
                    <a:lnTo>
                      <a:pt x="13220" y="1347"/>
                    </a:lnTo>
                    <a:lnTo>
                      <a:pt x="13253" y="1358"/>
                    </a:lnTo>
                    <a:lnTo>
                      <a:pt x="13266" y="1383"/>
                    </a:lnTo>
                    <a:lnTo>
                      <a:pt x="13264" y="1398"/>
                    </a:lnTo>
                    <a:lnTo>
                      <a:pt x="13292" y="1394"/>
                    </a:lnTo>
                    <a:lnTo>
                      <a:pt x="13322" y="1348"/>
                    </a:lnTo>
                    <a:lnTo>
                      <a:pt x="13354" y="1284"/>
                    </a:lnTo>
                    <a:lnTo>
                      <a:pt x="13410" y="1227"/>
                    </a:lnTo>
                    <a:lnTo>
                      <a:pt x="13451" y="1218"/>
                    </a:lnTo>
                    <a:lnTo>
                      <a:pt x="13482" y="1195"/>
                    </a:lnTo>
                    <a:lnTo>
                      <a:pt x="13496" y="1204"/>
                    </a:lnTo>
                    <a:lnTo>
                      <a:pt x="13483" y="1229"/>
                    </a:lnTo>
                    <a:lnTo>
                      <a:pt x="13517" y="1234"/>
                    </a:lnTo>
                    <a:lnTo>
                      <a:pt x="13544" y="1248"/>
                    </a:lnTo>
                    <a:lnTo>
                      <a:pt x="13570" y="1234"/>
                    </a:lnTo>
                    <a:lnTo>
                      <a:pt x="13571" y="1204"/>
                    </a:lnTo>
                    <a:lnTo>
                      <a:pt x="13624" y="1177"/>
                    </a:lnTo>
                    <a:lnTo>
                      <a:pt x="13651" y="1148"/>
                    </a:lnTo>
                    <a:lnTo>
                      <a:pt x="13634" y="1134"/>
                    </a:lnTo>
                    <a:lnTo>
                      <a:pt x="13590" y="1137"/>
                    </a:lnTo>
                    <a:lnTo>
                      <a:pt x="13537" y="1161"/>
                    </a:lnTo>
                    <a:lnTo>
                      <a:pt x="13491" y="1131"/>
                    </a:lnTo>
                    <a:lnTo>
                      <a:pt x="13434" y="1117"/>
                    </a:lnTo>
                    <a:lnTo>
                      <a:pt x="13415" y="1093"/>
                    </a:lnTo>
                    <a:lnTo>
                      <a:pt x="13373" y="1089"/>
                    </a:lnTo>
                    <a:lnTo>
                      <a:pt x="13367" y="1071"/>
                    </a:lnTo>
                    <a:lnTo>
                      <a:pt x="13313" y="1020"/>
                    </a:lnTo>
                    <a:lnTo>
                      <a:pt x="13287" y="1005"/>
                    </a:lnTo>
                    <a:lnTo>
                      <a:pt x="13272" y="948"/>
                    </a:lnTo>
                    <a:lnTo>
                      <a:pt x="13266" y="921"/>
                    </a:lnTo>
                    <a:lnTo>
                      <a:pt x="13240" y="891"/>
                    </a:lnTo>
                    <a:lnTo>
                      <a:pt x="13233" y="856"/>
                    </a:lnTo>
                    <a:lnTo>
                      <a:pt x="13196" y="837"/>
                    </a:lnTo>
                    <a:lnTo>
                      <a:pt x="13196" y="821"/>
                    </a:lnTo>
                    <a:lnTo>
                      <a:pt x="13216" y="811"/>
                    </a:lnTo>
                    <a:lnTo>
                      <a:pt x="13198" y="788"/>
                    </a:lnTo>
                    <a:lnTo>
                      <a:pt x="13218" y="773"/>
                    </a:lnTo>
                    <a:lnTo>
                      <a:pt x="13228" y="766"/>
                    </a:lnTo>
                    <a:lnTo>
                      <a:pt x="13226" y="740"/>
                    </a:lnTo>
                    <a:lnTo>
                      <a:pt x="13211" y="730"/>
                    </a:lnTo>
                    <a:lnTo>
                      <a:pt x="13182" y="711"/>
                    </a:lnTo>
                    <a:lnTo>
                      <a:pt x="13119" y="712"/>
                    </a:lnTo>
                    <a:lnTo>
                      <a:pt x="13078" y="702"/>
                    </a:lnTo>
                    <a:lnTo>
                      <a:pt x="13047" y="674"/>
                    </a:lnTo>
                    <a:lnTo>
                      <a:pt x="13010" y="674"/>
                    </a:lnTo>
                    <a:lnTo>
                      <a:pt x="12974" y="660"/>
                    </a:lnTo>
                    <a:lnTo>
                      <a:pt x="12964" y="670"/>
                    </a:lnTo>
                    <a:lnTo>
                      <a:pt x="13015" y="716"/>
                    </a:lnTo>
                    <a:lnTo>
                      <a:pt x="13042" y="723"/>
                    </a:lnTo>
                    <a:lnTo>
                      <a:pt x="13058" y="742"/>
                    </a:lnTo>
                    <a:lnTo>
                      <a:pt x="13015" y="742"/>
                    </a:lnTo>
                    <a:lnTo>
                      <a:pt x="13004" y="734"/>
                    </a:lnTo>
                    <a:lnTo>
                      <a:pt x="12976" y="734"/>
                    </a:lnTo>
                    <a:lnTo>
                      <a:pt x="12958" y="760"/>
                    </a:lnTo>
                    <a:lnTo>
                      <a:pt x="12966" y="798"/>
                    </a:lnTo>
                    <a:lnTo>
                      <a:pt x="12986" y="834"/>
                    </a:lnTo>
                    <a:lnTo>
                      <a:pt x="12997" y="882"/>
                    </a:lnTo>
                    <a:lnTo>
                      <a:pt x="13051" y="937"/>
                    </a:lnTo>
                    <a:lnTo>
                      <a:pt x="13063" y="958"/>
                    </a:lnTo>
                    <a:lnTo>
                      <a:pt x="13046" y="971"/>
                    </a:lnTo>
                    <a:lnTo>
                      <a:pt x="13007" y="977"/>
                    </a:lnTo>
                    <a:lnTo>
                      <a:pt x="12969" y="937"/>
                    </a:lnTo>
                    <a:lnTo>
                      <a:pt x="12952" y="887"/>
                    </a:lnTo>
                    <a:lnTo>
                      <a:pt x="12925" y="872"/>
                    </a:lnTo>
                    <a:lnTo>
                      <a:pt x="12891" y="881"/>
                    </a:lnTo>
                    <a:lnTo>
                      <a:pt x="12874" y="892"/>
                    </a:lnTo>
                    <a:lnTo>
                      <a:pt x="12860" y="881"/>
                    </a:lnTo>
                    <a:lnTo>
                      <a:pt x="12828" y="873"/>
                    </a:lnTo>
                    <a:lnTo>
                      <a:pt x="12825" y="838"/>
                    </a:lnTo>
                    <a:lnTo>
                      <a:pt x="12815" y="810"/>
                    </a:lnTo>
                    <a:lnTo>
                      <a:pt x="12780" y="805"/>
                    </a:lnTo>
                    <a:lnTo>
                      <a:pt x="12744" y="773"/>
                    </a:lnTo>
                    <a:lnTo>
                      <a:pt x="12695" y="768"/>
                    </a:lnTo>
                    <a:lnTo>
                      <a:pt x="12675" y="756"/>
                    </a:lnTo>
                    <a:lnTo>
                      <a:pt x="12660" y="725"/>
                    </a:lnTo>
                    <a:lnTo>
                      <a:pt x="12622" y="740"/>
                    </a:lnTo>
                    <a:lnTo>
                      <a:pt x="12595" y="762"/>
                    </a:lnTo>
                    <a:lnTo>
                      <a:pt x="12597" y="813"/>
                    </a:lnTo>
                    <a:lnTo>
                      <a:pt x="12586" y="823"/>
                    </a:lnTo>
                    <a:lnTo>
                      <a:pt x="12590" y="870"/>
                    </a:lnTo>
                    <a:lnTo>
                      <a:pt x="12578" y="910"/>
                    </a:lnTo>
                    <a:lnTo>
                      <a:pt x="12540" y="941"/>
                    </a:lnTo>
                    <a:lnTo>
                      <a:pt x="12536" y="963"/>
                    </a:lnTo>
                    <a:lnTo>
                      <a:pt x="12578" y="1021"/>
                    </a:lnTo>
                    <a:lnTo>
                      <a:pt x="12600" y="1024"/>
                    </a:lnTo>
                    <a:lnTo>
                      <a:pt x="12624" y="1043"/>
                    </a:lnTo>
                    <a:lnTo>
                      <a:pt x="12610" y="1055"/>
                    </a:lnTo>
                    <a:lnTo>
                      <a:pt x="12588" y="1058"/>
                    </a:lnTo>
                    <a:lnTo>
                      <a:pt x="12594" y="1093"/>
                    </a:lnTo>
                    <a:lnTo>
                      <a:pt x="12620" y="1100"/>
                    </a:lnTo>
                    <a:lnTo>
                      <a:pt x="12634" y="1131"/>
                    </a:lnTo>
                    <a:lnTo>
                      <a:pt x="12633" y="1154"/>
                    </a:lnTo>
                    <a:lnTo>
                      <a:pt x="12653" y="1172"/>
                    </a:lnTo>
                    <a:lnTo>
                      <a:pt x="12693" y="1185"/>
                    </a:lnTo>
                    <a:lnTo>
                      <a:pt x="12705" y="1204"/>
                    </a:lnTo>
                    <a:lnTo>
                      <a:pt x="12698" y="1217"/>
                    </a:lnTo>
                    <a:lnTo>
                      <a:pt x="12713" y="1234"/>
                    </a:lnTo>
                    <a:lnTo>
                      <a:pt x="12730" y="1225"/>
                    </a:lnTo>
                    <a:lnTo>
                      <a:pt x="12753" y="1229"/>
                    </a:lnTo>
                    <a:lnTo>
                      <a:pt x="12767" y="1247"/>
                    </a:lnTo>
                    <a:lnTo>
                      <a:pt x="12743" y="1265"/>
                    </a:lnTo>
                    <a:lnTo>
                      <a:pt x="12732" y="1257"/>
                    </a:lnTo>
                    <a:lnTo>
                      <a:pt x="12707" y="1257"/>
                    </a:lnTo>
                    <a:lnTo>
                      <a:pt x="12698" y="1276"/>
                    </a:lnTo>
                    <a:lnTo>
                      <a:pt x="12709" y="1306"/>
                    </a:lnTo>
                    <a:lnTo>
                      <a:pt x="12812" y="1376"/>
                    </a:lnTo>
                    <a:lnTo>
                      <a:pt x="12867" y="1397"/>
                    </a:lnTo>
                    <a:lnTo>
                      <a:pt x="12917" y="1392"/>
                    </a:lnTo>
                    <a:lnTo>
                      <a:pt x="12947" y="1416"/>
                    </a:lnTo>
                    <a:lnTo>
                      <a:pt x="12977" y="1437"/>
                    </a:lnTo>
                    <a:lnTo>
                      <a:pt x="12989" y="1470"/>
                    </a:lnTo>
                    <a:lnTo>
                      <a:pt x="13021" y="1500"/>
                    </a:lnTo>
                    <a:lnTo>
                      <a:pt x="13067" y="1499"/>
                    </a:lnTo>
                    <a:lnTo>
                      <a:pt x="13119" y="1481"/>
                    </a:lnTo>
                    <a:lnTo>
                      <a:pt x="13163" y="1484"/>
                    </a:lnTo>
                    <a:lnTo>
                      <a:pt x="13196" y="1505"/>
                    </a:lnTo>
                    <a:lnTo>
                      <a:pt x="13227" y="1499"/>
                    </a:lnTo>
                    <a:lnTo>
                      <a:pt x="13243" y="1468"/>
                    </a:lnTo>
                    <a:lnTo>
                      <a:pt x="13243" y="1437"/>
                    </a:lnTo>
                    <a:lnTo>
                      <a:pt x="13223" y="1397"/>
                    </a:lnTo>
                    <a:lnTo>
                      <a:pt x="13225" y="1370"/>
                    </a:lnTo>
                    <a:lnTo>
                      <a:pt x="13225" y="1370"/>
                    </a:lnTo>
                    <a:close/>
                    <a:moveTo>
                      <a:pt x="13242" y="703"/>
                    </a:moveTo>
                    <a:lnTo>
                      <a:pt x="13292" y="703"/>
                    </a:lnTo>
                    <a:lnTo>
                      <a:pt x="13346" y="700"/>
                    </a:lnTo>
                    <a:lnTo>
                      <a:pt x="13381" y="706"/>
                    </a:lnTo>
                    <a:lnTo>
                      <a:pt x="13465" y="748"/>
                    </a:lnTo>
                    <a:lnTo>
                      <a:pt x="13504" y="752"/>
                    </a:lnTo>
                    <a:lnTo>
                      <a:pt x="13533" y="744"/>
                    </a:lnTo>
                    <a:lnTo>
                      <a:pt x="13615" y="754"/>
                    </a:lnTo>
                    <a:lnTo>
                      <a:pt x="13701" y="780"/>
                    </a:lnTo>
                    <a:lnTo>
                      <a:pt x="13702" y="797"/>
                    </a:lnTo>
                    <a:lnTo>
                      <a:pt x="13664" y="807"/>
                    </a:lnTo>
                    <a:lnTo>
                      <a:pt x="13642" y="832"/>
                    </a:lnTo>
                    <a:lnTo>
                      <a:pt x="13642" y="866"/>
                    </a:lnTo>
                    <a:lnTo>
                      <a:pt x="13676" y="906"/>
                    </a:lnTo>
                    <a:lnTo>
                      <a:pt x="13717" y="916"/>
                    </a:lnTo>
                    <a:lnTo>
                      <a:pt x="13718" y="959"/>
                    </a:lnTo>
                    <a:lnTo>
                      <a:pt x="13726" y="985"/>
                    </a:lnTo>
                    <a:lnTo>
                      <a:pt x="13708" y="1015"/>
                    </a:lnTo>
                    <a:lnTo>
                      <a:pt x="13700" y="1061"/>
                    </a:lnTo>
                    <a:lnTo>
                      <a:pt x="13671" y="1090"/>
                    </a:lnTo>
                    <a:lnTo>
                      <a:pt x="13660" y="1113"/>
                    </a:lnTo>
                    <a:lnTo>
                      <a:pt x="13627" y="1087"/>
                    </a:lnTo>
                    <a:lnTo>
                      <a:pt x="13608" y="1089"/>
                    </a:lnTo>
                    <a:lnTo>
                      <a:pt x="13571" y="1116"/>
                    </a:lnTo>
                    <a:lnTo>
                      <a:pt x="13535" y="1118"/>
                    </a:lnTo>
                    <a:lnTo>
                      <a:pt x="13458" y="1080"/>
                    </a:lnTo>
                    <a:lnTo>
                      <a:pt x="13417" y="1043"/>
                    </a:lnTo>
                    <a:lnTo>
                      <a:pt x="13341" y="979"/>
                    </a:lnTo>
                    <a:lnTo>
                      <a:pt x="13330" y="933"/>
                    </a:lnTo>
                    <a:lnTo>
                      <a:pt x="13340" y="903"/>
                    </a:lnTo>
                    <a:lnTo>
                      <a:pt x="13343" y="871"/>
                    </a:lnTo>
                    <a:lnTo>
                      <a:pt x="13351" y="854"/>
                    </a:lnTo>
                    <a:lnTo>
                      <a:pt x="13334" y="823"/>
                    </a:lnTo>
                    <a:lnTo>
                      <a:pt x="13314" y="811"/>
                    </a:lnTo>
                    <a:lnTo>
                      <a:pt x="13308" y="778"/>
                    </a:lnTo>
                    <a:lnTo>
                      <a:pt x="13288" y="766"/>
                    </a:lnTo>
                    <a:lnTo>
                      <a:pt x="13264" y="737"/>
                    </a:lnTo>
                    <a:lnTo>
                      <a:pt x="13242" y="703"/>
                    </a:lnTo>
                    <a:lnTo>
                      <a:pt x="13242" y="703"/>
                    </a:lnTo>
                    <a:close/>
                    <a:moveTo>
                      <a:pt x="7550" y="1590"/>
                    </a:moveTo>
                    <a:lnTo>
                      <a:pt x="7550" y="1590"/>
                    </a:lnTo>
                    <a:lnTo>
                      <a:pt x="7555" y="1588"/>
                    </a:lnTo>
                    <a:lnTo>
                      <a:pt x="7571" y="1582"/>
                    </a:lnTo>
                    <a:lnTo>
                      <a:pt x="7594" y="1575"/>
                    </a:lnTo>
                    <a:lnTo>
                      <a:pt x="7616" y="1530"/>
                    </a:lnTo>
                    <a:lnTo>
                      <a:pt x="7653" y="1478"/>
                    </a:lnTo>
                    <a:lnTo>
                      <a:pt x="7679" y="1463"/>
                    </a:lnTo>
                    <a:lnTo>
                      <a:pt x="7673" y="1442"/>
                    </a:lnTo>
                    <a:lnTo>
                      <a:pt x="7678" y="1414"/>
                    </a:lnTo>
                    <a:lnTo>
                      <a:pt x="7753" y="1363"/>
                    </a:lnTo>
                    <a:lnTo>
                      <a:pt x="7782" y="1358"/>
                    </a:lnTo>
                    <a:lnTo>
                      <a:pt x="7801" y="1376"/>
                    </a:lnTo>
                    <a:lnTo>
                      <a:pt x="7826" y="1372"/>
                    </a:lnTo>
                    <a:lnTo>
                      <a:pt x="7842" y="1340"/>
                    </a:lnTo>
                    <a:lnTo>
                      <a:pt x="7857" y="1314"/>
                    </a:lnTo>
                    <a:lnTo>
                      <a:pt x="7895" y="1300"/>
                    </a:lnTo>
                    <a:lnTo>
                      <a:pt x="7950" y="1256"/>
                    </a:lnTo>
                    <a:lnTo>
                      <a:pt x="7960" y="1228"/>
                    </a:lnTo>
                    <a:lnTo>
                      <a:pt x="7982" y="1211"/>
                    </a:lnTo>
                    <a:lnTo>
                      <a:pt x="8012" y="1144"/>
                    </a:lnTo>
                    <a:lnTo>
                      <a:pt x="8003" y="1107"/>
                    </a:lnTo>
                    <a:lnTo>
                      <a:pt x="7958" y="1055"/>
                    </a:lnTo>
                    <a:lnTo>
                      <a:pt x="7938" y="1014"/>
                    </a:lnTo>
                    <a:lnTo>
                      <a:pt x="7936" y="983"/>
                    </a:lnTo>
                    <a:lnTo>
                      <a:pt x="7882" y="947"/>
                    </a:lnTo>
                    <a:lnTo>
                      <a:pt x="7849" y="944"/>
                    </a:lnTo>
                    <a:lnTo>
                      <a:pt x="7833" y="953"/>
                    </a:lnTo>
                    <a:lnTo>
                      <a:pt x="7808" y="938"/>
                    </a:lnTo>
                    <a:lnTo>
                      <a:pt x="7766" y="921"/>
                    </a:lnTo>
                    <a:lnTo>
                      <a:pt x="7725" y="881"/>
                    </a:lnTo>
                    <a:lnTo>
                      <a:pt x="7707" y="876"/>
                    </a:lnTo>
                    <a:lnTo>
                      <a:pt x="7698" y="891"/>
                    </a:lnTo>
                    <a:lnTo>
                      <a:pt x="7673" y="882"/>
                    </a:lnTo>
                    <a:lnTo>
                      <a:pt x="7665" y="858"/>
                    </a:lnTo>
                    <a:lnTo>
                      <a:pt x="7639" y="828"/>
                    </a:lnTo>
                    <a:lnTo>
                      <a:pt x="7616" y="829"/>
                    </a:lnTo>
                    <a:lnTo>
                      <a:pt x="7610" y="860"/>
                    </a:lnTo>
                    <a:lnTo>
                      <a:pt x="7594" y="858"/>
                    </a:lnTo>
                    <a:lnTo>
                      <a:pt x="7560" y="815"/>
                    </a:lnTo>
                    <a:lnTo>
                      <a:pt x="7540" y="801"/>
                    </a:lnTo>
                    <a:lnTo>
                      <a:pt x="7538" y="818"/>
                    </a:lnTo>
                    <a:lnTo>
                      <a:pt x="7563" y="847"/>
                    </a:lnTo>
                    <a:lnTo>
                      <a:pt x="7567" y="870"/>
                    </a:lnTo>
                    <a:lnTo>
                      <a:pt x="7543" y="889"/>
                    </a:lnTo>
                    <a:lnTo>
                      <a:pt x="7547" y="920"/>
                    </a:lnTo>
                    <a:lnTo>
                      <a:pt x="7528" y="918"/>
                    </a:lnTo>
                    <a:lnTo>
                      <a:pt x="7514" y="895"/>
                    </a:lnTo>
                    <a:lnTo>
                      <a:pt x="7507" y="783"/>
                    </a:lnTo>
                    <a:lnTo>
                      <a:pt x="7474" y="767"/>
                    </a:lnTo>
                    <a:lnTo>
                      <a:pt x="7440" y="760"/>
                    </a:lnTo>
                    <a:lnTo>
                      <a:pt x="7395" y="739"/>
                    </a:lnTo>
                    <a:lnTo>
                      <a:pt x="7372" y="739"/>
                    </a:lnTo>
                    <a:lnTo>
                      <a:pt x="7352" y="766"/>
                    </a:lnTo>
                    <a:lnTo>
                      <a:pt x="7359" y="798"/>
                    </a:lnTo>
                    <a:lnTo>
                      <a:pt x="7394" y="821"/>
                    </a:lnTo>
                    <a:lnTo>
                      <a:pt x="7419" y="852"/>
                    </a:lnTo>
                    <a:lnTo>
                      <a:pt x="7405" y="866"/>
                    </a:lnTo>
                    <a:lnTo>
                      <a:pt x="7377" y="864"/>
                    </a:lnTo>
                    <a:lnTo>
                      <a:pt x="7365" y="842"/>
                    </a:lnTo>
                    <a:lnTo>
                      <a:pt x="7342" y="824"/>
                    </a:lnTo>
                    <a:lnTo>
                      <a:pt x="7328" y="826"/>
                    </a:lnTo>
                    <a:lnTo>
                      <a:pt x="7334" y="848"/>
                    </a:lnTo>
                    <a:lnTo>
                      <a:pt x="7345" y="877"/>
                    </a:lnTo>
                    <a:lnTo>
                      <a:pt x="7336" y="887"/>
                    </a:lnTo>
                    <a:lnTo>
                      <a:pt x="7336" y="926"/>
                    </a:lnTo>
                    <a:lnTo>
                      <a:pt x="7352" y="944"/>
                    </a:lnTo>
                    <a:lnTo>
                      <a:pt x="7378" y="950"/>
                    </a:lnTo>
                    <a:lnTo>
                      <a:pt x="7392" y="970"/>
                    </a:lnTo>
                    <a:lnTo>
                      <a:pt x="7386" y="999"/>
                    </a:lnTo>
                    <a:lnTo>
                      <a:pt x="7423" y="1085"/>
                    </a:lnTo>
                    <a:lnTo>
                      <a:pt x="7449" y="1111"/>
                    </a:lnTo>
                    <a:lnTo>
                      <a:pt x="7480" y="1111"/>
                    </a:lnTo>
                    <a:lnTo>
                      <a:pt x="7459" y="1130"/>
                    </a:lnTo>
                    <a:lnTo>
                      <a:pt x="7426" y="1136"/>
                    </a:lnTo>
                    <a:lnTo>
                      <a:pt x="7410" y="1194"/>
                    </a:lnTo>
                    <a:lnTo>
                      <a:pt x="7439" y="1254"/>
                    </a:lnTo>
                    <a:lnTo>
                      <a:pt x="7451" y="1299"/>
                    </a:lnTo>
                    <a:lnTo>
                      <a:pt x="7449" y="1341"/>
                    </a:lnTo>
                    <a:lnTo>
                      <a:pt x="7467" y="1355"/>
                    </a:lnTo>
                    <a:lnTo>
                      <a:pt x="7473" y="1388"/>
                    </a:lnTo>
                    <a:lnTo>
                      <a:pt x="7460" y="1407"/>
                    </a:lnTo>
                    <a:lnTo>
                      <a:pt x="7482" y="1457"/>
                    </a:lnTo>
                    <a:lnTo>
                      <a:pt x="7500" y="1509"/>
                    </a:lnTo>
                    <a:lnTo>
                      <a:pt x="7530" y="1537"/>
                    </a:lnTo>
                    <a:lnTo>
                      <a:pt x="7529" y="1570"/>
                    </a:lnTo>
                    <a:lnTo>
                      <a:pt x="7550" y="1590"/>
                    </a:lnTo>
                    <a:lnTo>
                      <a:pt x="7550" y="1590"/>
                    </a:lnTo>
                    <a:close/>
                    <a:moveTo>
                      <a:pt x="8210" y="1211"/>
                    </a:moveTo>
                    <a:lnTo>
                      <a:pt x="8239" y="1186"/>
                    </a:lnTo>
                    <a:lnTo>
                      <a:pt x="8240" y="1169"/>
                    </a:lnTo>
                    <a:lnTo>
                      <a:pt x="8227" y="1160"/>
                    </a:lnTo>
                    <a:lnTo>
                      <a:pt x="8239" y="1142"/>
                    </a:lnTo>
                    <a:lnTo>
                      <a:pt x="8257" y="1136"/>
                    </a:lnTo>
                    <a:lnTo>
                      <a:pt x="8247" y="1117"/>
                    </a:lnTo>
                    <a:lnTo>
                      <a:pt x="8222" y="1120"/>
                    </a:lnTo>
                    <a:lnTo>
                      <a:pt x="8197" y="1152"/>
                    </a:lnTo>
                    <a:lnTo>
                      <a:pt x="8201" y="1171"/>
                    </a:lnTo>
                    <a:lnTo>
                      <a:pt x="8182" y="1177"/>
                    </a:lnTo>
                    <a:lnTo>
                      <a:pt x="8175" y="1204"/>
                    </a:lnTo>
                    <a:lnTo>
                      <a:pt x="8192" y="1217"/>
                    </a:lnTo>
                    <a:lnTo>
                      <a:pt x="8210" y="1211"/>
                    </a:lnTo>
                    <a:lnTo>
                      <a:pt x="8210" y="1211"/>
                    </a:lnTo>
                    <a:close/>
                    <a:moveTo>
                      <a:pt x="8254" y="1214"/>
                    </a:moveTo>
                    <a:lnTo>
                      <a:pt x="8270" y="1190"/>
                    </a:lnTo>
                    <a:lnTo>
                      <a:pt x="8314" y="1194"/>
                    </a:lnTo>
                    <a:lnTo>
                      <a:pt x="8334" y="1161"/>
                    </a:lnTo>
                    <a:lnTo>
                      <a:pt x="8363" y="1162"/>
                    </a:lnTo>
                    <a:lnTo>
                      <a:pt x="8375" y="1152"/>
                    </a:lnTo>
                    <a:lnTo>
                      <a:pt x="8398" y="1159"/>
                    </a:lnTo>
                    <a:lnTo>
                      <a:pt x="8412" y="1198"/>
                    </a:lnTo>
                    <a:lnTo>
                      <a:pt x="8393" y="1231"/>
                    </a:lnTo>
                    <a:lnTo>
                      <a:pt x="8370" y="1210"/>
                    </a:lnTo>
                    <a:lnTo>
                      <a:pt x="8351" y="1231"/>
                    </a:lnTo>
                    <a:lnTo>
                      <a:pt x="8306" y="1237"/>
                    </a:lnTo>
                    <a:lnTo>
                      <a:pt x="8256" y="1234"/>
                    </a:lnTo>
                    <a:lnTo>
                      <a:pt x="8254" y="1214"/>
                    </a:lnTo>
                    <a:lnTo>
                      <a:pt x="8254" y="1214"/>
                    </a:lnTo>
                    <a:close/>
                    <a:moveTo>
                      <a:pt x="8601" y="1538"/>
                    </a:moveTo>
                    <a:lnTo>
                      <a:pt x="8601" y="1565"/>
                    </a:lnTo>
                    <a:lnTo>
                      <a:pt x="8633" y="1606"/>
                    </a:lnTo>
                    <a:lnTo>
                      <a:pt x="8626" y="1619"/>
                    </a:lnTo>
                    <a:lnTo>
                      <a:pt x="8629" y="1635"/>
                    </a:lnTo>
                    <a:lnTo>
                      <a:pt x="8660" y="1620"/>
                    </a:lnTo>
                    <a:lnTo>
                      <a:pt x="8672" y="1585"/>
                    </a:lnTo>
                    <a:lnTo>
                      <a:pt x="8650" y="1536"/>
                    </a:lnTo>
                    <a:lnTo>
                      <a:pt x="8615" y="1531"/>
                    </a:lnTo>
                    <a:lnTo>
                      <a:pt x="8601" y="1538"/>
                    </a:lnTo>
                    <a:lnTo>
                      <a:pt x="8601" y="1538"/>
                    </a:lnTo>
                    <a:close/>
                    <a:moveTo>
                      <a:pt x="11788" y="2573"/>
                    </a:moveTo>
                    <a:lnTo>
                      <a:pt x="11806" y="2564"/>
                    </a:lnTo>
                    <a:lnTo>
                      <a:pt x="11812" y="2525"/>
                    </a:lnTo>
                    <a:lnTo>
                      <a:pt x="11808" y="2497"/>
                    </a:lnTo>
                    <a:lnTo>
                      <a:pt x="11763" y="2519"/>
                    </a:lnTo>
                    <a:lnTo>
                      <a:pt x="11751" y="2529"/>
                    </a:lnTo>
                    <a:lnTo>
                      <a:pt x="11759" y="2559"/>
                    </a:lnTo>
                    <a:lnTo>
                      <a:pt x="11775" y="2560"/>
                    </a:lnTo>
                    <a:lnTo>
                      <a:pt x="11788" y="2573"/>
                    </a:lnTo>
                    <a:lnTo>
                      <a:pt x="11788" y="2573"/>
                    </a:lnTo>
                    <a:close/>
                    <a:moveTo>
                      <a:pt x="11362" y="3049"/>
                    </a:moveTo>
                    <a:lnTo>
                      <a:pt x="11406" y="3049"/>
                    </a:lnTo>
                    <a:lnTo>
                      <a:pt x="11420" y="3038"/>
                    </a:lnTo>
                    <a:lnTo>
                      <a:pt x="11434" y="3040"/>
                    </a:lnTo>
                    <a:lnTo>
                      <a:pt x="11436" y="3026"/>
                    </a:lnTo>
                    <a:lnTo>
                      <a:pt x="11414" y="3004"/>
                    </a:lnTo>
                    <a:lnTo>
                      <a:pt x="11378" y="2979"/>
                    </a:lnTo>
                    <a:lnTo>
                      <a:pt x="11352" y="2977"/>
                    </a:lnTo>
                    <a:lnTo>
                      <a:pt x="11336" y="2992"/>
                    </a:lnTo>
                    <a:lnTo>
                      <a:pt x="11338" y="3007"/>
                    </a:lnTo>
                    <a:lnTo>
                      <a:pt x="11362" y="3023"/>
                    </a:lnTo>
                    <a:lnTo>
                      <a:pt x="11362" y="3023"/>
                    </a:lnTo>
                    <a:lnTo>
                      <a:pt x="11362" y="3049"/>
                    </a:lnTo>
                    <a:lnTo>
                      <a:pt x="11362" y="3049"/>
                    </a:lnTo>
                    <a:close/>
                    <a:moveTo>
                      <a:pt x="10172" y="2837"/>
                    </a:moveTo>
                    <a:lnTo>
                      <a:pt x="10210" y="2846"/>
                    </a:lnTo>
                    <a:lnTo>
                      <a:pt x="10231" y="2857"/>
                    </a:lnTo>
                    <a:lnTo>
                      <a:pt x="10255" y="2843"/>
                    </a:lnTo>
                    <a:lnTo>
                      <a:pt x="10261" y="2816"/>
                    </a:lnTo>
                    <a:lnTo>
                      <a:pt x="10278" y="2802"/>
                    </a:lnTo>
                    <a:lnTo>
                      <a:pt x="10278" y="2780"/>
                    </a:lnTo>
                    <a:lnTo>
                      <a:pt x="10259" y="2760"/>
                    </a:lnTo>
                    <a:lnTo>
                      <a:pt x="10258" y="2703"/>
                    </a:lnTo>
                    <a:lnTo>
                      <a:pt x="10238" y="2680"/>
                    </a:lnTo>
                    <a:lnTo>
                      <a:pt x="10221" y="2644"/>
                    </a:lnTo>
                    <a:lnTo>
                      <a:pt x="10220" y="2623"/>
                    </a:lnTo>
                    <a:lnTo>
                      <a:pt x="10195" y="2617"/>
                    </a:lnTo>
                    <a:lnTo>
                      <a:pt x="10132" y="2635"/>
                    </a:lnTo>
                    <a:lnTo>
                      <a:pt x="10071" y="2672"/>
                    </a:lnTo>
                    <a:lnTo>
                      <a:pt x="10039" y="2673"/>
                    </a:lnTo>
                    <a:lnTo>
                      <a:pt x="10030" y="2688"/>
                    </a:lnTo>
                    <a:lnTo>
                      <a:pt x="10041" y="2724"/>
                    </a:lnTo>
                    <a:lnTo>
                      <a:pt x="10068" y="2742"/>
                    </a:lnTo>
                    <a:lnTo>
                      <a:pt x="10076" y="2771"/>
                    </a:lnTo>
                    <a:lnTo>
                      <a:pt x="10061" y="2787"/>
                    </a:lnTo>
                    <a:lnTo>
                      <a:pt x="10029" y="2785"/>
                    </a:lnTo>
                    <a:lnTo>
                      <a:pt x="10023" y="2795"/>
                    </a:lnTo>
                    <a:lnTo>
                      <a:pt x="10039" y="2815"/>
                    </a:lnTo>
                    <a:lnTo>
                      <a:pt x="10088" y="2817"/>
                    </a:lnTo>
                    <a:lnTo>
                      <a:pt x="10172" y="2837"/>
                    </a:lnTo>
                    <a:lnTo>
                      <a:pt x="10172" y="2837"/>
                    </a:lnTo>
                    <a:close/>
                    <a:moveTo>
                      <a:pt x="13658" y="1798"/>
                    </a:moveTo>
                    <a:lnTo>
                      <a:pt x="13674" y="1785"/>
                    </a:lnTo>
                    <a:lnTo>
                      <a:pt x="13667" y="1773"/>
                    </a:lnTo>
                    <a:lnTo>
                      <a:pt x="13679" y="1740"/>
                    </a:lnTo>
                    <a:lnTo>
                      <a:pt x="13698" y="1711"/>
                    </a:lnTo>
                    <a:lnTo>
                      <a:pt x="13690" y="1678"/>
                    </a:lnTo>
                    <a:lnTo>
                      <a:pt x="13644" y="1631"/>
                    </a:lnTo>
                    <a:lnTo>
                      <a:pt x="13628" y="1590"/>
                    </a:lnTo>
                    <a:lnTo>
                      <a:pt x="13603" y="1585"/>
                    </a:lnTo>
                    <a:lnTo>
                      <a:pt x="13564" y="1595"/>
                    </a:lnTo>
                    <a:lnTo>
                      <a:pt x="13532" y="1627"/>
                    </a:lnTo>
                    <a:lnTo>
                      <a:pt x="13535" y="1656"/>
                    </a:lnTo>
                    <a:lnTo>
                      <a:pt x="13559" y="1693"/>
                    </a:lnTo>
                    <a:lnTo>
                      <a:pt x="13554" y="1712"/>
                    </a:lnTo>
                    <a:lnTo>
                      <a:pt x="13566" y="1734"/>
                    </a:lnTo>
                    <a:lnTo>
                      <a:pt x="13595" y="1742"/>
                    </a:lnTo>
                    <a:lnTo>
                      <a:pt x="13626" y="1784"/>
                    </a:lnTo>
                    <a:lnTo>
                      <a:pt x="13658" y="1798"/>
                    </a:lnTo>
                    <a:lnTo>
                      <a:pt x="13658" y="1798"/>
                    </a:lnTo>
                    <a:close/>
                    <a:moveTo>
                      <a:pt x="13757" y="2054"/>
                    </a:moveTo>
                    <a:lnTo>
                      <a:pt x="13780" y="2042"/>
                    </a:lnTo>
                    <a:lnTo>
                      <a:pt x="13806" y="2002"/>
                    </a:lnTo>
                    <a:lnTo>
                      <a:pt x="13858" y="1971"/>
                    </a:lnTo>
                    <a:lnTo>
                      <a:pt x="13909" y="1982"/>
                    </a:lnTo>
                    <a:lnTo>
                      <a:pt x="13978" y="1983"/>
                    </a:lnTo>
                    <a:lnTo>
                      <a:pt x="14026" y="1974"/>
                    </a:lnTo>
                    <a:lnTo>
                      <a:pt x="14105" y="1975"/>
                    </a:lnTo>
                    <a:lnTo>
                      <a:pt x="14137" y="1953"/>
                    </a:lnTo>
                    <a:lnTo>
                      <a:pt x="14190" y="1949"/>
                    </a:lnTo>
                    <a:lnTo>
                      <a:pt x="14225" y="1958"/>
                    </a:lnTo>
                    <a:lnTo>
                      <a:pt x="14256" y="1931"/>
                    </a:lnTo>
                    <a:lnTo>
                      <a:pt x="14225" y="1904"/>
                    </a:lnTo>
                    <a:lnTo>
                      <a:pt x="14211" y="1872"/>
                    </a:lnTo>
                    <a:lnTo>
                      <a:pt x="14169" y="1820"/>
                    </a:lnTo>
                    <a:lnTo>
                      <a:pt x="14101" y="1764"/>
                    </a:lnTo>
                    <a:lnTo>
                      <a:pt x="14054" y="1760"/>
                    </a:lnTo>
                    <a:lnTo>
                      <a:pt x="14008" y="1748"/>
                    </a:lnTo>
                    <a:lnTo>
                      <a:pt x="13975" y="1715"/>
                    </a:lnTo>
                    <a:lnTo>
                      <a:pt x="13944" y="1715"/>
                    </a:lnTo>
                    <a:lnTo>
                      <a:pt x="13922" y="1729"/>
                    </a:lnTo>
                    <a:lnTo>
                      <a:pt x="13874" y="1710"/>
                    </a:lnTo>
                    <a:lnTo>
                      <a:pt x="13848" y="1710"/>
                    </a:lnTo>
                    <a:lnTo>
                      <a:pt x="13821" y="1747"/>
                    </a:lnTo>
                    <a:lnTo>
                      <a:pt x="13782" y="1801"/>
                    </a:lnTo>
                    <a:lnTo>
                      <a:pt x="13793" y="1838"/>
                    </a:lnTo>
                    <a:lnTo>
                      <a:pt x="13792" y="1909"/>
                    </a:lnTo>
                    <a:lnTo>
                      <a:pt x="13770" y="1990"/>
                    </a:lnTo>
                    <a:lnTo>
                      <a:pt x="13736" y="2020"/>
                    </a:lnTo>
                    <a:lnTo>
                      <a:pt x="13733" y="2050"/>
                    </a:lnTo>
                    <a:lnTo>
                      <a:pt x="13757" y="2054"/>
                    </a:lnTo>
                    <a:lnTo>
                      <a:pt x="13757" y="2054"/>
                    </a:lnTo>
                    <a:close/>
                    <a:moveTo>
                      <a:pt x="12941" y="1885"/>
                    </a:moveTo>
                    <a:lnTo>
                      <a:pt x="12954" y="1915"/>
                    </a:lnTo>
                    <a:lnTo>
                      <a:pt x="12973" y="1941"/>
                    </a:lnTo>
                    <a:lnTo>
                      <a:pt x="13009" y="1940"/>
                    </a:lnTo>
                    <a:lnTo>
                      <a:pt x="13041" y="1965"/>
                    </a:lnTo>
                    <a:lnTo>
                      <a:pt x="13081" y="1969"/>
                    </a:lnTo>
                    <a:lnTo>
                      <a:pt x="13115" y="2001"/>
                    </a:lnTo>
                    <a:lnTo>
                      <a:pt x="13137" y="2002"/>
                    </a:lnTo>
                    <a:lnTo>
                      <a:pt x="13139" y="1978"/>
                    </a:lnTo>
                    <a:lnTo>
                      <a:pt x="13090" y="1932"/>
                    </a:lnTo>
                    <a:lnTo>
                      <a:pt x="13056" y="1920"/>
                    </a:lnTo>
                    <a:lnTo>
                      <a:pt x="13015" y="1919"/>
                    </a:lnTo>
                    <a:lnTo>
                      <a:pt x="12973" y="1882"/>
                    </a:lnTo>
                    <a:lnTo>
                      <a:pt x="12949" y="1875"/>
                    </a:lnTo>
                    <a:lnTo>
                      <a:pt x="12941" y="1885"/>
                    </a:lnTo>
                    <a:lnTo>
                      <a:pt x="12941" y="1885"/>
                    </a:lnTo>
                    <a:close/>
                    <a:moveTo>
                      <a:pt x="14031" y="2968"/>
                    </a:moveTo>
                    <a:lnTo>
                      <a:pt x="14061" y="3008"/>
                    </a:lnTo>
                    <a:lnTo>
                      <a:pt x="14088" y="3018"/>
                    </a:lnTo>
                    <a:lnTo>
                      <a:pt x="14091" y="3000"/>
                    </a:lnTo>
                    <a:lnTo>
                      <a:pt x="14138" y="2987"/>
                    </a:lnTo>
                    <a:lnTo>
                      <a:pt x="14147" y="2970"/>
                    </a:lnTo>
                    <a:lnTo>
                      <a:pt x="14135" y="2948"/>
                    </a:lnTo>
                    <a:lnTo>
                      <a:pt x="14121" y="2909"/>
                    </a:lnTo>
                    <a:lnTo>
                      <a:pt x="14108" y="2916"/>
                    </a:lnTo>
                    <a:lnTo>
                      <a:pt x="14102" y="2944"/>
                    </a:lnTo>
                    <a:lnTo>
                      <a:pt x="14070" y="2966"/>
                    </a:lnTo>
                    <a:lnTo>
                      <a:pt x="14070" y="2966"/>
                    </a:lnTo>
                    <a:lnTo>
                      <a:pt x="14051" y="2968"/>
                    </a:lnTo>
                    <a:lnTo>
                      <a:pt x="14038" y="2968"/>
                    </a:lnTo>
                    <a:lnTo>
                      <a:pt x="14033" y="2968"/>
                    </a:lnTo>
                    <a:lnTo>
                      <a:pt x="14031" y="2968"/>
                    </a:lnTo>
                    <a:lnTo>
                      <a:pt x="14031" y="2968"/>
                    </a:lnTo>
                    <a:close/>
                    <a:moveTo>
                      <a:pt x="17852" y="2671"/>
                    </a:moveTo>
                    <a:lnTo>
                      <a:pt x="17865" y="2670"/>
                    </a:lnTo>
                    <a:lnTo>
                      <a:pt x="17872" y="2643"/>
                    </a:lnTo>
                    <a:lnTo>
                      <a:pt x="17861" y="2615"/>
                    </a:lnTo>
                    <a:lnTo>
                      <a:pt x="17843" y="2613"/>
                    </a:lnTo>
                    <a:lnTo>
                      <a:pt x="17838" y="2627"/>
                    </a:lnTo>
                    <a:lnTo>
                      <a:pt x="17852" y="2671"/>
                    </a:lnTo>
                    <a:lnTo>
                      <a:pt x="17852" y="2671"/>
                    </a:lnTo>
                    <a:close/>
                    <a:moveTo>
                      <a:pt x="17828" y="2699"/>
                    </a:moveTo>
                    <a:lnTo>
                      <a:pt x="17844" y="2707"/>
                    </a:lnTo>
                    <a:lnTo>
                      <a:pt x="17842" y="2680"/>
                    </a:lnTo>
                    <a:lnTo>
                      <a:pt x="17827" y="2654"/>
                    </a:lnTo>
                    <a:lnTo>
                      <a:pt x="17805" y="2652"/>
                    </a:lnTo>
                    <a:lnTo>
                      <a:pt x="17803" y="2669"/>
                    </a:lnTo>
                    <a:lnTo>
                      <a:pt x="17828" y="2699"/>
                    </a:lnTo>
                    <a:lnTo>
                      <a:pt x="17828" y="2699"/>
                    </a:lnTo>
                    <a:close/>
                    <a:moveTo>
                      <a:pt x="17798" y="2716"/>
                    </a:moveTo>
                    <a:lnTo>
                      <a:pt x="17826" y="2753"/>
                    </a:lnTo>
                    <a:lnTo>
                      <a:pt x="17843" y="2786"/>
                    </a:lnTo>
                    <a:lnTo>
                      <a:pt x="17852" y="2771"/>
                    </a:lnTo>
                    <a:lnTo>
                      <a:pt x="17840" y="2727"/>
                    </a:lnTo>
                    <a:lnTo>
                      <a:pt x="17809" y="2702"/>
                    </a:lnTo>
                    <a:lnTo>
                      <a:pt x="17796" y="2702"/>
                    </a:lnTo>
                    <a:lnTo>
                      <a:pt x="17798" y="2716"/>
                    </a:lnTo>
                    <a:lnTo>
                      <a:pt x="17798" y="2716"/>
                    </a:lnTo>
                    <a:close/>
                    <a:moveTo>
                      <a:pt x="17712" y="2695"/>
                    </a:moveTo>
                    <a:lnTo>
                      <a:pt x="17730" y="2731"/>
                    </a:lnTo>
                    <a:lnTo>
                      <a:pt x="17752" y="2746"/>
                    </a:lnTo>
                    <a:lnTo>
                      <a:pt x="17762" y="2728"/>
                    </a:lnTo>
                    <a:lnTo>
                      <a:pt x="17772" y="2722"/>
                    </a:lnTo>
                    <a:lnTo>
                      <a:pt x="17762" y="2686"/>
                    </a:lnTo>
                    <a:lnTo>
                      <a:pt x="17741" y="2676"/>
                    </a:lnTo>
                    <a:lnTo>
                      <a:pt x="17736" y="2685"/>
                    </a:lnTo>
                    <a:lnTo>
                      <a:pt x="17712" y="2695"/>
                    </a:lnTo>
                    <a:lnTo>
                      <a:pt x="17712" y="2695"/>
                    </a:lnTo>
                    <a:close/>
                    <a:moveTo>
                      <a:pt x="18665" y="2303"/>
                    </a:moveTo>
                    <a:lnTo>
                      <a:pt x="18700" y="2321"/>
                    </a:lnTo>
                    <a:lnTo>
                      <a:pt x="18740" y="2311"/>
                    </a:lnTo>
                    <a:lnTo>
                      <a:pt x="18760" y="2278"/>
                    </a:lnTo>
                    <a:lnTo>
                      <a:pt x="18754" y="2241"/>
                    </a:lnTo>
                    <a:lnTo>
                      <a:pt x="18727" y="2209"/>
                    </a:lnTo>
                    <a:lnTo>
                      <a:pt x="18737" y="2198"/>
                    </a:lnTo>
                    <a:lnTo>
                      <a:pt x="18724" y="2166"/>
                    </a:lnTo>
                    <a:lnTo>
                      <a:pt x="18688" y="2142"/>
                    </a:lnTo>
                    <a:lnTo>
                      <a:pt x="18681" y="2156"/>
                    </a:lnTo>
                    <a:lnTo>
                      <a:pt x="18653" y="2154"/>
                    </a:lnTo>
                    <a:lnTo>
                      <a:pt x="18622" y="2137"/>
                    </a:lnTo>
                    <a:lnTo>
                      <a:pt x="18587" y="2136"/>
                    </a:lnTo>
                    <a:lnTo>
                      <a:pt x="18582" y="2151"/>
                    </a:lnTo>
                    <a:lnTo>
                      <a:pt x="18561" y="2155"/>
                    </a:lnTo>
                    <a:lnTo>
                      <a:pt x="18567" y="2167"/>
                    </a:lnTo>
                    <a:lnTo>
                      <a:pt x="18541" y="2169"/>
                    </a:lnTo>
                    <a:lnTo>
                      <a:pt x="18530" y="2199"/>
                    </a:lnTo>
                    <a:lnTo>
                      <a:pt x="18532" y="2258"/>
                    </a:lnTo>
                    <a:lnTo>
                      <a:pt x="18548" y="2267"/>
                    </a:lnTo>
                    <a:lnTo>
                      <a:pt x="18580" y="2262"/>
                    </a:lnTo>
                    <a:lnTo>
                      <a:pt x="18622" y="2271"/>
                    </a:lnTo>
                    <a:lnTo>
                      <a:pt x="18665" y="2303"/>
                    </a:lnTo>
                    <a:lnTo>
                      <a:pt x="18665" y="2303"/>
                    </a:lnTo>
                    <a:close/>
                    <a:moveTo>
                      <a:pt x="18876" y="2224"/>
                    </a:moveTo>
                    <a:lnTo>
                      <a:pt x="18897" y="2204"/>
                    </a:lnTo>
                    <a:lnTo>
                      <a:pt x="18903" y="2179"/>
                    </a:lnTo>
                    <a:lnTo>
                      <a:pt x="18873" y="2188"/>
                    </a:lnTo>
                    <a:lnTo>
                      <a:pt x="18862" y="2204"/>
                    </a:lnTo>
                    <a:lnTo>
                      <a:pt x="18876" y="2224"/>
                    </a:lnTo>
                    <a:lnTo>
                      <a:pt x="18876" y="2224"/>
                    </a:lnTo>
                    <a:close/>
                    <a:moveTo>
                      <a:pt x="19111" y="11406"/>
                    </a:moveTo>
                    <a:lnTo>
                      <a:pt x="19106" y="11367"/>
                    </a:lnTo>
                    <a:lnTo>
                      <a:pt x="19112" y="11329"/>
                    </a:lnTo>
                    <a:lnTo>
                      <a:pt x="19098" y="11298"/>
                    </a:lnTo>
                    <a:lnTo>
                      <a:pt x="19087" y="11259"/>
                    </a:lnTo>
                    <a:lnTo>
                      <a:pt x="19094" y="11203"/>
                    </a:lnTo>
                    <a:lnTo>
                      <a:pt x="19125" y="11175"/>
                    </a:lnTo>
                    <a:lnTo>
                      <a:pt x="19141" y="11184"/>
                    </a:lnTo>
                    <a:lnTo>
                      <a:pt x="19141" y="11208"/>
                    </a:lnTo>
                    <a:lnTo>
                      <a:pt x="19161" y="11222"/>
                    </a:lnTo>
                    <a:lnTo>
                      <a:pt x="19227" y="11215"/>
                    </a:lnTo>
                    <a:lnTo>
                      <a:pt x="19235" y="11199"/>
                    </a:lnTo>
                    <a:lnTo>
                      <a:pt x="19251" y="11196"/>
                    </a:lnTo>
                    <a:lnTo>
                      <a:pt x="19261" y="11212"/>
                    </a:lnTo>
                    <a:lnTo>
                      <a:pt x="19253" y="11225"/>
                    </a:lnTo>
                    <a:lnTo>
                      <a:pt x="19255" y="11251"/>
                    </a:lnTo>
                    <a:lnTo>
                      <a:pt x="19291" y="11289"/>
                    </a:lnTo>
                    <a:lnTo>
                      <a:pt x="19296" y="11320"/>
                    </a:lnTo>
                    <a:lnTo>
                      <a:pt x="19316" y="11341"/>
                    </a:lnTo>
                    <a:lnTo>
                      <a:pt x="19317" y="11317"/>
                    </a:lnTo>
                    <a:lnTo>
                      <a:pt x="19310" y="11299"/>
                    </a:lnTo>
                    <a:lnTo>
                      <a:pt x="19313" y="11264"/>
                    </a:lnTo>
                    <a:lnTo>
                      <a:pt x="19313" y="11224"/>
                    </a:lnTo>
                    <a:lnTo>
                      <a:pt x="19280" y="11197"/>
                    </a:lnTo>
                    <a:lnTo>
                      <a:pt x="19272" y="11151"/>
                    </a:lnTo>
                    <a:lnTo>
                      <a:pt x="19259" y="11123"/>
                    </a:lnTo>
                    <a:lnTo>
                      <a:pt x="19235" y="11135"/>
                    </a:lnTo>
                    <a:lnTo>
                      <a:pt x="19212" y="11135"/>
                    </a:lnTo>
                    <a:lnTo>
                      <a:pt x="19166" y="11105"/>
                    </a:lnTo>
                    <a:lnTo>
                      <a:pt x="19159" y="11055"/>
                    </a:lnTo>
                    <a:lnTo>
                      <a:pt x="19136" y="11015"/>
                    </a:lnTo>
                    <a:lnTo>
                      <a:pt x="19094" y="10978"/>
                    </a:lnTo>
                    <a:lnTo>
                      <a:pt x="19068" y="10972"/>
                    </a:lnTo>
                    <a:lnTo>
                      <a:pt x="19041" y="10939"/>
                    </a:lnTo>
                    <a:lnTo>
                      <a:pt x="19026" y="10879"/>
                    </a:lnTo>
                    <a:lnTo>
                      <a:pt x="19000" y="10835"/>
                    </a:lnTo>
                    <a:lnTo>
                      <a:pt x="18988" y="10793"/>
                    </a:lnTo>
                    <a:lnTo>
                      <a:pt x="18989" y="10737"/>
                    </a:lnTo>
                    <a:lnTo>
                      <a:pt x="18983" y="10672"/>
                    </a:lnTo>
                    <a:lnTo>
                      <a:pt x="18962" y="10637"/>
                    </a:lnTo>
                    <a:lnTo>
                      <a:pt x="18970" y="10579"/>
                    </a:lnTo>
                    <a:lnTo>
                      <a:pt x="18967" y="10545"/>
                    </a:lnTo>
                    <a:lnTo>
                      <a:pt x="18943" y="10502"/>
                    </a:lnTo>
                    <a:lnTo>
                      <a:pt x="18959" y="10479"/>
                    </a:lnTo>
                    <a:lnTo>
                      <a:pt x="18965" y="10455"/>
                    </a:lnTo>
                    <a:lnTo>
                      <a:pt x="18964" y="10434"/>
                    </a:lnTo>
                    <a:lnTo>
                      <a:pt x="18981" y="10432"/>
                    </a:lnTo>
                    <a:lnTo>
                      <a:pt x="19000" y="10436"/>
                    </a:lnTo>
                    <a:lnTo>
                      <a:pt x="19040" y="10427"/>
                    </a:lnTo>
                    <a:lnTo>
                      <a:pt x="19080" y="10432"/>
                    </a:lnTo>
                    <a:lnTo>
                      <a:pt x="19116" y="10456"/>
                    </a:lnTo>
                    <a:lnTo>
                      <a:pt x="19140" y="10505"/>
                    </a:lnTo>
                    <a:lnTo>
                      <a:pt x="19176" y="10518"/>
                    </a:lnTo>
                    <a:lnTo>
                      <a:pt x="19207" y="10539"/>
                    </a:lnTo>
                    <a:lnTo>
                      <a:pt x="19238" y="10587"/>
                    </a:lnTo>
                    <a:lnTo>
                      <a:pt x="19257" y="10596"/>
                    </a:lnTo>
                    <a:lnTo>
                      <a:pt x="19241" y="10552"/>
                    </a:lnTo>
                    <a:lnTo>
                      <a:pt x="19206" y="10508"/>
                    </a:lnTo>
                    <a:lnTo>
                      <a:pt x="19156" y="10473"/>
                    </a:lnTo>
                    <a:lnTo>
                      <a:pt x="19130" y="10426"/>
                    </a:lnTo>
                    <a:lnTo>
                      <a:pt x="19100" y="10384"/>
                    </a:lnTo>
                    <a:lnTo>
                      <a:pt x="19100" y="10362"/>
                    </a:lnTo>
                    <a:lnTo>
                      <a:pt x="19080" y="10345"/>
                    </a:lnTo>
                    <a:lnTo>
                      <a:pt x="19049" y="10284"/>
                    </a:lnTo>
                    <a:lnTo>
                      <a:pt x="19033" y="10245"/>
                    </a:lnTo>
                    <a:lnTo>
                      <a:pt x="19011" y="10233"/>
                    </a:lnTo>
                    <a:lnTo>
                      <a:pt x="19005" y="10199"/>
                    </a:lnTo>
                    <a:lnTo>
                      <a:pt x="18955" y="10138"/>
                    </a:lnTo>
                    <a:lnTo>
                      <a:pt x="18908" y="10055"/>
                    </a:lnTo>
                    <a:lnTo>
                      <a:pt x="18896" y="10013"/>
                    </a:lnTo>
                    <a:lnTo>
                      <a:pt x="18836" y="9933"/>
                    </a:lnTo>
                    <a:lnTo>
                      <a:pt x="18805" y="9873"/>
                    </a:lnTo>
                    <a:lnTo>
                      <a:pt x="18780" y="9856"/>
                    </a:lnTo>
                    <a:lnTo>
                      <a:pt x="18780" y="9820"/>
                    </a:lnTo>
                    <a:lnTo>
                      <a:pt x="18761" y="9789"/>
                    </a:lnTo>
                    <a:lnTo>
                      <a:pt x="18739" y="9779"/>
                    </a:lnTo>
                    <a:lnTo>
                      <a:pt x="18737" y="9795"/>
                    </a:lnTo>
                    <a:lnTo>
                      <a:pt x="18717" y="9792"/>
                    </a:lnTo>
                    <a:lnTo>
                      <a:pt x="18709" y="9778"/>
                    </a:lnTo>
                    <a:lnTo>
                      <a:pt x="18717" y="9750"/>
                    </a:lnTo>
                    <a:lnTo>
                      <a:pt x="18706" y="9725"/>
                    </a:lnTo>
                    <a:lnTo>
                      <a:pt x="18674" y="9705"/>
                    </a:lnTo>
                    <a:lnTo>
                      <a:pt x="18644" y="9668"/>
                    </a:lnTo>
                    <a:lnTo>
                      <a:pt x="18626" y="9622"/>
                    </a:lnTo>
                    <a:lnTo>
                      <a:pt x="18610" y="9595"/>
                    </a:lnTo>
                    <a:lnTo>
                      <a:pt x="18605" y="9559"/>
                    </a:lnTo>
                    <a:lnTo>
                      <a:pt x="18613" y="9532"/>
                    </a:lnTo>
                    <a:lnTo>
                      <a:pt x="18620" y="9538"/>
                    </a:lnTo>
                    <a:lnTo>
                      <a:pt x="18612" y="9488"/>
                    </a:lnTo>
                    <a:lnTo>
                      <a:pt x="18605" y="9433"/>
                    </a:lnTo>
                    <a:lnTo>
                      <a:pt x="18595" y="9395"/>
                    </a:lnTo>
                    <a:lnTo>
                      <a:pt x="18561" y="9380"/>
                    </a:lnTo>
                    <a:lnTo>
                      <a:pt x="18525" y="9340"/>
                    </a:lnTo>
                    <a:lnTo>
                      <a:pt x="18521" y="9319"/>
                    </a:lnTo>
                    <a:lnTo>
                      <a:pt x="18503" y="9299"/>
                    </a:lnTo>
                    <a:lnTo>
                      <a:pt x="18503" y="9283"/>
                    </a:lnTo>
                    <a:lnTo>
                      <a:pt x="18518" y="9279"/>
                    </a:lnTo>
                    <a:lnTo>
                      <a:pt x="18550" y="9311"/>
                    </a:lnTo>
                    <a:lnTo>
                      <a:pt x="18582" y="9358"/>
                    </a:lnTo>
                    <a:lnTo>
                      <a:pt x="18568" y="9315"/>
                    </a:lnTo>
                    <a:lnTo>
                      <a:pt x="18528" y="9255"/>
                    </a:lnTo>
                    <a:lnTo>
                      <a:pt x="18488" y="9213"/>
                    </a:lnTo>
                    <a:lnTo>
                      <a:pt x="18474" y="9213"/>
                    </a:lnTo>
                    <a:lnTo>
                      <a:pt x="18464" y="9184"/>
                    </a:lnTo>
                    <a:lnTo>
                      <a:pt x="18395" y="9129"/>
                    </a:lnTo>
                    <a:lnTo>
                      <a:pt x="18371" y="9091"/>
                    </a:lnTo>
                    <a:lnTo>
                      <a:pt x="18373" y="9033"/>
                    </a:lnTo>
                    <a:lnTo>
                      <a:pt x="18354" y="9011"/>
                    </a:lnTo>
                    <a:lnTo>
                      <a:pt x="18303" y="8992"/>
                    </a:lnTo>
                    <a:lnTo>
                      <a:pt x="18279" y="8944"/>
                    </a:lnTo>
                    <a:lnTo>
                      <a:pt x="18267" y="8928"/>
                    </a:lnTo>
                    <a:lnTo>
                      <a:pt x="18254" y="8946"/>
                    </a:lnTo>
                    <a:lnTo>
                      <a:pt x="18267" y="8961"/>
                    </a:lnTo>
                    <a:lnTo>
                      <a:pt x="18268" y="8986"/>
                    </a:lnTo>
                    <a:lnTo>
                      <a:pt x="18248" y="8993"/>
                    </a:lnTo>
                    <a:lnTo>
                      <a:pt x="18223" y="8975"/>
                    </a:lnTo>
                    <a:lnTo>
                      <a:pt x="18196" y="8978"/>
                    </a:lnTo>
                    <a:lnTo>
                      <a:pt x="18240" y="9025"/>
                    </a:lnTo>
                    <a:lnTo>
                      <a:pt x="18298" y="9060"/>
                    </a:lnTo>
                    <a:lnTo>
                      <a:pt x="18316" y="9086"/>
                    </a:lnTo>
                    <a:lnTo>
                      <a:pt x="18311" y="9125"/>
                    </a:lnTo>
                    <a:lnTo>
                      <a:pt x="18327" y="9110"/>
                    </a:lnTo>
                    <a:lnTo>
                      <a:pt x="18347" y="9107"/>
                    </a:lnTo>
                    <a:lnTo>
                      <a:pt x="18355" y="9131"/>
                    </a:lnTo>
                    <a:lnTo>
                      <a:pt x="18342" y="9147"/>
                    </a:lnTo>
                    <a:lnTo>
                      <a:pt x="18319" y="9156"/>
                    </a:lnTo>
                    <a:lnTo>
                      <a:pt x="18325" y="9179"/>
                    </a:lnTo>
                    <a:lnTo>
                      <a:pt x="18351" y="9180"/>
                    </a:lnTo>
                    <a:lnTo>
                      <a:pt x="18359" y="9215"/>
                    </a:lnTo>
                    <a:lnTo>
                      <a:pt x="18332" y="9230"/>
                    </a:lnTo>
                    <a:lnTo>
                      <a:pt x="18306" y="9225"/>
                    </a:lnTo>
                    <a:lnTo>
                      <a:pt x="18285" y="9198"/>
                    </a:lnTo>
                    <a:lnTo>
                      <a:pt x="18263" y="9218"/>
                    </a:lnTo>
                    <a:lnTo>
                      <a:pt x="18244" y="9264"/>
                    </a:lnTo>
                    <a:lnTo>
                      <a:pt x="18275" y="9298"/>
                    </a:lnTo>
                    <a:lnTo>
                      <a:pt x="18285" y="9339"/>
                    </a:lnTo>
                    <a:lnTo>
                      <a:pt x="18320" y="9382"/>
                    </a:lnTo>
                    <a:lnTo>
                      <a:pt x="18349" y="9435"/>
                    </a:lnTo>
                    <a:lnTo>
                      <a:pt x="18353" y="9508"/>
                    </a:lnTo>
                    <a:lnTo>
                      <a:pt x="18365" y="9524"/>
                    </a:lnTo>
                    <a:lnTo>
                      <a:pt x="18372" y="9579"/>
                    </a:lnTo>
                    <a:lnTo>
                      <a:pt x="18395" y="9660"/>
                    </a:lnTo>
                    <a:lnTo>
                      <a:pt x="18422" y="9715"/>
                    </a:lnTo>
                    <a:lnTo>
                      <a:pt x="18459" y="9734"/>
                    </a:lnTo>
                    <a:lnTo>
                      <a:pt x="18463" y="9750"/>
                    </a:lnTo>
                    <a:lnTo>
                      <a:pt x="18446" y="9761"/>
                    </a:lnTo>
                    <a:lnTo>
                      <a:pt x="18531" y="9844"/>
                    </a:lnTo>
                    <a:lnTo>
                      <a:pt x="18558" y="9853"/>
                    </a:lnTo>
                    <a:lnTo>
                      <a:pt x="18598" y="9912"/>
                    </a:lnTo>
                    <a:lnTo>
                      <a:pt x="18610" y="9968"/>
                    </a:lnTo>
                    <a:lnTo>
                      <a:pt x="18606" y="10013"/>
                    </a:lnTo>
                    <a:lnTo>
                      <a:pt x="18632" y="10058"/>
                    </a:lnTo>
                    <a:lnTo>
                      <a:pt x="18632" y="10093"/>
                    </a:lnTo>
                    <a:lnTo>
                      <a:pt x="18661" y="10112"/>
                    </a:lnTo>
                    <a:lnTo>
                      <a:pt x="18693" y="10148"/>
                    </a:lnTo>
                    <a:lnTo>
                      <a:pt x="18684" y="10159"/>
                    </a:lnTo>
                    <a:lnTo>
                      <a:pt x="18687" y="10184"/>
                    </a:lnTo>
                    <a:lnTo>
                      <a:pt x="18725" y="10245"/>
                    </a:lnTo>
                    <a:lnTo>
                      <a:pt x="18734" y="10283"/>
                    </a:lnTo>
                    <a:lnTo>
                      <a:pt x="18752" y="10329"/>
                    </a:lnTo>
                    <a:lnTo>
                      <a:pt x="18756" y="10393"/>
                    </a:lnTo>
                    <a:lnTo>
                      <a:pt x="18768" y="10415"/>
                    </a:lnTo>
                    <a:lnTo>
                      <a:pt x="18764" y="10449"/>
                    </a:lnTo>
                    <a:lnTo>
                      <a:pt x="18771" y="10505"/>
                    </a:lnTo>
                    <a:lnTo>
                      <a:pt x="18798" y="10572"/>
                    </a:lnTo>
                    <a:lnTo>
                      <a:pt x="18791" y="10597"/>
                    </a:lnTo>
                    <a:lnTo>
                      <a:pt x="18796" y="10642"/>
                    </a:lnTo>
                    <a:lnTo>
                      <a:pt x="18829" y="10672"/>
                    </a:lnTo>
                    <a:lnTo>
                      <a:pt x="18891" y="10751"/>
                    </a:lnTo>
                    <a:lnTo>
                      <a:pt x="18891" y="10784"/>
                    </a:lnTo>
                    <a:lnTo>
                      <a:pt x="18918" y="10830"/>
                    </a:lnTo>
                    <a:lnTo>
                      <a:pt x="18912" y="10902"/>
                    </a:lnTo>
                    <a:lnTo>
                      <a:pt x="18920" y="10958"/>
                    </a:lnTo>
                    <a:lnTo>
                      <a:pt x="18949" y="11012"/>
                    </a:lnTo>
                    <a:lnTo>
                      <a:pt x="18957" y="11048"/>
                    </a:lnTo>
                    <a:lnTo>
                      <a:pt x="19002" y="11106"/>
                    </a:lnTo>
                    <a:lnTo>
                      <a:pt x="19007" y="11132"/>
                    </a:lnTo>
                    <a:lnTo>
                      <a:pt x="18998" y="11187"/>
                    </a:lnTo>
                    <a:lnTo>
                      <a:pt x="18993" y="11259"/>
                    </a:lnTo>
                    <a:lnTo>
                      <a:pt x="19007" y="11302"/>
                    </a:lnTo>
                    <a:lnTo>
                      <a:pt x="19043" y="11327"/>
                    </a:lnTo>
                    <a:lnTo>
                      <a:pt x="19068" y="11379"/>
                    </a:lnTo>
                    <a:lnTo>
                      <a:pt x="19111" y="11406"/>
                    </a:lnTo>
                    <a:lnTo>
                      <a:pt x="19111" y="11406"/>
                    </a:lnTo>
                    <a:close/>
                    <a:moveTo>
                      <a:pt x="17365" y="8982"/>
                    </a:moveTo>
                    <a:lnTo>
                      <a:pt x="17377" y="8978"/>
                    </a:lnTo>
                    <a:lnTo>
                      <a:pt x="17381" y="8961"/>
                    </a:lnTo>
                    <a:lnTo>
                      <a:pt x="17391" y="8950"/>
                    </a:lnTo>
                    <a:lnTo>
                      <a:pt x="17406" y="8954"/>
                    </a:lnTo>
                    <a:lnTo>
                      <a:pt x="17428" y="8979"/>
                    </a:lnTo>
                    <a:lnTo>
                      <a:pt x="17456" y="8987"/>
                    </a:lnTo>
                    <a:lnTo>
                      <a:pt x="17475" y="8967"/>
                    </a:lnTo>
                    <a:lnTo>
                      <a:pt x="17486" y="8948"/>
                    </a:lnTo>
                    <a:lnTo>
                      <a:pt x="17473" y="8929"/>
                    </a:lnTo>
                    <a:lnTo>
                      <a:pt x="17474" y="8908"/>
                    </a:lnTo>
                    <a:lnTo>
                      <a:pt x="17494" y="8889"/>
                    </a:lnTo>
                    <a:lnTo>
                      <a:pt x="17499" y="8873"/>
                    </a:lnTo>
                    <a:lnTo>
                      <a:pt x="17471" y="8874"/>
                    </a:lnTo>
                    <a:lnTo>
                      <a:pt x="17466" y="8888"/>
                    </a:lnTo>
                    <a:lnTo>
                      <a:pt x="17448" y="8900"/>
                    </a:lnTo>
                    <a:lnTo>
                      <a:pt x="17440" y="8891"/>
                    </a:lnTo>
                    <a:lnTo>
                      <a:pt x="17455" y="8870"/>
                    </a:lnTo>
                    <a:lnTo>
                      <a:pt x="17457" y="8856"/>
                    </a:lnTo>
                    <a:lnTo>
                      <a:pt x="17448" y="8849"/>
                    </a:lnTo>
                    <a:lnTo>
                      <a:pt x="17411" y="8856"/>
                    </a:lnTo>
                    <a:lnTo>
                      <a:pt x="17388" y="8844"/>
                    </a:lnTo>
                    <a:lnTo>
                      <a:pt x="17369" y="8860"/>
                    </a:lnTo>
                    <a:lnTo>
                      <a:pt x="17360" y="8891"/>
                    </a:lnTo>
                    <a:lnTo>
                      <a:pt x="17338" y="8911"/>
                    </a:lnTo>
                    <a:lnTo>
                      <a:pt x="17338" y="8936"/>
                    </a:lnTo>
                    <a:lnTo>
                      <a:pt x="17365" y="8982"/>
                    </a:lnTo>
                    <a:lnTo>
                      <a:pt x="17365" y="8982"/>
                    </a:lnTo>
                    <a:close/>
                    <a:moveTo>
                      <a:pt x="17253" y="8956"/>
                    </a:moveTo>
                    <a:lnTo>
                      <a:pt x="17266" y="8951"/>
                    </a:lnTo>
                    <a:lnTo>
                      <a:pt x="17266" y="8942"/>
                    </a:lnTo>
                    <a:lnTo>
                      <a:pt x="17276" y="8930"/>
                    </a:lnTo>
                    <a:lnTo>
                      <a:pt x="17295" y="8943"/>
                    </a:lnTo>
                    <a:lnTo>
                      <a:pt x="17307" y="8933"/>
                    </a:lnTo>
                    <a:lnTo>
                      <a:pt x="17296" y="8910"/>
                    </a:lnTo>
                    <a:lnTo>
                      <a:pt x="17310" y="8890"/>
                    </a:lnTo>
                    <a:lnTo>
                      <a:pt x="17303" y="8869"/>
                    </a:lnTo>
                    <a:lnTo>
                      <a:pt x="17292" y="8870"/>
                    </a:lnTo>
                    <a:lnTo>
                      <a:pt x="17273" y="8891"/>
                    </a:lnTo>
                    <a:lnTo>
                      <a:pt x="17240" y="8905"/>
                    </a:lnTo>
                    <a:lnTo>
                      <a:pt x="17239" y="8932"/>
                    </a:lnTo>
                    <a:lnTo>
                      <a:pt x="17253" y="8956"/>
                    </a:lnTo>
                    <a:lnTo>
                      <a:pt x="17253" y="8956"/>
                    </a:lnTo>
                    <a:close/>
                    <a:moveTo>
                      <a:pt x="17487" y="9069"/>
                    </a:moveTo>
                    <a:lnTo>
                      <a:pt x="17493" y="9078"/>
                    </a:lnTo>
                    <a:lnTo>
                      <a:pt x="17513" y="9063"/>
                    </a:lnTo>
                    <a:lnTo>
                      <a:pt x="17520" y="9042"/>
                    </a:lnTo>
                    <a:lnTo>
                      <a:pt x="17502" y="9027"/>
                    </a:lnTo>
                    <a:lnTo>
                      <a:pt x="17497" y="9035"/>
                    </a:lnTo>
                    <a:lnTo>
                      <a:pt x="17500" y="9047"/>
                    </a:lnTo>
                    <a:lnTo>
                      <a:pt x="17487" y="9069"/>
                    </a:lnTo>
                    <a:lnTo>
                      <a:pt x="17487" y="9069"/>
                    </a:lnTo>
                    <a:close/>
                    <a:moveTo>
                      <a:pt x="17451" y="9029"/>
                    </a:moveTo>
                    <a:lnTo>
                      <a:pt x="17450" y="9048"/>
                    </a:lnTo>
                    <a:lnTo>
                      <a:pt x="17464" y="9071"/>
                    </a:lnTo>
                    <a:lnTo>
                      <a:pt x="17471" y="9055"/>
                    </a:lnTo>
                    <a:lnTo>
                      <a:pt x="17469" y="9029"/>
                    </a:lnTo>
                    <a:lnTo>
                      <a:pt x="17461" y="9021"/>
                    </a:lnTo>
                    <a:lnTo>
                      <a:pt x="17451" y="9029"/>
                    </a:lnTo>
                    <a:lnTo>
                      <a:pt x="17451" y="9029"/>
                    </a:lnTo>
                    <a:close/>
                    <a:moveTo>
                      <a:pt x="17459" y="9186"/>
                    </a:moveTo>
                    <a:lnTo>
                      <a:pt x="17478" y="9154"/>
                    </a:lnTo>
                    <a:lnTo>
                      <a:pt x="17497" y="9149"/>
                    </a:lnTo>
                    <a:lnTo>
                      <a:pt x="17508" y="9122"/>
                    </a:lnTo>
                    <a:lnTo>
                      <a:pt x="17501" y="9112"/>
                    </a:lnTo>
                    <a:lnTo>
                      <a:pt x="17509" y="9092"/>
                    </a:lnTo>
                    <a:lnTo>
                      <a:pt x="17459" y="9104"/>
                    </a:lnTo>
                    <a:lnTo>
                      <a:pt x="17431" y="9143"/>
                    </a:lnTo>
                    <a:lnTo>
                      <a:pt x="17434" y="9168"/>
                    </a:lnTo>
                    <a:lnTo>
                      <a:pt x="17459" y="9186"/>
                    </a:lnTo>
                    <a:lnTo>
                      <a:pt x="17459" y="9186"/>
                    </a:lnTo>
                    <a:close/>
                    <a:moveTo>
                      <a:pt x="18770" y="7185"/>
                    </a:moveTo>
                    <a:lnTo>
                      <a:pt x="18785" y="7187"/>
                    </a:lnTo>
                    <a:lnTo>
                      <a:pt x="18809" y="7152"/>
                    </a:lnTo>
                    <a:lnTo>
                      <a:pt x="18811" y="7128"/>
                    </a:lnTo>
                    <a:lnTo>
                      <a:pt x="18790" y="7132"/>
                    </a:lnTo>
                    <a:lnTo>
                      <a:pt x="18772" y="7158"/>
                    </a:lnTo>
                    <a:lnTo>
                      <a:pt x="18770" y="7185"/>
                    </a:lnTo>
                    <a:lnTo>
                      <a:pt x="18770" y="7185"/>
                    </a:lnTo>
                    <a:close/>
                    <a:moveTo>
                      <a:pt x="20862" y="6967"/>
                    </a:moveTo>
                    <a:lnTo>
                      <a:pt x="20874" y="6971"/>
                    </a:lnTo>
                    <a:lnTo>
                      <a:pt x="20869" y="6933"/>
                    </a:lnTo>
                    <a:lnTo>
                      <a:pt x="20853" y="6901"/>
                    </a:lnTo>
                    <a:lnTo>
                      <a:pt x="20864" y="6885"/>
                    </a:lnTo>
                    <a:lnTo>
                      <a:pt x="20864" y="6861"/>
                    </a:lnTo>
                    <a:lnTo>
                      <a:pt x="20881" y="6820"/>
                    </a:lnTo>
                    <a:lnTo>
                      <a:pt x="20907" y="6790"/>
                    </a:lnTo>
                    <a:lnTo>
                      <a:pt x="20950" y="6759"/>
                    </a:lnTo>
                    <a:lnTo>
                      <a:pt x="20966" y="6750"/>
                    </a:lnTo>
                    <a:lnTo>
                      <a:pt x="20957" y="6713"/>
                    </a:lnTo>
                    <a:lnTo>
                      <a:pt x="20939" y="6671"/>
                    </a:lnTo>
                    <a:lnTo>
                      <a:pt x="20899" y="6626"/>
                    </a:lnTo>
                    <a:lnTo>
                      <a:pt x="20881" y="6619"/>
                    </a:lnTo>
                    <a:lnTo>
                      <a:pt x="20862" y="6638"/>
                    </a:lnTo>
                    <a:lnTo>
                      <a:pt x="20858" y="6655"/>
                    </a:lnTo>
                    <a:lnTo>
                      <a:pt x="20844" y="6665"/>
                    </a:lnTo>
                    <a:lnTo>
                      <a:pt x="20802" y="6714"/>
                    </a:lnTo>
                    <a:lnTo>
                      <a:pt x="20785" y="6721"/>
                    </a:lnTo>
                    <a:lnTo>
                      <a:pt x="20765" y="6754"/>
                    </a:lnTo>
                    <a:lnTo>
                      <a:pt x="20783" y="6752"/>
                    </a:lnTo>
                    <a:lnTo>
                      <a:pt x="20815" y="6741"/>
                    </a:lnTo>
                    <a:lnTo>
                      <a:pt x="20819" y="6746"/>
                    </a:lnTo>
                    <a:lnTo>
                      <a:pt x="20810" y="6776"/>
                    </a:lnTo>
                    <a:lnTo>
                      <a:pt x="20821" y="6830"/>
                    </a:lnTo>
                    <a:lnTo>
                      <a:pt x="20839" y="6856"/>
                    </a:lnTo>
                    <a:lnTo>
                      <a:pt x="20842" y="6894"/>
                    </a:lnTo>
                    <a:lnTo>
                      <a:pt x="20826" y="6915"/>
                    </a:lnTo>
                    <a:lnTo>
                      <a:pt x="20832" y="6935"/>
                    </a:lnTo>
                    <a:lnTo>
                      <a:pt x="20862" y="6967"/>
                    </a:lnTo>
                    <a:lnTo>
                      <a:pt x="20862" y="6967"/>
                    </a:lnTo>
                    <a:close/>
                    <a:moveTo>
                      <a:pt x="22094" y="8048"/>
                    </a:moveTo>
                    <a:lnTo>
                      <a:pt x="22112" y="8075"/>
                    </a:lnTo>
                    <a:lnTo>
                      <a:pt x="22144" y="8076"/>
                    </a:lnTo>
                    <a:lnTo>
                      <a:pt x="22182" y="8110"/>
                    </a:lnTo>
                    <a:lnTo>
                      <a:pt x="22233" y="8125"/>
                    </a:lnTo>
                    <a:lnTo>
                      <a:pt x="22252" y="8142"/>
                    </a:lnTo>
                    <a:lnTo>
                      <a:pt x="22297" y="8132"/>
                    </a:lnTo>
                    <a:lnTo>
                      <a:pt x="22283" y="8119"/>
                    </a:lnTo>
                    <a:lnTo>
                      <a:pt x="22232" y="8099"/>
                    </a:lnTo>
                    <a:lnTo>
                      <a:pt x="22209" y="8080"/>
                    </a:lnTo>
                    <a:lnTo>
                      <a:pt x="22176" y="8076"/>
                    </a:lnTo>
                    <a:lnTo>
                      <a:pt x="22152" y="8048"/>
                    </a:lnTo>
                    <a:lnTo>
                      <a:pt x="22110" y="8037"/>
                    </a:lnTo>
                    <a:lnTo>
                      <a:pt x="22094" y="8048"/>
                    </a:lnTo>
                    <a:lnTo>
                      <a:pt x="22094" y="8048"/>
                    </a:lnTo>
                    <a:close/>
                    <a:moveTo>
                      <a:pt x="21740" y="7964"/>
                    </a:moveTo>
                    <a:lnTo>
                      <a:pt x="21767" y="7976"/>
                    </a:lnTo>
                    <a:lnTo>
                      <a:pt x="21795" y="7975"/>
                    </a:lnTo>
                    <a:lnTo>
                      <a:pt x="21814" y="7995"/>
                    </a:lnTo>
                    <a:lnTo>
                      <a:pt x="21812" y="8007"/>
                    </a:lnTo>
                    <a:lnTo>
                      <a:pt x="21845" y="8049"/>
                    </a:lnTo>
                    <a:lnTo>
                      <a:pt x="21869" y="8054"/>
                    </a:lnTo>
                    <a:lnTo>
                      <a:pt x="21898" y="8086"/>
                    </a:lnTo>
                    <a:lnTo>
                      <a:pt x="21914" y="8088"/>
                    </a:lnTo>
                    <a:lnTo>
                      <a:pt x="21929" y="8081"/>
                    </a:lnTo>
                    <a:lnTo>
                      <a:pt x="21961" y="8113"/>
                    </a:lnTo>
                    <a:lnTo>
                      <a:pt x="21998" y="8118"/>
                    </a:lnTo>
                    <a:lnTo>
                      <a:pt x="22005" y="8105"/>
                    </a:lnTo>
                    <a:lnTo>
                      <a:pt x="21985" y="8067"/>
                    </a:lnTo>
                    <a:lnTo>
                      <a:pt x="21949" y="8054"/>
                    </a:lnTo>
                    <a:lnTo>
                      <a:pt x="21902" y="8019"/>
                    </a:lnTo>
                    <a:lnTo>
                      <a:pt x="21890" y="7988"/>
                    </a:lnTo>
                    <a:lnTo>
                      <a:pt x="21858" y="7985"/>
                    </a:lnTo>
                    <a:lnTo>
                      <a:pt x="21827" y="7938"/>
                    </a:lnTo>
                    <a:lnTo>
                      <a:pt x="21827" y="7926"/>
                    </a:lnTo>
                    <a:lnTo>
                      <a:pt x="21844" y="7912"/>
                    </a:lnTo>
                    <a:lnTo>
                      <a:pt x="21808" y="7907"/>
                    </a:lnTo>
                    <a:lnTo>
                      <a:pt x="21787" y="7915"/>
                    </a:lnTo>
                    <a:lnTo>
                      <a:pt x="21763" y="7915"/>
                    </a:lnTo>
                    <a:lnTo>
                      <a:pt x="21739" y="7944"/>
                    </a:lnTo>
                    <a:lnTo>
                      <a:pt x="21740" y="7964"/>
                    </a:lnTo>
                    <a:lnTo>
                      <a:pt x="21740" y="7964"/>
                    </a:lnTo>
                    <a:close/>
                    <a:moveTo>
                      <a:pt x="20897" y="9732"/>
                    </a:moveTo>
                    <a:lnTo>
                      <a:pt x="20912" y="9732"/>
                    </a:lnTo>
                    <a:lnTo>
                      <a:pt x="20925" y="9716"/>
                    </a:lnTo>
                    <a:lnTo>
                      <a:pt x="20918" y="9686"/>
                    </a:lnTo>
                    <a:lnTo>
                      <a:pt x="20899" y="9665"/>
                    </a:lnTo>
                    <a:lnTo>
                      <a:pt x="20876" y="9685"/>
                    </a:lnTo>
                    <a:lnTo>
                      <a:pt x="20876" y="9706"/>
                    </a:lnTo>
                    <a:lnTo>
                      <a:pt x="20897" y="9732"/>
                    </a:lnTo>
                    <a:lnTo>
                      <a:pt x="20897" y="9732"/>
                    </a:lnTo>
                    <a:close/>
                    <a:moveTo>
                      <a:pt x="20717" y="9687"/>
                    </a:moveTo>
                    <a:lnTo>
                      <a:pt x="20715" y="9715"/>
                    </a:lnTo>
                    <a:lnTo>
                      <a:pt x="20730" y="9728"/>
                    </a:lnTo>
                    <a:lnTo>
                      <a:pt x="20765" y="9725"/>
                    </a:lnTo>
                    <a:lnTo>
                      <a:pt x="20771" y="9702"/>
                    </a:lnTo>
                    <a:lnTo>
                      <a:pt x="20737" y="9674"/>
                    </a:lnTo>
                    <a:lnTo>
                      <a:pt x="20717" y="9687"/>
                    </a:lnTo>
                    <a:lnTo>
                      <a:pt x="20717" y="9687"/>
                    </a:lnTo>
                    <a:close/>
                    <a:moveTo>
                      <a:pt x="20813" y="9973"/>
                    </a:moveTo>
                    <a:lnTo>
                      <a:pt x="20825" y="9975"/>
                    </a:lnTo>
                    <a:lnTo>
                      <a:pt x="20825" y="9936"/>
                    </a:lnTo>
                    <a:lnTo>
                      <a:pt x="20830" y="9909"/>
                    </a:lnTo>
                    <a:lnTo>
                      <a:pt x="20858" y="9894"/>
                    </a:lnTo>
                    <a:lnTo>
                      <a:pt x="20878" y="9864"/>
                    </a:lnTo>
                    <a:lnTo>
                      <a:pt x="20877" y="9828"/>
                    </a:lnTo>
                    <a:lnTo>
                      <a:pt x="20881" y="9801"/>
                    </a:lnTo>
                    <a:lnTo>
                      <a:pt x="20900" y="9784"/>
                    </a:lnTo>
                    <a:lnTo>
                      <a:pt x="20890" y="9751"/>
                    </a:lnTo>
                    <a:lnTo>
                      <a:pt x="20836" y="9703"/>
                    </a:lnTo>
                    <a:lnTo>
                      <a:pt x="20828" y="9730"/>
                    </a:lnTo>
                    <a:lnTo>
                      <a:pt x="20832" y="9791"/>
                    </a:lnTo>
                    <a:lnTo>
                      <a:pt x="20828" y="9825"/>
                    </a:lnTo>
                    <a:lnTo>
                      <a:pt x="20800" y="9835"/>
                    </a:lnTo>
                    <a:lnTo>
                      <a:pt x="20780" y="9867"/>
                    </a:lnTo>
                    <a:lnTo>
                      <a:pt x="20760" y="9869"/>
                    </a:lnTo>
                    <a:lnTo>
                      <a:pt x="20756" y="9879"/>
                    </a:lnTo>
                    <a:lnTo>
                      <a:pt x="20782" y="9909"/>
                    </a:lnTo>
                    <a:lnTo>
                      <a:pt x="20782" y="9935"/>
                    </a:lnTo>
                    <a:lnTo>
                      <a:pt x="20763" y="9946"/>
                    </a:lnTo>
                    <a:lnTo>
                      <a:pt x="20771" y="9957"/>
                    </a:lnTo>
                    <a:lnTo>
                      <a:pt x="20802" y="9955"/>
                    </a:lnTo>
                    <a:lnTo>
                      <a:pt x="20813" y="9973"/>
                    </a:lnTo>
                    <a:lnTo>
                      <a:pt x="20813" y="9973"/>
                    </a:lnTo>
                    <a:close/>
                    <a:moveTo>
                      <a:pt x="20781" y="10183"/>
                    </a:moveTo>
                    <a:lnTo>
                      <a:pt x="20781" y="10183"/>
                    </a:lnTo>
                    <a:lnTo>
                      <a:pt x="20781" y="10181"/>
                    </a:lnTo>
                    <a:lnTo>
                      <a:pt x="20782" y="10178"/>
                    </a:lnTo>
                    <a:lnTo>
                      <a:pt x="20788" y="10171"/>
                    </a:lnTo>
                    <a:lnTo>
                      <a:pt x="20797" y="10162"/>
                    </a:lnTo>
                    <a:lnTo>
                      <a:pt x="20781" y="10129"/>
                    </a:lnTo>
                    <a:lnTo>
                      <a:pt x="20779" y="10099"/>
                    </a:lnTo>
                    <a:lnTo>
                      <a:pt x="20770" y="10094"/>
                    </a:lnTo>
                    <a:lnTo>
                      <a:pt x="20770" y="10125"/>
                    </a:lnTo>
                    <a:lnTo>
                      <a:pt x="20758" y="10159"/>
                    </a:lnTo>
                    <a:lnTo>
                      <a:pt x="20781" y="10183"/>
                    </a:lnTo>
                    <a:lnTo>
                      <a:pt x="20781" y="10183"/>
                    </a:lnTo>
                    <a:close/>
                    <a:moveTo>
                      <a:pt x="20788" y="10249"/>
                    </a:moveTo>
                    <a:lnTo>
                      <a:pt x="20805" y="10242"/>
                    </a:lnTo>
                    <a:lnTo>
                      <a:pt x="20799" y="10221"/>
                    </a:lnTo>
                    <a:lnTo>
                      <a:pt x="20774" y="10212"/>
                    </a:lnTo>
                    <a:lnTo>
                      <a:pt x="20765" y="10218"/>
                    </a:lnTo>
                    <a:lnTo>
                      <a:pt x="20771" y="10234"/>
                    </a:lnTo>
                    <a:lnTo>
                      <a:pt x="20788" y="10249"/>
                    </a:lnTo>
                    <a:lnTo>
                      <a:pt x="20788" y="10249"/>
                    </a:lnTo>
                    <a:close/>
                    <a:moveTo>
                      <a:pt x="20728" y="10298"/>
                    </a:moveTo>
                    <a:lnTo>
                      <a:pt x="20737" y="10294"/>
                    </a:lnTo>
                    <a:lnTo>
                      <a:pt x="20731" y="10283"/>
                    </a:lnTo>
                    <a:lnTo>
                      <a:pt x="20717" y="10279"/>
                    </a:lnTo>
                    <a:lnTo>
                      <a:pt x="20710" y="10293"/>
                    </a:lnTo>
                    <a:lnTo>
                      <a:pt x="20728" y="10298"/>
                    </a:lnTo>
                    <a:lnTo>
                      <a:pt x="20728" y="10298"/>
                    </a:lnTo>
                    <a:close/>
                    <a:moveTo>
                      <a:pt x="20751" y="10379"/>
                    </a:moveTo>
                    <a:lnTo>
                      <a:pt x="20764" y="10370"/>
                    </a:lnTo>
                    <a:lnTo>
                      <a:pt x="20776" y="10353"/>
                    </a:lnTo>
                    <a:lnTo>
                      <a:pt x="20778" y="10323"/>
                    </a:lnTo>
                    <a:lnTo>
                      <a:pt x="20768" y="10310"/>
                    </a:lnTo>
                    <a:lnTo>
                      <a:pt x="20757" y="10335"/>
                    </a:lnTo>
                    <a:lnTo>
                      <a:pt x="20751" y="10379"/>
                    </a:lnTo>
                    <a:lnTo>
                      <a:pt x="20751" y="10379"/>
                    </a:lnTo>
                    <a:close/>
                    <a:moveTo>
                      <a:pt x="20705" y="10587"/>
                    </a:moveTo>
                    <a:lnTo>
                      <a:pt x="20719" y="10578"/>
                    </a:lnTo>
                    <a:lnTo>
                      <a:pt x="20703" y="10567"/>
                    </a:lnTo>
                    <a:lnTo>
                      <a:pt x="20692" y="10573"/>
                    </a:lnTo>
                    <a:lnTo>
                      <a:pt x="20705" y="10587"/>
                    </a:lnTo>
                    <a:lnTo>
                      <a:pt x="20705" y="10587"/>
                    </a:lnTo>
                    <a:close/>
                    <a:moveTo>
                      <a:pt x="20696" y="10709"/>
                    </a:moveTo>
                    <a:lnTo>
                      <a:pt x="20705" y="10683"/>
                    </a:lnTo>
                    <a:lnTo>
                      <a:pt x="20698" y="10663"/>
                    </a:lnTo>
                    <a:lnTo>
                      <a:pt x="20687" y="10680"/>
                    </a:lnTo>
                    <a:lnTo>
                      <a:pt x="20696" y="10709"/>
                    </a:lnTo>
                    <a:lnTo>
                      <a:pt x="20696" y="10709"/>
                    </a:lnTo>
                    <a:close/>
                    <a:moveTo>
                      <a:pt x="20687" y="10734"/>
                    </a:moveTo>
                    <a:lnTo>
                      <a:pt x="20693" y="10755"/>
                    </a:lnTo>
                    <a:lnTo>
                      <a:pt x="20704" y="10735"/>
                    </a:lnTo>
                    <a:lnTo>
                      <a:pt x="20687" y="10734"/>
                    </a:lnTo>
                    <a:lnTo>
                      <a:pt x="20687" y="10734"/>
                    </a:lnTo>
                    <a:close/>
                    <a:moveTo>
                      <a:pt x="20656" y="10793"/>
                    </a:moveTo>
                    <a:lnTo>
                      <a:pt x="20660" y="10806"/>
                    </a:lnTo>
                    <a:lnTo>
                      <a:pt x="20675" y="10810"/>
                    </a:lnTo>
                    <a:lnTo>
                      <a:pt x="20679" y="10793"/>
                    </a:lnTo>
                    <a:lnTo>
                      <a:pt x="20663" y="10786"/>
                    </a:lnTo>
                    <a:lnTo>
                      <a:pt x="20656" y="10793"/>
                    </a:lnTo>
                    <a:lnTo>
                      <a:pt x="20656" y="10793"/>
                    </a:lnTo>
                    <a:close/>
                    <a:moveTo>
                      <a:pt x="20628" y="10938"/>
                    </a:moveTo>
                    <a:lnTo>
                      <a:pt x="20640" y="10919"/>
                    </a:lnTo>
                    <a:lnTo>
                      <a:pt x="20645" y="10864"/>
                    </a:lnTo>
                    <a:lnTo>
                      <a:pt x="20634" y="10861"/>
                    </a:lnTo>
                    <a:lnTo>
                      <a:pt x="20630" y="10890"/>
                    </a:lnTo>
                    <a:lnTo>
                      <a:pt x="20616" y="10934"/>
                    </a:lnTo>
                    <a:lnTo>
                      <a:pt x="20628" y="10938"/>
                    </a:lnTo>
                    <a:lnTo>
                      <a:pt x="20628" y="10938"/>
                    </a:lnTo>
                    <a:close/>
                    <a:moveTo>
                      <a:pt x="20332" y="11326"/>
                    </a:moveTo>
                    <a:lnTo>
                      <a:pt x="20350" y="11333"/>
                    </a:lnTo>
                    <a:lnTo>
                      <a:pt x="20386" y="11298"/>
                    </a:lnTo>
                    <a:lnTo>
                      <a:pt x="20411" y="11257"/>
                    </a:lnTo>
                    <a:lnTo>
                      <a:pt x="20433" y="11240"/>
                    </a:lnTo>
                    <a:lnTo>
                      <a:pt x="20434" y="11206"/>
                    </a:lnTo>
                    <a:lnTo>
                      <a:pt x="20444" y="11169"/>
                    </a:lnTo>
                    <a:lnTo>
                      <a:pt x="20480" y="11122"/>
                    </a:lnTo>
                    <a:lnTo>
                      <a:pt x="20463" y="11131"/>
                    </a:lnTo>
                    <a:lnTo>
                      <a:pt x="20428" y="11137"/>
                    </a:lnTo>
                    <a:lnTo>
                      <a:pt x="20411" y="11171"/>
                    </a:lnTo>
                    <a:lnTo>
                      <a:pt x="20398" y="11184"/>
                    </a:lnTo>
                    <a:lnTo>
                      <a:pt x="20388" y="11214"/>
                    </a:lnTo>
                    <a:lnTo>
                      <a:pt x="20374" y="11229"/>
                    </a:lnTo>
                    <a:lnTo>
                      <a:pt x="20369" y="11249"/>
                    </a:lnTo>
                    <a:lnTo>
                      <a:pt x="20343" y="11277"/>
                    </a:lnTo>
                    <a:lnTo>
                      <a:pt x="20332" y="11326"/>
                    </a:lnTo>
                    <a:lnTo>
                      <a:pt x="20332" y="11326"/>
                    </a:lnTo>
                    <a:close/>
                    <a:moveTo>
                      <a:pt x="20012" y="11704"/>
                    </a:moveTo>
                    <a:lnTo>
                      <a:pt x="20029" y="11696"/>
                    </a:lnTo>
                    <a:lnTo>
                      <a:pt x="20038" y="11660"/>
                    </a:lnTo>
                    <a:lnTo>
                      <a:pt x="20062" y="11640"/>
                    </a:lnTo>
                    <a:lnTo>
                      <a:pt x="20057" y="11596"/>
                    </a:lnTo>
                    <a:lnTo>
                      <a:pt x="20073" y="11580"/>
                    </a:lnTo>
                    <a:lnTo>
                      <a:pt x="20075" y="11562"/>
                    </a:lnTo>
                    <a:lnTo>
                      <a:pt x="20092" y="11549"/>
                    </a:lnTo>
                    <a:lnTo>
                      <a:pt x="20109" y="11557"/>
                    </a:lnTo>
                    <a:lnTo>
                      <a:pt x="20133" y="11535"/>
                    </a:lnTo>
                    <a:lnTo>
                      <a:pt x="20157" y="11484"/>
                    </a:lnTo>
                    <a:lnTo>
                      <a:pt x="20191" y="11444"/>
                    </a:lnTo>
                    <a:lnTo>
                      <a:pt x="20229" y="11439"/>
                    </a:lnTo>
                    <a:lnTo>
                      <a:pt x="20256" y="11423"/>
                    </a:lnTo>
                    <a:lnTo>
                      <a:pt x="20254" y="11388"/>
                    </a:lnTo>
                    <a:lnTo>
                      <a:pt x="20243" y="11355"/>
                    </a:lnTo>
                    <a:lnTo>
                      <a:pt x="20221" y="11361"/>
                    </a:lnTo>
                    <a:lnTo>
                      <a:pt x="20184" y="11402"/>
                    </a:lnTo>
                    <a:lnTo>
                      <a:pt x="20177" y="11429"/>
                    </a:lnTo>
                    <a:lnTo>
                      <a:pt x="20156" y="11431"/>
                    </a:lnTo>
                    <a:lnTo>
                      <a:pt x="20132" y="11448"/>
                    </a:lnTo>
                    <a:lnTo>
                      <a:pt x="20114" y="11441"/>
                    </a:lnTo>
                    <a:lnTo>
                      <a:pt x="20102" y="11415"/>
                    </a:lnTo>
                    <a:lnTo>
                      <a:pt x="20095" y="11419"/>
                    </a:lnTo>
                    <a:lnTo>
                      <a:pt x="20082" y="11448"/>
                    </a:lnTo>
                    <a:lnTo>
                      <a:pt x="20093" y="11466"/>
                    </a:lnTo>
                    <a:lnTo>
                      <a:pt x="20080" y="11489"/>
                    </a:lnTo>
                    <a:lnTo>
                      <a:pt x="20060" y="11524"/>
                    </a:lnTo>
                    <a:lnTo>
                      <a:pt x="20044" y="11523"/>
                    </a:lnTo>
                    <a:lnTo>
                      <a:pt x="20047" y="11542"/>
                    </a:lnTo>
                    <a:lnTo>
                      <a:pt x="20038" y="11575"/>
                    </a:lnTo>
                    <a:lnTo>
                      <a:pt x="20010" y="11591"/>
                    </a:lnTo>
                    <a:lnTo>
                      <a:pt x="20007" y="11610"/>
                    </a:lnTo>
                    <a:lnTo>
                      <a:pt x="20023" y="11628"/>
                    </a:lnTo>
                    <a:lnTo>
                      <a:pt x="20009" y="11640"/>
                    </a:lnTo>
                    <a:lnTo>
                      <a:pt x="20003" y="11666"/>
                    </a:lnTo>
                    <a:lnTo>
                      <a:pt x="20012" y="11704"/>
                    </a:lnTo>
                    <a:lnTo>
                      <a:pt x="20012" y="11704"/>
                    </a:lnTo>
                    <a:close/>
                    <a:moveTo>
                      <a:pt x="19871" y="11931"/>
                    </a:moveTo>
                    <a:lnTo>
                      <a:pt x="19871" y="11931"/>
                    </a:lnTo>
                    <a:lnTo>
                      <a:pt x="19871" y="11922"/>
                    </a:lnTo>
                    <a:lnTo>
                      <a:pt x="19871" y="11905"/>
                    </a:lnTo>
                    <a:lnTo>
                      <a:pt x="19872" y="11883"/>
                    </a:lnTo>
                    <a:lnTo>
                      <a:pt x="19887" y="11801"/>
                    </a:lnTo>
                    <a:lnTo>
                      <a:pt x="19901" y="11794"/>
                    </a:lnTo>
                    <a:lnTo>
                      <a:pt x="19944" y="11754"/>
                    </a:lnTo>
                    <a:lnTo>
                      <a:pt x="19951" y="11717"/>
                    </a:lnTo>
                    <a:lnTo>
                      <a:pt x="19941" y="11717"/>
                    </a:lnTo>
                    <a:lnTo>
                      <a:pt x="19916" y="11723"/>
                    </a:lnTo>
                    <a:lnTo>
                      <a:pt x="19897" y="11717"/>
                    </a:lnTo>
                    <a:lnTo>
                      <a:pt x="19881" y="11702"/>
                    </a:lnTo>
                    <a:lnTo>
                      <a:pt x="19871" y="11714"/>
                    </a:lnTo>
                    <a:lnTo>
                      <a:pt x="19864" y="11754"/>
                    </a:lnTo>
                    <a:lnTo>
                      <a:pt x="19856" y="11790"/>
                    </a:lnTo>
                    <a:lnTo>
                      <a:pt x="19850" y="11840"/>
                    </a:lnTo>
                    <a:lnTo>
                      <a:pt x="19833" y="11874"/>
                    </a:lnTo>
                    <a:lnTo>
                      <a:pt x="19840" y="11895"/>
                    </a:lnTo>
                    <a:lnTo>
                      <a:pt x="19871" y="11931"/>
                    </a:lnTo>
                    <a:lnTo>
                      <a:pt x="19871" y="11931"/>
                    </a:lnTo>
                    <a:close/>
                    <a:moveTo>
                      <a:pt x="352" y="9185"/>
                    </a:moveTo>
                    <a:lnTo>
                      <a:pt x="352" y="9185"/>
                    </a:lnTo>
                    <a:lnTo>
                      <a:pt x="349" y="9189"/>
                    </a:lnTo>
                    <a:lnTo>
                      <a:pt x="345" y="9200"/>
                    </a:lnTo>
                    <a:lnTo>
                      <a:pt x="340" y="9215"/>
                    </a:lnTo>
                    <a:lnTo>
                      <a:pt x="374" y="9233"/>
                    </a:lnTo>
                    <a:lnTo>
                      <a:pt x="384" y="9216"/>
                    </a:lnTo>
                    <a:lnTo>
                      <a:pt x="352" y="9185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9" name="îŝliḓé"/>
              <p:cNvSpPr/>
              <p:nvPr/>
            </p:nvSpPr>
            <p:spPr bwMode="auto">
              <a:xfrm>
                <a:off x="3540538" y="3042413"/>
                <a:ext cx="131191" cy="227311"/>
              </a:xfrm>
              <a:custGeom>
                <a:avLst/>
                <a:gdLst>
                  <a:gd name="T0" fmla="*/ 0 w 813"/>
                  <a:gd name="T1" fmla="*/ 780 h 1400"/>
                  <a:gd name="T2" fmla="*/ 64 w 813"/>
                  <a:gd name="T3" fmla="*/ 699 h 1400"/>
                  <a:gd name="T4" fmla="*/ 108 w 813"/>
                  <a:gd name="T5" fmla="*/ 640 h 1400"/>
                  <a:gd name="T6" fmla="*/ 170 w 813"/>
                  <a:gd name="T7" fmla="*/ 569 h 1400"/>
                  <a:gd name="T8" fmla="*/ 212 w 813"/>
                  <a:gd name="T9" fmla="*/ 455 h 1400"/>
                  <a:gd name="T10" fmla="*/ 212 w 813"/>
                  <a:gd name="T11" fmla="*/ 381 h 1400"/>
                  <a:gd name="T12" fmla="*/ 276 w 813"/>
                  <a:gd name="T13" fmla="*/ 391 h 1400"/>
                  <a:gd name="T14" fmla="*/ 328 w 813"/>
                  <a:gd name="T15" fmla="*/ 428 h 1400"/>
                  <a:gd name="T16" fmla="*/ 395 w 813"/>
                  <a:gd name="T17" fmla="*/ 430 h 1400"/>
                  <a:gd name="T18" fmla="*/ 509 w 813"/>
                  <a:gd name="T19" fmla="*/ 430 h 1400"/>
                  <a:gd name="T20" fmla="*/ 528 w 813"/>
                  <a:gd name="T21" fmla="*/ 358 h 1400"/>
                  <a:gd name="T22" fmla="*/ 454 w 813"/>
                  <a:gd name="T23" fmla="*/ 294 h 1400"/>
                  <a:gd name="T24" fmla="*/ 523 w 813"/>
                  <a:gd name="T25" fmla="*/ 272 h 1400"/>
                  <a:gd name="T26" fmla="*/ 590 w 813"/>
                  <a:gd name="T27" fmla="*/ 180 h 1400"/>
                  <a:gd name="T28" fmla="*/ 651 w 813"/>
                  <a:gd name="T29" fmla="*/ 139 h 1400"/>
                  <a:gd name="T30" fmla="*/ 651 w 813"/>
                  <a:gd name="T31" fmla="*/ 81 h 1400"/>
                  <a:gd name="T32" fmla="*/ 654 w 813"/>
                  <a:gd name="T33" fmla="*/ 10 h 1400"/>
                  <a:gd name="T34" fmla="*/ 706 w 813"/>
                  <a:gd name="T35" fmla="*/ 25 h 1400"/>
                  <a:gd name="T36" fmla="*/ 720 w 813"/>
                  <a:gd name="T37" fmla="*/ 77 h 1400"/>
                  <a:gd name="T38" fmla="*/ 813 w 813"/>
                  <a:gd name="T39" fmla="*/ 143 h 1400"/>
                  <a:gd name="T40" fmla="*/ 751 w 813"/>
                  <a:gd name="T41" fmla="*/ 205 h 1400"/>
                  <a:gd name="T42" fmla="*/ 729 w 813"/>
                  <a:gd name="T43" fmla="*/ 243 h 1400"/>
                  <a:gd name="T44" fmla="*/ 708 w 813"/>
                  <a:gd name="T45" fmla="*/ 377 h 1400"/>
                  <a:gd name="T46" fmla="*/ 745 w 813"/>
                  <a:gd name="T47" fmla="*/ 494 h 1400"/>
                  <a:gd name="T48" fmla="*/ 757 w 813"/>
                  <a:gd name="T49" fmla="*/ 554 h 1400"/>
                  <a:gd name="T50" fmla="*/ 722 w 813"/>
                  <a:gd name="T51" fmla="*/ 605 h 1400"/>
                  <a:gd name="T52" fmla="*/ 647 w 813"/>
                  <a:gd name="T53" fmla="*/ 720 h 1400"/>
                  <a:gd name="T54" fmla="*/ 616 w 813"/>
                  <a:gd name="T55" fmla="*/ 760 h 1400"/>
                  <a:gd name="T56" fmla="*/ 547 w 813"/>
                  <a:gd name="T57" fmla="*/ 781 h 1400"/>
                  <a:gd name="T58" fmla="*/ 487 w 813"/>
                  <a:gd name="T59" fmla="*/ 847 h 1400"/>
                  <a:gd name="T60" fmla="*/ 500 w 813"/>
                  <a:gd name="T61" fmla="*/ 928 h 1400"/>
                  <a:gd name="T62" fmla="*/ 493 w 813"/>
                  <a:gd name="T63" fmla="*/ 992 h 1400"/>
                  <a:gd name="T64" fmla="*/ 573 w 813"/>
                  <a:gd name="T65" fmla="*/ 1032 h 1400"/>
                  <a:gd name="T66" fmla="*/ 719 w 813"/>
                  <a:gd name="T67" fmla="*/ 1142 h 1400"/>
                  <a:gd name="T68" fmla="*/ 533 w 813"/>
                  <a:gd name="T69" fmla="*/ 1196 h 1400"/>
                  <a:gd name="T70" fmla="*/ 412 w 813"/>
                  <a:gd name="T71" fmla="*/ 1265 h 1400"/>
                  <a:gd name="T72" fmla="*/ 347 w 813"/>
                  <a:gd name="T73" fmla="*/ 1356 h 1400"/>
                  <a:gd name="T74" fmla="*/ 290 w 813"/>
                  <a:gd name="T75" fmla="*/ 1327 h 1400"/>
                  <a:gd name="T76" fmla="*/ 268 w 813"/>
                  <a:gd name="T77" fmla="*/ 1386 h 1400"/>
                  <a:gd name="T78" fmla="*/ 213 w 813"/>
                  <a:gd name="T79" fmla="*/ 1400 h 1400"/>
                  <a:gd name="T80" fmla="*/ 229 w 813"/>
                  <a:gd name="T81" fmla="*/ 1327 h 1400"/>
                  <a:gd name="T82" fmla="*/ 163 w 813"/>
                  <a:gd name="T83" fmla="*/ 1331 h 1400"/>
                  <a:gd name="T84" fmla="*/ 157 w 813"/>
                  <a:gd name="T85" fmla="*/ 1296 h 1400"/>
                  <a:gd name="T86" fmla="*/ 183 w 813"/>
                  <a:gd name="T87" fmla="*/ 1177 h 1400"/>
                  <a:gd name="T88" fmla="*/ 263 w 813"/>
                  <a:gd name="T89" fmla="*/ 1139 h 1400"/>
                  <a:gd name="T90" fmla="*/ 166 w 813"/>
                  <a:gd name="T91" fmla="*/ 1156 h 1400"/>
                  <a:gd name="T92" fmla="*/ 152 w 813"/>
                  <a:gd name="T93" fmla="*/ 1059 h 1400"/>
                  <a:gd name="T94" fmla="*/ 172 w 813"/>
                  <a:gd name="T95" fmla="*/ 959 h 1400"/>
                  <a:gd name="T96" fmla="*/ 203 w 813"/>
                  <a:gd name="T97" fmla="*/ 914 h 1400"/>
                  <a:gd name="T98" fmla="*/ 163 w 813"/>
                  <a:gd name="T99" fmla="*/ 940 h 1400"/>
                  <a:gd name="T100" fmla="*/ 92 w 813"/>
                  <a:gd name="T101" fmla="*/ 926 h 1400"/>
                  <a:gd name="T102" fmla="*/ 52 w 813"/>
                  <a:gd name="T103" fmla="*/ 932 h 1400"/>
                  <a:gd name="T104" fmla="*/ 12 w 813"/>
                  <a:gd name="T105" fmla="*/ 887 h 1400"/>
                  <a:gd name="T106" fmla="*/ 0 w 813"/>
                  <a:gd name="T107" fmla="*/ 879 h 1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13" h="1400">
                    <a:moveTo>
                      <a:pt x="0" y="879"/>
                    </a:moveTo>
                    <a:lnTo>
                      <a:pt x="0" y="780"/>
                    </a:lnTo>
                    <a:lnTo>
                      <a:pt x="44" y="743"/>
                    </a:lnTo>
                    <a:lnTo>
                      <a:pt x="64" y="699"/>
                    </a:lnTo>
                    <a:lnTo>
                      <a:pt x="64" y="669"/>
                    </a:lnTo>
                    <a:lnTo>
                      <a:pt x="108" y="640"/>
                    </a:lnTo>
                    <a:lnTo>
                      <a:pt x="138" y="583"/>
                    </a:lnTo>
                    <a:lnTo>
                      <a:pt x="170" y="569"/>
                    </a:lnTo>
                    <a:lnTo>
                      <a:pt x="197" y="484"/>
                    </a:lnTo>
                    <a:lnTo>
                      <a:pt x="212" y="455"/>
                    </a:lnTo>
                    <a:lnTo>
                      <a:pt x="210" y="437"/>
                    </a:lnTo>
                    <a:lnTo>
                      <a:pt x="212" y="381"/>
                    </a:lnTo>
                    <a:lnTo>
                      <a:pt x="245" y="341"/>
                    </a:lnTo>
                    <a:lnTo>
                      <a:pt x="276" y="391"/>
                    </a:lnTo>
                    <a:lnTo>
                      <a:pt x="303" y="405"/>
                    </a:lnTo>
                    <a:lnTo>
                      <a:pt x="328" y="428"/>
                    </a:lnTo>
                    <a:lnTo>
                      <a:pt x="358" y="415"/>
                    </a:lnTo>
                    <a:lnTo>
                      <a:pt x="395" y="430"/>
                    </a:lnTo>
                    <a:lnTo>
                      <a:pt x="463" y="423"/>
                    </a:lnTo>
                    <a:lnTo>
                      <a:pt x="509" y="430"/>
                    </a:lnTo>
                    <a:lnTo>
                      <a:pt x="530" y="384"/>
                    </a:lnTo>
                    <a:lnTo>
                      <a:pt x="528" y="358"/>
                    </a:lnTo>
                    <a:lnTo>
                      <a:pt x="491" y="321"/>
                    </a:lnTo>
                    <a:lnTo>
                      <a:pt x="454" y="294"/>
                    </a:lnTo>
                    <a:lnTo>
                      <a:pt x="484" y="277"/>
                    </a:lnTo>
                    <a:lnTo>
                      <a:pt x="523" y="272"/>
                    </a:lnTo>
                    <a:lnTo>
                      <a:pt x="590" y="218"/>
                    </a:lnTo>
                    <a:lnTo>
                      <a:pt x="590" y="180"/>
                    </a:lnTo>
                    <a:lnTo>
                      <a:pt x="617" y="143"/>
                    </a:lnTo>
                    <a:lnTo>
                      <a:pt x="651" y="139"/>
                    </a:lnTo>
                    <a:lnTo>
                      <a:pt x="664" y="106"/>
                    </a:lnTo>
                    <a:lnTo>
                      <a:pt x="651" y="81"/>
                    </a:lnTo>
                    <a:lnTo>
                      <a:pt x="654" y="47"/>
                    </a:lnTo>
                    <a:lnTo>
                      <a:pt x="654" y="10"/>
                    </a:lnTo>
                    <a:lnTo>
                      <a:pt x="676" y="0"/>
                    </a:lnTo>
                    <a:lnTo>
                      <a:pt x="706" y="25"/>
                    </a:lnTo>
                    <a:lnTo>
                      <a:pt x="706" y="60"/>
                    </a:lnTo>
                    <a:lnTo>
                      <a:pt x="720" y="77"/>
                    </a:lnTo>
                    <a:lnTo>
                      <a:pt x="775" y="90"/>
                    </a:lnTo>
                    <a:lnTo>
                      <a:pt x="813" y="143"/>
                    </a:lnTo>
                    <a:lnTo>
                      <a:pt x="807" y="143"/>
                    </a:lnTo>
                    <a:lnTo>
                      <a:pt x="751" y="205"/>
                    </a:lnTo>
                    <a:lnTo>
                      <a:pt x="731" y="201"/>
                    </a:lnTo>
                    <a:lnTo>
                      <a:pt x="729" y="243"/>
                    </a:lnTo>
                    <a:lnTo>
                      <a:pt x="706" y="328"/>
                    </a:lnTo>
                    <a:lnTo>
                      <a:pt x="708" y="377"/>
                    </a:lnTo>
                    <a:lnTo>
                      <a:pt x="743" y="404"/>
                    </a:lnTo>
                    <a:lnTo>
                      <a:pt x="745" y="494"/>
                    </a:lnTo>
                    <a:lnTo>
                      <a:pt x="772" y="514"/>
                    </a:lnTo>
                    <a:lnTo>
                      <a:pt x="757" y="554"/>
                    </a:lnTo>
                    <a:lnTo>
                      <a:pt x="713" y="592"/>
                    </a:lnTo>
                    <a:lnTo>
                      <a:pt x="722" y="605"/>
                    </a:lnTo>
                    <a:lnTo>
                      <a:pt x="637" y="694"/>
                    </a:lnTo>
                    <a:lnTo>
                      <a:pt x="647" y="720"/>
                    </a:lnTo>
                    <a:lnTo>
                      <a:pt x="623" y="742"/>
                    </a:lnTo>
                    <a:lnTo>
                      <a:pt x="616" y="760"/>
                    </a:lnTo>
                    <a:lnTo>
                      <a:pt x="581" y="759"/>
                    </a:lnTo>
                    <a:lnTo>
                      <a:pt x="547" y="781"/>
                    </a:lnTo>
                    <a:lnTo>
                      <a:pt x="532" y="818"/>
                    </a:lnTo>
                    <a:lnTo>
                      <a:pt x="487" y="847"/>
                    </a:lnTo>
                    <a:lnTo>
                      <a:pt x="487" y="889"/>
                    </a:lnTo>
                    <a:lnTo>
                      <a:pt x="500" y="928"/>
                    </a:lnTo>
                    <a:lnTo>
                      <a:pt x="483" y="947"/>
                    </a:lnTo>
                    <a:lnTo>
                      <a:pt x="493" y="992"/>
                    </a:lnTo>
                    <a:lnTo>
                      <a:pt x="556" y="1003"/>
                    </a:lnTo>
                    <a:lnTo>
                      <a:pt x="573" y="1032"/>
                    </a:lnTo>
                    <a:lnTo>
                      <a:pt x="699" y="1104"/>
                    </a:lnTo>
                    <a:lnTo>
                      <a:pt x="719" y="1142"/>
                    </a:lnTo>
                    <a:lnTo>
                      <a:pt x="651" y="1186"/>
                    </a:lnTo>
                    <a:lnTo>
                      <a:pt x="533" y="1196"/>
                    </a:lnTo>
                    <a:lnTo>
                      <a:pt x="472" y="1250"/>
                    </a:lnTo>
                    <a:lnTo>
                      <a:pt x="412" y="1265"/>
                    </a:lnTo>
                    <a:lnTo>
                      <a:pt x="361" y="1317"/>
                    </a:lnTo>
                    <a:lnTo>
                      <a:pt x="347" y="1356"/>
                    </a:lnTo>
                    <a:lnTo>
                      <a:pt x="309" y="1314"/>
                    </a:lnTo>
                    <a:lnTo>
                      <a:pt x="290" y="1327"/>
                    </a:lnTo>
                    <a:lnTo>
                      <a:pt x="299" y="1346"/>
                    </a:lnTo>
                    <a:lnTo>
                      <a:pt x="268" y="1386"/>
                    </a:lnTo>
                    <a:lnTo>
                      <a:pt x="248" y="1371"/>
                    </a:lnTo>
                    <a:lnTo>
                      <a:pt x="213" y="1400"/>
                    </a:lnTo>
                    <a:lnTo>
                      <a:pt x="198" y="1377"/>
                    </a:lnTo>
                    <a:lnTo>
                      <a:pt x="229" y="1327"/>
                    </a:lnTo>
                    <a:lnTo>
                      <a:pt x="193" y="1314"/>
                    </a:lnTo>
                    <a:lnTo>
                      <a:pt x="163" y="1331"/>
                    </a:lnTo>
                    <a:lnTo>
                      <a:pt x="148" y="1327"/>
                    </a:lnTo>
                    <a:lnTo>
                      <a:pt x="157" y="1296"/>
                    </a:lnTo>
                    <a:lnTo>
                      <a:pt x="159" y="1226"/>
                    </a:lnTo>
                    <a:lnTo>
                      <a:pt x="183" y="1177"/>
                    </a:lnTo>
                    <a:lnTo>
                      <a:pt x="227" y="1173"/>
                    </a:lnTo>
                    <a:lnTo>
                      <a:pt x="263" y="1139"/>
                    </a:lnTo>
                    <a:lnTo>
                      <a:pt x="229" y="1157"/>
                    </a:lnTo>
                    <a:lnTo>
                      <a:pt x="166" y="1156"/>
                    </a:lnTo>
                    <a:lnTo>
                      <a:pt x="154" y="1141"/>
                    </a:lnTo>
                    <a:lnTo>
                      <a:pt x="152" y="1059"/>
                    </a:lnTo>
                    <a:lnTo>
                      <a:pt x="193" y="992"/>
                    </a:lnTo>
                    <a:lnTo>
                      <a:pt x="172" y="959"/>
                    </a:lnTo>
                    <a:lnTo>
                      <a:pt x="194" y="944"/>
                    </a:lnTo>
                    <a:lnTo>
                      <a:pt x="203" y="914"/>
                    </a:lnTo>
                    <a:lnTo>
                      <a:pt x="182" y="917"/>
                    </a:lnTo>
                    <a:lnTo>
                      <a:pt x="163" y="940"/>
                    </a:lnTo>
                    <a:lnTo>
                      <a:pt x="108" y="948"/>
                    </a:lnTo>
                    <a:lnTo>
                      <a:pt x="92" y="926"/>
                    </a:lnTo>
                    <a:lnTo>
                      <a:pt x="54" y="905"/>
                    </a:lnTo>
                    <a:lnTo>
                      <a:pt x="52" y="932"/>
                    </a:lnTo>
                    <a:lnTo>
                      <a:pt x="28" y="948"/>
                    </a:lnTo>
                    <a:lnTo>
                      <a:pt x="12" y="887"/>
                    </a:lnTo>
                    <a:lnTo>
                      <a:pt x="4" y="891"/>
                    </a:lnTo>
                    <a:lnTo>
                      <a:pt x="0" y="87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0" name="ïṡḻïḍe"/>
              <p:cNvSpPr/>
              <p:nvPr/>
            </p:nvSpPr>
            <p:spPr bwMode="auto">
              <a:xfrm>
                <a:off x="2470231" y="2747559"/>
                <a:ext cx="857284" cy="403963"/>
              </a:xfrm>
              <a:custGeom>
                <a:avLst/>
                <a:gdLst>
                  <a:gd name="T0" fmla="*/ 178 w 5280"/>
                  <a:gd name="T1" fmla="*/ 761 h 2490"/>
                  <a:gd name="T2" fmla="*/ 320 w 5280"/>
                  <a:gd name="T3" fmla="*/ 600 h 2490"/>
                  <a:gd name="T4" fmla="*/ 379 w 5280"/>
                  <a:gd name="T5" fmla="*/ 493 h 2490"/>
                  <a:gd name="T6" fmla="*/ 597 w 5280"/>
                  <a:gd name="T7" fmla="*/ 425 h 2490"/>
                  <a:gd name="T8" fmla="*/ 724 w 5280"/>
                  <a:gd name="T9" fmla="*/ 460 h 2490"/>
                  <a:gd name="T10" fmla="*/ 909 w 5280"/>
                  <a:gd name="T11" fmla="*/ 454 h 2490"/>
                  <a:gd name="T12" fmla="*/ 1114 w 5280"/>
                  <a:gd name="T13" fmla="*/ 634 h 2490"/>
                  <a:gd name="T14" fmla="*/ 1295 w 5280"/>
                  <a:gd name="T15" fmla="*/ 605 h 2490"/>
                  <a:gd name="T16" fmla="*/ 1496 w 5280"/>
                  <a:gd name="T17" fmla="*/ 605 h 2490"/>
                  <a:gd name="T18" fmla="*/ 1544 w 5280"/>
                  <a:gd name="T19" fmla="*/ 395 h 2490"/>
                  <a:gd name="T20" fmla="*/ 1427 w 5280"/>
                  <a:gd name="T21" fmla="*/ 199 h 2490"/>
                  <a:gd name="T22" fmla="*/ 1536 w 5280"/>
                  <a:gd name="T23" fmla="*/ 74 h 2490"/>
                  <a:gd name="T24" fmla="*/ 1654 w 5280"/>
                  <a:gd name="T25" fmla="*/ 29 h 2490"/>
                  <a:gd name="T26" fmla="*/ 1873 w 5280"/>
                  <a:gd name="T27" fmla="*/ 93 h 2490"/>
                  <a:gd name="T28" fmla="*/ 2087 w 5280"/>
                  <a:gd name="T29" fmla="*/ 138 h 2490"/>
                  <a:gd name="T30" fmla="*/ 2150 w 5280"/>
                  <a:gd name="T31" fmla="*/ 292 h 2490"/>
                  <a:gd name="T32" fmla="*/ 2285 w 5280"/>
                  <a:gd name="T33" fmla="*/ 406 h 2490"/>
                  <a:gd name="T34" fmla="*/ 2474 w 5280"/>
                  <a:gd name="T35" fmla="*/ 410 h 2490"/>
                  <a:gd name="T36" fmla="*/ 2699 w 5280"/>
                  <a:gd name="T37" fmla="*/ 337 h 2490"/>
                  <a:gd name="T38" fmla="*/ 2977 w 5280"/>
                  <a:gd name="T39" fmla="*/ 397 h 2490"/>
                  <a:gd name="T40" fmla="*/ 3193 w 5280"/>
                  <a:gd name="T41" fmla="*/ 505 h 2490"/>
                  <a:gd name="T42" fmla="*/ 3436 w 5280"/>
                  <a:gd name="T43" fmla="*/ 567 h 2490"/>
                  <a:gd name="T44" fmla="*/ 3689 w 5280"/>
                  <a:gd name="T45" fmla="*/ 561 h 2490"/>
                  <a:gd name="T46" fmla="*/ 3954 w 5280"/>
                  <a:gd name="T47" fmla="*/ 449 h 2490"/>
                  <a:gd name="T48" fmla="*/ 4081 w 5280"/>
                  <a:gd name="T49" fmla="*/ 294 h 2490"/>
                  <a:gd name="T50" fmla="*/ 4243 w 5280"/>
                  <a:gd name="T51" fmla="*/ 233 h 2490"/>
                  <a:gd name="T52" fmla="*/ 4409 w 5280"/>
                  <a:gd name="T53" fmla="*/ 294 h 2490"/>
                  <a:gd name="T54" fmla="*/ 4551 w 5280"/>
                  <a:gd name="T55" fmla="*/ 550 h 2490"/>
                  <a:gd name="T56" fmla="*/ 4634 w 5280"/>
                  <a:gd name="T57" fmla="*/ 858 h 2490"/>
                  <a:gd name="T58" fmla="*/ 4904 w 5280"/>
                  <a:gd name="T59" fmla="*/ 762 h 2490"/>
                  <a:gd name="T60" fmla="*/ 5153 w 5280"/>
                  <a:gd name="T61" fmla="*/ 831 h 2490"/>
                  <a:gd name="T62" fmla="*/ 5266 w 5280"/>
                  <a:gd name="T63" fmla="*/ 1041 h 2490"/>
                  <a:gd name="T64" fmla="*/ 5154 w 5280"/>
                  <a:gd name="T65" fmla="*/ 1081 h 2490"/>
                  <a:gd name="T66" fmla="*/ 4941 w 5280"/>
                  <a:gd name="T67" fmla="*/ 1142 h 2490"/>
                  <a:gd name="T68" fmla="*/ 4858 w 5280"/>
                  <a:gd name="T69" fmla="*/ 1217 h 2490"/>
                  <a:gd name="T70" fmla="*/ 4693 w 5280"/>
                  <a:gd name="T71" fmla="*/ 1433 h 2490"/>
                  <a:gd name="T72" fmla="*/ 4488 w 5280"/>
                  <a:gd name="T73" fmla="*/ 1559 h 2490"/>
                  <a:gd name="T74" fmla="*/ 4309 w 5280"/>
                  <a:gd name="T75" fmla="*/ 1570 h 2490"/>
                  <a:gd name="T76" fmla="*/ 4091 w 5280"/>
                  <a:gd name="T77" fmla="*/ 1693 h 2490"/>
                  <a:gd name="T78" fmla="*/ 4222 w 5280"/>
                  <a:gd name="T79" fmla="*/ 1901 h 2490"/>
                  <a:gd name="T80" fmla="*/ 3973 w 5280"/>
                  <a:gd name="T81" fmla="*/ 2165 h 2490"/>
                  <a:gd name="T82" fmla="*/ 3674 w 5280"/>
                  <a:gd name="T83" fmla="*/ 2258 h 2490"/>
                  <a:gd name="T84" fmla="*/ 3247 w 5280"/>
                  <a:gd name="T85" fmla="*/ 2489 h 2490"/>
                  <a:gd name="T86" fmla="*/ 3017 w 5280"/>
                  <a:gd name="T87" fmla="*/ 2461 h 2490"/>
                  <a:gd name="T88" fmla="*/ 2588 w 5280"/>
                  <a:gd name="T89" fmla="*/ 2277 h 2490"/>
                  <a:gd name="T90" fmla="*/ 2249 w 5280"/>
                  <a:gd name="T91" fmla="*/ 2312 h 2490"/>
                  <a:gd name="T92" fmla="*/ 1742 w 5280"/>
                  <a:gd name="T93" fmla="*/ 2320 h 2490"/>
                  <a:gd name="T94" fmla="*/ 1573 w 5280"/>
                  <a:gd name="T95" fmla="*/ 2061 h 2490"/>
                  <a:gd name="T96" fmla="*/ 1492 w 5280"/>
                  <a:gd name="T97" fmla="*/ 1951 h 2490"/>
                  <a:gd name="T98" fmla="*/ 1292 w 5280"/>
                  <a:gd name="T99" fmla="*/ 1877 h 2490"/>
                  <a:gd name="T100" fmla="*/ 1050 w 5280"/>
                  <a:gd name="T101" fmla="*/ 1795 h 2490"/>
                  <a:gd name="T102" fmla="*/ 672 w 5280"/>
                  <a:gd name="T103" fmla="*/ 1697 h 2490"/>
                  <a:gd name="T104" fmla="*/ 692 w 5280"/>
                  <a:gd name="T105" fmla="*/ 1553 h 2490"/>
                  <a:gd name="T106" fmla="*/ 629 w 5280"/>
                  <a:gd name="T107" fmla="*/ 1384 h 2490"/>
                  <a:gd name="T108" fmla="*/ 538 w 5280"/>
                  <a:gd name="T109" fmla="*/ 1222 h 2490"/>
                  <a:gd name="T110" fmla="*/ 403 w 5280"/>
                  <a:gd name="T111" fmla="*/ 1179 h 2490"/>
                  <a:gd name="T112" fmla="*/ 264 w 5280"/>
                  <a:gd name="T113" fmla="*/ 1151 h 2490"/>
                  <a:gd name="T114" fmla="*/ 186 w 5280"/>
                  <a:gd name="T115" fmla="*/ 1127 h 2490"/>
                  <a:gd name="T116" fmla="*/ 55 w 5280"/>
                  <a:gd name="T117" fmla="*/ 1001 h 2490"/>
                  <a:gd name="T118" fmla="*/ 13 w 5280"/>
                  <a:gd name="T119" fmla="*/ 954 h 24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280" h="2490">
                    <a:moveTo>
                      <a:pt x="0" y="886"/>
                    </a:moveTo>
                    <a:lnTo>
                      <a:pt x="28" y="822"/>
                    </a:lnTo>
                    <a:lnTo>
                      <a:pt x="58" y="807"/>
                    </a:lnTo>
                    <a:lnTo>
                      <a:pt x="138" y="810"/>
                    </a:lnTo>
                    <a:lnTo>
                      <a:pt x="148" y="793"/>
                    </a:lnTo>
                    <a:lnTo>
                      <a:pt x="178" y="761"/>
                    </a:lnTo>
                    <a:lnTo>
                      <a:pt x="232" y="741"/>
                    </a:lnTo>
                    <a:lnTo>
                      <a:pt x="234" y="706"/>
                    </a:lnTo>
                    <a:lnTo>
                      <a:pt x="246" y="672"/>
                    </a:lnTo>
                    <a:lnTo>
                      <a:pt x="292" y="652"/>
                    </a:lnTo>
                    <a:lnTo>
                      <a:pt x="293" y="628"/>
                    </a:lnTo>
                    <a:lnTo>
                      <a:pt x="320" y="600"/>
                    </a:lnTo>
                    <a:lnTo>
                      <a:pt x="349" y="593"/>
                    </a:lnTo>
                    <a:lnTo>
                      <a:pt x="373" y="560"/>
                    </a:lnTo>
                    <a:lnTo>
                      <a:pt x="387" y="547"/>
                    </a:lnTo>
                    <a:lnTo>
                      <a:pt x="369" y="532"/>
                    </a:lnTo>
                    <a:lnTo>
                      <a:pt x="368" y="508"/>
                    </a:lnTo>
                    <a:lnTo>
                      <a:pt x="379" y="493"/>
                    </a:lnTo>
                    <a:lnTo>
                      <a:pt x="436" y="510"/>
                    </a:lnTo>
                    <a:lnTo>
                      <a:pt x="459" y="497"/>
                    </a:lnTo>
                    <a:lnTo>
                      <a:pt x="477" y="452"/>
                    </a:lnTo>
                    <a:lnTo>
                      <a:pt x="503" y="442"/>
                    </a:lnTo>
                    <a:lnTo>
                      <a:pt x="564" y="434"/>
                    </a:lnTo>
                    <a:lnTo>
                      <a:pt x="597" y="425"/>
                    </a:lnTo>
                    <a:lnTo>
                      <a:pt x="626" y="424"/>
                    </a:lnTo>
                    <a:lnTo>
                      <a:pt x="665" y="426"/>
                    </a:lnTo>
                    <a:lnTo>
                      <a:pt x="690" y="411"/>
                    </a:lnTo>
                    <a:lnTo>
                      <a:pt x="700" y="412"/>
                    </a:lnTo>
                    <a:lnTo>
                      <a:pt x="720" y="440"/>
                    </a:lnTo>
                    <a:lnTo>
                      <a:pt x="724" y="460"/>
                    </a:lnTo>
                    <a:lnTo>
                      <a:pt x="744" y="481"/>
                    </a:lnTo>
                    <a:lnTo>
                      <a:pt x="780" y="479"/>
                    </a:lnTo>
                    <a:lnTo>
                      <a:pt x="798" y="473"/>
                    </a:lnTo>
                    <a:lnTo>
                      <a:pt x="829" y="475"/>
                    </a:lnTo>
                    <a:lnTo>
                      <a:pt x="855" y="457"/>
                    </a:lnTo>
                    <a:lnTo>
                      <a:pt x="909" y="454"/>
                    </a:lnTo>
                    <a:lnTo>
                      <a:pt x="920" y="481"/>
                    </a:lnTo>
                    <a:lnTo>
                      <a:pt x="927" y="510"/>
                    </a:lnTo>
                    <a:lnTo>
                      <a:pt x="936" y="531"/>
                    </a:lnTo>
                    <a:lnTo>
                      <a:pt x="1020" y="580"/>
                    </a:lnTo>
                    <a:lnTo>
                      <a:pt x="1052" y="605"/>
                    </a:lnTo>
                    <a:lnTo>
                      <a:pt x="1114" y="634"/>
                    </a:lnTo>
                    <a:lnTo>
                      <a:pt x="1135" y="622"/>
                    </a:lnTo>
                    <a:lnTo>
                      <a:pt x="1170" y="609"/>
                    </a:lnTo>
                    <a:lnTo>
                      <a:pt x="1207" y="582"/>
                    </a:lnTo>
                    <a:lnTo>
                      <a:pt x="1237" y="579"/>
                    </a:lnTo>
                    <a:lnTo>
                      <a:pt x="1269" y="587"/>
                    </a:lnTo>
                    <a:lnTo>
                      <a:pt x="1295" y="605"/>
                    </a:lnTo>
                    <a:lnTo>
                      <a:pt x="1322" y="597"/>
                    </a:lnTo>
                    <a:lnTo>
                      <a:pt x="1396" y="598"/>
                    </a:lnTo>
                    <a:lnTo>
                      <a:pt x="1424" y="611"/>
                    </a:lnTo>
                    <a:lnTo>
                      <a:pt x="1456" y="608"/>
                    </a:lnTo>
                    <a:lnTo>
                      <a:pt x="1464" y="599"/>
                    </a:lnTo>
                    <a:lnTo>
                      <a:pt x="1496" y="605"/>
                    </a:lnTo>
                    <a:lnTo>
                      <a:pt x="1554" y="598"/>
                    </a:lnTo>
                    <a:lnTo>
                      <a:pt x="1585" y="547"/>
                    </a:lnTo>
                    <a:lnTo>
                      <a:pt x="1567" y="525"/>
                    </a:lnTo>
                    <a:lnTo>
                      <a:pt x="1533" y="501"/>
                    </a:lnTo>
                    <a:lnTo>
                      <a:pt x="1534" y="450"/>
                    </a:lnTo>
                    <a:lnTo>
                      <a:pt x="1544" y="395"/>
                    </a:lnTo>
                    <a:lnTo>
                      <a:pt x="1538" y="372"/>
                    </a:lnTo>
                    <a:lnTo>
                      <a:pt x="1505" y="362"/>
                    </a:lnTo>
                    <a:lnTo>
                      <a:pt x="1489" y="339"/>
                    </a:lnTo>
                    <a:lnTo>
                      <a:pt x="1439" y="326"/>
                    </a:lnTo>
                    <a:lnTo>
                      <a:pt x="1425" y="284"/>
                    </a:lnTo>
                    <a:lnTo>
                      <a:pt x="1427" y="199"/>
                    </a:lnTo>
                    <a:lnTo>
                      <a:pt x="1461" y="160"/>
                    </a:lnTo>
                    <a:lnTo>
                      <a:pt x="1461" y="134"/>
                    </a:lnTo>
                    <a:lnTo>
                      <a:pt x="1479" y="106"/>
                    </a:lnTo>
                    <a:lnTo>
                      <a:pt x="1507" y="96"/>
                    </a:lnTo>
                    <a:lnTo>
                      <a:pt x="1524" y="103"/>
                    </a:lnTo>
                    <a:lnTo>
                      <a:pt x="1536" y="74"/>
                    </a:lnTo>
                    <a:lnTo>
                      <a:pt x="1527" y="45"/>
                    </a:lnTo>
                    <a:lnTo>
                      <a:pt x="1531" y="18"/>
                    </a:lnTo>
                    <a:lnTo>
                      <a:pt x="1553" y="0"/>
                    </a:lnTo>
                    <a:lnTo>
                      <a:pt x="1587" y="1"/>
                    </a:lnTo>
                    <a:lnTo>
                      <a:pt x="1609" y="16"/>
                    </a:lnTo>
                    <a:lnTo>
                      <a:pt x="1654" y="29"/>
                    </a:lnTo>
                    <a:lnTo>
                      <a:pt x="1700" y="50"/>
                    </a:lnTo>
                    <a:lnTo>
                      <a:pt x="1706" y="62"/>
                    </a:lnTo>
                    <a:lnTo>
                      <a:pt x="1746" y="76"/>
                    </a:lnTo>
                    <a:lnTo>
                      <a:pt x="1788" y="79"/>
                    </a:lnTo>
                    <a:lnTo>
                      <a:pt x="1851" y="77"/>
                    </a:lnTo>
                    <a:lnTo>
                      <a:pt x="1873" y="93"/>
                    </a:lnTo>
                    <a:lnTo>
                      <a:pt x="1890" y="109"/>
                    </a:lnTo>
                    <a:lnTo>
                      <a:pt x="1934" y="113"/>
                    </a:lnTo>
                    <a:lnTo>
                      <a:pt x="1957" y="124"/>
                    </a:lnTo>
                    <a:lnTo>
                      <a:pt x="1987" y="129"/>
                    </a:lnTo>
                    <a:lnTo>
                      <a:pt x="2059" y="127"/>
                    </a:lnTo>
                    <a:lnTo>
                      <a:pt x="2087" y="138"/>
                    </a:lnTo>
                    <a:lnTo>
                      <a:pt x="2099" y="165"/>
                    </a:lnTo>
                    <a:lnTo>
                      <a:pt x="2099" y="187"/>
                    </a:lnTo>
                    <a:lnTo>
                      <a:pt x="2116" y="211"/>
                    </a:lnTo>
                    <a:lnTo>
                      <a:pt x="2116" y="235"/>
                    </a:lnTo>
                    <a:lnTo>
                      <a:pt x="2132" y="254"/>
                    </a:lnTo>
                    <a:lnTo>
                      <a:pt x="2150" y="292"/>
                    </a:lnTo>
                    <a:lnTo>
                      <a:pt x="2149" y="323"/>
                    </a:lnTo>
                    <a:lnTo>
                      <a:pt x="2169" y="340"/>
                    </a:lnTo>
                    <a:lnTo>
                      <a:pt x="2190" y="341"/>
                    </a:lnTo>
                    <a:lnTo>
                      <a:pt x="2225" y="372"/>
                    </a:lnTo>
                    <a:lnTo>
                      <a:pt x="2235" y="390"/>
                    </a:lnTo>
                    <a:lnTo>
                      <a:pt x="2285" y="406"/>
                    </a:lnTo>
                    <a:lnTo>
                      <a:pt x="2338" y="433"/>
                    </a:lnTo>
                    <a:lnTo>
                      <a:pt x="2361" y="434"/>
                    </a:lnTo>
                    <a:lnTo>
                      <a:pt x="2374" y="422"/>
                    </a:lnTo>
                    <a:lnTo>
                      <a:pt x="2426" y="424"/>
                    </a:lnTo>
                    <a:lnTo>
                      <a:pt x="2450" y="409"/>
                    </a:lnTo>
                    <a:lnTo>
                      <a:pt x="2474" y="410"/>
                    </a:lnTo>
                    <a:lnTo>
                      <a:pt x="2496" y="417"/>
                    </a:lnTo>
                    <a:lnTo>
                      <a:pt x="2518" y="410"/>
                    </a:lnTo>
                    <a:lnTo>
                      <a:pt x="2547" y="378"/>
                    </a:lnTo>
                    <a:lnTo>
                      <a:pt x="2597" y="363"/>
                    </a:lnTo>
                    <a:lnTo>
                      <a:pt x="2664" y="358"/>
                    </a:lnTo>
                    <a:lnTo>
                      <a:pt x="2699" y="337"/>
                    </a:lnTo>
                    <a:lnTo>
                      <a:pt x="2744" y="335"/>
                    </a:lnTo>
                    <a:lnTo>
                      <a:pt x="2787" y="323"/>
                    </a:lnTo>
                    <a:lnTo>
                      <a:pt x="2825" y="344"/>
                    </a:lnTo>
                    <a:lnTo>
                      <a:pt x="2875" y="349"/>
                    </a:lnTo>
                    <a:lnTo>
                      <a:pt x="2942" y="347"/>
                    </a:lnTo>
                    <a:lnTo>
                      <a:pt x="2977" y="397"/>
                    </a:lnTo>
                    <a:lnTo>
                      <a:pt x="3037" y="420"/>
                    </a:lnTo>
                    <a:lnTo>
                      <a:pt x="3087" y="419"/>
                    </a:lnTo>
                    <a:lnTo>
                      <a:pt x="3122" y="411"/>
                    </a:lnTo>
                    <a:lnTo>
                      <a:pt x="3139" y="426"/>
                    </a:lnTo>
                    <a:lnTo>
                      <a:pt x="3158" y="481"/>
                    </a:lnTo>
                    <a:lnTo>
                      <a:pt x="3193" y="505"/>
                    </a:lnTo>
                    <a:lnTo>
                      <a:pt x="3213" y="517"/>
                    </a:lnTo>
                    <a:lnTo>
                      <a:pt x="3236" y="522"/>
                    </a:lnTo>
                    <a:lnTo>
                      <a:pt x="3266" y="554"/>
                    </a:lnTo>
                    <a:lnTo>
                      <a:pt x="3291" y="555"/>
                    </a:lnTo>
                    <a:lnTo>
                      <a:pt x="3368" y="548"/>
                    </a:lnTo>
                    <a:lnTo>
                      <a:pt x="3436" y="567"/>
                    </a:lnTo>
                    <a:lnTo>
                      <a:pt x="3539" y="566"/>
                    </a:lnTo>
                    <a:lnTo>
                      <a:pt x="3582" y="560"/>
                    </a:lnTo>
                    <a:lnTo>
                      <a:pt x="3600" y="547"/>
                    </a:lnTo>
                    <a:lnTo>
                      <a:pt x="3638" y="547"/>
                    </a:lnTo>
                    <a:lnTo>
                      <a:pt x="3669" y="563"/>
                    </a:lnTo>
                    <a:lnTo>
                      <a:pt x="3689" y="561"/>
                    </a:lnTo>
                    <a:lnTo>
                      <a:pt x="3717" y="519"/>
                    </a:lnTo>
                    <a:lnTo>
                      <a:pt x="3780" y="482"/>
                    </a:lnTo>
                    <a:lnTo>
                      <a:pt x="3821" y="483"/>
                    </a:lnTo>
                    <a:lnTo>
                      <a:pt x="3847" y="451"/>
                    </a:lnTo>
                    <a:lnTo>
                      <a:pt x="3875" y="448"/>
                    </a:lnTo>
                    <a:lnTo>
                      <a:pt x="3954" y="449"/>
                    </a:lnTo>
                    <a:lnTo>
                      <a:pt x="3988" y="418"/>
                    </a:lnTo>
                    <a:lnTo>
                      <a:pt x="3998" y="384"/>
                    </a:lnTo>
                    <a:lnTo>
                      <a:pt x="3998" y="370"/>
                    </a:lnTo>
                    <a:lnTo>
                      <a:pt x="4020" y="335"/>
                    </a:lnTo>
                    <a:lnTo>
                      <a:pt x="4056" y="320"/>
                    </a:lnTo>
                    <a:lnTo>
                      <a:pt x="4081" y="294"/>
                    </a:lnTo>
                    <a:lnTo>
                      <a:pt x="4094" y="258"/>
                    </a:lnTo>
                    <a:lnTo>
                      <a:pt x="4120" y="233"/>
                    </a:lnTo>
                    <a:lnTo>
                      <a:pt x="4149" y="233"/>
                    </a:lnTo>
                    <a:lnTo>
                      <a:pt x="4161" y="242"/>
                    </a:lnTo>
                    <a:lnTo>
                      <a:pt x="4211" y="229"/>
                    </a:lnTo>
                    <a:lnTo>
                      <a:pt x="4243" y="233"/>
                    </a:lnTo>
                    <a:lnTo>
                      <a:pt x="4284" y="259"/>
                    </a:lnTo>
                    <a:lnTo>
                      <a:pt x="4304" y="289"/>
                    </a:lnTo>
                    <a:lnTo>
                      <a:pt x="4329" y="298"/>
                    </a:lnTo>
                    <a:lnTo>
                      <a:pt x="4361" y="281"/>
                    </a:lnTo>
                    <a:lnTo>
                      <a:pt x="4379" y="295"/>
                    </a:lnTo>
                    <a:lnTo>
                      <a:pt x="4409" y="294"/>
                    </a:lnTo>
                    <a:lnTo>
                      <a:pt x="4447" y="271"/>
                    </a:lnTo>
                    <a:lnTo>
                      <a:pt x="4448" y="254"/>
                    </a:lnTo>
                    <a:lnTo>
                      <a:pt x="4506" y="244"/>
                    </a:lnTo>
                    <a:lnTo>
                      <a:pt x="4570" y="264"/>
                    </a:lnTo>
                    <a:lnTo>
                      <a:pt x="4588" y="284"/>
                    </a:lnTo>
                    <a:lnTo>
                      <a:pt x="4551" y="550"/>
                    </a:lnTo>
                    <a:lnTo>
                      <a:pt x="4558" y="606"/>
                    </a:lnTo>
                    <a:lnTo>
                      <a:pt x="4543" y="656"/>
                    </a:lnTo>
                    <a:lnTo>
                      <a:pt x="4548" y="691"/>
                    </a:lnTo>
                    <a:lnTo>
                      <a:pt x="4526" y="765"/>
                    </a:lnTo>
                    <a:lnTo>
                      <a:pt x="4553" y="819"/>
                    </a:lnTo>
                    <a:lnTo>
                      <a:pt x="4634" y="858"/>
                    </a:lnTo>
                    <a:lnTo>
                      <a:pt x="4689" y="816"/>
                    </a:lnTo>
                    <a:lnTo>
                      <a:pt x="4758" y="816"/>
                    </a:lnTo>
                    <a:lnTo>
                      <a:pt x="4833" y="828"/>
                    </a:lnTo>
                    <a:lnTo>
                      <a:pt x="4867" y="863"/>
                    </a:lnTo>
                    <a:lnTo>
                      <a:pt x="4909" y="799"/>
                    </a:lnTo>
                    <a:lnTo>
                      <a:pt x="4904" y="762"/>
                    </a:lnTo>
                    <a:lnTo>
                      <a:pt x="4907" y="730"/>
                    </a:lnTo>
                    <a:lnTo>
                      <a:pt x="4953" y="715"/>
                    </a:lnTo>
                    <a:lnTo>
                      <a:pt x="4970" y="700"/>
                    </a:lnTo>
                    <a:lnTo>
                      <a:pt x="5047" y="719"/>
                    </a:lnTo>
                    <a:lnTo>
                      <a:pt x="5092" y="774"/>
                    </a:lnTo>
                    <a:lnTo>
                      <a:pt x="5153" y="831"/>
                    </a:lnTo>
                    <a:lnTo>
                      <a:pt x="5203" y="893"/>
                    </a:lnTo>
                    <a:lnTo>
                      <a:pt x="5266" y="938"/>
                    </a:lnTo>
                    <a:lnTo>
                      <a:pt x="5267" y="968"/>
                    </a:lnTo>
                    <a:lnTo>
                      <a:pt x="5280" y="992"/>
                    </a:lnTo>
                    <a:lnTo>
                      <a:pt x="5279" y="1021"/>
                    </a:lnTo>
                    <a:lnTo>
                      <a:pt x="5266" y="1041"/>
                    </a:lnTo>
                    <a:lnTo>
                      <a:pt x="5265" y="1064"/>
                    </a:lnTo>
                    <a:lnTo>
                      <a:pt x="5251" y="1085"/>
                    </a:lnTo>
                    <a:lnTo>
                      <a:pt x="5225" y="1079"/>
                    </a:lnTo>
                    <a:lnTo>
                      <a:pt x="5210" y="1063"/>
                    </a:lnTo>
                    <a:lnTo>
                      <a:pt x="5174" y="1068"/>
                    </a:lnTo>
                    <a:lnTo>
                      <a:pt x="5154" y="1081"/>
                    </a:lnTo>
                    <a:lnTo>
                      <a:pt x="5106" y="1061"/>
                    </a:lnTo>
                    <a:lnTo>
                      <a:pt x="5076" y="1067"/>
                    </a:lnTo>
                    <a:lnTo>
                      <a:pt x="5045" y="1110"/>
                    </a:lnTo>
                    <a:lnTo>
                      <a:pt x="4998" y="1147"/>
                    </a:lnTo>
                    <a:lnTo>
                      <a:pt x="4971" y="1165"/>
                    </a:lnTo>
                    <a:lnTo>
                      <a:pt x="4941" y="1142"/>
                    </a:lnTo>
                    <a:lnTo>
                      <a:pt x="4927" y="1146"/>
                    </a:lnTo>
                    <a:lnTo>
                      <a:pt x="4926" y="1178"/>
                    </a:lnTo>
                    <a:lnTo>
                      <a:pt x="4914" y="1196"/>
                    </a:lnTo>
                    <a:lnTo>
                      <a:pt x="4890" y="1199"/>
                    </a:lnTo>
                    <a:lnTo>
                      <a:pt x="4872" y="1196"/>
                    </a:lnTo>
                    <a:lnTo>
                      <a:pt x="4858" y="1217"/>
                    </a:lnTo>
                    <a:lnTo>
                      <a:pt x="4829" y="1263"/>
                    </a:lnTo>
                    <a:lnTo>
                      <a:pt x="4821" y="1315"/>
                    </a:lnTo>
                    <a:lnTo>
                      <a:pt x="4823" y="1351"/>
                    </a:lnTo>
                    <a:lnTo>
                      <a:pt x="4805" y="1372"/>
                    </a:lnTo>
                    <a:lnTo>
                      <a:pt x="4769" y="1381"/>
                    </a:lnTo>
                    <a:lnTo>
                      <a:pt x="4693" y="1433"/>
                    </a:lnTo>
                    <a:lnTo>
                      <a:pt x="4652" y="1433"/>
                    </a:lnTo>
                    <a:lnTo>
                      <a:pt x="4611" y="1425"/>
                    </a:lnTo>
                    <a:lnTo>
                      <a:pt x="4590" y="1439"/>
                    </a:lnTo>
                    <a:lnTo>
                      <a:pt x="4558" y="1507"/>
                    </a:lnTo>
                    <a:lnTo>
                      <a:pt x="4526" y="1530"/>
                    </a:lnTo>
                    <a:lnTo>
                      <a:pt x="4488" y="1559"/>
                    </a:lnTo>
                    <a:lnTo>
                      <a:pt x="4465" y="1584"/>
                    </a:lnTo>
                    <a:lnTo>
                      <a:pt x="4455" y="1611"/>
                    </a:lnTo>
                    <a:lnTo>
                      <a:pt x="4438" y="1615"/>
                    </a:lnTo>
                    <a:lnTo>
                      <a:pt x="4402" y="1597"/>
                    </a:lnTo>
                    <a:lnTo>
                      <a:pt x="4360" y="1588"/>
                    </a:lnTo>
                    <a:lnTo>
                      <a:pt x="4309" y="1570"/>
                    </a:lnTo>
                    <a:lnTo>
                      <a:pt x="4267" y="1541"/>
                    </a:lnTo>
                    <a:lnTo>
                      <a:pt x="4224" y="1539"/>
                    </a:lnTo>
                    <a:lnTo>
                      <a:pt x="4158" y="1553"/>
                    </a:lnTo>
                    <a:lnTo>
                      <a:pt x="4119" y="1582"/>
                    </a:lnTo>
                    <a:lnTo>
                      <a:pt x="4094" y="1618"/>
                    </a:lnTo>
                    <a:lnTo>
                      <a:pt x="4091" y="1693"/>
                    </a:lnTo>
                    <a:lnTo>
                      <a:pt x="4095" y="1730"/>
                    </a:lnTo>
                    <a:lnTo>
                      <a:pt x="4093" y="1754"/>
                    </a:lnTo>
                    <a:lnTo>
                      <a:pt x="4169" y="1804"/>
                    </a:lnTo>
                    <a:lnTo>
                      <a:pt x="4239" y="1847"/>
                    </a:lnTo>
                    <a:lnTo>
                      <a:pt x="4239" y="1869"/>
                    </a:lnTo>
                    <a:lnTo>
                      <a:pt x="4222" y="1901"/>
                    </a:lnTo>
                    <a:lnTo>
                      <a:pt x="4200" y="1933"/>
                    </a:lnTo>
                    <a:lnTo>
                      <a:pt x="4125" y="2018"/>
                    </a:lnTo>
                    <a:lnTo>
                      <a:pt x="4081" y="2091"/>
                    </a:lnTo>
                    <a:lnTo>
                      <a:pt x="4056" y="2147"/>
                    </a:lnTo>
                    <a:lnTo>
                      <a:pt x="4027" y="2147"/>
                    </a:lnTo>
                    <a:lnTo>
                      <a:pt x="3973" y="2165"/>
                    </a:lnTo>
                    <a:lnTo>
                      <a:pt x="3933" y="2167"/>
                    </a:lnTo>
                    <a:lnTo>
                      <a:pt x="3886" y="2198"/>
                    </a:lnTo>
                    <a:lnTo>
                      <a:pt x="3840" y="2233"/>
                    </a:lnTo>
                    <a:lnTo>
                      <a:pt x="3792" y="2235"/>
                    </a:lnTo>
                    <a:lnTo>
                      <a:pt x="3721" y="2242"/>
                    </a:lnTo>
                    <a:lnTo>
                      <a:pt x="3674" y="2258"/>
                    </a:lnTo>
                    <a:lnTo>
                      <a:pt x="3618" y="2275"/>
                    </a:lnTo>
                    <a:lnTo>
                      <a:pt x="3496" y="2318"/>
                    </a:lnTo>
                    <a:lnTo>
                      <a:pt x="3399" y="2350"/>
                    </a:lnTo>
                    <a:lnTo>
                      <a:pt x="3352" y="2403"/>
                    </a:lnTo>
                    <a:lnTo>
                      <a:pt x="3278" y="2463"/>
                    </a:lnTo>
                    <a:lnTo>
                      <a:pt x="3247" y="2489"/>
                    </a:lnTo>
                    <a:lnTo>
                      <a:pt x="3206" y="2490"/>
                    </a:lnTo>
                    <a:lnTo>
                      <a:pt x="3156" y="2475"/>
                    </a:lnTo>
                    <a:lnTo>
                      <a:pt x="3156" y="2457"/>
                    </a:lnTo>
                    <a:lnTo>
                      <a:pt x="3149" y="2431"/>
                    </a:lnTo>
                    <a:lnTo>
                      <a:pt x="3077" y="2452"/>
                    </a:lnTo>
                    <a:lnTo>
                      <a:pt x="3017" y="2461"/>
                    </a:lnTo>
                    <a:lnTo>
                      <a:pt x="2955" y="2428"/>
                    </a:lnTo>
                    <a:lnTo>
                      <a:pt x="2906" y="2424"/>
                    </a:lnTo>
                    <a:lnTo>
                      <a:pt x="2798" y="2383"/>
                    </a:lnTo>
                    <a:lnTo>
                      <a:pt x="2690" y="2333"/>
                    </a:lnTo>
                    <a:lnTo>
                      <a:pt x="2634" y="2278"/>
                    </a:lnTo>
                    <a:lnTo>
                      <a:pt x="2588" y="2277"/>
                    </a:lnTo>
                    <a:lnTo>
                      <a:pt x="2465" y="2263"/>
                    </a:lnTo>
                    <a:lnTo>
                      <a:pt x="2361" y="2265"/>
                    </a:lnTo>
                    <a:lnTo>
                      <a:pt x="2335" y="2259"/>
                    </a:lnTo>
                    <a:lnTo>
                      <a:pt x="2316" y="2272"/>
                    </a:lnTo>
                    <a:lnTo>
                      <a:pt x="2306" y="2290"/>
                    </a:lnTo>
                    <a:lnTo>
                      <a:pt x="2249" y="2312"/>
                    </a:lnTo>
                    <a:lnTo>
                      <a:pt x="2168" y="2320"/>
                    </a:lnTo>
                    <a:lnTo>
                      <a:pt x="2026" y="2308"/>
                    </a:lnTo>
                    <a:lnTo>
                      <a:pt x="1923" y="2314"/>
                    </a:lnTo>
                    <a:lnTo>
                      <a:pt x="1843" y="2309"/>
                    </a:lnTo>
                    <a:lnTo>
                      <a:pt x="1776" y="2316"/>
                    </a:lnTo>
                    <a:lnTo>
                      <a:pt x="1742" y="2320"/>
                    </a:lnTo>
                    <a:lnTo>
                      <a:pt x="1712" y="2310"/>
                    </a:lnTo>
                    <a:lnTo>
                      <a:pt x="1674" y="2236"/>
                    </a:lnTo>
                    <a:lnTo>
                      <a:pt x="1658" y="2199"/>
                    </a:lnTo>
                    <a:lnTo>
                      <a:pt x="1622" y="2146"/>
                    </a:lnTo>
                    <a:lnTo>
                      <a:pt x="1594" y="2110"/>
                    </a:lnTo>
                    <a:lnTo>
                      <a:pt x="1573" y="2061"/>
                    </a:lnTo>
                    <a:lnTo>
                      <a:pt x="1571" y="2039"/>
                    </a:lnTo>
                    <a:lnTo>
                      <a:pt x="1546" y="2013"/>
                    </a:lnTo>
                    <a:lnTo>
                      <a:pt x="1521" y="2003"/>
                    </a:lnTo>
                    <a:lnTo>
                      <a:pt x="1503" y="2001"/>
                    </a:lnTo>
                    <a:lnTo>
                      <a:pt x="1496" y="1982"/>
                    </a:lnTo>
                    <a:lnTo>
                      <a:pt x="1492" y="1951"/>
                    </a:lnTo>
                    <a:lnTo>
                      <a:pt x="1480" y="1947"/>
                    </a:lnTo>
                    <a:lnTo>
                      <a:pt x="1464" y="1951"/>
                    </a:lnTo>
                    <a:lnTo>
                      <a:pt x="1417" y="1950"/>
                    </a:lnTo>
                    <a:lnTo>
                      <a:pt x="1376" y="1926"/>
                    </a:lnTo>
                    <a:lnTo>
                      <a:pt x="1313" y="1881"/>
                    </a:lnTo>
                    <a:lnTo>
                      <a:pt x="1292" y="1877"/>
                    </a:lnTo>
                    <a:lnTo>
                      <a:pt x="1276" y="1877"/>
                    </a:lnTo>
                    <a:lnTo>
                      <a:pt x="1245" y="1872"/>
                    </a:lnTo>
                    <a:lnTo>
                      <a:pt x="1231" y="1852"/>
                    </a:lnTo>
                    <a:lnTo>
                      <a:pt x="1179" y="1817"/>
                    </a:lnTo>
                    <a:lnTo>
                      <a:pt x="1062" y="1792"/>
                    </a:lnTo>
                    <a:lnTo>
                      <a:pt x="1050" y="1795"/>
                    </a:lnTo>
                    <a:lnTo>
                      <a:pt x="1036" y="1807"/>
                    </a:lnTo>
                    <a:lnTo>
                      <a:pt x="989" y="1811"/>
                    </a:lnTo>
                    <a:lnTo>
                      <a:pt x="914" y="1813"/>
                    </a:lnTo>
                    <a:lnTo>
                      <a:pt x="747" y="1777"/>
                    </a:lnTo>
                    <a:lnTo>
                      <a:pt x="710" y="1756"/>
                    </a:lnTo>
                    <a:lnTo>
                      <a:pt x="672" y="1697"/>
                    </a:lnTo>
                    <a:lnTo>
                      <a:pt x="666" y="1670"/>
                    </a:lnTo>
                    <a:lnTo>
                      <a:pt x="666" y="1645"/>
                    </a:lnTo>
                    <a:lnTo>
                      <a:pt x="676" y="1626"/>
                    </a:lnTo>
                    <a:lnTo>
                      <a:pt x="701" y="1608"/>
                    </a:lnTo>
                    <a:lnTo>
                      <a:pt x="711" y="1577"/>
                    </a:lnTo>
                    <a:lnTo>
                      <a:pt x="692" y="1553"/>
                    </a:lnTo>
                    <a:lnTo>
                      <a:pt x="683" y="1513"/>
                    </a:lnTo>
                    <a:lnTo>
                      <a:pt x="691" y="1491"/>
                    </a:lnTo>
                    <a:lnTo>
                      <a:pt x="689" y="1453"/>
                    </a:lnTo>
                    <a:lnTo>
                      <a:pt x="675" y="1432"/>
                    </a:lnTo>
                    <a:lnTo>
                      <a:pt x="653" y="1397"/>
                    </a:lnTo>
                    <a:lnTo>
                      <a:pt x="629" y="1384"/>
                    </a:lnTo>
                    <a:lnTo>
                      <a:pt x="601" y="1362"/>
                    </a:lnTo>
                    <a:lnTo>
                      <a:pt x="590" y="1332"/>
                    </a:lnTo>
                    <a:lnTo>
                      <a:pt x="572" y="1307"/>
                    </a:lnTo>
                    <a:lnTo>
                      <a:pt x="562" y="1277"/>
                    </a:lnTo>
                    <a:lnTo>
                      <a:pt x="558" y="1250"/>
                    </a:lnTo>
                    <a:lnTo>
                      <a:pt x="538" y="1222"/>
                    </a:lnTo>
                    <a:lnTo>
                      <a:pt x="512" y="1200"/>
                    </a:lnTo>
                    <a:lnTo>
                      <a:pt x="486" y="1192"/>
                    </a:lnTo>
                    <a:lnTo>
                      <a:pt x="474" y="1172"/>
                    </a:lnTo>
                    <a:lnTo>
                      <a:pt x="445" y="1160"/>
                    </a:lnTo>
                    <a:lnTo>
                      <a:pt x="419" y="1162"/>
                    </a:lnTo>
                    <a:lnTo>
                      <a:pt x="403" y="1179"/>
                    </a:lnTo>
                    <a:lnTo>
                      <a:pt x="383" y="1187"/>
                    </a:lnTo>
                    <a:lnTo>
                      <a:pt x="366" y="1180"/>
                    </a:lnTo>
                    <a:lnTo>
                      <a:pt x="339" y="1150"/>
                    </a:lnTo>
                    <a:lnTo>
                      <a:pt x="330" y="1135"/>
                    </a:lnTo>
                    <a:lnTo>
                      <a:pt x="298" y="1135"/>
                    </a:lnTo>
                    <a:lnTo>
                      <a:pt x="264" y="1151"/>
                    </a:lnTo>
                    <a:lnTo>
                      <a:pt x="251" y="1166"/>
                    </a:lnTo>
                    <a:lnTo>
                      <a:pt x="244" y="1186"/>
                    </a:lnTo>
                    <a:lnTo>
                      <a:pt x="229" y="1186"/>
                    </a:lnTo>
                    <a:lnTo>
                      <a:pt x="195" y="1165"/>
                    </a:lnTo>
                    <a:lnTo>
                      <a:pt x="186" y="1140"/>
                    </a:lnTo>
                    <a:lnTo>
                      <a:pt x="186" y="1127"/>
                    </a:lnTo>
                    <a:lnTo>
                      <a:pt x="161" y="1098"/>
                    </a:lnTo>
                    <a:lnTo>
                      <a:pt x="127" y="1076"/>
                    </a:lnTo>
                    <a:lnTo>
                      <a:pt x="102" y="1047"/>
                    </a:lnTo>
                    <a:lnTo>
                      <a:pt x="82" y="1039"/>
                    </a:lnTo>
                    <a:lnTo>
                      <a:pt x="64" y="1023"/>
                    </a:lnTo>
                    <a:lnTo>
                      <a:pt x="55" y="1001"/>
                    </a:lnTo>
                    <a:lnTo>
                      <a:pt x="54" y="978"/>
                    </a:lnTo>
                    <a:lnTo>
                      <a:pt x="45" y="960"/>
                    </a:lnTo>
                    <a:lnTo>
                      <a:pt x="39" y="963"/>
                    </a:lnTo>
                    <a:lnTo>
                      <a:pt x="37" y="973"/>
                    </a:lnTo>
                    <a:lnTo>
                      <a:pt x="26" y="976"/>
                    </a:lnTo>
                    <a:lnTo>
                      <a:pt x="13" y="954"/>
                    </a:lnTo>
                    <a:lnTo>
                      <a:pt x="3" y="945"/>
                    </a:lnTo>
                    <a:lnTo>
                      <a:pt x="4" y="905"/>
                    </a:lnTo>
                    <a:lnTo>
                      <a:pt x="0" y="886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1" name="iṡ1íḋé"/>
              <p:cNvSpPr/>
              <p:nvPr/>
            </p:nvSpPr>
            <p:spPr bwMode="auto">
              <a:xfrm>
                <a:off x="1403821" y="2674819"/>
                <a:ext cx="1056019" cy="554637"/>
              </a:xfrm>
              <a:custGeom>
                <a:avLst/>
                <a:gdLst>
                  <a:gd name="T0" fmla="*/ 158 w 6505"/>
                  <a:gd name="T1" fmla="*/ 1989 h 3417"/>
                  <a:gd name="T2" fmla="*/ 7 w 6505"/>
                  <a:gd name="T3" fmla="*/ 1591 h 3417"/>
                  <a:gd name="T4" fmla="*/ 311 w 6505"/>
                  <a:gd name="T5" fmla="*/ 1532 h 3417"/>
                  <a:gd name="T6" fmla="*/ 461 w 6505"/>
                  <a:gd name="T7" fmla="*/ 1227 h 3417"/>
                  <a:gd name="T8" fmla="*/ 630 w 6505"/>
                  <a:gd name="T9" fmla="*/ 1157 h 3417"/>
                  <a:gd name="T10" fmla="*/ 749 w 6505"/>
                  <a:gd name="T11" fmla="*/ 1125 h 3417"/>
                  <a:gd name="T12" fmla="*/ 1034 w 6505"/>
                  <a:gd name="T13" fmla="*/ 1224 h 3417"/>
                  <a:gd name="T14" fmla="*/ 1228 w 6505"/>
                  <a:gd name="T15" fmla="*/ 1291 h 3417"/>
                  <a:gd name="T16" fmla="*/ 1481 w 6505"/>
                  <a:gd name="T17" fmla="*/ 1225 h 3417"/>
                  <a:gd name="T18" fmla="*/ 1710 w 6505"/>
                  <a:gd name="T19" fmla="*/ 1216 h 3417"/>
                  <a:gd name="T20" fmla="*/ 1874 w 6505"/>
                  <a:gd name="T21" fmla="*/ 1307 h 3417"/>
                  <a:gd name="T22" fmla="*/ 2186 w 6505"/>
                  <a:gd name="T23" fmla="*/ 1296 h 3417"/>
                  <a:gd name="T24" fmla="*/ 2085 w 6505"/>
                  <a:gd name="T25" fmla="*/ 1025 h 3417"/>
                  <a:gd name="T26" fmla="*/ 2064 w 6505"/>
                  <a:gd name="T27" fmla="*/ 851 h 3417"/>
                  <a:gd name="T28" fmla="*/ 2199 w 6505"/>
                  <a:gd name="T29" fmla="*/ 640 h 3417"/>
                  <a:gd name="T30" fmla="*/ 2074 w 6505"/>
                  <a:gd name="T31" fmla="*/ 573 h 3417"/>
                  <a:gd name="T32" fmla="*/ 2182 w 6505"/>
                  <a:gd name="T33" fmla="*/ 487 h 3417"/>
                  <a:gd name="T34" fmla="*/ 2385 w 6505"/>
                  <a:gd name="T35" fmla="*/ 419 h 3417"/>
                  <a:gd name="T36" fmla="*/ 2686 w 6505"/>
                  <a:gd name="T37" fmla="*/ 336 h 3417"/>
                  <a:gd name="T38" fmla="*/ 2857 w 6505"/>
                  <a:gd name="T39" fmla="*/ 233 h 3417"/>
                  <a:gd name="T40" fmla="*/ 3130 w 6505"/>
                  <a:gd name="T41" fmla="*/ 94 h 3417"/>
                  <a:gd name="T42" fmla="*/ 3354 w 6505"/>
                  <a:gd name="T43" fmla="*/ 13 h 3417"/>
                  <a:gd name="T44" fmla="*/ 3596 w 6505"/>
                  <a:gd name="T45" fmla="*/ 157 h 3417"/>
                  <a:gd name="T46" fmla="*/ 3670 w 6505"/>
                  <a:gd name="T47" fmla="*/ 304 h 3417"/>
                  <a:gd name="T48" fmla="*/ 3810 w 6505"/>
                  <a:gd name="T49" fmla="*/ 264 h 3417"/>
                  <a:gd name="T50" fmla="*/ 3979 w 6505"/>
                  <a:gd name="T51" fmla="*/ 327 h 3417"/>
                  <a:gd name="T52" fmla="*/ 4093 w 6505"/>
                  <a:gd name="T53" fmla="*/ 408 h 3417"/>
                  <a:gd name="T54" fmla="*/ 4347 w 6505"/>
                  <a:gd name="T55" fmla="*/ 290 h 3417"/>
                  <a:gd name="T56" fmla="*/ 4512 w 6505"/>
                  <a:gd name="T57" fmla="*/ 241 h 3417"/>
                  <a:gd name="T58" fmla="*/ 5294 w 6505"/>
                  <a:gd name="T59" fmla="*/ 940 h 3417"/>
                  <a:gd name="T60" fmla="*/ 5513 w 6505"/>
                  <a:gd name="T61" fmla="*/ 1013 h 3417"/>
                  <a:gd name="T62" fmla="*/ 5778 w 6505"/>
                  <a:gd name="T63" fmla="*/ 954 h 3417"/>
                  <a:gd name="T64" fmla="*/ 6056 w 6505"/>
                  <a:gd name="T65" fmla="*/ 1143 h 3417"/>
                  <a:gd name="T66" fmla="*/ 6161 w 6505"/>
                  <a:gd name="T67" fmla="*/ 1280 h 3417"/>
                  <a:gd name="T68" fmla="*/ 6379 w 6505"/>
                  <a:gd name="T69" fmla="*/ 1264 h 3417"/>
                  <a:gd name="T70" fmla="*/ 6410 w 6505"/>
                  <a:gd name="T71" fmla="*/ 1478 h 3417"/>
                  <a:gd name="T72" fmla="*/ 6321 w 6505"/>
                  <a:gd name="T73" fmla="*/ 1850 h 3417"/>
                  <a:gd name="T74" fmla="*/ 5997 w 6505"/>
                  <a:gd name="T75" fmla="*/ 1868 h 3417"/>
                  <a:gd name="T76" fmla="*/ 5901 w 6505"/>
                  <a:gd name="T77" fmla="*/ 2248 h 3417"/>
                  <a:gd name="T78" fmla="*/ 5769 w 6505"/>
                  <a:gd name="T79" fmla="*/ 2341 h 3417"/>
                  <a:gd name="T80" fmla="*/ 5612 w 6505"/>
                  <a:gd name="T81" fmla="*/ 2450 h 3417"/>
                  <a:gd name="T82" fmla="*/ 5706 w 6505"/>
                  <a:gd name="T83" fmla="*/ 2710 h 3417"/>
                  <a:gd name="T84" fmla="*/ 5703 w 6505"/>
                  <a:gd name="T85" fmla="*/ 2985 h 3417"/>
                  <a:gd name="T86" fmla="*/ 5093 w 6505"/>
                  <a:gd name="T87" fmla="*/ 2887 h 3417"/>
                  <a:gd name="T88" fmla="*/ 4678 w 6505"/>
                  <a:gd name="T89" fmla="*/ 2880 h 3417"/>
                  <a:gd name="T90" fmla="*/ 4315 w 6505"/>
                  <a:gd name="T91" fmla="*/ 3002 h 3417"/>
                  <a:gd name="T92" fmla="*/ 4091 w 6505"/>
                  <a:gd name="T93" fmla="*/ 3127 h 3417"/>
                  <a:gd name="T94" fmla="*/ 3674 w 6505"/>
                  <a:gd name="T95" fmla="*/ 3357 h 3417"/>
                  <a:gd name="T96" fmla="*/ 2892 w 6505"/>
                  <a:gd name="T97" fmla="*/ 2789 h 3417"/>
                  <a:gd name="T98" fmla="*/ 1598 w 6505"/>
                  <a:gd name="T99" fmla="*/ 3289 h 3417"/>
                  <a:gd name="T100" fmla="*/ 1188 w 6505"/>
                  <a:gd name="T101" fmla="*/ 3130 h 3417"/>
                  <a:gd name="T102" fmla="*/ 1018 w 6505"/>
                  <a:gd name="T103" fmla="*/ 3056 h 3417"/>
                  <a:gd name="T104" fmla="*/ 873 w 6505"/>
                  <a:gd name="T105" fmla="*/ 2880 h 3417"/>
                  <a:gd name="T106" fmla="*/ 755 w 6505"/>
                  <a:gd name="T107" fmla="*/ 2729 h 3417"/>
                  <a:gd name="T108" fmla="*/ 942 w 6505"/>
                  <a:gd name="T109" fmla="*/ 2726 h 3417"/>
                  <a:gd name="T110" fmla="*/ 865 w 6505"/>
                  <a:gd name="T111" fmla="*/ 2569 h 3417"/>
                  <a:gd name="T112" fmla="*/ 1094 w 6505"/>
                  <a:gd name="T113" fmla="*/ 2529 h 3417"/>
                  <a:gd name="T114" fmla="*/ 1138 w 6505"/>
                  <a:gd name="T115" fmla="*/ 2417 h 3417"/>
                  <a:gd name="T116" fmla="*/ 1126 w 6505"/>
                  <a:gd name="T117" fmla="*/ 2231 h 3417"/>
                  <a:gd name="T118" fmla="*/ 958 w 6505"/>
                  <a:gd name="T119" fmla="*/ 2199 h 3417"/>
                  <a:gd name="T120" fmla="*/ 860 w 6505"/>
                  <a:gd name="T121" fmla="*/ 2159 h 3417"/>
                  <a:gd name="T122" fmla="*/ 696 w 6505"/>
                  <a:gd name="T123" fmla="*/ 2204 h 3417"/>
                  <a:gd name="T124" fmla="*/ 553 w 6505"/>
                  <a:gd name="T125" fmla="*/ 2292 h 3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505" h="3417">
                    <a:moveTo>
                      <a:pt x="499" y="2293"/>
                    </a:moveTo>
                    <a:lnTo>
                      <a:pt x="455" y="2264"/>
                    </a:lnTo>
                    <a:lnTo>
                      <a:pt x="410" y="2279"/>
                    </a:lnTo>
                    <a:lnTo>
                      <a:pt x="348" y="2237"/>
                    </a:lnTo>
                    <a:lnTo>
                      <a:pt x="352" y="2209"/>
                    </a:lnTo>
                    <a:lnTo>
                      <a:pt x="417" y="2209"/>
                    </a:lnTo>
                    <a:lnTo>
                      <a:pt x="348" y="2093"/>
                    </a:lnTo>
                    <a:lnTo>
                      <a:pt x="269" y="2019"/>
                    </a:lnTo>
                    <a:lnTo>
                      <a:pt x="158" y="1989"/>
                    </a:lnTo>
                    <a:lnTo>
                      <a:pt x="144" y="2014"/>
                    </a:lnTo>
                    <a:lnTo>
                      <a:pt x="89" y="1967"/>
                    </a:lnTo>
                    <a:lnTo>
                      <a:pt x="100" y="1941"/>
                    </a:lnTo>
                    <a:lnTo>
                      <a:pt x="70" y="1893"/>
                    </a:lnTo>
                    <a:lnTo>
                      <a:pt x="0" y="1866"/>
                    </a:lnTo>
                    <a:lnTo>
                      <a:pt x="26" y="1807"/>
                    </a:lnTo>
                    <a:lnTo>
                      <a:pt x="40" y="1701"/>
                    </a:lnTo>
                    <a:lnTo>
                      <a:pt x="15" y="1675"/>
                    </a:lnTo>
                    <a:lnTo>
                      <a:pt x="7" y="1591"/>
                    </a:lnTo>
                    <a:lnTo>
                      <a:pt x="39" y="1575"/>
                    </a:lnTo>
                    <a:lnTo>
                      <a:pt x="85" y="1518"/>
                    </a:lnTo>
                    <a:lnTo>
                      <a:pt x="85" y="1475"/>
                    </a:lnTo>
                    <a:lnTo>
                      <a:pt x="109" y="1443"/>
                    </a:lnTo>
                    <a:lnTo>
                      <a:pt x="201" y="1526"/>
                    </a:lnTo>
                    <a:lnTo>
                      <a:pt x="212" y="1557"/>
                    </a:lnTo>
                    <a:lnTo>
                      <a:pt x="263" y="1589"/>
                    </a:lnTo>
                    <a:lnTo>
                      <a:pt x="317" y="1584"/>
                    </a:lnTo>
                    <a:lnTo>
                      <a:pt x="311" y="1532"/>
                    </a:lnTo>
                    <a:lnTo>
                      <a:pt x="331" y="1515"/>
                    </a:lnTo>
                    <a:lnTo>
                      <a:pt x="292" y="1378"/>
                    </a:lnTo>
                    <a:lnTo>
                      <a:pt x="346" y="1372"/>
                    </a:lnTo>
                    <a:lnTo>
                      <a:pt x="401" y="1372"/>
                    </a:lnTo>
                    <a:lnTo>
                      <a:pt x="401" y="1331"/>
                    </a:lnTo>
                    <a:lnTo>
                      <a:pt x="376" y="1300"/>
                    </a:lnTo>
                    <a:lnTo>
                      <a:pt x="387" y="1261"/>
                    </a:lnTo>
                    <a:lnTo>
                      <a:pt x="438" y="1229"/>
                    </a:lnTo>
                    <a:lnTo>
                      <a:pt x="461" y="1227"/>
                    </a:lnTo>
                    <a:lnTo>
                      <a:pt x="477" y="1182"/>
                    </a:lnTo>
                    <a:lnTo>
                      <a:pt x="503" y="1162"/>
                    </a:lnTo>
                    <a:lnTo>
                      <a:pt x="539" y="1171"/>
                    </a:lnTo>
                    <a:lnTo>
                      <a:pt x="544" y="1141"/>
                    </a:lnTo>
                    <a:lnTo>
                      <a:pt x="535" y="1110"/>
                    </a:lnTo>
                    <a:lnTo>
                      <a:pt x="544" y="1088"/>
                    </a:lnTo>
                    <a:lnTo>
                      <a:pt x="594" y="1118"/>
                    </a:lnTo>
                    <a:lnTo>
                      <a:pt x="635" y="1134"/>
                    </a:lnTo>
                    <a:lnTo>
                      <a:pt x="630" y="1157"/>
                    </a:lnTo>
                    <a:lnTo>
                      <a:pt x="607" y="1186"/>
                    </a:lnTo>
                    <a:lnTo>
                      <a:pt x="624" y="1202"/>
                    </a:lnTo>
                    <a:lnTo>
                      <a:pt x="656" y="1184"/>
                    </a:lnTo>
                    <a:lnTo>
                      <a:pt x="664" y="1158"/>
                    </a:lnTo>
                    <a:lnTo>
                      <a:pt x="688" y="1144"/>
                    </a:lnTo>
                    <a:lnTo>
                      <a:pt x="689" y="1173"/>
                    </a:lnTo>
                    <a:lnTo>
                      <a:pt x="711" y="1150"/>
                    </a:lnTo>
                    <a:lnTo>
                      <a:pt x="717" y="1128"/>
                    </a:lnTo>
                    <a:lnTo>
                      <a:pt x="749" y="1125"/>
                    </a:lnTo>
                    <a:lnTo>
                      <a:pt x="785" y="1100"/>
                    </a:lnTo>
                    <a:lnTo>
                      <a:pt x="816" y="1099"/>
                    </a:lnTo>
                    <a:lnTo>
                      <a:pt x="835" y="1145"/>
                    </a:lnTo>
                    <a:lnTo>
                      <a:pt x="873" y="1170"/>
                    </a:lnTo>
                    <a:lnTo>
                      <a:pt x="934" y="1151"/>
                    </a:lnTo>
                    <a:lnTo>
                      <a:pt x="963" y="1152"/>
                    </a:lnTo>
                    <a:lnTo>
                      <a:pt x="980" y="1178"/>
                    </a:lnTo>
                    <a:lnTo>
                      <a:pt x="1000" y="1180"/>
                    </a:lnTo>
                    <a:lnTo>
                      <a:pt x="1034" y="1224"/>
                    </a:lnTo>
                    <a:lnTo>
                      <a:pt x="1071" y="1224"/>
                    </a:lnTo>
                    <a:lnTo>
                      <a:pt x="1099" y="1260"/>
                    </a:lnTo>
                    <a:lnTo>
                      <a:pt x="1146" y="1295"/>
                    </a:lnTo>
                    <a:lnTo>
                      <a:pt x="1174" y="1298"/>
                    </a:lnTo>
                    <a:lnTo>
                      <a:pt x="1187" y="1321"/>
                    </a:lnTo>
                    <a:lnTo>
                      <a:pt x="1189" y="1360"/>
                    </a:lnTo>
                    <a:lnTo>
                      <a:pt x="1210" y="1367"/>
                    </a:lnTo>
                    <a:lnTo>
                      <a:pt x="1231" y="1333"/>
                    </a:lnTo>
                    <a:lnTo>
                      <a:pt x="1228" y="1291"/>
                    </a:lnTo>
                    <a:lnTo>
                      <a:pt x="1261" y="1270"/>
                    </a:lnTo>
                    <a:lnTo>
                      <a:pt x="1285" y="1304"/>
                    </a:lnTo>
                    <a:lnTo>
                      <a:pt x="1350" y="1313"/>
                    </a:lnTo>
                    <a:lnTo>
                      <a:pt x="1370" y="1345"/>
                    </a:lnTo>
                    <a:lnTo>
                      <a:pt x="1397" y="1356"/>
                    </a:lnTo>
                    <a:lnTo>
                      <a:pt x="1439" y="1325"/>
                    </a:lnTo>
                    <a:lnTo>
                      <a:pt x="1442" y="1261"/>
                    </a:lnTo>
                    <a:lnTo>
                      <a:pt x="1478" y="1257"/>
                    </a:lnTo>
                    <a:lnTo>
                      <a:pt x="1481" y="1225"/>
                    </a:lnTo>
                    <a:lnTo>
                      <a:pt x="1508" y="1216"/>
                    </a:lnTo>
                    <a:lnTo>
                      <a:pt x="1527" y="1242"/>
                    </a:lnTo>
                    <a:lnTo>
                      <a:pt x="1543" y="1213"/>
                    </a:lnTo>
                    <a:lnTo>
                      <a:pt x="1582" y="1207"/>
                    </a:lnTo>
                    <a:lnTo>
                      <a:pt x="1631" y="1253"/>
                    </a:lnTo>
                    <a:lnTo>
                      <a:pt x="1641" y="1271"/>
                    </a:lnTo>
                    <a:lnTo>
                      <a:pt x="1689" y="1267"/>
                    </a:lnTo>
                    <a:lnTo>
                      <a:pt x="1683" y="1225"/>
                    </a:lnTo>
                    <a:lnTo>
                      <a:pt x="1710" y="1216"/>
                    </a:lnTo>
                    <a:lnTo>
                      <a:pt x="1748" y="1220"/>
                    </a:lnTo>
                    <a:lnTo>
                      <a:pt x="1767" y="1196"/>
                    </a:lnTo>
                    <a:lnTo>
                      <a:pt x="1808" y="1219"/>
                    </a:lnTo>
                    <a:lnTo>
                      <a:pt x="1833" y="1231"/>
                    </a:lnTo>
                    <a:lnTo>
                      <a:pt x="1821" y="1255"/>
                    </a:lnTo>
                    <a:lnTo>
                      <a:pt x="1796" y="1268"/>
                    </a:lnTo>
                    <a:lnTo>
                      <a:pt x="1828" y="1307"/>
                    </a:lnTo>
                    <a:lnTo>
                      <a:pt x="1859" y="1317"/>
                    </a:lnTo>
                    <a:lnTo>
                      <a:pt x="1874" y="1307"/>
                    </a:lnTo>
                    <a:lnTo>
                      <a:pt x="1897" y="1321"/>
                    </a:lnTo>
                    <a:lnTo>
                      <a:pt x="1950" y="1318"/>
                    </a:lnTo>
                    <a:lnTo>
                      <a:pt x="2009" y="1352"/>
                    </a:lnTo>
                    <a:lnTo>
                      <a:pt x="2048" y="1344"/>
                    </a:lnTo>
                    <a:lnTo>
                      <a:pt x="2065" y="1309"/>
                    </a:lnTo>
                    <a:lnTo>
                      <a:pt x="2068" y="1275"/>
                    </a:lnTo>
                    <a:lnTo>
                      <a:pt x="2085" y="1260"/>
                    </a:lnTo>
                    <a:lnTo>
                      <a:pt x="2138" y="1292"/>
                    </a:lnTo>
                    <a:lnTo>
                      <a:pt x="2186" y="1296"/>
                    </a:lnTo>
                    <a:lnTo>
                      <a:pt x="2244" y="1276"/>
                    </a:lnTo>
                    <a:lnTo>
                      <a:pt x="2260" y="1248"/>
                    </a:lnTo>
                    <a:lnTo>
                      <a:pt x="2251" y="1114"/>
                    </a:lnTo>
                    <a:lnTo>
                      <a:pt x="2235" y="1101"/>
                    </a:lnTo>
                    <a:lnTo>
                      <a:pt x="2185" y="1100"/>
                    </a:lnTo>
                    <a:lnTo>
                      <a:pt x="2153" y="1075"/>
                    </a:lnTo>
                    <a:lnTo>
                      <a:pt x="2147" y="1056"/>
                    </a:lnTo>
                    <a:lnTo>
                      <a:pt x="2108" y="1047"/>
                    </a:lnTo>
                    <a:lnTo>
                      <a:pt x="2085" y="1025"/>
                    </a:lnTo>
                    <a:lnTo>
                      <a:pt x="2044" y="1025"/>
                    </a:lnTo>
                    <a:lnTo>
                      <a:pt x="2042" y="1003"/>
                    </a:lnTo>
                    <a:lnTo>
                      <a:pt x="2031" y="982"/>
                    </a:lnTo>
                    <a:lnTo>
                      <a:pt x="2036" y="965"/>
                    </a:lnTo>
                    <a:lnTo>
                      <a:pt x="2067" y="961"/>
                    </a:lnTo>
                    <a:lnTo>
                      <a:pt x="2073" y="925"/>
                    </a:lnTo>
                    <a:lnTo>
                      <a:pt x="2099" y="894"/>
                    </a:lnTo>
                    <a:lnTo>
                      <a:pt x="2089" y="855"/>
                    </a:lnTo>
                    <a:lnTo>
                      <a:pt x="2064" y="851"/>
                    </a:lnTo>
                    <a:lnTo>
                      <a:pt x="2062" y="814"/>
                    </a:lnTo>
                    <a:lnTo>
                      <a:pt x="2100" y="758"/>
                    </a:lnTo>
                    <a:lnTo>
                      <a:pt x="2139" y="723"/>
                    </a:lnTo>
                    <a:lnTo>
                      <a:pt x="2211" y="715"/>
                    </a:lnTo>
                    <a:lnTo>
                      <a:pt x="2240" y="725"/>
                    </a:lnTo>
                    <a:lnTo>
                      <a:pt x="2259" y="712"/>
                    </a:lnTo>
                    <a:lnTo>
                      <a:pt x="2260" y="677"/>
                    </a:lnTo>
                    <a:lnTo>
                      <a:pt x="2227" y="668"/>
                    </a:lnTo>
                    <a:lnTo>
                      <a:pt x="2199" y="640"/>
                    </a:lnTo>
                    <a:lnTo>
                      <a:pt x="2173" y="641"/>
                    </a:lnTo>
                    <a:lnTo>
                      <a:pt x="2151" y="657"/>
                    </a:lnTo>
                    <a:lnTo>
                      <a:pt x="2117" y="643"/>
                    </a:lnTo>
                    <a:lnTo>
                      <a:pt x="2074" y="641"/>
                    </a:lnTo>
                    <a:lnTo>
                      <a:pt x="2070" y="619"/>
                    </a:lnTo>
                    <a:lnTo>
                      <a:pt x="2085" y="606"/>
                    </a:lnTo>
                    <a:lnTo>
                      <a:pt x="2131" y="604"/>
                    </a:lnTo>
                    <a:lnTo>
                      <a:pt x="2117" y="567"/>
                    </a:lnTo>
                    <a:lnTo>
                      <a:pt x="2074" y="573"/>
                    </a:lnTo>
                    <a:lnTo>
                      <a:pt x="2043" y="565"/>
                    </a:lnTo>
                    <a:lnTo>
                      <a:pt x="2059" y="547"/>
                    </a:lnTo>
                    <a:lnTo>
                      <a:pt x="2040" y="507"/>
                    </a:lnTo>
                    <a:lnTo>
                      <a:pt x="2053" y="496"/>
                    </a:lnTo>
                    <a:lnTo>
                      <a:pt x="2089" y="493"/>
                    </a:lnTo>
                    <a:lnTo>
                      <a:pt x="2107" y="472"/>
                    </a:lnTo>
                    <a:lnTo>
                      <a:pt x="2132" y="473"/>
                    </a:lnTo>
                    <a:lnTo>
                      <a:pt x="2143" y="492"/>
                    </a:lnTo>
                    <a:lnTo>
                      <a:pt x="2182" y="487"/>
                    </a:lnTo>
                    <a:lnTo>
                      <a:pt x="2213" y="509"/>
                    </a:lnTo>
                    <a:lnTo>
                      <a:pt x="2227" y="492"/>
                    </a:lnTo>
                    <a:lnTo>
                      <a:pt x="2227" y="471"/>
                    </a:lnTo>
                    <a:lnTo>
                      <a:pt x="2256" y="453"/>
                    </a:lnTo>
                    <a:lnTo>
                      <a:pt x="2287" y="454"/>
                    </a:lnTo>
                    <a:lnTo>
                      <a:pt x="2307" y="485"/>
                    </a:lnTo>
                    <a:lnTo>
                      <a:pt x="2323" y="462"/>
                    </a:lnTo>
                    <a:lnTo>
                      <a:pt x="2327" y="437"/>
                    </a:lnTo>
                    <a:lnTo>
                      <a:pt x="2385" y="419"/>
                    </a:lnTo>
                    <a:lnTo>
                      <a:pt x="2426" y="416"/>
                    </a:lnTo>
                    <a:lnTo>
                      <a:pt x="2469" y="394"/>
                    </a:lnTo>
                    <a:lnTo>
                      <a:pt x="2514" y="391"/>
                    </a:lnTo>
                    <a:lnTo>
                      <a:pt x="2522" y="376"/>
                    </a:lnTo>
                    <a:lnTo>
                      <a:pt x="2568" y="348"/>
                    </a:lnTo>
                    <a:lnTo>
                      <a:pt x="2610" y="347"/>
                    </a:lnTo>
                    <a:lnTo>
                      <a:pt x="2637" y="328"/>
                    </a:lnTo>
                    <a:lnTo>
                      <a:pt x="2662" y="325"/>
                    </a:lnTo>
                    <a:lnTo>
                      <a:pt x="2686" y="336"/>
                    </a:lnTo>
                    <a:lnTo>
                      <a:pt x="2699" y="323"/>
                    </a:lnTo>
                    <a:lnTo>
                      <a:pt x="2698" y="287"/>
                    </a:lnTo>
                    <a:lnTo>
                      <a:pt x="2717" y="270"/>
                    </a:lnTo>
                    <a:lnTo>
                      <a:pt x="2754" y="270"/>
                    </a:lnTo>
                    <a:lnTo>
                      <a:pt x="2759" y="248"/>
                    </a:lnTo>
                    <a:lnTo>
                      <a:pt x="2781" y="230"/>
                    </a:lnTo>
                    <a:lnTo>
                      <a:pt x="2800" y="246"/>
                    </a:lnTo>
                    <a:lnTo>
                      <a:pt x="2824" y="251"/>
                    </a:lnTo>
                    <a:lnTo>
                      <a:pt x="2857" y="233"/>
                    </a:lnTo>
                    <a:lnTo>
                      <a:pt x="2895" y="220"/>
                    </a:lnTo>
                    <a:lnTo>
                      <a:pt x="2968" y="171"/>
                    </a:lnTo>
                    <a:lnTo>
                      <a:pt x="2984" y="171"/>
                    </a:lnTo>
                    <a:lnTo>
                      <a:pt x="3000" y="160"/>
                    </a:lnTo>
                    <a:lnTo>
                      <a:pt x="3040" y="153"/>
                    </a:lnTo>
                    <a:lnTo>
                      <a:pt x="3064" y="122"/>
                    </a:lnTo>
                    <a:lnTo>
                      <a:pt x="3086" y="128"/>
                    </a:lnTo>
                    <a:lnTo>
                      <a:pt x="3131" y="119"/>
                    </a:lnTo>
                    <a:lnTo>
                      <a:pt x="3130" y="94"/>
                    </a:lnTo>
                    <a:lnTo>
                      <a:pt x="3114" y="67"/>
                    </a:lnTo>
                    <a:lnTo>
                      <a:pt x="3133" y="58"/>
                    </a:lnTo>
                    <a:lnTo>
                      <a:pt x="3179" y="56"/>
                    </a:lnTo>
                    <a:lnTo>
                      <a:pt x="3188" y="22"/>
                    </a:lnTo>
                    <a:lnTo>
                      <a:pt x="3219" y="5"/>
                    </a:lnTo>
                    <a:lnTo>
                      <a:pt x="3240" y="9"/>
                    </a:lnTo>
                    <a:lnTo>
                      <a:pt x="3266" y="0"/>
                    </a:lnTo>
                    <a:lnTo>
                      <a:pt x="3308" y="17"/>
                    </a:lnTo>
                    <a:lnTo>
                      <a:pt x="3354" y="13"/>
                    </a:lnTo>
                    <a:lnTo>
                      <a:pt x="3396" y="40"/>
                    </a:lnTo>
                    <a:lnTo>
                      <a:pt x="3437" y="40"/>
                    </a:lnTo>
                    <a:lnTo>
                      <a:pt x="3475" y="23"/>
                    </a:lnTo>
                    <a:lnTo>
                      <a:pt x="3510" y="26"/>
                    </a:lnTo>
                    <a:lnTo>
                      <a:pt x="3524" y="68"/>
                    </a:lnTo>
                    <a:lnTo>
                      <a:pt x="3537" y="79"/>
                    </a:lnTo>
                    <a:lnTo>
                      <a:pt x="3550" y="115"/>
                    </a:lnTo>
                    <a:lnTo>
                      <a:pt x="3573" y="144"/>
                    </a:lnTo>
                    <a:lnTo>
                      <a:pt x="3596" y="157"/>
                    </a:lnTo>
                    <a:lnTo>
                      <a:pt x="3600" y="175"/>
                    </a:lnTo>
                    <a:lnTo>
                      <a:pt x="3591" y="205"/>
                    </a:lnTo>
                    <a:lnTo>
                      <a:pt x="3598" y="238"/>
                    </a:lnTo>
                    <a:lnTo>
                      <a:pt x="3596" y="250"/>
                    </a:lnTo>
                    <a:lnTo>
                      <a:pt x="3569" y="257"/>
                    </a:lnTo>
                    <a:lnTo>
                      <a:pt x="3585" y="290"/>
                    </a:lnTo>
                    <a:lnTo>
                      <a:pt x="3605" y="305"/>
                    </a:lnTo>
                    <a:lnTo>
                      <a:pt x="3643" y="282"/>
                    </a:lnTo>
                    <a:lnTo>
                      <a:pt x="3670" y="304"/>
                    </a:lnTo>
                    <a:lnTo>
                      <a:pt x="3688" y="297"/>
                    </a:lnTo>
                    <a:lnTo>
                      <a:pt x="3695" y="264"/>
                    </a:lnTo>
                    <a:lnTo>
                      <a:pt x="3716" y="254"/>
                    </a:lnTo>
                    <a:lnTo>
                      <a:pt x="3728" y="289"/>
                    </a:lnTo>
                    <a:lnTo>
                      <a:pt x="3749" y="289"/>
                    </a:lnTo>
                    <a:lnTo>
                      <a:pt x="3753" y="263"/>
                    </a:lnTo>
                    <a:lnTo>
                      <a:pt x="3740" y="228"/>
                    </a:lnTo>
                    <a:lnTo>
                      <a:pt x="3751" y="220"/>
                    </a:lnTo>
                    <a:lnTo>
                      <a:pt x="3810" y="264"/>
                    </a:lnTo>
                    <a:lnTo>
                      <a:pt x="3817" y="318"/>
                    </a:lnTo>
                    <a:lnTo>
                      <a:pt x="3838" y="361"/>
                    </a:lnTo>
                    <a:lnTo>
                      <a:pt x="3859" y="359"/>
                    </a:lnTo>
                    <a:lnTo>
                      <a:pt x="3884" y="333"/>
                    </a:lnTo>
                    <a:lnTo>
                      <a:pt x="3865" y="324"/>
                    </a:lnTo>
                    <a:lnTo>
                      <a:pt x="3855" y="305"/>
                    </a:lnTo>
                    <a:lnTo>
                      <a:pt x="3893" y="297"/>
                    </a:lnTo>
                    <a:lnTo>
                      <a:pt x="3958" y="327"/>
                    </a:lnTo>
                    <a:lnTo>
                      <a:pt x="3979" y="327"/>
                    </a:lnTo>
                    <a:lnTo>
                      <a:pt x="4005" y="307"/>
                    </a:lnTo>
                    <a:lnTo>
                      <a:pt x="4024" y="317"/>
                    </a:lnTo>
                    <a:lnTo>
                      <a:pt x="4010" y="351"/>
                    </a:lnTo>
                    <a:lnTo>
                      <a:pt x="3989" y="370"/>
                    </a:lnTo>
                    <a:lnTo>
                      <a:pt x="3989" y="414"/>
                    </a:lnTo>
                    <a:lnTo>
                      <a:pt x="4011" y="445"/>
                    </a:lnTo>
                    <a:lnTo>
                      <a:pt x="4035" y="443"/>
                    </a:lnTo>
                    <a:lnTo>
                      <a:pt x="4054" y="418"/>
                    </a:lnTo>
                    <a:lnTo>
                      <a:pt x="4093" y="408"/>
                    </a:lnTo>
                    <a:lnTo>
                      <a:pt x="4162" y="424"/>
                    </a:lnTo>
                    <a:lnTo>
                      <a:pt x="4179" y="435"/>
                    </a:lnTo>
                    <a:lnTo>
                      <a:pt x="4199" y="421"/>
                    </a:lnTo>
                    <a:lnTo>
                      <a:pt x="4193" y="382"/>
                    </a:lnTo>
                    <a:lnTo>
                      <a:pt x="4225" y="370"/>
                    </a:lnTo>
                    <a:lnTo>
                      <a:pt x="4275" y="363"/>
                    </a:lnTo>
                    <a:lnTo>
                      <a:pt x="4307" y="342"/>
                    </a:lnTo>
                    <a:lnTo>
                      <a:pt x="4321" y="312"/>
                    </a:lnTo>
                    <a:lnTo>
                      <a:pt x="4347" y="290"/>
                    </a:lnTo>
                    <a:lnTo>
                      <a:pt x="4350" y="266"/>
                    </a:lnTo>
                    <a:lnTo>
                      <a:pt x="4388" y="228"/>
                    </a:lnTo>
                    <a:lnTo>
                      <a:pt x="4415" y="218"/>
                    </a:lnTo>
                    <a:lnTo>
                      <a:pt x="4442" y="191"/>
                    </a:lnTo>
                    <a:lnTo>
                      <a:pt x="4479" y="181"/>
                    </a:lnTo>
                    <a:lnTo>
                      <a:pt x="4523" y="168"/>
                    </a:lnTo>
                    <a:lnTo>
                      <a:pt x="4541" y="179"/>
                    </a:lnTo>
                    <a:lnTo>
                      <a:pt x="4540" y="209"/>
                    </a:lnTo>
                    <a:lnTo>
                      <a:pt x="4512" y="241"/>
                    </a:lnTo>
                    <a:lnTo>
                      <a:pt x="4485" y="248"/>
                    </a:lnTo>
                    <a:lnTo>
                      <a:pt x="4498" y="273"/>
                    </a:lnTo>
                    <a:lnTo>
                      <a:pt x="4806" y="504"/>
                    </a:lnTo>
                    <a:lnTo>
                      <a:pt x="5226" y="1031"/>
                    </a:lnTo>
                    <a:lnTo>
                      <a:pt x="5268" y="1023"/>
                    </a:lnTo>
                    <a:lnTo>
                      <a:pt x="5296" y="1006"/>
                    </a:lnTo>
                    <a:lnTo>
                      <a:pt x="5303" y="985"/>
                    </a:lnTo>
                    <a:lnTo>
                      <a:pt x="5295" y="978"/>
                    </a:lnTo>
                    <a:lnTo>
                      <a:pt x="5294" y="940"/>
                    </a:lnTo>
                    <a:lnTo>
                      <a:pt x="5320" y="927"/>
                    </a:lnTo>
                    <a:lnTo>
                      <a:pt x="5370" y="950"/>
                    </a:lnTo>
                    <a:lnTo>
                      <a:pt x="5364" y="974"/>
                    </a:lnTo>
                    <a:lnTo>
                      <a:pt x="5368" y="998"/>
                    </a:lnTo>
                    <a:lnTo>
                      <a:pt x="5407" y="1008"/>
                    </a:lnTo>
                    <a:lnTo>
                      <a:pt x="5431" y="1034"/>
                    </a:lnTo>
                    <a:lnTo>
                      <a:pt x="5461" y="1034"/>
                    </a:lnTo>
                    <a:lnTo>
                      <a:pt x="5485" y="1018"/>
                    </a:lnTo>
                    <a:lnTo>
                      <a:pt x="5513" y="1013"/>
                    </a:lnTo>
                    <a:lnTo>
                      <a:pt x="5557" y="1038"/>
                    </a:lnTo>
                    <a:lnTo>
                      <a:pt x="5595" y="1021"/>
                    </a:lnTo>
                    <a:lnTo>
                      <a:pt x="5622" y="1027"/>
                    </a:lnTo>
                    <a:lnTo>
                      <a:pt x="5656" y="1014"/>
                    </a:lnTo>
                    <a:lnTo>
                      <a:pt x="5665" y="999"/>
                    </a:lnTo>
                    <a:lnTo>
                      <a:pt x="5653" y="981"/>
                    </a:lnTo>
                    <a:lnTo>
                      <a:pt x="5659" y="963"/>
                    </a:lnTo>
                    <a:lnTo>
                      <a:pt x="5717" y="954"/>
                    </a:lnTo>
                    <a:lnTo>
                      <a:pt x="5778" y="954"/>
                    </a:lnTo>
                    <a:lnTo>
                      <a:pt x="5829" y="968"/>
                    </a:lnTo>
                    <a:lnTo>
                      <a:pt x="5879" y="1006"/>
                    </a:lnTo>
                    <a:lnTo>
                      <a:pt x="5907" y="1055"/>
                    </a:lnTo>
                    <a:lnTo>
                      <a:pt x="5926" y="1094"/>
                    </a:lnTo>
                    <a:lnTo>
                      <a:pt x="5942" y="1096"/>
                    </a:lnTo>
                    <a:lnTo>
                      <a:pt x="5978" y="1106"/>
                    </a:lnTo>
                    <a:lnTo>
                      <a:pt x="6018" y="1131"/>
                    </a:lnTo>
                    <a:lnTo>
                      <a:pt x="6030" y="1131"/>
                    </a:lnTo>
                    <a:lnTo>
                      <a:pt x="6056" y="1143"/>
                    </a:lnTo>
                    <a:lnTo>
                      <a:pt x="6057" y="1163"/>
                    </a:lnTo>
                    <a:lnTo>
                      <a:pt x="6051" y="1180"/>
                    </a:lnTo>
                    <a:lnTo>
                      <a:pt x="6052" y="1206"/>
                    </a:lnTo>
                    <a:lnTo>
                      <a:pt x="6061" y="1230"/>
                    </a:lnTo>
                    <a:lnTo>
                      <a:pt x="6078" y="1245"/>
                    </a:lnTo>
                    <a:lnTo>
                      <a:pt x="6085" y="1255"/>
                    </a:lnTo>
                    <a:lnTo>
                      <a:pt x="6100" y="1254"/>
                    </a:lnTo>
                    <a:lnTo>
                      <a:pt x="6135" y="1268"/>
                    </a:lnTo>
                    <a:lnTo>
                      <a:pt x="6161" y="1280"/>
                    </a:lnTo>
                    <a:lnTo>
                      <a:pt x="6170" y="1265"/>
                    </a:lnTo>
                    <a:lnTo>
                      <a:pt x="6197" y="1249"/>
                    </a:lnTo>
                    <a:lnTo>
                      <a:pt x="6278" y="1244"/>
                    </a:lnTo>
                    <a:lnTo>
                      <a:pt x="6315" y="1233"/>
                    </a:lnTo>
                    <a:lnTo>
                      <a:pt x="6332" y="1204"/>
                    </a:lnTo>
                    <a:lnTo>
                      <a:pt x="6365" y="1186"/>
                    </a:lnTo>
                    <a:lnTo>
                      <a:pt x="6384" y="1194"/>
                    </a:lnTo>
                    <a:lnTo>
                      <a:pt x="6369" y="1236"/>
                    </a:lnTo>
                    <a:lnTo>
                      <a:pt x="6379" y="1264"/>
                    </a:lnTo>
                    <a:lnTo>
                      <a:pt x="6404" y="1270"/>
                    </a:lnTo>
                    <a:lnTo>
                      <a:pt x="6442" y="1304"/>
                    </a:lnTo>
                    <a:lnTo>
                      <a:pt x="6493" y="1321"/>
                    </a:lnTo>
                    <a:lnTo>
                      <a:pt x="6505" y="1336"/>
                    </a:lnTo>
                    <a:lnTo>
                      <a:pt x="6474" y="1369"/>
                    </a:lnTo>
                    <a:lnTo>
                      <a:pt x="6447" y="1384"/>
                    </a:lnTo>
                    <a:lnTo>
                      <a:pt x="6401" y="1431"/>
                    </a:lnTo>
                    <a:lnTo>
                      <a:pt x="6400" y="1459"/>
                    </a:lnTo>
                    <a:lnTo>
                      <a:pt x="6410" y="1478"/>
                    </a:lnTo>
                    <a:lnTo>
                      <a:pt x="6389" y="1515"/>
                    </a:lnTo>
                    <a:lnTo>
                      <a:pt x="6339" y="1533"/>
                    </a:lnTo>
                    <a:lnTo>
                      <a:pt x="6308" y="1555"/>
                    </a:lnTo>
                    <a:lnTo>
                      <a:pt x="6302" y="1595"/>
                    </a:lnTo>
                    <a:lnTo>
                      <a:pt x="6304" y="1668"/>
                    </a:lnTo>
                    <a:lnTo>
                      <a:pt x="6338" y="1736"/>
                    </a:lnTo>
                    <a:lnTo>
                      <a:pt x="6369" y="1779"/>
                    </a:lnTo>
                    <a:lnTo>
                      <a:pt x="6364" y="1801"/>
                    </a:lnTo>
                    <a:lnTo>
                      <a:pt x="6321" y="1850"/>
                    </a:lnTo>
                    <a:lnTo>
                      <a:pt x="6284" y="1863"/>
                    </a:lnTo>
                    <a:lnTo>
                      <a:pt x="6254" y="1898"/>
                    </a:lnTo>
                    <a:lnTo>
                      <a:pt x="6230" y="1906"/>
                    </a:lnTo>
                    <a:lnTo>
                      <a:pt x="6214" y="1900"/>
                    </a:lnTo>
                    <a:lnTo>
                      <a:pt x="6205" y="1881"/>
                    </a:lnTo>
                    <a:lnTo>
                      <a:pt x="6176" y="1881"/>
                    </a:lnTo>
                    <a:lnTo>
                      <a:pt x="6110" y="1896"/>
                    </a:lnTo>
                    <a:lnTo>
                      <a:pt x="6063" y="1892"/>
                    </a:lnTo>
                    <a:lnTo>
                      <a:pt x="5997" y="1868"/>
                    </a:lnTo>
                    <a:lnTo>
                      <a:pt x="5957" y="1863"/>
                    </a:lnTo>
                    <a:lnTo>
                      <a:pt x="5938" y="1866"/>
                    </a:lnTo>
                    <a:lnTo>
                      <a:pt x="5924" y="1943"/>
                    </a:lnTo>
                    <a:lnTo>
                      <a:pt x="5908" y="1993"/>
                    </a:lnTo>
                    <a:lnTo>
                      <a:pt x="5906" y="2032"/>
                    </a:lnTo>
                    <a:lnTo>
                      <a:pt x="5890" y="2130"/>
                    </a:lnTo>
                    <a:lnTo>
                      <a:pt x="5890" y="2206"/>
                    </a:lnTo>
                    <a:lnTo>
                      <a:pt x="5881" y="2232"/>
                    </a:lnTo>
                    <a:lnTo>
                      <a:pt x="5901" y="2248"/>
                    </a:lnTo>
                    <a:lnTo>
                      <a:pt x="5940" y="2264"/>
                    </a:lnTo>
                    <a:lnTo>
                      <a:pt x="5925" y="2299"/>
                    </a:lnTo>
                    <a:lnTo>
                      <a:pt x="5920" y="2326"/>
                    </a:lnTo>
                    <a:lnTo>
                      <a:pt x="5899" y="2326"/>
                    </a:lnTo>
                    <a:lnTo>
                      <a:pt x="5878" y="2338"/>
                    </a:lnTo>
                    <a:lnTo>
                      <a:pt x="5852" y="2338"/>
                    </a:lnTo>
                    <a:lnTo>
                      <a:pt x="5832" y="2322"/>
                    </a:lnTo>
                    <a:lnTo>
                      <a:pt x="5809" y="2331"/>
                    </a:lnTo>
                    <a:lnTo>
                      <a:pt x="5769" y="2341"/>
                    </a:lnTo>
                    <a:lnTo>
                      <a:pt x="5693" y="2357"/>
                    </a:lnTo>
                    <a:lnTo>
                      <a:pt x="5641" y="2377"/>
                    </a:lnTo>
                    <a:lnTo>
                      <a:pt x="5616" y="2376"/>
                    </a:lnTo>
                    <a:lnTo>
                      <a:pt x="5596" y="2366"/>
                    </a:lnTo>
                    <a:lnTo>
                      <a:pt x="5567" y="2377"/>
                    </a:lnTo>
                    <a:lnTo>
                      <a:pt x="5536" y="2407"/>
                    </a:lnTo>
                    <a:lnTo>
                      <a:pt x="5535" y="2431"/>
                    </a:lnTo>
                    <a:lnTo>
                      <a:pt x="5565" y="2453"/>
                    </a:lnTo>
                    <a:lnTo>
                      <a:pt x="5612" y="2450"/>
                    </a:lnTo>
                    <a:lnTo>
                      <a:pt x="5651" y="2455"/>
                    </a:lnTo>
                    <a:lnTo>
                      <a:pt x="5652" y="2471"/>
                    </a:lnTo>
                    <a:lnTo>
                      <a:pt x="5629" y="2495"/>
                    </a:lnTo>
                    <a:lnTo>
                      <a:pt x="5644" y="2546"/>
                    </a:lnTo>
                    <a:lnTo>
                      <a:pt x="5647" y="2571"/>
                    </a:lnTo>
                    <a:lnTo>
                      <a:pt x="5661" y="2594"/>
                    </a:lnTo>
                    <a:lnTo>
                      <a:pt x="5668" y="2630"/>
                    </a:lnTo>
                    <a:lnTo>
                      <a:pt x="5699" y="2681"/>
                    </a:lnTo>
                    <a:lnTo>
                      <a:pt x="5706" y="2710"/>
                    </a:lnTo>
                    <a:lnTo>
                      <a:pt x="5743" y="2737"/>
                    </a:lnTo>
                    <a:lnTo>
                      <a:pt x="5757" y="2807"/>
                    </a:lnTo>
                    <a:lnTo>
                      <a:pt x="5735" y="2825"/>
                    </a:lnTo>
                    <a:lnTo>
                      <a:pt x="5724" y="2856"/>
                    </a:lnTo>
                    <a:lnTo>
                      <a:pt x="5754" y="2890"/>
                    </a:lnTo>
                    <a:lnTo>
                      <a:pt x="5739" y="2898"/>
                    </a:lnTo>
                    <a:lnTo>
                      <a:pt x="5733" y="2918"/>
                    </a:lnTo>
                    <a:lnTo>
                      <a:pt x="5702" y="2940"/>
                    </a:lnTo>
                    <a:lnTo>
                      <a:pt x="5703" y="2985"/>
                    </a:lnTo>
                    <a:lnTo>
                      <a:pt x="5671" y="3003"/>
                    </a:lnTo>
                    <a:lnTo>
                      <a:pt x="5594" y="2984"/>
                    </a:lnTo>
                    <a:lnTo>
                      <a:pt x="5521" y="2899"/>
                    </a:lnTo>
                    <a:lnTo>
                      <a:pt x="5490" y="2907"/>
                    </a:lnTo>
                    <a:lnTo>
                      <a:pt x="5419" y="2879"/>
                    </a:lnTo>
                    <a:lnTo>
                      <a:pt x="5314" y="2873"/>
                    </a:lnTo>
                    <a:lnTo>
                      <a:pt x="5262" y="2891"/>
                    </a:lnTo>
                    <a:lnTo>
                      <a:pt x="5174" y="2867"/>
                    </a:lnTo>
                    <a:lnTo>
                      <a:pt x="5093" y="2887"/>
                    </a:lnTo>
                    <a:lnTo>
                      <a:pt x="5051" y="2893"/>
                    </a:lnTo>
                    <a:lnTo>
                      <a:pt x="5012" y="2881"/>
                    </a:lnTo>
                    <a:lnTo>
                      <a:pt x="4981" y="2909"/>
                    </a:lnTo>
                    <a:lnTo>
                      <a:pt x="4949" y="2922"/>
                    </a:lnTo>
                    <a:lnTo>
                      <a:pt x="4856" y="2910"/>
                    </a:lnTo>
                    <a:lnTo>
                      <a:pt x="4786" y="2891"/>
                    </a:lnTo>
                    <a:lnTo>
                      <a:pt x="4751" y="2870"/>
                    </a:lnTo>
                    <a:lnTo>
                      <a:pt x="4697" y="2872"/>
                    </a:lnTo>
                    <a:lnTo>
                      <a:pt x="4678" y="2880"/>
                    </a:lnTo>
                    <a:lnTo>
                      <a:pt x="4637" y="2878"/>
                    </a:lnTo>
                    <a:lnTo>
                      <a:pt x="4605" y="2872"/>
                    </a:lnTo>
                    <a:lnTo>
                      <a:pt x="4586" y="2882"/>
                    </a:lnTo>
                    <a:lnTo>
                      <a:pt x="4589" y="2919"/>
                    </a:lnTo>
                    <a:lnTo>
                      <a:pt x="4599" y="2958"/>
                    </a:lnTo>
                    <a:lnTo>
                      <a:pt x="4600" y="3003"/>
                    </a:lnTo>
                    <a:lnTo>
                      <a:pt x="4547" y="3011"/>
                    </a:lnTo>
                    <a:lnTo>
                      <a:pt x="4441" y="3014"/>
                    </a:lnTo>
                    <a:lnTo>
                      <a:pt x="4315" y="3002"/>
                    </a:lnTo>
                    <a:lnTo>
                      <a:pt x="4285" y="2985"/>
                    </a:lnTo>
                    <a:lnTo>
                      <a:pt x="4229" y="2977"/>
                    </a:lnTo>
                    <a:lnTo>
                      <a:pt x="4196" y="3011"/>
                    </a:lnTo>
                    <a:lnTo>
                      <a:pt x="4208" y="3032"/>
                    </a:lnTo>
                    <a:lnTo>
                      <a:pt x="4171" y="3056"/>
                    </a:lnTo>
                    <a:lnTo>
                      <a:pt x="4165" y="3071"/>
                    </a:lnTo>
                    <a:lnTo>
                      <a:pt x="4155" y="3070"/>
                    </a:lnTo>
                    <a:lnTo>
                      <a:pt x="4120" y="3114"/>
                    </a:lnTo>
                    <a:lnTo>
                      <a:pt x="4091" y="3127"/>
                    </a:lnTo>
                    <a:lnTo>
                      <a:pt x="4024" y="3207"/>
                    </a:lnTo>
                    <a:lnTo>
                      <a:pt x="4001" y="3254"/>
                    </a:lnTo>
                    <a:lnTo>
                      <a:pt x="3981" y="3277"/>
                    </a:lnTo>
                    <a:lnTo>
                      <a:pt x="3946" y="3341"/>
                    </a:lnTo>
                    <a:lnTo>
                      <a:pt x="3878" y="3405"/>
                    </a:lnTo>
                    <a:lnTo>
                      <a:pt x="3860" y="3393"/>
                    </a:lnTo>
                    <a:lnTo>
                      <a:pt x="3783" y="3354"/>
                    </a:lnTo>
                    <a:lnTo>
                      <a:pt x="3725" y="3347"/>
                    </a:lnTo>
                    <a:lnTo>
                      <a:pt x="3674" y="3357"/>
                    </a:lnTo>
                    <a:lnTo>
                      <a:pt x="3597" y="3398"/>
                    </a:lnTo>
                    <a:lnTo>
                      <a:pt x="3562" y="3394"/>
                    </a:lnTo>
                    <a:lnTo>
                      <a:pt x="3490" y="3196"/>
                    </a:lnTo>
                    <a:lnTo>
                      <a:pt x="3370" y="3181"/>
                    </a:lnTo>
                    <a:lnTo>
                      <a:pt x="3364" y="2939"/>
                    </a:lnTo>
                    <a:lnTo>
                      <a:pt x="3304" y="2958"/>
                    </a:lnTo>
                    <a:lnTo>
                      <a:pt x="3261" y="2854"/>
                    </a:lnTo>
                    <a:lnTo>
                      <a:pt x="3174" y="2788"/>
                    </a:lnTo>
                    <a:lnTo>
                      <a:pt x="2892" y="2789"/>
                    </a:lnTo>
                    <a:lnTo>
                      <a:pt x="2638" y="2817"/>
                    </a:lnTo>
                    <a:lnTo>
                      <a:pt x="2494" y="2730"/>
                    </a:lnTo>
                    <a:lnTo>
                      <a:pt x="2389" y="2691"/>
                    </a:lnTo>
                    <a:lnTo>
                      <a:pt x="2117" y="2498"/>
                    </a:lnTo>
                    <a:lnTo>
                      <a:pt x="1665" y="2585"/>
                    </a:lnTo>
                    <a:lnTo>
                      <a:pt x="1804" y="3400"/>
                    </a:lnTo>
                    <a:lnTo>
                      <a:pt x="1779" y="3402"/>
                    </a:lnTo>
                    <a:lnTo>
                      <a:pt x="1709" y="3417"/>
                    </a:lnTo>
                    <a:lnTo>
                      <a:pt x="1598" y="3289"/>
                    </a:lnTo>
                    <a:lnTo>
                      <a:pt x="1477" y="3219"/>
                    </a:lnTo>
                    <a:lnTo>
                      <a:pt x="1366" y="3202"/>
                    </a:lnTo>
                    <a:lnTo>
                      <a:pt x="1283" y="3231"/>
                    </a:lnTo>
                    <a:lnTo>
                      <a:pt x="1177" y="3327"/>
                    </a:lnTo>
                    <a:lnTo>
                      <a:pt x="1173" y="3282"/>
                    </a:lnTo>
                    <a:lnTo>
                      <a:pt x="1164" y="3242"/>
                    </a:lnTo>
                    <a:lnTo>
                      <a:pt x="1184" y="3194"/>
                    </a:lnTo>
                    <a:lnTo>
                      <a:pt x="1190" y="3147"/>
                    </a:lnTo>
                    <a:lnTo>
                      <a:pt x="1188" y="3130"/>
                    </a:lnTo>
                    <a:lnTo>
                      <a:pt x="1193" y="3117"/>
                    </a:lnTo>
                    <a:lnTo>
                      <a:pt x="1181" y="3109"/>
                    </a:lnTo>
                    <a:lnTo>
                      <a:pt x="1144" y="3111"/>
                    </a:lnTo>
                    <a:lnTo>
                      <a:pt x="1117" y="3100"/>
                    </a:lnTo>
                    <a:lnTo>
                      <a:pt x="1087" y="3093"/>
                    </a:lnTo>
                    <a:lnTo>
                      <a:pt x="1061" y="3103"/>
                    </a:lnTo>
                    <a:lnTo>
                      <a:pt x="1046" y="3098"/>
                    </a:lnTo>
                    <a:lnTo>
                      <a:pt x="1032" y="3069"/>
                    </a:lnTo>
                    <a:lnTo>
                      <a:pt x="1018" y="3056"/>
                    </a:lnTo>
                    <a:lnTo>
                      <a:pt x="1003" y="3028"/>
                    </a:lnTo>
                    <a:lnTo>
                      <a:pt x="988" y="3020"/>
                    </a:lnTo>
                    <a:lnTo>
                      <a:pt x="977" y="3026"/>
                    </a:lnTo>
                    <a:lnTo>
                      <a:pt x="945" y="3033"/>
                    </a:lnTo>
                    <a:lnTo>
                      <a:pt x="930" y="3032"/>
                    </a:lnTo>
                    <a:lnTo>
                      <a:pt x="933" y="2990"/>
                    </a:lnTo>
                    <a:lnTo>
                      <a:pt x="930" y="2957"/>
                    </a:lnTo>
                    <a:lnTo>
                      <a:pt x="882" y="2901"/>
                    </a:lnTo>
                    <a:lnTo>
                      <a:pt x="873" y="2880"/>
                    </a:lnTo>
                    <a:lnTo>
                      <a:pt x="859" y="2875"/>
                    </a:lnTo>
                    <a:lnTo>
                      <a:pt x="847" y="2839"/>
                    </a:lnTo>
                    <a:lnTo>
                      <a:pt x="828" y="2826"/>
                    </a:lnTo>
                    <a:lnTo>
                      <a:pt x="815" y="2800"/>
                    </a:lnTo>
                    <a:lnTo>
                      <a:pt x="785" y="2789"/>
                    </a:lnTo>
                    <a:lnTo>
                      <a:pt x="759" y="2787"/>
                    </a:lnTo>
                    <a:lnTo>
                      <a:pt x="738" y="2762"/>
                    </a:lnTo>
                    <a:lnTo>
                      <a:pt x="740" y="2746"/>
                    </a:lnTo>
                    <a:lnTo>
                      <a:pt x="755" y="2729"/>
                    </a:lnTo>
                    <a:lnTo>
                      <a:pt x="772" y="2735"/>
                    </a:lnTo>
                    <a:lnTo>
                      <a:pt x="822" y="2731"/>
                    </a:lnTo>
                    <a:lnTo>
                      <a:pt x="836" y="2738"/>
                    </a:lnTo>
                    <a:lnTo>
                      <a:pt x="856" y="2737"/>
                    </a:lnTo>
                    <a:lnTo>
                      <a:pt x="870" y="2745"/>
                    </a:lnTo>
                    <a:lnTo>
                      <a:pt x="889" y="2730"/>
                    </a:lnTo>
                    <a:lnTo>
                      <a:pt x="904" y="2723"/>
                    </a:lnTo>
                    <a:lnTo>
                      <a:pt x="932" y="2734"/>
                    </a:lnTo>
                    <a:lnTo>
                      <a:pt x="942" y="2726"/>
                    </a:lnTo>
                    <a:lnTo>
                      <a:pt x="933" y="2708"/>
                    </a:lnTo>
                    <a:lnTo>
                      <a:pt x="900" y="2710"/>
                    </a:lnTo>
                    <a:lnTo>
                      <a:pt x="890" y="2703"/>
                    </a:lnTo>
                    <a:lnTo>
                      <a:pt x="889" y="2678"/>
                    </a:lnTo>
                    <a:lnTo>
                      <a:pt x="856" y="2640"/>
                    </a:lnTo>
                    <a:lnTo>
                      <a:pt x="853" y="2623"/>
                    </a:lnTo>
                    <a:lnTo>
                      <a:pt x="870" y="2612"/>
                    </a:lnTo>
                    <a:lnTo>
                      <a:pt x="870" y="2585"/>
                    </a:lnTo>
                    <a:lnTo>
                      <a:pt x="865" y="2569"/>
                    </a:lnTo>
                    <a:lnTo>
                      <a:pt x="885" y="2548"/>
                    </a:lnTo>
                    <a:lnTo>
                      <a:pt x="922" y="2536"/>
                    </a:lnTo>
                    <a:lnTo>
                      <a:pt x="953" y="2526"/>
                    </a:lnTo>
                    <a:lnTo>
                      <a:pt x="979" y="2539"/>
                    </a:lnTo>
                    <a:lnTo>
                      <a:pt x="1013" y="2529"/>
                    </a:lnTo>
                    <a:lnTo>
                      <a:pt x="1040" y="2525"/>
                    </a:lnTo>
                    <a:lnTo>
                      <a:pt x="1056" y="2539"/>
                    </a:lnTo>
                    <a:lnTo>
                      <a:pt x="1070" y="2529"/>
                    </a:lnTo>
                    <a:lnTo>
                      <a:pt x="1094" y="2529"/>
                    </a:lnTo>
                    <a:lnTo>
                      <a:pt x="1121" y="2560"/>
                    </a:lnTo>
                    <a:lnTo>
                      <a:pt x="1148" y="2560"/>
                    </a:lnTo>
                    <a:lnTo>
                      <a:pt x="1184" y="2542"/>
                    </a:lnTo>
                    <a:lnTo>
                      <a:pt x="1190" y="2526"/>
                    </a:lnTo>
                    <a:lnTo>
                      <a:pt x="1166" y="2518"/>
                    </a:lnTo>
                    <a:lnTo>
                      <a:pt x="1133" y="2511"/>
                    </a:lnTo>
                    <a:lnTo>
                      <a:pt x="1110" y="2466"/>
                    </a:lnTo>
                    <a:lnTo>
                      <a:pt x="1115" y="2426"/>
                    </a:lnTo>
                    <a:lnTo>
                      <a:pt x="1138" y="2417"/>
                    </a:lnTo>
                    <a:lnTo>
                      <a:pt x="1151" y="2401"/>
                    </a:lnTo>
                    <a:lnTo>
                      <a:pt x="1140" y="2391"/>
                    </a:lnTo>
                    <a:lnTo>
                      <a:pt x="1130" y="2375"/>
                    </a:lnTo>
                    <a:lnTo>
                      <a:pt x="1124" y="2360"/>
                    </a:lnTo>
                    <a:lnTo>
                      <a:pt x="1143" y="2324"/>
                    </a:lnTo>
                    <a:lnTo>
                      <a:pt x="1146" y="2299"/>
                    </a:lnTo>
                    <a:lnTo>
                      <a:pt x="1119" y="2272"/>
                    </a:lnTo>
                    <a:lnTo>
                      <a:pt x="1111" y="2253"/>
                    </a:lnTo>
                    <a:lnTo>
                      <a:pt x="1126" y="2231"/>
                    </a:lnTo>
                    <a:lnTo>
                      <a:pt x="1125" y="2222"/>
                    </a:lnTo>
                    <a:lnTo>
                      <a:pt x="1102" y="2217"/>
                    </a:lnTo>
                    <a:lnTo>
                      <a:pt x="1089" y="2193"/>
                    </a:lnTo>
                    <a:lnTo>
                      <a:pt x="1083" y="2179"/>
                    </a:lnTo>
                    <a:lnTo>
                      <a:pt x="1025" y="2176"/>
                    </a:lnTo>
                    <a:lnTo>
                      <a:pt x="1003" y="2172"/>
                    </a:lnTo>
                    <a:lnTo>
                      <a:pt x="981" y="2178"/>
                    </a:lnTo>
                    <a:lnTo>
                      <a:pt x="977" y="2189"/>
                    </a:lnTo>
                    <a:lnTo>
                      <a:pt x="958" y="2199"/>
                    </a:lnTo>
                    <a:lnTo>
                      <a:pt x="957" y="2216"/>
                    </a:lnTo>
                    <a:lnTo>
                      <a:pt x="941" y="2225"/>
                    </a:lnTo>
                    <a:lnTo>
                      <a:pt x="916" y="2216"/>
                    </a:lnTo>
                    <a:lnTo>
                      <a:pt x="914" y="2201"/>
                    </a:lnTo>
                    <a:lnTo>
                      <a:pt x="893" y="2202"/>
                    </a:lnTo>
                    <a:lnTo>
                      <a:pt x="882" y="2214"/>
                    </a:lnTo>
                    <a:lnTo>
                      <a:pt x="867" y="2194"/>
                    </a:lnTo>
                    <a:lnTo>
                      <a:pt x="868" y="2168"/>
                    </a:lnTo>
                    <a:lnTo>
                      <a:pt x="860" y="2159"/>
                    </a:lnTo>
                    <a:lnTo>
                      <a:pt x="847" y="2171"/>
                    </a:lnTo>
                    <a:lnTo>
                      <a:pt x="826" y="2171"/>
                    </a:lnTo>
                    <a:lnTo>
                      <a:pt x="809" y="2159"/>
                    </a:lnTo>
                    <a:lnTo>
                      <a:pt x="765" y="2160"/>
                    </a:lnTo>
                    <a:lnTo>
                      <a:pt x="741" y="2184"/>
                    </a:lnTo>
                    <a:lnTo>
                      <a:pt x="733" y="2210"/>
                    </a:lnTo>
                    <a:lnTo>
                      <a:pt x="724" y="2215"/>
                    </a:lnTo>
                    <a:lnTo>
                      <a:pt x="711" y="2204"/>
                    </a:lnTo>
                    <a:lnTo>
                      <a:pt x="696" y="2204"/>
                    </a:lnTo>
                    <a:lnTo>
                      <a:pt x="676" y="2231"/>
                    </a:lnTo>
                    <a:lnTo>
                      <a:pt x="657" y="2229"/>
                    </a:lnTo>
                    <a:lnTo>
                      <a:pt x="644" y="2251"/>
                    </a:lnTo>
                    <a:lnTo>
                      <a:pt x="614" y="2275"/>
                    </a:lnTo>
                    <a:lnTo>
                      <a:pt x="598" y="2273"/>
                    </a:lnTo>
                    <a:lnTo>
                      <a:pt x="592" y="2293"/>
                    </a:lnTo>
                    <a:lnTo>
                      <a:pt x="580" y="2305"/>
                    </a:lnTo>
                    <a:lnTo>
                      <a:pt x="568" y="2293"/>
                    </a:lnTo>
                    <a:lnTo>
                      <a:pt x="553" y="2292"/>
                    </a:lnTo>
                    <a:lnTo>
                      <a:pt x="542" y="2309"/>
                    </a:lnTo>
                    <a:lnTo>
                      <a:pt x="518" y="2308"/>
                    </a:lnTo>
                    <a:lnTo>
                      <a:pt x="510" y="2292"/>
                    </a:lnTo>
                    <a:lnTo>
                      <a:pt x="499" y="2293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2" name="ïš1îḓe"/>
              <p:cNvSpPr/>
              <p:nvPr/>
            </p:nvSpPr>
            <p:spPr bwMode="auto">
              <a:xfrm>
                <a:off x="1673995" y="3080080"/>
                <a:ext cx="448127" cy="279267"/>
              </a:xfrm>
              <a:custGeom>
                <a:avLst/>
                <a:gdLst>
                  <a:gd name="T0" fmla="*/ 2193 w 2760"/>
                  <a:gd name="T1" fmla="*/ 1606 h 1719"/>
                  <a:gd name="T2" fmla="*/ 2244 w 2760"/>
                  <a:gd name="T3" fmla="*/ 1503 h 1719"/>
                  <a:gd name="T4" fmla="*/ 2205 w 2760"/>
                  <a:gd name="T5" fmla="*/ 1442 h 1719"/>
                  <a:gd name="T6" fmla="*/ 2202 w 2760"/>
                  <a:gd name="T7" fmla="*/ 1358 h 1719"/>
                  <a:gd name="T8" fmla="*/ 2146 w 2760"/>
                  <a:gd name="T9" fmla="*/ 1321 h 1719"/>
                  <a:gd name="T10" fmla="*/ 2072 w 2760"/>
                  <a:gd name="T11" fmla="*/ 1274 h 1719"/>
                  <a:gd name="T12" fmla="*/ 2106 w 2760"/>
                  <a:gd name="T13" fmla="*/ 1194 h 1719"/>
                  <a:gd name="T14" fmla="*/ 2213 w 2760"/>
                  <a:gd name="T15" fmla="*/ 1196 h 1719"/>
                  <a:gd name="T16" fmla="*/ 2284 w 2760"/>
                  <a:gd name="T17" fmla="*/ 1133 h 1719"/>
                  <a:gd name="T18" fmla="*/ 2259 w 2760"/>
                  <a:gd name="T19" fmla="*/ 1092 h 1719"/>
                  <a:gd name="T20" fmla="*/ 2390 w 2760"/>
                  <a:gd name="T21" fmla="*/ 1050 h 1719"/>
                  <a:gd name="T22" fmla="*/ 2338 w 2760"/>
                  <a:gd name="T23" fmla="*/ 990 h 1719"/>
                  <a:gd name="T24" fmla="*/ 2384 w 2760"/>
                  <a:gd name="T25" fmla="*/ 933 h 1719"/>
                  <a:gd name="T26" fmla="*/ 2464 w 2760"/>
                  <a:gd name="T27" fmla="*/ 902 h 1719"/>
                  <a:gd name="T28" fmla="*/ 2556 w 2760"/>
                  <a:gd name="T29" fmla="*/ 886 h 1719"/>
                  <a:gd name="T30" fmla="*/ 2652 w 2760"/>
                  <a:gd name="T31" fmla="*/ 896 h 1719"/>
                  <a:gd name="T32" fmla="*/ 2760 w 2760"/>
                  <a:gd name="T33" fmla="*/ 845 h 1719"/>
                  <a:gd name="T34" fmla="*/ 2668 w 2760"/>
                  <a:gd name="T35" fmla="*/ 746 h 1719"/>
                  <a:gd name="T36" fmla="*/ 2640 w 2760"/>
                  <a:gd name="T37" fmla="*/ 789 h 1719"/>
                  <a:gd name="T38" fmla="*/ 2580 w 2760"/>
                  <a:gd name="T39" fmla="*/ 809 h 1719"/>
                  <a:gd name="T40" fmla="*/ 2473 w 2760"/>
                  <a:gd name="T41" fmla="*/ 758 h 1719"/>
                  <a:gd name="T42" fmla="*/ 2466 w 2760"/>
                  <a:gd name="T43" fmla="*/ 695 h 1719"/>
                  <a:gd name="T44" fmla="*/ 2519 w 2760"/>
                  <a:gd name="T45" fmla="*/ 575 h 1719"/>
                  <a:gd name="T46" fmla="*/ 2455 w 2760"/>
                  <a:gd name="T47" fmla="*/ 616 h 1719"/>
                  <a:gd name="T48" fmla="*/ 2359 w 2760"/>
                  <a:gd name="T49" fmla="*/ 709 h 1719"/>
                  <a:gd name="T50" fmla="*/ 2316 w 2760"/>
                  <a:gd name="T51" fmla="*/ 779 h 1719"/>
                  <a:gd name="T52" fmla="*/ 2213 w 2760"/>
                  <a:gd name="T53" fmla="*/ 907 h 1719"/>
                  <a:gd name="T54" fmla="*/ 2118 w 2760"/>
                  <a:gd name="T55" fmla="*/ 856 h 1719"/>
                  <a:gd name="T56" fmla="*/ 2009 w 2760"/>
                  <a:gd name="T57" fmla="*/ 859 h 1719"/>
                  <a:gd name="T58" fmla="*/ 1897 w 2760"/>
                  <a:gd name="T59" fmla="*/ 896 h 1719"/>
                  <a:gd name="T60" fmla="*/ 1705 w 2760"/>
                  <a:gd name="T61" fmla="*/ 683 h 1719"/>
                  <a:gd name="T62" fmla="*/ 1639 w 2760"/>
                  <a:gd name="T63" fmla="*/ 460 h 1719"/>
                  <a:gd name="T64" fmla="*/ 1509 w 2760"/>
                  <a:gd name="T65" fmla="*/ 290 h 1719"/>
                  <a:gd name="T66" fmla="*/ 973 w 2760"/>
                  <a:gd name="T67" fmla="*/ 319 h 1719"/>
                  <a:gd name="T68" fmla="*/ 724 w 2760"/>
                  <a:gd name="T69" fmla="*/ 193 h 1719"/>
                  <a:gd name="T70" fmla="*/ 0 w 2760"/>
                  <a:gd name="T71" fmla="*/ 87 h 1719"/>
                  <a:gd name="T72" fmla="*/ 218 w 2760"/>
                  <a:gd name="T73" fmla="*/ 894 h 1719"/>
                  <a:gd name="T74" fmla="*/ 306 w 2760"/>
                  <a:gd name="T75" fmla="*/ 867 h 1719"/>
                  <a:gd name="T76" fmla="*/ 264 w 2760"/>
                  <a:gd name="T77" fmla="*/ 776 h 1719"/>
                  <a:gd name="T78" fmla="*/ 354 w 2760"/>
                  <a:gd name="T79" fmla="*/ 696 h 1719"/>
                  <a:gd name="T80" fmla="*/ 420 w 2760"/>
                  <a:gd name="T81" fmla="*/ 633 h 1719"/>
                  <a:gd name="T82" fmla="*/ 482 w 2760"/>
                  <a:gd name="T83" fmla="*/ 642 h 1719"/>
                  <a:gd name="T84" fmla="*/ 531 w 2760"/>
                  <a:gd name="T85" fmla="*/ 608 h 1719"/>
                  <a:gd name="T86" fmla="*/ 746 w 2760"/>
                  <a:gd name="T87" fmla="*/ 724 h 1719"/>
                  <a:gd name="T88" fmla="*/ 887 w 2760"/>
                  <a:gd name="T89" fmla="*/ 832 h 1719"/>
                  <a:gd name="T90" fmla="*/ 1015 w 2760"/>
                  <a:gd name="T91" fmla="*/ 867 h 1719"/>
                  <a:gd name="T92" fmla="*/ 1121 w 2760"/>
                  <a:gd name="T93" fmla="*/ 924 h 1719"/>
                  <a:gd name="T94" fmla="*/ 1185 w 2760"/>
                  <a:gd name="T95" fmla="*/ 1050 h 1719"/>
                  <a:gd name="T96" fmla="*/ 1237 w 2760"/>
                  <a:gd name="T97" fmla="*/ 1166 h 1719"/>
                  <a:gd name="T98" fmla="*/ 1410 w 2760"/>
                  <a:gd name="T99" fmla="*/ 1265 h 1719"/>
                  <a:gd name="T100" fmla="*/ 1652 w 2760"/>
                  <a:gd name="T101" fmla="*/ 1406 h 1719"/>
                  <a:gd name="T102" fmla="*/ 1860 w 2760"/>
                  <a:gd name="T103" fmla="*/ 1499 h 1719"/>
                  <a:gd name="T104" fmla="*/ 1906 w 2760"/>
                  <a:gd name="T105" fmla="*/ 1517 h 1719"/>
                  <a:gd name="T106" fmla="*/ 1968 w 2760"/>
                  <a:gd name="T107" fmla="*/ 1606 h 1719"/>
                  <a:gd name="T108" fmla="*/ 2027 w 2760"/>
                  <a:gd name="T109" fmla="*/ 1670 h 1719"/>
                  <a:gd name="T110" fmla="*/ 2084 w 2760"/>
                  <a:gd name="T111" fmla="*/ 1718 h 1719"/>
                  <a:gd name="T112" fmla="*/ 2136 w 2760"/>
                  <a:gd name="T113" fmla="*/ 1692 h 1719"/>
                  <a:gd name="T114" fmla="*/ 2181 w 2760"/>
                  <a:gd name="T115" fmla="*/ 1714 h 1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760" h="1719">
                    <a:moveTo>
                      <a:pt x="2181" y="1714"/>
                    </a:moveTo>
                    <a:lnTo>
                      <a:pt x="2193" y="1606"/>
                    </a:lnTo>
                    <a:lnTo>
                      <a:pt x="2229" y="1523"/>
                    </a:lnTo>
                    <a:lnTo>
                      <a:pt x="2244" y="1503"/>
                    </a:lnTo>
                    <a:lnTo>
                      <a:pt x="2239" y="1456"/>
                    </a:lnTo>
                    <a:lnTo>
                      <a:pt x="2205" y="1442"/>
                    </a:lnTo>
                    <a:lnTo>
                      <a:pt x="2187" y="1393"/>
                    </a:lnTo>
                    <a:lnTo>
                      <a:pt x="2202" y="1358"/>
                    </a:lnTo>
                    <a:lnTo>
                      <a:pt x="2194" y="1320"/>
                    </a:lnTo>
                    <a:lnTo>
                      <a:pt x="2146" y="1321"/>
                    </a:lnTo>
                    <a:lnTo>
                      <a:pt x="2116" y="1338"/>
                    </a:lnTo>
                    <a:lnTo>
                      <a:pt x="2072" y="1274"/>
                    </a:lnTo>
                    <a:lnTo>
                      <a:pt x="2071" y="1221"/>
                    </a:lnTo>
                    <a:lnTo>
                      <a:pt x="2106" y="1194"/>
                    </a:lnTo>
                    <a:lnTo>
                      <a:pt x="2182" y="1204"/>
                    </a:lnTo>
                    <a:lnTo>
                      <a:pt x="2213" y="1196"/>
                    </a:lnTo>
                    <a:lnTo>
                      <a:pt x="2218" y="1157"/>
                    </a:lnTo>
                    <a:lnTo>
                      <a:pt x="2284" y="1133"/>
                    </a:lnTo>
                    <a:lnTo>
                      <a:pt x="2273" y="1105"/>
                    </a:lnTo>
                    <a:lnTo>
                      <a:pt x="2259" y="1092"/>
                    </a:lnTo>
                    <a:lnTo>
                      <a:pt x="2332" y="1075"/>
                    </a:lnTo>
                    <a:lnTo>
                      <a:pt x="2390" y="1050"/>
                    </a:lnTo>
                    <a:lnTo>
                      <a:pt x="2391" y="1016"/>
                    </a:lnTo>
                    <a:lnTo>
                      <a:pt x="2338" y="990"/>
                    </a:lnTo>
                    <a:lnTo>
                      <a:pt x="2341" y="949"/>
                    </a:lnTo>
                    <a:lnTo>
                      <a:pt x="2384" y="933"/>
                    </a:lnTo>
                    <a:lnTo>
                      <a:pt x="2429" y="900"/>
                    </a:lnTo>
                    <a:lnTo>
                      <a:pt x="2464" y="902"/>
                    </a:lnTo>
                    <a:lnTo>
                      <a:pt x="2519" y="846"/>
                    </a:lnTo>
                    <a:lnTo>
                      <a:pt x="2556" y="886"/>
                    </a:lnTo>
                    <a:lnTo>
                      <a:pt x="2569" y="910"/>
                    </a:lnTo>
                    <a:lnTo>
                      <a:pt x="2652" y="896"/>
                    </a:lnTo>
                    <a:lnTo>
                      <a:pt x="2712" y="900"/>
                    </a:lnTo>
                    <a:lnTo>
                      <a:pt x="2760" y="845"/>
                    </a:lnTo>
                    <a:lnTo>
                      <a:pt x="2751" y="811"/>
                    </a:lnTo>
                    <a:lnTo>
                      <a:pt x="2668" y="746"/>
                    </a:lnTo>
                    <a:lnTo>
                      <a:pt x="2645" y="741"/>
                    </a:lnTo>
                    <a:lnTo>
                      <a:pt x="2640" y="789"/>
                    </a:lnTo>
                    <a:lnTo>
                      <a:pt x="2611" y="821"/>
                    </a:lnTo>
                    <a:lnTo>
                      <a:pt x="2580" y="809"/>
                    </a:lnTo>
                    <a:lnTo>
                      <a:pt x="2550" y="781"/>
                    </a:lnTo>
                    <a:lnTo>
                      <a:pt x="2473" y="758"/>
                    </a:lnTo>
                    <a:lnTo>
                      <a:pt x="2441" y="739"/>
                    </a:lnTo>
                    <a:lnTo>
                      <a:pt x="2466" y="695"/>
                    </a:lnTo>
                    <a:lnTo>
                      <a:pt x="2521" y="611"/>
                    </a:lnTo>
                    <a:lnTo>
                      <a:pt x="2519" y="575"/>
                    </a:lnTo>
                    <a:lnTo>
                      <a:pt x="2490" y="572"/>
                    </a:lnTo>
                    <a:lnTo>
                      <a:pt x="2455" y="616"/>
                    </a:lnTo>
                    <a:lnTo>
                      <a:pt x="2426" y="629"/>
                    </a:lnTo>
                    <a:lnTo>
                      <a:pt x="2359" y="709"/>
                    </a:lnTo>
                    <a:lnTo>
                      <a:pt x="2336" y="756"/>
                    </a:lnTo>
                    <a:lnTo>
                      <a:pt x="2316" y="779"/>
                    </a:lnTo>
                    <a:lnTo>
                      <a:pt x="2281" y="843"/>
                    </a:lnTo>
                    <a:lnTo>
                      <a:pt x="2213" y="907"/>
                    </a:lnTo>
                    <a:lnTo>
                      <a:pt x="2195" y="895"/>
                    </a:lnTo>
                    <a:lnTo>
                      <a:pt x="2118" y="856"/>
                    </a:lnTo>
                    <a:lnTo>
                      <a:pt x="2060" y="849"/>
                    </a:lnTo>
                    <a:lnTo>
                      <a:pt x="2009" y="859"/>
                    </a:lnTo>
                    <a:lnTo>
                      <a:pt x="1932" y="900"/>
                    </a:lnTo>
                    <a:lnTo>
                      <a:pt x="1897" y="896"/>
                    </a:lnTo>
                    <a:lnTo>
                      <a:pt x="1825" y="698"/>
                    </a:lnTo>
                    <a:lnTo>
                      <a:pt x="1705" y="683"/>
                    </a:lnTo>
                    <a:lnTo>
                      <a:pt x="1699" y="441"/>
                    </a:lnTo>
                    <a:lnTo>
                      <a:pt x="1639" y="460"/>
                    </a:lnTo>
                    <a:lnTo>
                      <a:pt x="1596" y="356"/>
                    </a:lnTo>
                    <a:lnTo>
                      <a:pt x="1509" y="290"/>
                    </a:lnTo>
                    <a:lnTo>
                      <a:pt x="1227" y="291"/>
                    </a:lnTo>
                    <a:lnTo>
                      <a:pt x="973" y="319"/>
                    </a:lnTo>
                    <a:lnTo>
                      <a:pt x="829" y="232"/>
                    </a:lnTo>
                    <a:lnTo>
                      <a:pt x="724" y="193"/>
                    </a:lnTo>
                    <a:lnTo>
                      <a:pt x="452" y="0"/>
                    </a:lnTo>
                    <a:lnTo>
                      <a:pt x="0" y="87"/>
                    </a:lnTo>
                    <a:lnTo>
                      <a:pt x="139" y="902"/>
                    </a:lnTo>
                    <a:lnTo>
                      <a:pt x="218" y="894"/>
                    </a:lnTo>
                    <a:lnTo>
                      <a:pt x="289" y="906"/>
                    </a:lnTo>
                    <a:lnTo>
                      <a:pt x="306" y="867"/>
                    </a:lnTo>
                    <a:lnTo>
                      <a:pt x="277" y="837"/>
                    </a:lnTo>
                    <a:lnTo>
                      <a:pt x="264" y="776"/>
                    </a:lnTo>
                    <a:lnTo>
                      <a:pt x="301" y="702"/>
                    </a:lnTo>
                    <a:lnTo>
                      <a:pt x="354" y="696"/>
                    </a:lnTo>
                    <a:lnTo>
                      <a:pt x="380" y="654"/>
                    </a:lnTo>
                    <a:lnTo>
                      <a:pt x="420" y="633"/>
                    </a:lnTo>
                    <a:lnTo>
                      <a:pt x="461" y="654"/>
                    </a:lnTo>
                    <a:lnTo>
                      <a:pt x="482" y="642"/>
                    </a:lnTo>
                    <a:lnTo>
                      <a:pt x="452" y="600"/>
                    </a:lnTo>
                    <a:lnTo>
                      <a:pt x="531" y="608"/>
                    </a:lnTo>
                    <a:lnTo>
                      <a:pt x="647" y="664"/>
                    </a:lnTo>
                    <a:lnTo>
                      <a:pt x="746" y="724"/>
                    </a:lnTo>
                    <a:lnTo>
                      <a:pt x="758" y="763"/>
                    </a:lnTo>
                    <a:lnTo>
                      <a:pt x="887" y="832"/>
                    </a:lnTo>
                    <a:lnTo>
                      <a:pt x="988" y="884"/>
                    </a:lnTo>
                    <a:lnTo>
                      <a:pt x="1015" y="867"/>
                    </a:lnTo>
                    <a:lnTo>
                      <a:pt x="1049" y="872"/>
                    </a:lnTo>
                    <a:lnTo>
                      <a:pt x="1121" y="924"/>
                    </a:lnTo>
                    <a:lnTo>
                      <a:pt x="1151" y="1025"/>
                    </a:lnTo>
                    <a:lnTo>
                      <a:pt x="1185" y="1050"/>
                    </a:lnTo>
                    <a:lnTo>
                      <a:pt x="1197" y="1094"/>
                    </a:lnTo>
                    <a:lnTo>
                      <a:pt x="1237" y="1166"/>
                    </a:lnTo>
                    <a:lnTo>
                      <a:pt x="1297" y="1193"/>
                    </a:lnTo>
                    <a:lnTo>
                      <a:pt x="1410" y="1265"/>
                    </a:lnTo>
                    <a:lnTo>
                      <a:pt x="1524" y="1349"/>
                    </a:lnTo>
                    <a:lnTo>
                      <a:pt x="1652" y="1406"/>
                    </a:lnTo>
                    <a:lnTo>
                      <a:pt x="1769" y="1485"/>
                    </a:lnTo>
                    <a:lnTo>
                      <a:pt x="1860" y="1499"/>
                    </a:lnTo>
                    <a:lnTo>
                      <a:pt x="1880" y="1522"/>
                    </a:lnTo>
                    <a:lnTo>
                      <a:pt x="1906" y="1517"/>
                    </a:lnTo>
                    <a:lnTo>
                      <a:pt x="1971" y="1561"/>
                    </a:lnTo>
                    <a:lnTo>
                      <a:pt x="1968" y="1606"/>
                    </a:lnTo>
                    <a:lnTo>
                      <a:pt x="1978" y="1682"/>
                    </a:lnTo>
                    <a:lnTo>
                      <a:pt x="2027" y="1670"/>
                    </a:lnTo>
                    <a:lnTo>
                      <a:pt x="2064" y="1686"/>
                    </a:lnTo>
                    <a:lnTo>
                      <a:pt x="2084" y="1718"/>
                    </a:lnTo>
                    <a:lnTo>
                      <a:pt x="2108" y="1719"/>
                    </a:lnTo>
                    <a:lnTo>
                      <a:pt x="2136" y="1692"/>
                    </a:lnTo>
                    <a:lnTo>
                      <a:pt x="2165" y="1696"/>
                    </a:lnTo>
                    <a:lnTo>
                      <a:pt x="2181" y="1714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3" name="îṡḷiḓê"/>
              <p:cNvSpPr/>
              <p:nvPr/>
            </p:nvSpPr>
            <p:spPr bwMode="auto">
              <a:xfrm>
                <a:off x="1594761" y="3177500"/>
                <a:ext cx="400067" cy="250691"/>
              </a:xfrm>
              <a:custGeom>
                <a:avLst/>
                <a:gdLst>
                  <a:gd name="T0" fmla="*/ 2459 w 2466"/>
                  <a:gd name="T1" fmla="*/ 961 h 1548"/>
                  <a:gd name="T2" fmla="*/ 2348 w 2466"/>
                  <a:gd name="T3" fmla="*/ 899 h 1548"/>
                  <a:gd name="T4" fmla="*/ 2012 w 2466"/>
                  <a:gd name="T5" fmla="*/ 749 h 1548"/>
                  <a:gd name="T6" fmla="*/ 1725 w 2466"/>
                  <a:gd name="T7" fmla="*/ 566 h 1548"/>
                  <a:gd name="T8" fmla="*/ 1639 w 2466"/>
                  <a:gd name="T9" fmla="*/ 425 h 1548"/>
                  <a:gd name="T10" fmla="*/ 1503 w 2466"/>
                  <a:gd name="T11" fmla="*/ 267 h 1548"/>
                  <a:gd name="T12" fmla="*/ 1246 w 2466"/>
                  <a:gd name="T13" fmla="*/ 163 h 1548"/>
                  <a:gd name="T14" fmla="*/ 1019 w 2466"/>
                  <a:gd name="T15" fmla="*/ 8 h 1548"/>
                  <a:gd name="T16" fmla="*/ 949 w 2466"/>
                  <a:gd name="T17" fmla="*/ 54 h 1548"/>
                  <a:gd name="T18" fmla="*/ 842 w 2466"/>
                  <a:gd name="T19" fmla="*/ 96 h 1548"/>
                  <a:gd name="T20" fmla="*/ 765 w 2466"/>
                  <a:gd name="T21" fmla="*/ 237 h 1548"/>
                  <a:gd name="T22" fmla="*/ 706 w 2466"/>
                  <a:gd name="T23" fmla="*/ 294 h 1548"/>
                  <a:gd name="T24" fmla="*/ 421 w 2466"/>
                  <a:gd name="T25" fmla="*/ 191 h 1548"/>
                  <a:gd name="T26" fmla="*/ 106 w 2466"/>
                  <a:gd name="T27" fmla="*/ 133 h 1548"/>
                  <a:gd name="T28" fmla="*/ 27 w 2466"/>
                  <a:gd name="T29" fmla="*/ 269 h 1548"/>
                  <a:gd name="T30" fmla="*/ 76 w 2466"/>
                  <a:gd name="T31" fmla="*/ 346 h 1548"/>
                  <a:gd name="T32" fmla="*/ 85 w 2466"/>
                  <a:gd name="T33" fmla="*/ 490 h 1548"/>
                  <a:gd name="T34" fmla="*/ 121 w 2466"/>
                  <a:gd name="T35" fmla="*/ 628 h 1548"/>
                  <a:gd name="T36" fmla="*/ 158 w 2466"/>
                  <a:gd name="T37" fmla="*/ 640 h 1548"/>
                  <a:gd name="T38" fmla="*/ 241 w 2466"/>
                  <a:gd name="T39" fmla="*/ 622 h 1548"/>
                  <a:gd name="T40" fmla="*/ 257 w 2466"/>
                  <a:gd name="T41" fmla="*/ 704 h 1548"/>
                  <a:gd name="T42" fmla="*/ 290 w 2466"/>
                  <a:gd name="T43" fmla="*/ 739 h 1548"/>
                  <a:gd name="T44" fmla="*/ 227 w 2466"/>
                  <a:gd name="T45" fmla="*/ 721 h 1548"/>
                  <a:gd name="T46" fmla="*/ 216 w 2466"/>
                  <a:gd name="T47" fmla="*/ 807 h 1548"/>
                  <a:gd name="T48" fmla="*/ 247 w 2466"/>
                  <a:gd name="T49" fmla="*/ 773 h 1548"/>
                  <a:gd name="T50" fmla="*/ 337 w 2466"/>
                  <a:gd name="T51" fmla="*/ 832 h 1548"/>
                  <a:gd name="T52" fmla="*/ 351 w 2466"/>
                  <a:gd name="T53" fmla="*/ 943 h 1548"/>
                  <a:gd name="T54" fmla="*/ 397 w 2466"/>
                  <a:gd name="T55" fmla="*/ 1176 h 1548"/>
                  <a:gd name="T56" fmla="*/ 530 w 2466"/>
                  <a:gd name="T57" fmla="*/ 1105 h 1548"/>
                  <a:gd name="T58" fmla="*/ 653 w 2466"/>
                  <a:gd name="T59" fmla="*/ 1014 h 1548"/>
                  <a:gd name="T60" fmla="*/ 802 w 2466"/>
                  <a:gd name="T61" fmla="*/ 973 h 1548"/>
                  <a:gd name="T62" fmla="*/ 908 w 2466"/>
                  <a:gd name="T63" fmla="*/ 977 h 1548"/>
                  <a:gd name="T64" fmla="*/ 1122 w 2466"/>
                  <a:gd name="T65" fmla="*/ 1104 h 1548"/>
                  <a:gd name="T66" fmla="*/ 1245 w 2466"/>
                  <a:gd name="T67" fmla="*/ 1113 h 1548"/>
                  <a:gd name="T68" fmla="*/ 1307 w 2466"/>
                  <a:gd name="T69" fmla="*/ 1182 h 1548"/>
                  <a:gd name="T70" fmla="*/ 1477 w 2466"/>
                  <a:gd name="T71" fmla="*/ 1284 h 1548"/>
                  <a:gd name="T72" fmla="*/ 1622 w 2466"/>
                  <a:gd name="T73" fmla="*/ 1357 h 1548"/>
                  <a:gd name="T74" fmla="*/ 1623 w 2466"/>
                  <a:gd name="T75" fmla="*/ 1450 h 1548"/>
                  <a:gd name="T76" fmla="*/ 1692 w 2466"/>
                  <a:gd name="T77" fmla="*/ 1481 h 1548"/>
                  <a:gd name="T78" fmla="*/ 1770 w 2466"/>
                  <a:gd name="T79" fmla="*/ 1481 h 1548"/>
                  <a:gd name="T80" fmla="*/ 1848 w 2466"/>
                  <a:gd name="T81" fmla="*/ 1534 h 1548"/>
                  <a:gd name="T82" fmla="*/ 1929 w 2466"/>
                  <a:gd name="T83" fmla="*/ 1522 h 1548"/>
                  <a:gd name="T84" fmla="*/ 1980 w 2466"/>
                  <a:gd name="T85" fmla="*/ 1452 h 1548"/>
                  <a:gd name="T86" fmla="*/ 2091 w 2466"/>
                  <a:gd name="T87" fmla="*/ 1386 h 1548"/>
                  <a:gd name="T88" fmla="*/ 2151 w 2466"/>
                  <a:gd name="T89" fmla="*/ 1342 h 1548"/>
                  <a:gd name="T90" fmla="*/ 2202 w 2466"/>
                  <a:gd name="T91" fmla="*/ 1212 h 1548"/>
                  <a:gd name="T92" fmla="*/ 2189 w 2466"/>
                  <a:gd name="T93" fmla="*/ 1142 h 1548"/>
                  <a:gd name="T94" fmla="*/ 2270 w 2466"/>
                  <a:gd name="T95" fmla="*/ 1109 h 1548"/>
                  <a:gd name="T96" fmla="*/ 2375 w 2466"/>
                  <a:gd name="T97" fmla="*/ 1060 h 1548"/>
                  <a:gd name="T98" fmla="*/ 2459 w 2466"/>
                  <a:gd name="T99" fmla="*/ 1084 h 1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66" h="1548">
                    <a:moveTo>
                      <a:pt x="2466" y="1082"/>
                    </a:moveTo>
                    <a:lnTo>
                      <a:pt x="2456" y="1006"/>
                    </a:lnTo>
                    <a:lnTo>
                      <a:pt x="2459" y="961"/>
                    </a:lnTo>
                    <a:lnTo>
                      <a:pt x="2394" y="917"/>
                    </a:lnTo>
                    <a:lnTo>
                      <a:pt x="2368" y="922"/>
                    </a:lnTo>
                    <a:lnTo>
                      <a:pt x="2348" y="899"/>
                    </a:lnTo>
                    <a:lnTo>
                      <a:pt x="2257" y="885"/>
                    </a:lnTo>
                    <a:lnTo>
                      <a:pt x="2140" y="806"/>
                    </a:lnTo>
                    <a:lnTo>
                      <a:pt x="2012" y="749"/>
                    </a:lnTo>
                    <a:lnTo>
                      <a:pt x="1898" y="665"/>
                    </a:lnTo>
                    <a:lnTo>
                      <a:pt x="1785" y="593"/>
                    </a:lnTo>
                    <a:lnTo>
                      <a:pt x="1725" y="566"/>
                    </a:lnTo>
                    <a:lnTo>
                      <a:pt x="1685" y="494"/>
                    </a:lnTo>
                    <a:lnTo>
                      <a:pt x="1673" y="450"/>
                    </a:lnTo>
                    <a:lnTo>
                      <a:pt x="1639" y="425"/>
                    </a:lnTo>
                    <a:lnTo>
                      <a:pt x="1609" y="324"/>
                    </a:lnTo>
                    <a:lnTo>
                      <a:pt x="1537" y="272"/>
                    </a:lnTo>
                    <a:lnTo>
                      <a:pt x="1503" y="267"/>
                    </a:lnTo>
                    <a:lnTo>
                      <a:pt x="1476" y="284"/>
                    </a:lnTo>
                    <a:lnTo>
                      <a:pt x="1375" y="232"/>
                    </a:lnTo>
                    <a:lnTo>
                      <a:pt x="1246" y="163"/>
                    </a:lnTo>
                    <a:lnTo>
                      <a:pt x="1234" y="124"/>
                    </a:lnTo>
                    <a:lnTo>
                      <a:pt x="1135" y="64"/>
                    </a:lnTo>
                    <a:lnTo>
                      <a:pt x="1019" y="8"/>
                    </a:lnTo>
                    <a:lnTo>
                      <a:pt x="940" y="0"/>
                    </a:lnTo>
                    <a:lnTo>
                      <a:pt x="970" y="42"/>
                    </a:lnTo>
                    <a:lnTo>
                      <a:pt x="949" y="54"/>
                    </a:lnTo>
                    <a:lnTo>
                      <a:pt x="908" y="33"/>
                    </a:lnTo>
                    <a:lnTo>
                      <a:pt x="868" y="54"/>
                    </a:lnTo>
                    <a:lnTo>
                      <a:pt x="842" y="96"/>
                    </a:lnTo>
                    <a:lnTo>
                      <a:pt x="789" y="102"/>
                    </a:lnTo>
                    <a:lnTo>
                      <a:pt x="752" y="176"/>
                    </a:lnTo>
                    <a:lnTo>
                      <a:pt x="765" y="237"/>
                    </a:lnTo>
                    <a:lnTo>
                      <a:pt x="794" y="267"/>
                    </a:lnTo>
                    <a:lnTo>
                      <a:pt x="777" y="306"/>
                    </a:lnTo>
                    <a:lnTo>
                      <a:pt x="706" y="294"/>
                    </a:lnTo>
                    <a:lnTo>
                      <a:pt x="602" y="304"/>
                    </a:lnTo>
                    <a:lnTo>
                      <a:pt x="532" y="319"/>
                    </a:lnTo>
                    <a:lnTo>
                      <a:pt x="421" y="191"/>
                    </a:lnTo>
                    <a:lnTo>
                      <a:pt x="300" y="121"/>
                    </a:lnTo>
                    <a:lnTo>
                      <a:pt x="189" y="104"/>
                    </a:lnTo>
                    <a:lnTo>
                      <a:pt x="106" y="133"/>
                    </a:lnTo>
                    <a:lnTo>
                      <a:pt x="0" y="229"/>
                    </a:lnTo>
                    <a:lnTo>
                      <a:pt x="1" y="242"/>
                    </a:lnTo>
                    <a:lnTo>
                      <a:pt x="27" y="269"/>
                    </a:lnTo>
                    <a:lnTo>
                      <a:pt x="39" y="294"/>
                    </a:lnTo>
                    <a:lnTo>
                      <a:pt x="67" y="315"/>
                    </a:lnTo>
                    <a:lnTo>
                      <a:pt x="76" y="346"/>
                    </a:lnTo>
                    <a:lnTo>
                      <a:pt x="114" y="403"/>
                    </a:lnTo>
                    <a:lnTo>
                      <a:pt x="106" y="454"/>
                    </a:lnTo>
                    <a:lnTo>
                      <a:pt x="85" y="490"/>
                    </a:lnTo>
                    <a:lnTo>
                      <a:pt x="92" y="575"/>
                    </a:lnTo>
                    <a:lnTo>
                      <a:pt x="112" y="602"/>
                    </a:lnTo>
                    <a:lnTo>
                      <a:pt x="121" y="628"/>
                    </a:lnTo>
                    <a:lnTo>
                      <a:pt x="180" y="683"/>
                    </a:lnTo>
                    <a:lnTo>
                      <a:pt x="177" y="661"/>
                    </a:lnTo>
                    <a:lnTo>
                      <a:pt x="158" y="640"/>
                    </a:lnTo>
                    <a:lnTo>
                      <a:pt x="167" y="629"/>
                    </a:lnTo>
                    <a:lnTo>
                      <a:pt x="218" y="637"/>
                    </a:lnTo>
                    <a:lnTo>
                      <a:pt x="241" y="622"/>
                    </a:lnTo>
                    <a:lnTo>
                      <a:pt x="255" y="634"/>
                    </a:lnTo>
                    <a:lnTo>
                      <a:pt x="247" y="668"/>
                    </a:lnTo>
                    <a:lnTo>
                      <a:pt x="257" y="704"/>
                    </a:lnTo>
                    <a:lnTo>
                      <a:pt x="277" y="696"/>
                    </a:lnTo>
                    <a:lnTo>
                      <a:pt x="300" y="725"/>
                    </a:lnTo>
                    <a:lnTo>
                      <a:pt x="290" y="739"/>
                    </a:lnTo>
                    <a:lnTo>
                      <a:pt x="262" y="730"/>
                    </a:lnTo>
                    <a:lnTo>
                      <a:pt x="241" y="735"/>
                    </a:lnTo>
                    <a:lnTo>
                      <a:pt x="227" y="721"/>
                    </a:lnTo>
                    <a:lnTo>
                      <a:pt x="195" y="747"/>
                    </a:lnTo>
                    <a:lnTo>
                      <a:pt x="197" y="778"/>
                    </a:lnTo>
                    <a:lnTo>
                      <a:pt x="216" y="807"/>
                    </a:lnTo>
                    <a:lnTo>
                      <a:pt x="212" y="767"/>
                    </a:lnTo>
                    <a:lnTo>
                      <a:pt x="232" y="762"/>
                    </a:lnTo>
                    <a:lnTo>
                      <a:pt x="247" y="773"/>
                    </a:lnTo>
                    <a:lnTo>
                      <a:pt x="272" y="777"/>
                    </a:lnTo>
                    <a:lnTo>
                      <a:pt x="291" y="809"/>
                    </a:lnTo>
                    <a:lnTo>
                      <a:pt x="337" y="832"/>
                    </a:lnTo>
                    <a:lnTo>
                      <a:pt x="347" y="867"/>
                    </a:lnTo>
                    <a:lnTo>
                      <a:pt x="346" y="917"/>
                    </a:lnTo>
                    <a:lnTo>
                      <a:pt x="351" y="943"/>
                    </a:lnTo>
                    <a:lnTo>
                      <a:pt x="349" y="1031"/>
                    </a:lnTo>
                    <a:lnTo>
                      <a:pt x="365" y="1091"/>
                    </a:lnTo>
                    <a:lnTo>
                      <a:pt x="397" y="1176"/>
                    </a:lnTo>
                    <a:lnTo>
                      <a:pt x="432" y="1156"/>
                    </a:lnTo>
                    <a:lnTo>
                      <a:pt x="516" y="1151"/>
                    </a:lnTo>
                    <a:lnTo>
                      <a:pt x="530" y="1105"/>
                    </a:lnTo>
                    <a:lnTo>
                      <a:pt x="553" y="1077"/>
                    </a:lnTo>
                    <a:lnTo>
                      <a:pt x="582" y="1075"/>
                    </a:lnTo>
                    <a:lnTo>
                      <a:pt x="653" y="1014"/>
                    </a:lnTo>
                    <a:lnTo>
                      <a:pt x="725" y="1001"/>
                    </a:lnTo>
                    <a:lnTo>
                      <a:pt x="789" y="1014"/>
                    </a:lnTo>
                    <a:lnTo>
                      <a:pt x="802" y="973"/>
                    </a:lnTo>
                    <a:lnTo>
                      <a:pt x="836" y="965"/>
                    </a:lnTo>
                    <a:lnTo>
                      <a:pt x="869" y="978"/>
                    </a:lnTo>
                    <a:lnTo>
                      <a:pt x="908" y="977"/>
                    </a:lnTo>
                    <a:lnTo>
                      <a:pt x="970" y="1027"/>
                    </a:lnTo>
                    <a:lnTo>
                      <a:pt x="1022" y="1041"/>
                    </a:lnTo>
                    <a:lnTo>
                      <a:pt x="1122" y="1104"/>
                    </a:lnTo>
                    <a:lnTo>
                      <a:pt x="1150" y="1103"/>
                    </a:lnTo>
                    <a:lnTo>
                      <a:pt x="1177" y="1084"/>
                    </a:lnTo>
                    <a:lnTo>
                      <a:pt x="1245" y="1113"/>
                    </a:lnTo>
                    <a:lnTo>
                      <a:pt x="1281" y="1119"/>
                    </a:lnTo>
                    <a:lnTo>
                      <a:pt x="1292" y="1170"/>
                    </a:lnTo>
                    <a:lnTo>
                      <a:pt x="1307" y="1182"/>
                    </a:lnTo>
                    <a:lnTo>
                      <a:pt x="1343" y="1173"/>
                    </a:lnTo>
                    <a:lnTo>
                      <a:pt x="1407" y="1188"/>
                    </a:lnTo>
                    <a:lnTo>
                      <a:pt x="1477" y="1284"/>
                    </a:lnTo>
                    <a:lnTo>
                      <a:pt x="1552" y="1290"/>
                    </a:lnTo>
                    <a:lnTo>
                      <a:pt x="1595" y="1308"/>
                    </a:lnTo>
                    <a:lnTo>
                      <a:pt x="1622" y="1357"/>
                    </a:lnTo>
                    <a:lnTo>
                      <a:pt x="1609" y="1382"/>
                    </a:lnTo>
                    <a:lnTo>
                      <a:pt x="1625" y="1424"/>
                    </a:lnTo>
                    <a:lnTo>
                      <a:pt x="1623" y="1450"/>
                    </a:lnTo>
                    <a:lnTo>
                      <a:pt x="1637" y="1478"/>
                    </a:lnTo>
                    <a:lnTo>
                      <a:pt x="1653" y="1472"/>
                    </a:lnTo>
                    <a:lnTo>
                      <a:pt x="1692" y="1481"/>
                    </a:lnTo>
                    <a:lnTo>
                      <a:pt x="1719" y="1503"/>
                    </a:lnTo>
                    <a:lnTo>
                      <a:pt x="1748" y="1503"/>
                    </a:lnTo>
                    <a:lnTo>
                      <a:pt x="1770" y="1481"/>
                    </a:lnTo>
                    <a:lnTo>
                      <a:pt x="1799" y="1481"/>
                    </a:lnTo>
                    <a:lnTo>
                      <a:pt x="1837" y="1510"/>
                    </a:lnTo>
                    <a:lnTo>
                      <a:pt x="1848" y="1534"/>
                    </a:lnTo>
                    <a:lnTo>
                      <a:pt x="1862" y="1548"/>
                    </a:lnTo>
                    <a:lnTo>
                      <a:pt x="1879" y="1529"/>
                    </a:lnTo>
                    <a:lnTo>
                      <a:pt x="1929" y="1522"/>
                    </a:lnTo>
                    <a:lnTo>
                      <a:pt x="1953" y="1493"/>
                    </a:lnTo>
                    <a:lnTo>
                      <a:pt x="1959" y="1472"/>
                    </a:lnTo>
                    <a:lnTo>
                      <a:pt x="1980" y="1452"/>
                    </a:lnTo>
                    <a:lnTo>
                      <a:pt x="1972" y="1429"/>
                    </a:lnTo>
                    <a:lnTo>
                      <a:pt x="2025" y="1400"/>
                    </a:lnTo>
                    <a:lnTo>
                      <a:pt x="2091" y="1386"/>
                    </a:lnTo>
                    <a:lnTo>
                      <a:pt x="2097" y="1369"/>
                    </a:lnTo>
                    <a:lnTo>
                      <a:pt x="2124" y="1348"/>
                    </a:lnTo>
                    <a:lnTo>
                      <a:pt x="2151" y="1342"/>
                    </a:lnTo>
                    <a:lnTo>
                      <a:pt x="2162" y="1296"/>
                    </a:lnTo>
                    <a:lnTo>
                      <a:pt x="2163" y="1253"/>
                    </a:lnTo>
                    <a:lnTo>
                      <a:pt x="2202" y="1212"/>
                    </a:lnTo>
                    <a:lnTo>
                      <a:pt x="2202" y="1176"/>
                    </a:lnTo>
                    <a:lnTo>
                      <a:pt x="2187" y="1163"/>
                    </a:lnTo>
                    <a:lnTo>
                      <a:pt x="2189" y="1142"/>
                    </a:lnTo>
                    <a:lnTo>
                      <a:pt x="2206" y="1135"/>
                    </a:lnTo>
                    <a:lnTo>
                      <a:pt x="2225" y="1120"/>
                    </a:lnTo>
                    <a:lnTo>
                      <a:pt x="2270" y="1109"/>
                    </a:lnTo>
                    <a:lnTo>
                      <a:pt x="2283" y="1110"/>
                    </a:lnTo>
                    <a:lnTo>
                      <a:pt x="2335" y="1072"/>
                    </a:lnTo>
                    <a:lnTo>
                      <a:pt x="2375" y="1060"/>
                    </a:lnTo>
                    <a:lnTo>
                      <a:pt x="2410" y="1081"/>
                    </a:lnTo>
                    <a:lnTo>
                      <a:pt x="2447" y="1072"/>
                    </a:lnTo>
                    <a:lnTo>
                      <a:pt x="2459" y="1084"/>
                    </a:lnTo>
                    <a:lnTo>
                      <a:pt x="2466" y="108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4" name="iṣlïďê"/>
              <p:cNvSpPr/>
              <p:nvPr/>
            </p:nvSpPr>
            <p:spPr bwMode="auto">
              <a:xfrm>
                <a:off x="3480787" y="3902295"/>
                <a:ext cx="276669" cy="418251"/>
              </a:xfrm>
              <a:custGeom>
                <a:avLst/>
                <a:gdLst>
                  <a:gd name="T0" fmla="*/ 633 w 1704"/>
                  <a:gd name="T1" fmla="*/ 19 h 2571"/>
                  <a:gd name="T2" fmla="*/ 734 w 1704"/>
                  <a:gd name="T3" fmla="*/ 86 h 2571"/>
                  <a:gd name="T4" fmla="*/ 1027 w 1704"/>
                  <a:gd name="T5" fmla="*/ 1077 h 2571"/>
                  <a:gd name="T6" fmla="*/ 1135 w 1704"/>
                  <a:gd name="T7" fmla="*/ 1178 h 2571"/>
                  <a:gd name="T8" fmla="*/ 1182 w 1704"/>
                  <a:gd name="T9" fmla="*/ 1239 h 2571"/>
                  <a:gd name="T10" fmla="*/ 916 w 1704"/>
                  <a:gd name="T11" fmla="*/ 1039 h 2571"/>
                  <a:gd name="T12" fmla="*/ 710 w 1704"/>
                  <a:gd name="T13" fmla="*/ 1109 h 2571"/>
                  <a:gd name="T14" fmla="*/ 626 w 1704"/>
                  <a:gd name="T15" fmla="*/ 912 h 2571"/>
                  <a:gd name="T16" fmla="*/ 458 w 1704"/>
                  <a:gd name="T17" fmla="*/ 806 h 2571"/>
                  <a:gd name="T18" fmla="*/ 453 w 1704"/>
                  <a:gd name="T19" fmla="*/ 535 h 2571"/>
                  <a:gd name="T20" fmla="*/ 743 w 1704"/>
                  <a:gd name="T21" fmla="*/ 215 h 2571"/>
                  <a:gd name="T22" fmla="*/ 841 w 1704"/>
                  <a:gd name="T23" fmla="*/ 523 h 2571"/>
                  <a:gd name="T24" fmla="*/ 723 w 1704"/>
                  <a:gd name="T25" fmla="*/ 831 h 2571"/>
                  <a:gd name="T26" fmla="*/ 781 w 1704"/>
                  <a:gd name="T27" fmla="*/ 839 h 2571"/>
                  <a:gd name="T28" fmla="*/ 524 w 1704"/>
                  <a:gd name="T29" fmla="*/ 1098 h 2571"/>
                  <a:gd name="T30" fmla="*/ 650 w 1704"/>
                  <a:gd name="T31" fmla="*/ 1293 h 2571"/>
                  <a:gd name="T32" fmla="*/ 649 w 1704"/>
                  <a:gd name="T33" fmla="*/ 1119 h 2571"/>
                  <a:gd name="T34" fmla="*/ 1257 w 1704"/>
                  <a:gd name="T35" fmla="*/ 1071 h 2571"/>
                  <a:gd name="T36" fmla="*/ 802 w 1704"/>
                  <a:gd name="T37" fmla="*/ 1151 h 2571"/>
                  <a:gd name="T38" fmla="*/ 933 w 1704"/>
                  <a:gd name="T39" fmla="*/ 1319 h 2571"/>
                  <a:gd name="T40" fmla="*/ 1055 w 1704"/>
                  <a:gd name="T41" fmla="*/ 1224 h 2571"/>
                  <a:gd name="T42" fmla="*/ 1153 w 1704"/>
                  <a:gd name="T43" fmla="*/ 1411 h 2571"/>
                  <a:gd name="T44" fmla="*/ 1071 w 1704"/>
                  <a:gd name="T45" fmla="*/ 1359 h 2571"/>
                  <a:gd name="T46" fmla="*/ 875 w 1704"/>
                  <a:gd name="T47" fmla="*/ 1459 h 2571"/>
                  <a:gd name="T48" fmla="*/ 1038 w 1704"/>
                  <a:gd name="T49" fmla="*/ 1479 h 2571"/>
                  <a:gd name="T50" fmla="*/ 896 w 1704"/>
                  <a:gd name="T51" fmla="*/ 1660 h 2571"/>
                  <a:gd name="T52" fmla="*/ 1271 w 1704"/>
                  <a:gd name="T53" fmla="*/ 1630 h 2571"/>
                  <a:gd name="T54" fmla="*/ 1159 w 1704"/>
                  <a:gd name="T55" fmla="*/ 1673 h 2571"/>
                  <a:gd name="T56" fmla="*/ 1107 w 1704"/>
                  <a:gd name="T57" fmla="*/ 1598 h 2571"/>
                  <a:gd name="T58" fmla="*/ 1013 w 1704"/>
                  <a:gd name="T59" fmla="*/ 1879 h 2571"/>
                  <a:gd name="T60" fmla="*/ 1129 w 1704"/>
                  <a:gd name="T61" fmla="*/ 1921 h 2571"/>
                  <a:gd name="T62" fmla="*/ 1196 w 1704"/>
                  <a:gd name="T63" fmla="*/ 1802 h 2571"/>
                  <a:gd name="T64" fmla="*/ 1362 w 1704"/>
                  <a:gd name="T65" fmla="*/ 1935 h 2571"/>
                  <a:gd name="T66" fmla="*/ 1384 w 1704"/>
                  <a:gd name="T67" fmla="*/ 1519 h 2571"/>
                  <a:gd name="T68" fmla="*/ 1463 w 1704"/>
                  <a:gd name="T69" fmla="*/ 1371 h 2571"/>
                  <a:gd name="T70" fmla="*/ 1250 w 1704"/>
                  <a:gd name="T71" fmla="*/ 1316 h 2571"/>
                  <a:gd name="T72" fmla="*/ 1356 w 1704"/>
                  <a:gd name="T73" fmla="*/ 1524 h 2571"/>
                  <a:gd name="T74" fmla="*/ 1384 w 1704"/>
                  <a:gd name="T75" fmla="*/ 1757 h 2571"/>
                  <a:gd name="T76" fmla="*/ 1538 w 1704"/>
                  <a:gd name="T77" fmla="*/ 1604 h 2571"/>
                  <a:gd name="T78" fmla="*/ 1530 w 1704"/>
                  <a:gd name="T79" fmla="*/ 1768 h 2571"/>
                  <a:gd name="T80" fmla="*/ 1560 w 1704"/>
                  <a:gd name="T81" fmla="*/ 1818 h 2571"/>
                  <a:gd name="T82" fmla="*/ 1584 w 1704"/>
                  <a:gd name="T83" fmla="*/ 1742 h 2571"/>
                  <a:gd name="T84" fmla="*/ 1058 w 1704"/>
                  <a:gd name="T85" fmla="*/ 2082 h 2571"/>
                  <a:gd name="T86" fmla="*/ 1329 w 1704"/>
                  <a:gd name="T87" fmla="*/ 2019 h 2571"/>
                  <a:gd name="T88" fmla="*/ 1481 w 1704"/>
                  <a:gd name="T89" fmla="*/ 1914 h 2571"/>
                  <a:gd name="T90" fmla="*/ 1615 w 1704"/>
                  <a:gd name="T91" fmla="*/ 1996 h 2571"/>
                  <a:gd name="T92" fmla="*/ 1686 w 1704"/>
                  <a:gd name="T93" fmla="*/ 2321 h 2571"/>
                  <a:gd name="T94" fmla="*/ 1601 w 1704"/>
                  <a:gd name="T95" fmla="*/ 2322 h 2571"/>
                  <a:gd name="T96" fmla="*/ 1478 w 1704"/>
                  <a:gd name="T97" fmla="*/ 2558 h 2571"/>
                  <a:gd name="T98" fmla="*/ 1253 w 1704"/>
                  <a:gd name="T99" fmla="*/ 2400 h 2571"/>
                  <a:gd name="T100" fmla="*/ 1171 w 1704"/>
                  <a:gd name="T101" fmla="*/ 2182 h 2571"/>
                  <a:gd name="T102" fmla="*/ 1072 w 1704"/>
                  <a:gd name="T103" fmla="*/ 2247 h 2571"/>
                  <a:gd name="T104" fmla="*/ 864 w 1704"/>
                  <a:gd name="T105" fmla="*/ 2384 h 2571"/>
                  <a:gd name="T106" fmla="*/ 458 w 1704"/>
                  <a:gd name="T107" fmla="*/ 1380 h 2571"/>
                  <a:gd name="T108" fmla="*/ 487 w 1704"/>
                  <a:gd name="T109" fmla="*/ 1423 h 2571"/>
                  <a:gd name="T110" fmla="*/ 516 w 1704"/>
                  <a:gd name="T111" fmla="*/ 1674 h 2571"/>
                  <a:gd name="T112" fmla="*/ 249 w 1704"/>
                  <a:gd name="T113" fmla="*/ 1913 h 2571"/>
                  <a:gd name="T114" fmla="*/ 409 w 1704"/>
                  <a:gd name="T115" fmla="*/ 1600 h 2571"/>
                  <a:gd name="T116" fmla="*/ 301 w 1704"/>
                  <a:gd name="T117" fmla="*/ 1761 h 2571"/>
                  <a:gd name="T118" fmla="*/ 45 w 1704"/>
                  <a:gd name="T119" fmla="*/ 2087 h 2571"/>
                  <a:gd name="T120" fmla="*/ 20 w 1704"/>
                  <a:gd name="T121" fmla="*/ 2183 h 25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04" h="2571">
                    <a:moveTo>
                      <a:pt x="608" y="122"/>
                    </a:moveTo>
                    <a:lnTo>
                      <a:pt x="652" y="122"/>
                    </a:lnTo>
                    <a:lnTo>
                      <a:pt x="625" y="136"/>
                    </a:lnTo>
                    <a:lnTo>
                      <a:pt x="608" y="122"/>
                    </a:lnTo>
                    <a:lnTo>
                      <a:pt x="608" y="122"/>
                    </a:lnTo>
                    <a:close/>
                    <a:moveTo>
                      <a:pt x="587" y="48"/>
                    </a:moveTo>
                    <a:lnTo>
                      <a:pt x="611" y="69"/>
                    </a:lnTo>
                    <a:lnTo>
                      <a:pt x="578" y="75"/>
                    </a:lnTo>
                    <a:lnTo>
                      <a:pt x="587" y="48"/>
                    </a:lnTo>
                    <a:lnTo>
                      <a:pt x="587" y="48"/>
                    </a:lnTo>
                    <a:close/>
                    <a:moveTo>
                      <a:pt x="660" y="0"/>
                    </a:moveTo>
                    <a:lnTo>
                      <a:pt x="633" y="19"/>
                    </a:lnTo>
                    <a:lnTo>
                      <a:pt x="655" y="37"/>
                    </a:lnTo>
                    <a:lnTo>
                      <a:pt x="660" y="0"/>
                    </a:lnTo>
                    <a:lnTo>
                      <a:pt x="660" y="0"/>
                    </a:lnTo>
                    <a:close/>
                    <a:moveTo>
                      <a:pt x="734" y="86"/>
                    </a:moveTo>
                    <a:lnTo>
                      <a:pt x="712" y="111"/>
                    </a:lnTo>
                    <a:lnTo>
                      <a:pt x="732" y="128"/>
                    </a:lnTo>
                    <a:lnTo>
                      <a:pt x="746" y="103"/>
                    </a:lnTo>
                    <a:lnTo>
                      <a:pt x="746" y="103"/>
                    </a:lnTo>
                    <a:lnTo>
                      <a:pt x="739" y="94"/>
                    </a:lnTo>
                    <a:lnTo>
                      <a:pt x="735" y="89"/>
                    </a:lnTo>
                    <a:lnTo>
                      <a:pt x="734" y="86"/>
                    </a:lnTo>
                    <a:lnTo>
                      <a:pt x="734" y="86"/>
                    </a:lnTo>
                    <a:close/>
                    <a:moveTo>
                      <a:pt x="748" y="956"/>
                    </a:moveTo>
                    <a:lnTo>
                      <a:pt x="775" y="977"/>
                    </a:lnTo>
                    <a:lnTo>
                      <a:pt x="791" y="1011"/>
                    </a:lnTo>
                    <a:lnTo>
                      <a:pt x="829" y="1024"/>
                    </a:lnTo>
                    <a:lnTo>
                      <a:pt x="857" y="1015"/>
                    </a:lnTo>
                    <a:lnTo>
                      <a:pt x="864" y="988"/>
                    </a:lnTo>
                    <a:lnTo>
                      <a:pt x="911" y="951"/>
                    </a:lnTo>
                    <a:lnTo>
                      <a:pt x="943" y="951"/>
                    </a:lnTo>
                    <a:lnTo>
                      <a:pt x="995" y="983"/>
                    </a:lnTo>
                    <a:lnTo>
                      <a:pt x="1014" y="1023"/>
                    </a:lnTo>
                    <a:lnTo>
                      <a:pt x="1010" y="1059"/>
                    </a:lnTo>
                    <a:lnTo>
                      <a:pt x="1027" y="1077"/>
                    </a:lnTo>
                    <a:lnTo>
                      <a:pt x="1049" y="1061"/>
                    </a:lnTo>
                    <a:lnTo>
                      <a:pt x="1047" y="1028"/>
                    </a:lnTo>
                    <a:lnTo>
                      <a:pt x="1062" y="1016"/>
                    </a:lnTo>
                    <a:lnTo>
                      <a:pt x="1081" y="1049"/>
                    </a:lnTo>
                    <a:lnTo>
                      <a:pt x="1122" y="1050"/>
                    </a:lnTo>
                    <a:lnTo>
                      <a:pt x="1155" y="1072"/>
                    </a:lnTo>
                    <a:lnTo>
                      <a:pt x="1162" y="1084"/>
                    </a:lnTo>
                    <a:lnTo>
                      <a:pt x="1138" y="1088"/>
                    </a:lnTo>
                    <a:lnTo>
                      <a:pt x="1120" y="1078"/>
                    </a:lnTo>
                    <a:lnTo>
                      <a:pt x="1104" y="1089"/>
                    </a:lnTo>
                    <a:lnTo>
                      <a:pt x="1111" y="1119"/>
                    </a:lnTo>
                    <a:lnTo>
                      <a:pt x="1135" y="1178"/>
                    </a:lnTo>
                    <a:lnTo>
                      <a:pt x="1133" y="1202"/>
                    </a:lnTo>
                    <a:lnTo>
                      <a:pt x="1167" y="1202"/>
                    </a:lnTo>
                    <a:lnTo>
                      <a:pt x="1192" y="1214"/>
                    </a:lnTo>
                    <a:lnTo>
                      <a:pt x="1220" y="1213"/>
                    </a:lnTo>
                    <a:lnTo>
                      <a:pt x="1234" y="1232"/>
                    </a:lnTo>
                    <a:lnTo>
                      <a:pt x="1219" y="1246"/>
                    </a:lnTo>
                    <a:lnTo>
                      <a:pt x="1223" y="1267"/>
                    </a:lnTo>
                    <a:lnTo>
                      <a:pt x="1211" y="1316"/>
                    </a:lnTo>
                    <a:lnTo>
                      <a:pt x="1181" y="1307"/>
                    </a:lnTo>
                    <a:lnTo>
                      <a:pt x="1153" y="1272"/>
                    </a:lnTo>
                    <a:lnTo>
                      <a:pt x="1180" y="1256"/>
                    </a:lnTo>
                    <a:lnTo>
                      <a:pt x="1182" y="1239"/>
                    </a:lnTo>
                    <a:lnTo>
                      <a:pt x="1154" y="1233"/>
                    </a:lnTo>
                    <a:lnTo>
                      <a:pt x="1155" y="1245"/>
                    </a:lnTo>
                    <a:lnTo>
                      <a:pt x="1125" y="1253"/>
                    </a:lnTo>
                    <a:lnTo>
                      <a:pt x="1087" y="1209"/>
                    </a:lnTo>
                    <a:lnTo>
                      <a:pt x="1062" y="1201"/>
                    </a:lnTo>
                    <a:lnTo>
                      <a:pt x="1062" y="1164"/>
                    </a:lnTo>
                    <a:lnTo>
                      <a:pt x="1048" y="1131"/>
                    </a:lnTo>
                    <a:lnTo>
                      <a:pt x="999" y="1113"/>
                    </a:lnTo>
                    <a:lnTo>
                      <a:pt x="976" y="1073"/>
                    </a:lnTo>
                    <a:lnTo>
                      <a:pt x="954" y="1062"/>
                    </a:lnTo>
                    <a:lnTo>
                      <a:pt x="934" y="1043"/>
                    </a:lnTo>
                    <a:lnTo>
                      <a:pt x="916" y="1039"/>
                    </a:lnTo>
                    <a:lnTo>
                      <a:pt x="911" y="1056"/>
                    </a:lnTo>
                    <a:lnTo>
                      <a:pt x="947" y="1119"/>
                    </a:lnTo>
                    <a:lnTo>
                      <a:pt x="958" y="1176"/>
                    </a:lnTo>
                    <a:lnTo>
                      <a:pt x="945" y="1178"/>
                    </a:lnTo>
                    <a:lnTo>
                      <a:pt x="911" y="1122"/>
                    </a:lnTo>
                    <a:lnTo>
                      <a:pt x="873" y="1094"/>
                    </a:lnTo>
                    <a:lnTo>
                      <a:pt x="859" y="1068"/>
                    </a:lnTo>
                    <a:lnTo>
                      <a:pt x="789" y="1041"/>
                    </a:lnTo>
                    <a:lnTo>
                      <a:pt x="749" y="1044"/>
                    </a:lnTo>
                    <a:lnTo>
                      <a:pt x="735" y="1066"/>
                    </a:lnTo>
                    <a:lnTo>
                      <a:pt x="742" y="1090"/>
                    </a:lnTo>
                    <a:lnTo>
                      <a:pt x="710" y="1109"/>
                    </a:lnTo>
                    <a:lnTo>
                      <a:pt x="670" y="1069"/>
                    </a:lnTo>
                    <a:lnTo>
                      <a:pt x="648" y="1091"/>
                    </a:lnTo>
                    <a:lnTo>
                      <a:pt x="620" y="1097"/>
                    </a:lnTo>
                    <a:lnTo>
                      <a:pt x="636" y="1068"/>
                    </a:lnTo>
                    <a:lnTo>
                      <a:pt x="623" y="1039"/>
                    </a:lnTo>
                    <a:lnTo>
                      <a:pt x="602" y="1047"/>
                    </a:lnTo>
                    <a:lnTo>
                      <a:pt x="593" y="1081"/>
                    </a:lnTo>
                    <a:lnTo>
                      <a:pt x="570" y="1043"/>
                    </a:lnTo>
                    <a:lnTo>
                      <a:pt x="575" y="1002"/>
                    </a:lnTo>
                    <a:lnTo>
                      <a:pt x="570" y="982"/>
                    </a:lnTo>
                    <a:lnTo>
                      <a:pt x="589" y="960"/>
                    </a:lnTo>
                    <a:lnTo>
                      <a:pt x="626" y="912"/>
                    </a:lnTo>
                    <a:lnTo>
                      <a:pt x="596" y="889"/>
                    </a:lnTo>
                    <a:lnTo>
                      <a:pt x="559" y="886"/>
                    </a:lnTo>
                    <a:lnTo>
                      <a:pt x="558" y="907"/>
                    </a:lnTo>
                    <a:lnTo>
                      <a:pt x="577" y="926"/>
                    </a:lnTo>
                    <a:lnTo>
                      <a:pt x="557" y="952"/>
                    </a:lnTo>
                    <a:lnTo>
                      <a:pt x="534" y="951"/>
                    </a:lnTo>
                    <a:lnTo>
                      <a:pt x="502" y="908"/>
                    </a:lnTo>
                    <a:lnTo>
                      <a:pt x="501" y="874"/>
                    </a:lnTo>
                    <a:lnTo>
                      <a:pt x="487" y="869"/>
                    </a:lnTo>
                    <a:lnTo>
                      <a:pt x="475" y="878"/>
                    </a:lnTo>
                    <a:lnTo>
                      <a:pt x="459" y="868"/>
                    </a:lnTo>
                    <a:lnTo>
                      <a:pt x="458" y="806"/>
                    </a:lnTo>
                    <a:lnTo>
                      <a:pt x="433" y="759"/>
                    </a:lnTo>
                    <a:lnTo>
                      <a:pt x="420" y="710"/>
                    </a:lnTo>
                    <a:lnTo>
                      <a:pt x="433" y="686"/>
                    </a:lnTo>
                    <a:lnTo>
                      <a:pt x="427" y="674"/>
                    </a:lnTo>
                    <a:lnTo>
                      <a:pt x="407" y="673"/>
                    </a:lnTo>
                    <a:lnTo>
                      <a:pt x="398" y="636"/>
                    </a:lnTo>
                    <a:lnTo>
                      <a:pt x="403" y="593"/>
                    </a:lnTo>
                    <a:lnTo>
                      <a:pt x="427" y="622"/>
                    </a:lnTo>
                    <a:lnTo>
                      <a:pt x="456" y="627"/>
                    </a:lnTo>
                    <a:lnTo>
                      <a:pt x="481" y="614"/>
                    </a:lnTo>
                    <a:lnTo>
                      <a:pt x="481" y="591"/>
                    </a:lnTo>
                    <a:lnTo>
                      <a:pt x="453" y="535"/>
                    </a:lnTo>
                    <a:lnTo>
                      <a:pt x="470" y="494"/>
                    </a:lnTo>
                    <a:lnTo>
                      <a:pt x="489" y="408"/>
                    </a:lnTo>
                    <a:lnTo>
                      <a:pt x="488" y="339"/>
                    </a:lnTo>
                    <a:lnTo>
                      <a:pt x="478" y="296"/>
                    </a:lnTo>
                    <a:lnTo>
                      <a:pt x="513" y="227"/>
                    </a:lnTo>
                    <a:lnTo>
                      <a:pt x="519" y="189"/>
                    </a:lnTo>
                    <a:lnTo>
                      <a:pt x="568" y="172"/>
                    </a:lnTo>
                    <a:lnTo>
                      <a:pt x="633" y="184"/>
                    </a:lnTo>
                    <a:lnTo>
                      <a:pt x="662" y="216"/>
                    </a:lnTo>
                    <a:lnTo>
                      <a:pt x="687" y="233"/>
                    </a:lnTo>
                    <a:lnTo>
                      <a:pt x="695" y="215"/>
                    </a:lnTo>
                    <a:lnTo>
                      <a:pt x="743" y="215"/>
                    </a:lnTo>
                    <a:lnTo>
                      <a:pt x="767" y="196"/>
                    </a:lnTo>
                    <a:lnTo>
                      <a:pt x="769" y="179"/>
                    </a:lnTo>
                    <a:lnTo>
                      <a:pt x="785" y="173"/>
                    </a:lnTo>
                    <a:lnTo>
                      <a:pt x="808" y="203"/>
                    </a:lnTo>
                    <a:lnTo>
                      <a:pt x="805" y="227"/>
                    </a:lnTo>
                    <a:lnTo>
                      <a:pt x="785" y="251"/>
                    </a:lnTo>
                    <a:lnTo>
                      <a:pt x="778" y="318"/>
                    </a:lnTo>
                    <a:lnTo>
                      <a:pt x="809" y="370"/>
                    </a:lnTo>
                    <a:lnTo>
                      <a:pt x="828" y="378"/>
                    </a:lnTo>
                    <a:lnTo>
                      <a:pt x="840" y="421"/>
                    </a:lnTo>
                    <a:lnTo>
                      <a:pt x="857" y="442"/>
                    </a:lnTo>
                    <a:lnTo>
                      <a:pt x="841" y="523"/>
                    </a:lnTo>
                    <a:lnTo>
                      <a:pt x="820" y="572"/>
                    </a:lnTo>
                    <a:lnTo>
                      <a:pt x="829" y="612"/>
                    </a:lnTo>
                    <a:lnTo>
                      <a:pt x="802" y="658"/>
                    </a:lnTo>
                    <a:lnTo>
                      <a:pt x="799" y="641"/>
                    </a:lnTo>
                    <a:lnTo>
                      <a:pt x="810" y="616"/>
                    </a:lnTo>
                    <a:lnTo>
                      <a:pt x="789" y="628"/>
                    </a:lnTo>
                    <a:lnTo>
                      <a:pt x="736" y="679"/>
                    </a:lnTo>
                    <a:lnTo>
                      <a:pt x="724" y="710"/>
                    </a:lnTo>
                    <a:lnTo>
                      <a:pt x="728" y="748"/>
                    </a:lnTo>
                    <a:lnTo>
                      <a:pt x="710" y="774"/>
                    </a:lnTo>
                    <a:lnTo>
                      <a:pt x="704" y="815"/>
                    </a:lnTo>
                    <a:lnTo>
                      <a:pt x="723" y="831"/>
                    </a:lnTo>
                    <a:lnTo>
                      <a:pt x="740" y="875"/>
                    </a:lnTo>
                    <a:lnTo>
                      <a:pt x="762" y="900"/>
                    </a:lnTo>
                    <a:lnTo>
                      <a:pt x="748" y="919"/>
                    </a:lnTo>
                    <a:lnTo>
                      <a:pt x="748" y="956"/>
                    </a:lnTo>
                    <a:lnTo>
                      <a:pt x="748" y="956"/>
                    </a:lnTo>
                    <a:close/>
                    <a:moveTo>
                      <a:pt x="811" y="969"/>
                    </a:moveTo>
                    <a:lnTo>
                      <a:pt x="817" y="997"/>
                    </a:lnTo>
                    <a:lnTo>
                      <a:pt x="842" y="1011"/>
                    </a:lnTo>
                    <a:lnTo>
                      <a:pt x="836" y="985"/>
                    </a:lnTo>
                    <a:lnTo>
                      <a:pt x="811" y="969"/>
                    </a:lnTo>
                    <a:lnTo>
                      <a:pt x="811" y="969"/>
                    </a:lnTo>
                    <a:close/>
                    <a:moveTo>
                      <a:pt x="781" y="839"/>
                    </a:moveTo>
                    <a:lnTo>
                      <a:pt x="799" y="884"/>
                    </a:lnTo>
                    <a:lnTo>
                      <a:pt x="793" y="900"/>
                    </a:lnTo>
                    <a:lnTo>
                      <a:pt x="800" y="923"/>
                    </a:lnTo>
                    <a:lnTo>
                      <a:pt x="823" y="901"/>
                    </a:lnTo>
                    <a:lnTo>
                      <a:pt x="827" y="849"/>
                    </a:lnTo>
                    <a:lnTo>
                      <a:pt x="845" y="832"/>
                    </a:lnTo>
                    <a:lnTo>
                      <a:pt x="822" y="815"/>
                    </a:lnTo>
                    <a:lnTo>
                      <a:pt x="781" y="839"/>
                    </a:lnTo>
                    <a:lnTo>
                      <a:pt x="781" y="839"/>
                    </a:lnTo>
                    <a:close/>
                    <a:moveTo>
                      <a:pt x="479" y="1056"/>
                    </a:moveTo>
                    <a:lnTo>
                      <a:pt x="482" y="1080"/>
                    </a:lnTo>
                    <a:lnTo>
                      <a:pt x="524" y="1098"/>
                    </a:lnTo>
                    <a:lnTo>
                      <a:pt x="532" y="1089"/>
                    </a:lnTo>
                    <a:lnTo>
                      <a:pt x="502" y="1056"/>
                    </a:lnTo>
                    <a:lnTo>
                      <a:pt x="479" y="1056"/>
                    </a:lnTo>
                    <a:lnTo>
                      <a:pt x="479" y="1056"/>
                    </a:lnTo>
                    <a:close/>
                    <a:moveTo>
                      <a:pt x="538" y="1130"/>
                    </a:moveTo>
                    <a:lnTo>
                      <a:pt x="545" y="1146"/>
                    </a:lnTo>
                    <a:lnTo>
                      <a:pt x="568" y="1145"/>
                    </a:lnTo>
                    <a:lnTo>
                      <a:pt x="577" y="1186"/>
                    </a:lnTo>
                    <a:lnTo>
                      <a:pt x="600" y="1195"/>
                    </a:lnTo>
                    <a:lnTo>
                      <a:pt x="623" y="1224"/>
                    </a:lnTo>
                    <a:lnTo>
                      <a:pt x="623" y="1277"/>
                    </a:lnTo>
                    <a:lnTo>
                      <a:pt x="650" y="1293"/>
                    </a:lnTo>
                    <a:lnTo>
                      <a:pt x="651" y="1324"/>
                    </a:lnTo>
                    <a:lnTo>
                      <a:pt x="685" y="1364"/>
                    </a:lnTo>
                    <a:lnTo>
                      <a:pt x="712" y="1370"/>
                    </a:lnTo>
                    <a:lnTo>
                      <a:pt x="743" y="1344"/>
                    </a:lnTo>
                    <a:lnTo>
                      <a:pt x="743" y="1316"/>
                    </a:lnTo>
                    <a:lnTo>
                      <a:pt x="760" y="1306"/>
                    </a:lnTo>
                    <a:lnTo>
                      <a:pt x="760" y="1276"/>
                    </a:lnTo>
                    <a:lnTo>
                      <a:pt x="742" y="1250"/>
                    </a:lnTo>
                    <a:lnTo>
                      <a:pt x="754" y="1227"/>
                    </a:lnTo>
                    <a:lnTo>
                      <a:pt x="754" y="1196"/>
                    </a:lnTo>
                    <a:lnTo>
                      <a:pt x="719" y="1182"/>
                    </a:lnTo>
                    <a:lnTo>
                      <a:pt x="649" y="1119"/>
                    </a:lnTo>
                    <a:lnTo>
                      <a:pt x="607" y="1129"/>
                    </a:lnTo>
                    <a:lnTo>
                      <a:pt x="568" y="1115"/>
                    </a:lnTo>
                    <a:lnTo>
                      <a:pt x="538" y="1130"/>
                    </a:lnTo>
                    <a:lnTo>
                      <a:pt x="538" y="1130"/>
                    </a:lnTo>
                    <a:close/>
                    <a:moveTo>
                      <a:pt x="1217" y="1011"/>
                    </a:moveTo>
                    <a:lnTo>
                      <a:pt x="1199" y="1023"/>
                    </a:lnTo>
                    <a:lnTo>
                      <a:pt x="1207" y="1062"/>
                    </a:lnTo>
                    <a:lnTo>
                      <a:pt x="1196" y="1089"/>
                    </a:lnTo>
                    <a:lnTo>
                      <a:pt x="1184" y="1098"/>
                    </a:lnTo>
                    <a:lnTo>
                      <a:pt x="1199" y="1117"/>
                    </a:lnTo>
                    <a:lnTo>
                      <a:pt x="1245" y="1107"/>
                    </a:lnTo>
                    <a:lnTo>
                      <a:pt x="1257" y="1071"/>
                    </a:lnTo>
                    <a:lnTo>
                      <a:pt x="1241" y="1036"/>
                    </a:lnTo>
                    <a:lnTo>
                      <a:pt x="1217" y="1011"/>
                    </a:lnTo>
                    <a:lnTo>
                      <a:pt x="1217" y="1011"/>
                    </a:lnTo>
                    <a:close/>
                    <a:moveTo>
                      <a:pt x="802" y="1151"/>
                    </a:moveTo>
                    <a:lnTo>
                      <a:pt x="842" y="1178"/>
                    </a:lnTo>
                    <a:lnTo>
                      <a:pt x="849" y="1159"/>
                    </a:lnTo>
                    <a:lnTo>
                      <a:pt x="863" y="1141"/>
                    </a:lnTo>
                    <a:lnTo>
                      <a:pt x="846" y="1113"/>
                    </a:lnTo>
                    <a:lnTo>
                      <a:pt x="814" y="1101"/>
                    </a:lnTo>
                    <a:lnTo>
                      <a:pt x="797" y="1126"/>
                    </a:lnTo>
                    <a:lnTo>
                      <a:pt x="802" y="1151"/>
                    </a:lnTo>
                    <a:lnTo>
                      <a:pt x="802" y="1151"/>
                    </a:lnTo>
                    <a:close/>
                    <a:moveTo>
                      <a:pt x="868" y="1280"/>
                    </a:moveTo>
                    <a:lnTo>
                      <a:pt x="855" y="1313"/>
                    </a:lnTo>
                    <a:lnTo>
                      <a:pt x="834" y="1343"/>
                    </a:lnTo>
                    <a:lnTo>
                      <a:pt x="852" y="1387"/>
                    </a:lnTo>
                    <a:lnTo>
                      <a:pt x="873" y="1380"/>
                    </a:lnTo>
                    <a:lnTo>
                      <a:pt x="886" y="1338"/>
                    </a:lnTo>
                    <a:lnTo>
                      <a:pt x="874" y="1307"/>
                    </a:lnTo>
                    <a:lnTo>
                      <a:pt x="882" y="1269"/>
                    </a:lnTo>
                    <a:lnTo>
                      <a:pt x="868" y="1280"/>
                    </a:lnTo>
                    <a:lnTo>
                      <a:pt x="868" y="1280"/>
                    </a:lnTo>
                    <a:close/>
                    <a:moveTo>
                      <a:pt x="949" y="1309"/>
                    </a:moveTo>
                    <a:lnTo>
                      <a:pt x="933" y="1319"/>
                    </a:lnTo>
                    <a:lnTo>
                      <a:pt x="937" y="1340"/>
                    </a:lnTo>
                    <a:lnTo>
                      <a:pt x="970" y="1337"/>
                    </a:lnTo>
                    <a:lnTo>
                      <a:pt x="972" y="1320"/>
                    </a:lnTo>
                    <a:lnTo>
                      <a:pt x="949" y="1309"/>
                    </a:lnTo>
                    <a:lnTo>
                      <a:pt x="949" y="1309"/>
                    </a:lnTo>
                    <a:close/>
                    <a:moveTo>
                      <a:pt x="1055" y="1224"/>
                    </a:moveTo>
                    <a:lnTo>
                      <a:pt x="1021" y="1188"/>
                    </a:lnTo>
                    <a:lnTo>
                      <a:pt x="1007" y="1191"/>
                    </a:lnTo>
                    <a:lnTo>
                      <a:pt x="1007" y="1211"/>
                    </a:lnTo>
                    <a:lnTo>
                      <a:pt x="1051" y="1260"/>
                    </a:lnTo>
                    <a:lnTo>
                      <a:pt x="1060" y="1243"/>
                    </a:lnTo>
                    <a:lnTo>
                      <a:pt x="1055" y="1224"/>
                    </a:lnTo>
                    <a:lnTo>
                      <a:pt x="1055" y="1224"/>
                    </a:lnTo>
                    <a:close/>
                    <a:moveTo>
                      <a:pt x="1119" y="1288"/>
                    </a:moveTo>
                    <a:lnTo>
                      <a:pt x="1129" y="1306"/>
                    </a:lnTo>
                    <a:lnTo>
                      <a:pt x="1156" y="1332"/>
                    </a:lnTo>
                    <a:lnTo>
                      <a:pt x="1172" y="1332"/>
                    </a:lnTo>
                    <a:lnTo>
                      <a:pt x="1143" y="1297"/>
                    </a:lnTo>
                    <a:lnTo>
                      <a:pt x="1119" y="1288"/>
                    </a:lnTo>
                    <a:lnTo>
                      <a:pt x="1119" y="1288"/>
                    </a:lnTo>
                    <a:close/>
                    <a:moveTo>
                      <a:pt x="1063" y="1412"/>
                    </a:moveTo>
                    <a:lnTo>
                      <a:pt x="1091" y="1366"/>
                    </a:lnTo>
                    <a:lnTo>
                      <a:pt x="1116" y="1364"/>
                    </a:lnTo>
                    <a:lnTo>
                      <a:pt x="1153" y="1411"/>
                    </a:lnTo>
                    <a:lnTo>
                      <a:pt x="1195" y="1428"/>
                    </a:lnTo>
                    <a:lnTo>
                      <a:pt x="1222" y="1425"/>
                    </a:lnTo>
                    <a:lnTo>
                      <a:pt x="1222" y="1404"/>
                    </a:lnTo>
                    <a:lnTo>
                      <a:pt x="1201" y="1378"/>
                    </a:lnTo>
                    <a:lnTo>
                      <a:pt x="1149" y="1344"/>
                    </a:lnTo>
                    <a:lnTo>
                      <a:pt x="1126" y="1340"/>
                    </a:lnTo>
                    <a:lnTo>
                      <a:pt x="1097" y="1312"/>
                    </a:lnTo>
                    <a:lnTo>
                      <a:pt x="1084" y="1313"/>
                    </a:lnTo>
                    <a:lnTo>
                      <a:pt x="1087" y="1302"/>
                    </a:lnTo>
                    <a:lnTo>
                      <a:pt x="1063" y="1295"/>
                    </a:lnTo>
                    <a:lnTo>
                      <a:pt x="1065" y="1332"/>
                    </a:lnTo>
                    <a:lnTo>
                      <a:pt x="1071" y="1359"/>
                    </a:lnTo>
                    <a:lnTo>
                      <a:pt x="1057" y="1372"/>
                    </a:lnTo>
                    <a:lnTo>
                      <a:pt x="1055" y="1392"/>
                    </a:lnTo>
                    <a:lnTo>
                      <a:pt x="1063" y="1412"/>
                    </a:lnTo>
                    <a:lnTo>
                      <a:pt x="1063" y="1412"/>
                    </a:lnTo>
                    <a:close/>
                    <a:moveTo>
                      <a:pt x="896" y="1660"/>
                    </a:moveTo>
                    <a:lnTo>
                      <a:pt x="885" y="1675"/>
                    </a:lnTo>
                    <a:lnTo>
                      <a:pt x="869" y="1681"/>
                    </a:lnTo>
                    <a:lnTo>
                      <a:pt x="856" y="1623"/>
                    </a:lnTo>
                    <a:lnTo>
                      <a:pt x="868" y="1582"/>
                    </a:lnTo>
                    <a:lnTo>
                      <a:pt x="867" y="1524"/>
                    </a:lnTo>
                    <a:lnTo>
                      <a:pt x="875" y="1492"/>
                    </a:lnTo>
                    <a:lnTo>
                      <a:pt x="875" y="1459"/>
                    </a:lnTo>
                    <a:lnTo>
                      <a:pt x="858" y="1455"/>
                    </a:lnTo>
                    <a:lnTo>
                      <a:pt x="823" y="1442"/>
                    </a:lnTo>
                    <a:lnTo>
                      <a:pt x="829" y="1421"/>
                    </a:lnTo>
                    <a:lnTo>
                      <a:pt x="865" y="1412"/>
                    </a:lnTo>
                    <a:lnTo>
                      <a:pt x="898" y="1445"/>
                    </a:lnTo>
                    <a:lnTo>
                      <a:pt x="923" y="1455"/>
                    </a:lnTo>
                    <a:lnTo>
                      <a:pt x="917" y="1468"/>
                    </a:lnTo>
                    <a:lnTo>
                      <a:pt x="935" y="1470"/>
                    </a:lnTo>
                    <a:lnTo>
                      <a:pt x="971" y="1468"/>
                    </a:lnTo>
                    <a:lnTo>
                      <a:pt x="995" y="1474"/>
                    </a:lnTo>
                    <a:lnTo>
                      <a:pt x="1015" y="1506"/>
                    </a:lnTo>
                    <a:lnTo>
                      <a:pt x="1038" y="1479"/>
                    </a:lnTo>
                    <a:lnTo>
                      <a:pt x="1059" y="1465"/>
                    </a:lnTo>
                    <a:lnTo>
                      <a:pt x="1074" y="1490"/>
                    </a:lnTo>
                    <a:lnTo>
                      <a:pt x="1068" y="1519"/>
                    </a:lnTo>
                    <a:lnTo>
                      <a:pt x="1049" y="1533"/>
                    </a:lnTo>
                    <a:lnTo>
                      <a:pt x="1033" y="1570"/>
                    </a:lnTo>
                    <a:lnTo>
                      <a:pt x="992" y="1604"/>
                    </a:lnTo>
                    <a:lnTo>
                      <a:pt x="978" y="1627"/>
                    </a:lnTo>
                    <a:lnTo>
                      <a:pt x="960" y="1627"/>
                    </a:lnTo>
                    <a:lnTo>
                      <a:pt x="956" y="1638"/>
                    </a:lnTo>
                    <a:lnTo>
                      <a:pt x="934" y="1637"/>
                    </a:lnTo>
                    <a:lnTo>
                      <a:pt x="896" y="1660"/>
                    </a:lnTo>
                    <a:lnTo>
                      <a:pt x="896" y="1660"/>
                    </a:lnTo>
                    <a:close/>
                    <a:moveTo>
                      <a:pt x="982" y="1638"/>
                    </a:moveTo>
                    <a:lnTo>
                      <a:pt x="953" y="1647"/>
                    </a:lnTo>
                    <a:lnTo>
                      <a:pt x="942" y="1681"/>
                    </a:lnTo>
                    <a:lnTo>
                      <a:pt x="962" y="1698"/>
                    </a:lnTo>
                    <a:lnTo>
                      <a:pt x="992" y="1668"/>
                    </a:lnTo>
                    <a:lnTo>
                      <a:pt x="994" y="1646"/>
                    </a:lnTo>
                    <a:lnTo>
                      <a:pt x="982" y="1638"/>
                    </a:lnTo>
                    <a:lnTo>
                      <a:pt x="982" y="1638"/>
                    </a:lnTo>
                    <a:close/>
                    <a:moveTo>
                      <a:pt x="1271" y="1630"/>
                    </a:moveTo>
                    <a:lnTo>
                      <a:pt x="1269" y="1664"/>
                    </a:lnTo>
                    <a:lnTo>
                      <a:pt x="1258" y="1646"/>
                    </a:lnTo>
                    <a:lnTo>
                      <a:pt x="1271" y="1630"/>
                    </a:lnTo>
                    <a:lnTo>
                      <a:pt x="1271" y="1630"/>
                    </a:lnTo>
                    <a:close/>
                    <a:moveTo>
                      <a:pt x="1120" y="1858"/>
                    </a:moveTo>
                    <a:lnTo>
                      <a:pt x="1146" y="1828"/>
                    </a:lnTo>
                    <a:lnTo>
                      <a:pt x="1159" y="1755"/>
                    </a:lnTo>
                    <a:lnTo>
                      <a:pt x="1206" y="1703"/>
                    </a:lnTo>
                    <a:lnTo>
                      <a:pt x="1214" y="1670"/>
                    </a:lnTo>
                    <a:lnTo>
                      <a:pt x="1210" y="1638"/>
                    </a:lnTo>
                    <a:lnTo>
                      <a:pt x="1222" y="1617"/>
                    </a:lnTo>
                    <a:lnTo>
                      <a:pt x="1220" y="1553"/>
                    </a:lnTo>
                    <a:lnTo>
                      <a:pt x="1202" y="1560"/>
                    </a:lnTo>
                    <a:lnTo>
                      <a:pt x="1191" y="1621"/>
                    </a:lnTo>
                    <a:lnTo>
                      <a:pt x="1159" y="1673"/>
                    </a:lnTo>
                    <a:lnTo>
                      <a:pt x="1155" y="1712"/>
                    </a:lnTo>
                    <a:lnTo>
                      <a:pt x="1140" y="1761"/>
                    </a:lnTo>
                    <a:lnTo>
                      <a:pt x="1114" y="1794"/>
                    </a:lnTo>
                    <a:lnTo>
                      <a:pt x="1113" y="1829"/>
                    </a:lnTo>
                    <a:lnTo>
                      <a:pt x="1120" y="1858"/>
                    </a:lnTo>
                    <a:lnTo>
                      <a:pt x="1120" y="1858"/>
                    </a:lnTo>
                    <a:close/>
                    <a:moveTo>
                      <a:pt x="1085" y="1841"/>
                    </a:moveTo>
                    <a:lnTo>
                      <a:pt x="1080" y="1776"/>
                    </a:lnTo>
                    <a:lnTo>
                      <a:pt x="1101" y="1678"/>
                    </a:lnTo>
                    <a:lnTo>
                      <a:pt x="1132" y="1646"/>
                    </a:lnTo>
                    <a:lnTo>
                      <a:pt x="1133" y="1617"/>
                    </a:lnTo>
                    <a:lnTo>
                      <a:pt x="1107" y="1598"/>
                    </a:lnTo>
                    <a:lnTo>
                      <a:pt x="1091" y="1608"/>
                    </a:lnTo>
                    <a:lnTo>
                      <a:pt x="1069" y="1597"/>
                    </a:lnTo>
                    <a:lnTo>
                      <a:pt x="1042" y="1615"/>
                    </a:lnTo>
                    <a:lnTo>
                      <a:pt x="1042" y="1647"/>
                    </a:lnTo>
                    <a:lnTo>
                      <a:pt x="1022" y="1678"/>
                    </a:lnTo>
                    <a:lnTo>
                      <a:pt x="1028" y="1723"/>
                    </a:lnTo>
                    <a:lnTo>
                      <a:pt x="1009" y="1763"/>
                    </a:lnTo>
                    <a:lnTo>
                      <a:pt x="956" y="1777"/>
                    </a:lnTo>
                    <a:lnTo>
                      <a:pt x="940" y="1797"/>
                    </a:lnTo>
                    <a:lnTo>
                      <a:pt x="951" y="1851"/>
                    </a:lnTo>
                    <a:lnTo>
                      <a:pt x="974" y="1854"/>
                    </a:lnTo>
                    <a:lnTo>
                      <a:pt x="1013" y="1879"/>
                    </a:lnTo>
                    <a:lnTo>
                      <a:pt x="1048" y="1881"/>
                    </a:lnTo>
                    <a:lnTo>
                      <a:pt x="1049" y="1921"/>
                    </a:lnTo>
                    <a:lnTo>
                      <a:pt x="1075" y="1934"/>
                    </a:lnTo>
                    <a:lnTo>
                      <a:pt x="1106" y="1915"/>
                    </a:lnTo>
                    <a:lnTo>
                      <a:pt x="1107" y="1885"/>
                    </a:lnTo>
                    <a:lnTo>
                      <a:pt x="1085" y="1841"/>
                    </a:lnTo>
                    <a:lnTo>
                      <a:pt x="1085" y="1841"/>
                    </a:lnTo>
                    <a:close/>
                    <a:moveTo>
                      <a:pt x="1171" y="1897"/>
                    </a:moveTo>
                    <a:lnTo>
                      <a:pt x="1181" y="1906"/>
                    </a:lnTo>
                    <a:lnTo>
                      <a:pt x="1178" y="1926"/>
                    </a:lnTo>
                    <a:lnTo>
                      <a:pt x="1151" y="1937"/>
                    </a:lnTo>
                    <a:lnTo>
                      <a:pt x="1129" y="1921"/>
                    </a:lnTo>
                    <a:lnTo>
                      <a:pt x="1139" y="1901"/>
                    </a:lnTo>
                    <a:lnTo>
                      <a:pt x="1171" y="1897"/>
                    </a:lnTo>
                    <a:lnTo>
                      <a:pt x="1171" y="1897"/>
                    </a:lnTo>
                    <a:close/>
                    <a:moveTo>
                      <a:pt x="1275" y="1739"/>
                    </a:moveTo>
                    <a:lnTo>
                      <a:pt x="1296" y="1739"/>
                    </a:lnTo>
                    <a:lnTo>
                      <a:pt x="1314" y="1756"/>
                    </a:lnTo>
                    <a:lnTo>
                      <a:pt x="1318" y="1792"/>
                    </a:lnTo>
                    <a:lnTo>
                      <a:pt x="1304" y="1815"/>
                    </a:lnTo>
                    <a:lnTo>
                      <a:pt x="1253" y="1838"/>
                    </a:lnTo>
                    <a:lnTo>
                      <a:pt x="1211" y="1841"/>
                    </a:lnTo>
                    <a:lnTo>
                      <a:pt x="1214" y="1825"/>
                    </a:lnTo>
                    <a:lnTo>
                      <a:pt x="1196" y="1802"/>
                    </a:lnTo>
                    <a:lnTo>
                      <a:pt x="1217" y="1775"/>
                    </a:lnTo>
                    <a:lnTo>
                      <a:pt x="1275" y="1739"/>
                    </a:lnTo>
                    <a:lnTo>
                      <a:pt x="1275" y="1739"/>
                    </a:lnTo>
                    <a:close/>
                    <a:moveTo>
                      <a:pt x="1433" y="1744"/>
                    </a:moveTo>
                    <a:lnTo>
                      <a:pt x="1449" y="1775"/>
                    </a:lnTo>
                    <a:lnTo>
                      <a:pt x="1450" y="1801"/>
                    </a:lnTo>
                    <a:lnTo>
                      <a:pt x="1426" y="1774"/>
                    </a:lnTo>
                    <a:lnTo>
                      <a:pt x="1433" y="1744"/>
                    </a:lnTo>
                    <a:lnTo>
                      <a:pt x="1433" y="1744"/>
                    </a:lnTo>
                    <a:close/>
                    <a:moveTo>
                      <a:pt x="1336" y="1880"/>
                    </a:moveTo>
                    <a:lnTo>
                      <a:pt x="1366" y="1905"/>
                    </a:lnTo>
                    <a:lnTo>
                      <a:pt x="1362" y="1935"/>
                    </a:lnTo>
                    <a:lnTo>
                      <a:pt x="1337" y="1918"/>
                    </a:lnTo>
                    <a:lnTo>
                      <a:pt x="1330" y="1898"/>
                    </a:lnTo>
                    <a:lnTo>
                      <a:pt x="1336" y="1880"/>
                    </a:lnTo>
                    <a:lnTo>
                      <a:pt x="1336" y="1880"/>
                    </a:lnTo>
                    <a:close/>
                    <a:moveTo>
                      <a:pt x="1312" y="1471"/>
                    </a:moveTo>
                    <a:lnTo>
                      <a:pt x="1305" y="1504"/>
                    </a:lnTo>
                    <a:lnTo>
                      <a:pt x="1278" y="1507"/>
                    </a:lnTo>
                    <a:lnTo>
                      <a:pt x="1254" y="1490"/>
                    </a:lnTo>
                    <a:lnTo>
                      <a:pt x="1272" y="1476"/>
                    </a:lnTo>
                    <a:lnTo>
                      <a:pt x="1312" y="1471"/>
                    </a:lnTo>
                    <a:lnTo>
                      <a:pt x="1312" y="1471"/>
                    </a:lnTo>
                    <a:close/>
                    <a:moveTo>
                      <a:pt x="1384" y="1519"/>
                    </a:moveTo>
                    <a:lnTo>
                      <a:pt x="1412" y="1536"/>
                    </a:lnTo>
                    <a:lnTo>
                      <a:pt x="1422" y="1560"/>
                    </a:lnTo>
                    <a:lnTo>
                      <a:pt x="1473" y="1563"/>
                    </a:lnTo>
                    <a:lnTo>
                      <a:pt x="1483" y="1568"/>
                    </a:lnTo>
                    <a:lnTo>
                      <a:pt x="1490" y="1560"/>
                    </a:lnTo>
                    <a:lnTo>
                      <a:pt x="1509" y="1567"/>
                    </a:lnTo>
                    <a:lnTo>
                      <a:pt x="1492" y="1546"/>
                    </a:lnTo>
                    <a:lnTo>
                      <a:pt x="1482" y="1516"/>
                    </a:lnTo>
                    <a:lnTo>
                      <a:pt x="1463" y="1499"/>
                    </a:lnTo>
                    <a:lnTo>
                      <a:pt x="1466" y="1450"/>
                    </a:lnTo>
                    <a:lnTo>
                      <a:pt x="1459" y="1389"/>
                    </a:lnTo>
                    <a:lnTo>
                      <a:pt x="1463" y="1371"/>
                    </a:lnTo>
                    <a:lnTo>
                      <a:pt x="1449" y="1360"/>
                    </a:lnTo>
                    <a:lnTo>
                      <a:pt x="1420" y="1321"/>
                    </a:lnTo>
                    <a:lnTo>
                      <a:pt x="1403" y="1289"/>
                    </a:lnTo>
                    <a:lnTo>
                      <a:pt x="1382" y="1287"/>
                    </a:lnTo>
                    <a:lnTo>
                      <a:pt x="1371" y="1293"/>
                    </a:lnTo>
                    <a:lnTo>
                      <a:pt x="1356" y="1285"/>
                    </a:lnTo>
                    <a:lnTo>
                      <a:pt x="1337" y="1288"/>
                    </a:lnTo>
                    <a:lnTo>
                      <a:pt x="1326" y="1301"/>
                    </a:lnTo>
                    <a:lnTo>
                      <a:pt x="1292" y="1300"/>
                    </a:lnTo>
                    <a:lnTo>
                      <a:pt x="1264" y="1301"/>
                    </a:lnTo>
                    <a:lnTo>
                      <a:pt x="1250" y="1293"/>
                    </a:lnTo>
                    <a:lnTo>
                      <a:pt x="1250" y="1316"/>
                    </a:lnTo>
                    <a:lnTo>
                      <a:pt x="1275" y="1371"/>
                    </a:lnTo>
                    <a:lnTo>
                      <a:pt x="1320" y="1406"/>
                    </a:lnTo>
                    <a:lnTo>
                      <a:pt x="1359" y="1451"/>
                    </a:lnTo>
                    <a:lnTo>
                      <a:pt x="1375" y="1462"/>
                    </a:lnTo>
                    <a:lnTo>
                      <a:pt x="1371" y="1477"/>
                    </a:lnTo>
                    <a:lnTo>
                      <a:pt x="1355" y="1499"/>
                    </a:lnTo>
                    <a:lnTo>
                      <a:pt x="1349" y="1507"/>
                    </a:lnTo>
                    <a:lnTo>
                      <a:pt x="1366" y="1501"/>
                    </a:lnTo>
                    <a:lnTo>
                      <a:pt x="1372" y="1510"/>
                    </a:lnTo>
                    <a:lnTo>
                      <a:pt x="1384" y="1519"/>
                    </a:lnTo>
                    <a:lnTo>
                      <a:pt x="1384" y="1519"/>
                    </a:lnTo>
                    <a:close/>
                    <a:moveTo>
                      <a:pt x="1356" y="1524"/>
                    </a:moveTo>
                    <a:lnTo>
                      <a:pt x="1321" y="1536"/>
                    </a:lnTo>
                    <a:lnTo>
                      <a:pt x="1290" y="1523"/>
                    </a:lnTo>
                    <a:lnTo>
                      <a:pt x="1266" y="1523"/>
                    </a:lnTo>
                    <a:lnTo>
                      <a:pt x="1280" y="1556"/>
                    </a:lnTo>
                    <a:lnTo>
                      <a:pt x="1281" y="1591"/>
                    </a:lnTo>
                    <a:lnTo>
                      <a:pt x="1301" y="1611"/>
                    </a:lnTo>
                    <a:lnTo>
                      <a:pt x="1318" y="1594"/>
                    </a:lnTo>
                    <a:lnTo>
                      <a:pt x="1338" y="1612"/>
                    </a:lnTo>
                    <a:lnTo>
                      <a:pt x="1335" y="1657"/>
                    </a:lnTo>
                    <a:lnTo>
                      <a:pt x="1351" y="1688"/>
                    </a:lnTo>
                    <a:lnTo>
                      <a:pt x="1357" y="1738"/>
                    </a:lnTo>
                    <a:lnTo>
                      <a:pt x="1384" y="1757"/>
                    </a:lnTo>
                    <a:lnTo>
                      <a:pt x="1387" y="1710"/>
                    </a:lnTo>
                    <a:lnTo>
                      <a:pt x="1406" y="1734"/>
                    </a:lnTo>
                    <a:lnTo>
                      <a:pt x="1436" y="1726"/>
                    </a:lnTo>
                    <a:lnTo>
                      <a:pt x="1439" y="1701"/>
                    </a:lnTo>
                    <a:lnTo>
                      <a:pt x="1409" y="1649"/>
                    </a:lnTo>
                    <a:lnTo>
                      <a:pt x="1386" y="1633"/>
                    </a:lnTo>
                    <a:lnTo>
                      <a:pt x="1380" y="1581"/>
                    </a:lnTo>
                    <a:lnTo>
                      <a:pt x="1362" y="1538"/>
                    </a:lnTo>
                    <a:lnTo>
                      <a:pt x="1356" y="1524"/>
                    </a:lnTo>
                    <a:lnTo>
                      <a:pt x="1356" y="1524"/>
                    </a:lnTo>
                    <a:close/>
                    <a:moveTo>
                      <a:pt x="1523" y="1609"/>
                    </a:moveTo>
                    <a:lnTo>
                      <a:pt x="1538" y="1604"/>
                    </a:lnTo>
                    <a:lnTo>
                      <a:pt x="1529" y="1594"/>
                    </a:lnTo>
                    <a:lnTo>
                      <a:pt x="1516" y="1595"/>
                    </a:lnTo>
                    <a:lnTo>
                      <a:pt x="1523" y="1609"/>
                    </a:lnTo>
                    <a:lnTo>
                      <a:pt x="1523" y="1609"/>
                    </a:lnTo>
                    <a:close/>
                    <a:moveTo>
                      <a:pt x="1528" y="1641"/>
                    </a:moveTo>
                    <a:lnTo>
                      <a:pt x="1508" y="1628"/>
                    </a:lnTo>
                    <a:lnTo>
                      <a:pt x="1509" y="1647"/>
                    </a:lnTo>
                    <a:lnTo>
                      <a:pt x="1520" y="1655"/>
                    </a:lnTo>
                    <a:lnTo>
                      <a:pt x="1528" y="1641"/>
                    </a:lnTo>
                    <a:lnTo>
                      <a:pt x="1528" y="1641"/>
                    </a:lnTo>
                    <a:close/>
                    <a:moveTo>
                      <a:pt x="1522" y="1807"/>
                    </a:moveTo>
                    <a:lnTo>
                      <a:pt x="1530" y="1768"/>
                    </a:lnTo>
                    <a:lnTo>
                      <a:pt x="1508" y="1740"/>
                    </a:lnTo>
                    <a:lnTo>
                      <a:pt x="1507" y="1708"/>
                    </a:lnTo>
                    <a:lnTo>
                      <a:pt x="1519" y="1700"/>
                    </a:lnTo>
                    <a:lnTo>
                      <a:pt x="1511" y="1680"/>
                    </a:lnTo>
                    <a:lnTo>
                      <a:pt x="1493" y="1688"/>
                    </a:lnTo>
                    <a:lnTo>
                      <a:pt x="1487" y="1725"/>
                    </a:lnTo>
                    <a:lnTo>
                      <a:pt x="1507" y="1767"/>
                    </a:lnTo>
                    <a:lnTo>
                      <a:pt x="1501" y="1789"/>
                    </a:lnTo>
                    <a:lnTo>
                      <a:pt x="1509" y="1804"/>
                    </a:lnTo>
                    <a:lnTo>
                      <a:pt x="1522" y="1807"/>
                    </a:lnTo>
                    <a:lnTo>
                      <a:pt x="1522" y="1807"/>
                    </a:lnTo>
                    <a:close/>
                    <a:moveTo>
                      <a:pt x="1560" y="1818"/>
                    </a:moveTo>
                    <a:lnTo>
                      <a:pt x="1556" y="1837"/>
                    </a:lnTo>
                    <a:lnTo>
                      <a:pt x="1570" y="1854"/>
                    </a:lnTo>
                    <a:lnTo>
                      <a:pt x="1576" y="1832"/>
                    </a:lnTo>
                    <a:lnTo>
                      <a:pt x="1560" y="1818"/>
                    </a:lnTo>
                    <a:lnTo>
                      <a:pt x="1560" y="1818"/>
                    </a:lnTo>
                    <a:close/>
                    <a:moveTo>
                      <a:pt x="1584" y="1742"/>
                    </a:moveTo>
                    <a:lnTo>
                      <a:pt x="1578" y="1780"/>
                    </a:lnTo>
                    <a:lnTo>
                      <a:pt x="1571" y="1793"/>
                    </a:lnTo>
                    <a:lnTo>
                      <a:pt x="1589" y="1815"/>
                    </a:lnTo>
                    <a:lnTo>
                      <a:pt x="1612" y="1806"/>
                    </a:lnTo>
                    <a:lnTo>
                      <a:pt x="1600" y="1774"/>
                    </a:lnTo>
                    <a:lnTo>
                      <a:pt x="1584" y="1742"/>
                    </a:lnTo>
                    <a:lnTo>
                      <a:pt x="1584" y="1742"/>
                    </a:lnTo>
                    <a:close/>
                    <a:moveTo>
                      <a:pt x="917" y="2341"/>
                    </a:moveTo>
                    <a:lnTo>
                      <a:pt x="882" y="2303"/>
                    </a:lnTo>
                    <a:lnTo>
                      <a:pt x="904" y="2255"/>
                    </a:lnTo>
                    <a:lnTo>
                      <a:pt x="915" y="2205"/>
                    </a:lnTo>
                    <a:lnTo>
                      <a:pt x="903" y="2181"/>
                    </a:lnTo>
                    <a:lnTo>
                      <a:pt x="934" y="2144"/>
                    </a:lnTo>
                    <a:lnTo>
                      <a:pt x="968" y="2135"/>
                    </a:lnTo>
                    <a:lnTo>
                      <a:pt x="993" y="2111"/>
                    </a:lnTo>
                    <a:lnTo>
                      <a:pt x="1025" y="2121"/>
                    </a:lnTo>
                    <a:lnTo>
                      <a:pt x="1072" y="2111"/>
                    </a:lnTo>
                    <a:lnTo>
                      <a:pt x="1058" y="2082"/>
                    </a:lnTo>
                    <a:lnTo>
                      <a:pt x="1074" y="2051"/>
                    </a:lnTo>
                    <a:lnTo>
                      <a:pt x="1113" y="2035"/>
                    </a:lnTo>
                    <a:lnTo>
                      <a:pt x="1133" y="2005"/>
                    </a:lnTo>
                    <a:lnTo>
                      <a:pt x="1160" y="2002"/>
                    </a:lnTo>
                    <a:lnTo>
                      <a:pt x="1206" y="2041"/>
                    </a:lnTo>
                    <a:lnTo>
                      <a:pt x="1208" y="2097"/>
                    </a:lnTo>
                    <a:lnTo>
                      <a:pt x="1173" y="2151"/>
                    </a:lnTo>
                    <a:lnTo>
                      <a:pt x="1203" y="2121"/>
                    </a:lnTo>
                    <a:lnTo>
                      <a:pt x="1235" y="2113"/>
                    </a:lnTo>
                    <a:lnTo>
                      <a:pt x="1274" y="2092"/>
                    </a:lnTo>
                    <a:lnTo>
                      <a:pt x="1293" y="2035"/>
                    </a:lnTo>
                    <a:lnTo>
                      <a:pt x="1329" y="2019"/>
                    </a:lnTo>
                    <a:lnTo>
                      <a:pt x="1346" y="2057"/>
                    </a:lnTo>
                    <a:lnTo>
                      <a:pt x="1367" y="2048"/>
                    </a:lnTo>
                    <a:lnTo>
                      <a:pt x="1371" y="2020"/>
                    </a:lnTo>
                    <a:lnTo>
                      <a:pt x="1358" y="2011"/>
                    </a:lnTo>
                    <a:lnTo>
                      <a:pt x="1375" y="1944"/>
                    </a:lnTo>
                    <a:lnTo>
                      <a:pt x="1411" y="1959"/>
                    </a:lnTo>
                    <a:lnTo>
                      <a:pt x="1433" y="1975"/>
                    </a:lnTo>
                    <a:lnTo>
                      <a:pt x="1441" y="1959"/>
                    </a:lnTo>
                    <a:lnTo>
                      <a:pt x="1441" y="1914"/>
                    </a:lnTo>
                    <a:lnTo>
                      <a:pt x="1453" y="1912"/>
                    </a:lnTo>
                    <a:lnTo>
                      <a:pt x="1479" y="1941"/>
                    </a:lnTo>
                    <a:lnTo>
                      <a:pt x="1481" y="1914"/>
                    </a:lnTo>
                    <a:lnTo>
                      <a:pt x="1466" y="1848"/>
                    </a:lnTo>
                    <a:lnTo>
                      <a:pt x="1467" y="1810"/>
                    </a:lnTo>
                    <a:lnTo>
                      <a:pt x="1494" y="1816"/>
                    </a:lnTo>
                    <a:lnTo>
                      <a:pt x="1506" y="1814"/>
                    </a:lnTo>
                    <a:lnTo>
                      <a:pt x="1513" y="1841"/>
                    </a:lnTo>
                    <a:lnTo>
                      <a:pt x="1559" y="1880"/>
                    </a:lnTo>
                    <a:lnTo>
                      <a:pt x="1593" y="1913"/>
                    </a:lnTo>
                    <a:lnTo>
                      <a:pt x="1615" y="1894"/>
                    </a:lnTo>
                    <a:lnTo>
                      <a:pt x="1613" y="1920"/>
                    </a:lnTo>
                    <a:lnTo>
                      <a:pt x="1638" y="1957"/>
                    </a:lnTo>
                    <a:lnTo>
                      <a:pt x="1638" y="2000"/>
                    </a:lnTo>
                    <a:lnTo>
                      <a:pt x="1615" y="1996"/>
                    </a:lnTo>
                    <a:lnTo>
                      <a:pt x="1610" y="2014"/>
                    </a:lnTo>
                    <a:lnTo>
                      <a:pt x="1630" y="2039"/>
                    </a:lnTo>
                    <a:lnTo>
                      <a:pt x="1643" y="2041"/>
                    </a:lnTo>
                    <a:lnTo>
                      <a:pt x="1641" y="2061"/>
                    </a:lnTo>
                    <a:lnTo>
                      <a:pt x="1642" y="2102"/>
                    </a:lnTo>
                    <a:lnTo>
                      <a:pt x="1655" y="2082"/>
                    </a:lnTo>
                    <a:lnTo>
                      <a:pt x="1660" y="2122"/>
                    </a:lnTo>
                    <a:lnTo>
                      <a:pt x="1660" y="2160"/>
                    </a:lnTo>
                    <a:lnTo>
                      <a:pt x="1678" y="2189"/>
                    </a:lnTo>
                    <a:lnTo>
                      <a:pt x="1698" y="2221"/>
                    </a:lnTo>
                    <a:lnTo>
                      <a:pt x="1704" y="2276"/>
                    </a:lnTo>
                    <a:lnTo>
                      <a:pt x="1686" y="2321"/>
                    </a:lnTo>
                    <a:lnTo>
                      <a:pt x="1672" y="2320"/>
                    </a:lnTo>
                    <a:lnTo>
                      <a:pt x="1673" y="2341"/>
                    </a:lnTo>
                    <a:lnTo>
                      <a:pt x="1662" y="2319"/>
                    </a:lnTo>
                    <a:lnTo>
                      <a:pt x="1642" y="2322"/>
                    </a:lnTo>
                    <a:lnTo>
                      <a:pt x="1636" y="2343"/>
                    </a:lnTo>
                    <a:lnTo>
                      <a:pt x="1648" y="2392"/>
                    </a:lnTo>
                    <a:lnTo>
                      <a:pt x="1644" y="2430"/>
                    </a:lnTo>
                    <a:lnTo>
                      <a:pt x="1643" y="2455"/>
                    </a:lnTo>
                    <a:lnTo>
                      <a:pt x="1632" y="2431"/>
                    </a:lnTo>
                    <a:lnTo>
                      <a:pt x="1617" y="2379"/>
                    </a:lnTo>
                    <a:lnTo>
                      <a:pt x="1618" y="2348"/>
                    </a:lnTo>
                    <a:lnTo>
                      <a:pt x="1601" y="2322"/>
                    </a:lnTo>
                    <a:lnTo>
                      <a:pt x="1593" y="2289"/>
                    </a:lnTo>
                    <a:lnTo>
                      <a:pt x="1569" y="2255"/>
                    </a:lnTo>
                    <a:lnTo>
                      <a:pt x="1547" y="2268"/>
                    </a:lnTo>
                    <a:lnTo>
                      <a:pt x="1505" y="2341"/>
                    </a:lnTo>
                    <a:lnTo>
                      <a:pt x="1497" y="2369"/>
                    </a:lnTo>
                    <a:lnTo>
                      <a:pt x="1527" y="2391"/>
                    </a:lnTo>
                    <a:lnTo>
                      <a:pt x="1546" y="2437"/>
                    </a:lnTo>
                    <a:lnTo>
                      <a:pt x="1561" y="2458"/>
                    </a:lnTo>
                    <a:lnTo>
                      <a:pt x="1559" y="2493"/>
                    </a:lnTo>
                    <a:lnTo>
                      <a:pt x="1512" y="2554"/>
                    </a:lnTo>
                    <a:lnTo>
                      <a:pt x="1488" y="2571"/>
                    </a:lnTo>
                    <a:lnTo>
                      <a:pt x="1478" y="2558"/>
                    </a:lnTo>
                    <a:lnTo>
                      <a:pt x="1467" y="2526"/>
                    </a:lnTo>
                    <a:lnTo>
                      <a:pt x="1479" y="2505"/>
                    </a:lnTo>
                    <a:lnTo>
                      <a:pt x="1468" y="2492"/>
                    </a:lnTo>
                    <a:lnTo>
                      <a:pt x="1450" y="2504"/>
                    </a:lnTo>
                    <a:lnTo>
                      <a:pt x="1446" y="2523"/>
                    </a:lnTo>
                    <a:lnTo>
                      <a:pt x="1418" y="2539"/>
                    </a:lnTo>
                    <a:lnTo>
                      <a:pt x="1383" y="2525"/>
                    </a:lnTo>
                    <a:lnTo>
                      <a:pt x="1353" y="2497"/>
                    </a:lnTo>
                    <a:lnTo>
                      <a:pt x="1314" y="2497"/>
                    </a:lnTo>
                    <a:lnTo>
                      <a:pt x="1283" y="2460"/>
                    </a:lnTo>
                    <a:lnTo>
                      <a:pt x="1277" y="2431"/>
                    </a:lnTo>
                    <a:lnTo>
                      <a:pt x="1253" y="2400"/>
                    </a:lnTo>
                    <a:lnTo>
                      <a:pt x="1260" y="2378"/>
                    </a:lnTo>
                    <a:lnTo>
                      <a:pt x="1257" y="2351"/>
                    </a:lnTo>
                    <a:lnTo>
                      <a:pt x="1240" y="2333"/>
                    </a:lnTo>
                    <a:lnTo>
                      <a:pt x="1256" y="2312"/>
                    </a:lnTo>
                    <a:lnTo>
                      <a:pt x="1254" y="2295"/>
                    </a:lnTo>
                    <a:lnTo>
                      <a:pt x="1268" y="2288"/>
                    </a:lnTo>
                    <a:lnTo>
                      <a:pt x="1298" y="2299"/>
                    </a:lnTo>
                    <a:lnTo>
                      <a:pt x="1270" y="2272"/>
                    </a:lnTo>
                    <a:lnTo>
                      <a:pt x="1263" y="2243"/>
                    </a:lnTo>
                    <a:lnTo>
                      <a:pt x="1231" y="2217"/>
                    </a:lnTo>
                    <a:lnTo>
                      <a:pt x="1202" y="2210"/>
                    </a:lnTo>
                    <a:lnTo>
                      <a:pt x="1171" y="2182"/>
                    </a:lnTo>
                    <a:lnTo>
                      <a:pt x="1154" y="2182"/>
                    </a:lnTo>
                    <a:lnTo>
                      <a:pt x="1141" y="2196"/>
                    </a:lnTo>
                    <a:lnTo>
                      <a:pt x="1148" y="2211"/>
                    </a:lnTo>
                    <a:lnTo>
                      <a:pt x="1137" y="2227"/>
                    </a:lnTo>
                    <a:lnTo>
                      <a:pt x="1154" y="2254"/>
                    </a:lnTo>
                    <a:lnTo>
                      <a:pt x="1141" y="2252"/>
                    </a:lnTo>
                    <a:lnTo>
                      <a:pt x="1114" y="2231"/>
                    </a:lnTo>
                    <a:lnTo>
                      <a:pt x="1096" y="2233"/>
                    </a:lnTo>
                    <a:lnTo>
                      <a:pt x="1105" y="2212"/>
                    </a:lnTo>
                    <a:lnTo>
                      <a:pt x="1087" y="2206"/>
                    </a:lnTo>
                    <a:lnTo>
                      <a:pt x="1074" y="2217"/>
                    </a:lnTo>
                    <a:lnTo>
                      <a:pt x="1072" y="2247"/>
                    </a:lnTo>
                    <a:lnTo>
                      <a:pt x="1055" y="2237"/>
                    </a:lnTo>
                    <a:lnTo>
                      <a:pt x="1039" y="2245"/>
                    </a:lnTo>
                    <a:lnTo>
                      <a:pt x="1029" y="2236"/>
                    </a:lnTo>
                    <a:lnTo>
                      <a:pt x="1036" y="2200"/>
                    </a:lnTo>
                    <a:lnTo>
                      <a:pt x="1013" y="2179"/>
                    </a:lnTo>
                    <a:lnTo>
                      <a:pt x="995" y="2188"/>
                    </a:lnTo>
                    <a:lnTo>
                      <a:pt x="976" y="2230"/>
                    </a:lnTo>
                    <a:lnTo>
                      <a:pt x="957" y="2247"/>
                    </a:lnTo>
                    <a:lnTo>
                      <a:pt x="931" y="2318"/>
                    </a:lnTo>
                    <a:lnTo>
                      <a:pt x="917" y="2341"/>
                    </a:lnTo>
                    <a:lnTo>
                      <a:pt x="917" y="2341"/>
                    </a:lnTo>
                    <a:close/>
                    <a:moveTo>
                      <a:pt x="864" y="2384"/>
                    </a:moveTo>
                    <a:lnTo>
                      <a:pt x="865" y="2401"/>
                    </a:lnTo>
                    <a:lnTo>
                      <a:pt x="886" y="2431"/>
                    </a:lnTo>
                    <a:lnTo>
                      <a:pt x="905" y="2438"/>
                    </a:lnTo>
                    <a:lnTo>
                      <a:pt x="949" y="2399"/>
                    </a:lnTo>
                    <a:lnTo>
                      <a:pt x="952" y="2386"/>
                    </a:lnTo>
                    <a:lnTo>
                      <a:pt x="932" y="2380"/>
                    </a:lnTo>
                    <a:lnTo>
                      <a:pt x="912" y="2367"/>
                    </a:lnTo>
                    <a:lnTo>
                      <a:pt x="894" y="2382"/>
                    </a:lnTo>
                    <a:lnTo>
                      <a:pt x="864" y="2384"/>
                    </a:lnTo>
                    <a:lnTo>
                      <a:pt x="864" y="2384"/>
                    </a:lnTo>
                    <a:close/>
                    <a:moveTo>
                      <a:pt x="474" y="1397"/>
                    </a:moveTo>
                    <a:lnTo>
                      <a:pt x="458" y="1380"/>
                    </a:lnTo>
                    <a:lnTo>
                      <a:pt x="446" y="1354"/>
                    </a:lnTo>
                    <a:lnTo>
                      <a:pt x="457" y="1340"/>
                    </a:lnTo>
                    <a:lnTo>
                      <a:pt x="485" y="1344"/>
                    </a:lnTo>
                    <a:lnTo>
                      <a:pt x="505" y="1367"/>
                    </a:lnTo>
                    <a:lnTo>
                      <a:pt x="540" y="1375"/>
                    </a:lnTo>
                    <a:lnTo>
                      <a:pt x="547" y="1392"/>
                    </a:lnTo>
                    <a:lnTo>
                      <a:pt x="532" y="1410"/>
                    </a:lnTo>
                    <a:lnTo>
                      <a:pt x="510" y="1400"/>
                    </a:lnTo>
                    <a:lnTo>
                      <a:pt x="474" y="1397"/>
                    </a:lnTo>
                    <a:lnTo>
                      <a:pt x="474" y="1397"/>
                    </a:lnTo>
                    <a:close/>
                    <a:moveTo>
                      <a:pt x="452" y="1413"/>
                    </a:moveTo>
                    <a:lnTo>
                      <a:pt x="487" y="1423"/>
                    </a:lnTo>
                    <a:lnTo>
                      <a:pt x="499" y="1448"/>
                    </a:lnTo>
                    <a:lnTo>
                      <a:pt x="485" y="1457"/>
                    </a:lnTo>
                    <a:lnTo>
                      <a:pt x="474" y="1472"/>
                    </a:lnTo>
                    <a:lnTo>
                      <a:pt x="458" y="1472"/>
                    </a:lnTo>
                    <a:lnTo>
                      <a:pt x="449" y="1433"/>
                    </a:lnTo>
                    <a:lnTo>
                      <a:pt x="452" y="1413"/>
                    </a:lnTo>
                    <a:lnTo>
                      <a:pt x="452" y="1413"/>
                    </a:lnTo>
                    <a:close/>
                    <a:moveTo>
                      <a:pt x="474" y="1672"/>
                    </a:moveTo>
                    <a:lnTo>
                      <a:pt x="487" y="1661"/>
                    </a:lnTo>
                    <a:lnTo>
                      <a:pt x="492" y="1647"/>
                    </a:lnTo>
                    <a:lnTo>
                      <a:pt x="503" y="1663"/>
                    </a:lnTo>
                    <a:lnTo>
                      <a:pt x="516" y="1674"/>
                    </a:lnTo>
                    <a:lnTo>
                      <a:pt x="515" y="1693"/>
                    </a:lnTo>
                    <a:lnTo>
                      <a:pt x="489" y="1694"/>
                    </a:lnTo>
                    <a:lnTo>
                      <a:pt x="466" y="1692"/>
                    </a:lnTo>
                    <a:lnTo>
                      <a:pt x="474" y="1672"/>
                    </a:lnTo>
                    <a:lnTo>
                      <a:pt x="474" y="1672"/>
                    </a:lnTo>
                    <a:close/>
                    <a:moveTo>
                      <a:pt x="57" y="2052"/>
                    </a:moveTo>
                    <a:lnTo>
                      <a:pt x="90" y="2026"/>
                    </a:lnTo>
                    <a:lnTo>
                      <a:pt x="112" y="2022"/>
                    </a:lnTo>
                    <a:lnTo>
                      <a:pt x="135" y="1999"/>
                    </a:lnTo>
                    <a:lnTo>
                      <a:pt x="172" y="1985"/>
                    </a:lnTo>
                    <a:lnTo>
                      <a:pt x="210" y="1927"/>
                    </a:lnTo>
                    <a:lnTo>
                      <a:pt x="249" y="1913"/>
                    </a:lnTo>
                    <a:lnTo>
                      <a:pt x="276" y="1890"/>
                    </a:lnTo>
                    <a:lnTo>
                      <a:pt x="279" y="1872"/>
                    </a:lnTo>
                    <a:lnTo>
                      <a:pt x="302" y="1844"/>
                    </a:lnTo>
                    <a:lnTo>
                      <a:pt x="302" y="1793"/>
                    </a:lnTo>
                    <a:lnTo>
                      <a:pt x="322" y="1769"/>
                    </a:lnTo>
                    <a:lnTo>
                      <a:pt x="373" y="1765"/>
                    </a:lnTo>
                    <a:lnTo>
                      <a:pt x="385" y="1731"/>
                    </a:lnTo>
                    <a:lnTo>
                      <a:pt x="410" y="1706"/>
                    </a:lnTo>
                    <a:lnTo>
                      <a:pt x="438" y="1702"/>
                    </a:lnTo>
                    <a:lnTo>
                      <a:pt x="452" y="1673"/>
                    </a:lnTo>
                    <a:lnTo>
                      <a:pt x="434" y="1631"/>
                    </a:lnTo>
                    <a:lnTo>
                      <a:pt x="409" y="1600"/>
                    </a:lnTo>
                    <a:lnTo>
                      <a:pt x="412" y="1568"/>
                    </a:lnTo>
                    <a:lnTo>
                      <a:pt x="408" y="1519"/>
                    </a:lnTo>
                    <a:lnTo>
                      <a:pt x="393" y="1525"/>
                    </a:lnTo>
                    <a:lnTo>
                      <a:pt x="385" y="1578"/>
                    </a:lnTo>
                    <a:lnTo>
                      <a:pt x="391" y="1628"/>
                    </a:lnTo>
                    <a:lnTo>
                      <a:pt x="365" y="1611"/>
                    </a:lnTo>
                    <a:lnTo>
                      <a:pt x="385" y="1645"/>
                    </a:lnTo>
                    <a:lnTo>
                      <a:pt x="384" y="1670"/>
                    </a:lnTo>
                    <a:lnTo>
                      <a:pt x="357" y="1703"/>
                    </a:lnTo>
                    <a:lnTo>
                      <a:pt x="334" y="1700"/>
                    </a:lnTo>
                    <a:lnTo>
                      <a:pt x="303" y="1735"/>
                    </a:lnTo>
                    <a:lnTo>
                      <a:pt x="301" y="1761"/>
                    </a:lnTo>
                    <a:lnTo>
                      <a:pt x="266" y="1782"/>
                    </a:lnTo>
                    <a:lnTo>
                      <a:pt x="231" y="1854"/>
                    </a:lnTo>
                    <a:lnTo>
                      <a:pt x="182" y="1902"/>
                    </a:lnTo>
                    <a:lnTo>
                      <a:pt x="155" y="1906"/>
                    </a:lnTo>
                    <a:lnTo>
                      <a:pt x="131" y="1952"/>
                    </a:lnTo>
                    <a:lnTo>
                      <a:pt x="111" y="1959"/>
                    </a:lnTo>
                    <a:lnTo>
                      <a:pt x="62" y="2023"/>
                    </a:lnTo>
                    <a:lnTo>
                      <a:pt x="53" y="2041"/>
                    </a:lnTo>
                    <a:lnTo>
                      <a:pt x="57" y="2052"/>
                    </a:lnTo>
                    <a:lnTo>
                      <a:pt x="57" y="2052"/>
                    </a:lnTo>
                    <a:close/>
                    <a:moveTo>
                      <a:pt x="63" y="2071"/>
                    </a:moveTo>
                    <a:lnTo>
                      <a:pt x="45" y="2087"/>
                    </a:lnTo>
                    <a:lnTo>
                      <a:pt x="61" y="2085"/>
                    </a:lnTo>
                    <a:lnTo>
                      <a:pt x="63" y="2071"/>
                    </a:lnTo>
                    <a:lnTo>
                      <a:pt x="63" y="2071"/>
                    </a:lnTo>
                    <a:close/>
                    <a:moveTo>
                      <a:pt x="79" y="2076"/>
                    </a:moveTo>
                    <a:lnTo>
                      <a:pt x="69" y="2088"/>
                    </a:lnTo>
                    <a:lnTo>
                      <a:pt x="86" y="2097"/>
                    </a:lnTo>
                    <a:lnTo>
                      <a:pt x="79" y="2076"/>
                    </a:lnTo>
                    <a:lnTo>
                      <a:pt x="79" y="2076"/>
                    </a:lnTo>
                    <a:close/>
                    <a:moveTo>
                      <a:pt x="31" y="2116"/>
                    </a:moveTo>
                    <a:lnTo>
                      <a:pt x="1" y="2127"/>
                    </a:lnTo>
                    <a:lnTo>
                      <a:pt x="0" y="2151"/>
                    </a:lnTo>
                    <a:lnTo>
                      <a:pt x="20" y="2183"/>
                    </a:lnTo>
                    <a:lnTo>
                      <a:pt x="36" y="2183"/>
                    </a:lnTo>
                    <a:lnTo>
                      <a:pt x="37" y="2139"/>
                    </a:lnTo>
                    <a:lnTo>
                      <a:pt x="42" y="2125"/>
                    </a:lnTo>
                    <a:lnTo>
                      <a:pt x="31" y="2116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5" name="îšḷïďé"/>
              <p:cNvSpPr/>
              <p:nvPr/>
            </p:nvSpPr>
            <p:spPr bwMode="auto">
              <a:xfrm>
                <a:off x="2880689" y="4293268"/>
                <a:ext cx="1280731" cy="506577"/>
              </a:xfrm>
              <a:custGeom>
                <a:avLst/>
                <a:gdLst>
                  <a:gd name="T0" fmla="*/ 7571 w 7884"/>
                  <a:gd name="T1" fmla="*/ 2438 h 3121"/>
                  <a:gd name="T2" fmla="*/ 6834 w 7884"/>
                  <a:gd name="T3" fmla="*/ 1937 h 3121"/>
                  <a:gd name="T4" fmla="*/ 6466 w 7884"/>
                  <a:gd name="T5" fmla="*/ 1788 h 3121"/>
                  <a:gd name="T6" fmla="*/ 6326 w 7884"/>
                  <a:gd name="T7" fmla="*/ 1487 h 3121"/>
                  <a:gd name="T8" fmla="*/ 6779 w 7884"/>
                  <a:gd name="T9" fmla="*/ 1620 h 3121"/>
                  <a:gd name="T10" fmla="*/ 7715 w 7884"/>
                  <a:gd name="T11" fmla="*/ 1574 h 3121"/>
                  <a:gd name="T12" fmla="*/ 6188 w 7884"/>
                  <a:gd name="T13" fmla="*/ 1230 h 3121"/>
                  <a:gd name="T14" fmla="*/ 5422 w 7884"/>
                  <a:gd name="T15" fmla="*/ 364 h 3121"/>
                  <a:gd name="T16" fmla="*/ 5563 w 7884"/>
                  <a:gd name="T17" fmla="*/ 1069 h 3121"/>
                  <a:gd name="T18" fmla="*/ 5769 w 7884"/>
                  <a:gd name="T19" fmla="*/ 1121 h 3121"/>
                  <a:gd name="T20" fmla="*/ 5538 w 7884"/>
                  <a:gd name="T21" fmla="*/ 1260 h 3121"/>
                  <a:gd name="T22" fmla="*/ 5652 w 7884"/>
                  <a:gd name="T23" fmla="*/ 1816 h 3121"/>
                  <a:gd name="T24" fmla="*/ 6112 w 7884"/>
                  <a:gd name="T25" fmla="*/ 1762 h 3121"/>
                  <a:gd name="T26" fmla="*/ 4361 w 7884"/>
                  <a:gd name="T27" fmla="*/ 2436 h 3121"/>
                  <a:gd name="T28" fmla="*/ 5180 w 7884"/>
                  <a:gd name="T29" fmla="*/ 1497 h 3121"/>
                  <a:gd name="T30" fmla="*/ 4790 w 7884"/>
                  <a:gd name="T31" fmla="*/ 2119 h 3121"/>
                  <a:gd name="T32" fmla="*/ 4556 w 7884"/>
                  <a:gd name="T33" fmla="*/ 2073 h 3121"/>
                  <a:gd name="T34" fmla="*/ 4564 w 7884"/>
                  <a:gd name="T35" fmla="*/ 1248 h 3121"/>
                  <a:gd name="T36" fmla="*/ 5143 w 7884"/>
                  <a:gd name="T37" fmla="*/ 974 h 3121"/>
                  <a:gd name="T38" fmla="*/ 4249 w 7884"/>
                  <a:gd name="T39" fmla="*/ 1080 h 3121"/>
                  <a:gd name="T40" fmla="*/ 4137 w 7884"/>
                  <a:gd name="T41" fmla="*/ 2025 h 3121"/>
                  <a:gd name="T42" fmla="*/ 4507 w 7884"/>
                  <a:gd name="T43" fmla="*/ 1897 h 3121"/>
                  <a:gd name="T44" fmla="*/ 4655 w 7884"/>
                  <a:gd name="T45" fmla="*/ 1759 h 3121"/>
                  <a:gd name="T46" fmla="*/ 4595 w 7884"/>
                  <a:gd name="T47" fmla="*/ 1341 h 3121"/>
                  <a:gd name="T48" fmla="*/ 4149 w 7884"/>
                  <a:gd name="T49" fmla="*/ 342 h 3121"/>
                  <a:gd name="T50" fmla="*/ 3618 w 7884"/>
                  <a:gd name="T51" fmla="*/ 1786 h 3121"/>
                  <a:gd name="T52" fmla="*/ 2470 w 7884"/>
                  <a:gd name="T53" fmla="*/ 1376 h 3121"/>
                  <a:gd name="T54" fmla="*/ 3405 w 7884"/>
                  <a:gd name="T55" fmla="*/ 776 h 3121"/>
                  <a:gd name="T56" fmla="*/ 3869 w 7884"/>
                  <a:gd name="T57" fmla="*/ 825 h 3121"/>
                  <a:gd name="T58" fmla="*/ 3607 w 7884"/>
                  <a:gd name="T59" fmla="*/ 1503 h 3121"/>
                  <a:gd name="T60" fmla="*/ 3206 w 7884"/>
                  <a:gd name="T61" fmla="*/ 1806 h 3121"/>
                  <a:gd name="T62" fmla="*/ 2546 w 7884"/>
                  <a:gd name="T63" fmla="*/ 1526 h 3121"/>
                  <a:gd name="T64" fmla="*/ 6820 w 7884"/>
                  <a:gd name="T65" fmla="*/ 1335 h 3121"/>
                  <a:gd name="T66" fmla="*/ 6991 w 7884"/>
                  <a:gd name="T67" fmla="*/ 1286 h 3121"/>
                  <a:gd name="T68" fmla="*/ 6688 w 7884"/>
                  <a:gd name="T69" fmla="*/ 2389 h 3121"/>
                  <a:gd name="T70" fmla="*/ 6780 w 7884"/>
                  <a:gd name="T71" fmla="*/ 2244 h 3121"/>
                  <a:gd name="T72" fmla="*/ 6324 w 7884"/>
                  <a:gd name="T73" fmla="*/ 2397 h 3121"/>
                  <a:gd name="T74" fmla="*/ 6159 w 7884"/>
                  <a:gd name="T75" fmla="*/ 2547 h 3121"/>
                  <a:gd name="T76" fmla="*/ 5889 w 7884"/>
                  <a:gd name="T77" fmla="*/ 2554 h 3121"/>
                  <a:gd name="T78" fmla="*/ 5483 w 7884"/>
                  <a:gd name="T79" fmla="*/ 2623 h 3121"/>
                  <a:gd name="T80" fmla="*/ 4784 w 7884"/>
                  <a:gd name="T81" fmla="*/ 2984 h 3121"/>
                  <a:gd name="T82" fmla="*/ 4258 w 7884"/>
                  <a:gd name="T83" fmla="*/ 3002 h 3121"/>
                  <a:gd name="T84" fmla="*/ 5399 w 7884"/>
                  <a:gd name="T85" fmla="*/ 2519 h 3121"/>
                  <a:gd name="T86" fmla="*/ 4902 w 7884"/>
                  <a:gd name="T87" fmla="*/ 2691 h 3121"/>
                  <a:gd name="T88" fmla="*/ 4431 w 7884"/>
                  <a:gd name="T89" fmla="*/ 2656 h 3121"/>
                  <a:gd name="T90" fmla="*/ 4155 w 7884"/>
                  <a:gd name="T91" fmla="*/ 2705 h 3121"/>
                  <a:gd name="T92" fmla="*/ 4052 w 7884"/>
                  <a:gd name="T93" fmla="*/ 2655 h 3121"/>
                  <a:gd name="T94" fmla="*/ 3508 w 7884"/>
                  <a:gd name="T95" fmla="*/ 2738 h 3121"/>
                  <a:gd name="T96" fmla="*/ 7447 w 7884"/>
                  <a:gd name="T97" fmla="*/ 2615 h 3121"/>
                  <a:gd name="T98" fmla="*/ 3197 w 7884"/>
                  <a:gd name="T99" fmla="*/ 2405 h 3121"/>
                  <a:gd name="T100" fmla="*/ 2546 w 7884"/>
                  <a:gd name="T101" fmla="*/ 2400 h 3121"/>
                  <a:gd name="T102" fmla="*/ 3103 w 7884"/>
                  <a:gd name="T103" fmla="*/ 2671 h 3121"/>
                  <a:gd name="T104" fmla="*/ 1832 w 7884"/>
                  <a:gd name="T105" fmla="*/ 2392 h 3121"/>
                  <a:gd name="T106" fmla="*/ 1828 w 7884"/>
                  <a:gd name="T107" fmla="*/ 611 h 3121"/>
                  <a:gd name="T108" fmla="*/ 1776 w 7884"/>
                  <a:gd name="T109" fmla="*/ 1479 h 3121"/>
                  <a:gd name="T110" fmla="*/ 1611 w 7884"/>
                  <a:gd name="T111" fmla="*/ 1268 h 3121"/>
                  <a:gd name="T112" fmla="*/ 1081 w 7884"/>
                  <a:gd name="T113" fmla="*/ 828 h 3121"/>
                  <a:gd name="T114" fmla="*/ 561 w 7884"/>
                  <a:gd name="T115" fmla="*/ 1256 h 3121"/>
                  <a:gd name="T116" fmla="*/ 81 w 7884"/>
                  <a:gd name="T117" fmla="*/ 687 h 3121"/>
                  <a:gd name="T118" fmla="*/ 755 w 7884"/>
                  <a:gd name="T119" fmla="*/ 1148 h 3121"/>
                  <a:gd name="T120" fmla="*/ 1793 w 7884"/>
                  <a:gd name="T121" fmla="*/ 2187 h 3121"/>
                  <a:gd name="T122" fmla="*/ 1424 w 7884"/>
                  <a:gd name="T123" fmla="*/ 1246 h 3121"/>
                  <a:gd name="T124" fmla="*/ 793 w 7884"/>
                  <a:gd name="T125" fmla="*/ 586 h 3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884" h="3121">
                    <a:moveTo>
                      <a:pt x="7884" y="1637"/>
                    </a:moveTo>
                    <a:lnTo>
                      <a:pt x="7862" y="2280"/>
                    </a:lnTo>
                    <a:lnTo>
                      <a:pt x="7853" y="2328"/>
                    </a:lnTo>
                    <a:lnTo>
                      <a:pt x="7852" y="2356"/>
                    </a:lnTo>
                    <a:lnTo>
                      <a:pt x="7859" y="2370"/>
                    </a:lnTo>
                    <a:lnTo>
                      <a:pt x="7846" y="2786"/>
                    </a:lnTo>
                    <a:lnTo>
                      <a:pt x="7835" y="2786"/>
                    </a:lnTo>
                    <a:lnTo>
                      <a:pt x="7793" y="2771"/>
                    </a:lnTo>
                    <a:lnTo>
                      <a:pt x="7746" y="2720"/>
                    </a:lnTo>
                    <a:lnTo>
                      <a:pt x="7735" y="2695"/>
                    </a:lnTo>
                    <a:lnTo>
                      <a:pt x="7736" y="2684"/>
                    </a:lnTo>
                    <a:lnTo>
                      <a:pt x="7701" y="2653"/>
                    </a:lnTo>
                    <a:lnTo>
                      <a:pt x="7685" y="2643"/>
                    </a:lnTo>
                    <a:lnTo>
                      <a:pt x="7679" y="2616"/>
                    </a:lnTo>
                    <a:lnTo>
                      <a:pt x="7695" y="2591"/>
                    </a:lnTo>
                    <a:lnTo>
                      <a:pt x="7694" y="2553"/>
                    </a:lnTo>
                    <a:lnTo>
                      <a:pt x="7685" y="2590"/>
                    </a:lnTo>
                    <a:lnTo>
                      <a:pt x="7663" y="2605"/>
                    </a:lnTo>
                    <a:lnTo>
                      <a:pt x="7611" y="2602"/>
                    </a:lnTo>
                    <a:lnTo>
                      <a:pt x="7583" y="2617"/>
                    </a:lnTo>
                    <a:lnTo>
                      <a:pt x="7559" y="2616"/>
                    </a:lnTo>
                    <a:lnTo>
                      <a:pt x="7544" y="2602"/>
                    </a:lnTo>
                    <a:lnTo>
                      <a:pt x="7504" y="2623"/>
                    </a:lnTo>
                    <a:lnTo>
                      <a:pt x="7483" y="2598"/>
                    </a:lnTo>
                    <a:lnTo>
                      <a:pt x="7498" y="2589"/>
                    </a:lnTo>
                    <a:lnTo>
                      <a:pt x="7509" y="2562"/>
                    </a:lnTo>
                    <a:lnTo>
                      <a:pt x="7509" y="2542"/>
                    </a:lnTo>
                    <a:lnTo>
                      <a:pt x="7517" y="2532"/>
                    </a:lnTo>
                    <a:lnTo>
                      <a:pt x="7523" y="2487"/>
                    </a:lnTo>
                    <a:lnTo>
                      <a:pt x="7501" y="2478"/>
                    </a:lnTo>
                    <a:lnTo>
                      <a:pt x="7482" y="2453"/>
                    </a:lnTo>
                    <a:lnTo>
                      <a:pt x="7500" y="2449"/>
                    </a:lnTo>
                    <a:lnTo>
                      <a:pt x="7516" y="2455"/>
                    </a:lnTo>
                    <a:lnTo>
                      <a:pt x="7550" y="2441"/>
                    </a:lnTo>
                    <a:lnTo>
                      <a:pt x="7571" y="2438"/>
                    </a:lnTo>
                    <a:lnTo>
                      <a:pt x="7547" y="2432"/>
                    </a:lnTo>
                    <a:lnTo>
                      <a:pt x="7510" y="2437"/>
                    </a:lnTo>
                    <a:lnTo>
                      <a:pt x="7479" y="2423"/>
                    </a:lnTo>
                    <a:lnTo>
                      <a:pt x="7450" y="2401"/>
                    </a:lnTo>
                    <a:lnTo>
                      <a:pt x="7459" y="2379"/>
                    </a:lnTo>
                    <a:lnTo>
                      <a:pt x="7475" y="2377"/>
                    </a:lnTo>
                    <a:lnTo>
                      <a:pt x="7501" y="2381"/>
                    </a:lnTo>
                    <a:lnTo>
                      <a:pt x="7487" y="2363"/>
                    </a:lnTo>
                    <a:lnTo>
                      <a:pt x="7443" y="2331"/>
                    </a:lnTo>
                    <a:lnTo>
                      <a:pt x="7413" y="2311"/>
                    </a:lnTo>
                    <a:lnTo>
                      <a:pt x="7404" y="2289"/>
                    </a:lnTo>
                    <a:lnTo>
                      <a:pt x="7412" y="2253"/>
                    </a:lnTo>
                    <a:lnTo>
                      <a:pt x="7374" y="2213"/>
                    </a:lnTo>
                    <a:lnTo>
                      <a:pt x="7374" y="2199"/>
                    </a:lnTo>
                    <a:lnTo>
                      <a:pt x="7409" y="2170"/>
                    </a:lnTo>
                    <a:lnTo>
                      <a:pt x="7377" y="2173"/>
                    </a:lnTo>
                    <a:lnTo>
                      <a:pt x="7357" y="2159"/>
                    </a:lnTo>
                    <a:lnTo>
                      <a:pt x="7365" y="2147"/>
                    </a:lnTo>
                    <a:lnTo>
                      <a:pt x="7350" y="2131"/>
                    </a:lnTo>
                    <a:lnTo>
                      <a:pt x="7375" y="2111"/>
                    </a:lnTo>
                    <a:lnTo>
                      <a:pt x="7336" y="2118"/>
                    </a:lnTo>
                    <a:lnTo>
                      <a:pt x="7325" y="2105"/>
                    </a:lnTo>
                    <a:lnTo>
                      <a:pt x="7306" y="2112"/>
                    </a:lnTo>
                    <a:lnTo>
                      <a:pt x="7293" y="2102"/>
                    </a:lnTo>
                    <a:lnTo>
                      <a:pt x="7322" y="2069"/>
                    </a:lnTo>
                    <a:lnTo>
                      <a:pt x="7297" y="2083"/>
                    </a:lnTo>
                    <a:lnTo>
                      <a:pt x="7266" y="2085"/>
                    </a:lnTo>
                    <a:lnTo>
                      <a:pt x="7220" y="2067"/>
                    </a:lnTo>
                    <a:lnTo>
                      <a:pt x="7208" y="2035"/>
                    </a:lnTo>
                    <a:lnTo>
                      <a:pt x="7161" y="2019"/>
                    </a:lnTo>
                    <a:lnTo>
                      <a:pt x="7132" y="2024"/>
                    </a:lnTo>
                    <a:lnTo>
                      <a:pt x="7030" y="1992"/>
                    </a:lnTo>
                    <a:lnTo>
                      <a:pt x="6926" y="1959"/>
                    </a:lnTo>
                    <a:lnTo>
                      <a:pt x="6875" y="1956"/>
                    </a:lnTo>
                    <a:lnTo>
                      <a:pt x="6834" y="1937"/>
                    </a:lnTo>
                    <a:lnTo>
                      <a:pt x="6825" y="1922"/>
                    </a:lnTo>
                    <a:lnTo>
                      <a:pt x="6821" y="1909"/>
                    </a:lnTo>
                    <a:lnTo>
                      <a:pt x="6784" y="1900"/>
                    </a:lnTo>
                    <a:lnTo>
                      <a:pt x="6786" y="1876"/>
                    </a:lnTo>
                    <a:lnTo>
                      <a:pt x="6811" y="1872"/>
                    </a:lnTo>
                    <a:lnTo>
                      <a:pt x="6825" y="1876"/>
                    </a:lnTo>
                    <a:lnTo>
                      <a:pt x="6823" y="1868"/>
                    </a:lnTo>
                    <a:lnTo>
                      <a:pt x="6798" y="1863"/>
                    </a:lnTo>
                    <a:lnTo>
                      <a:pt x="6769" y="1875"/>
                    </a:lnTo>
                    <a:lnTo>
                      <a:pt x="6745" y="1867"/>
                    </a:lnTo>
                    <a:lnTo>
                      <a:pt x="6735" y="1852"/>
                    </a:lnTo>
                    <a:lnTo>
                      <a:pt x="6725" y="1849"/>
                    </a:lnTo>
                    <a:lnTo>
                      <a:pt x="6710" y="1867"/>
                    </a:lnTo>
                    <a:lnTo>
                      <a:pt x="6704" y="1833"/>
                    </a:lnTo>
                    <a:lnTo>
                      <a:pt x="6690" y="1823"/>
                    </a:lnTo>
                    <a:lnTo>
                      <a:pt x="6677" y="1830"/>
                    </a:lnTo>
                    <a:lnTo>
                      <a:pt x="6668" y="1844"/>
                    </a:lnTo>
                    <a:lnTo>
                      <a:pt x="6649" y="1822"/>
                    </a:lnTo>
                    <a:lnTo>
                      <a:pt x="6638" y="1780"/>
                    </a:lnTo>
                    <a:lnTo>
                      <a:pt x="6624" y="1745"/>
                    </a:lnTo>
                    <a:lnTo>
                      <a:pt x="6644" y="1717"/>
                    </a:lnTo>
                    <a:lnTo>
                      <a:pt x="6644" y="1677"/>
                    </a:lnTo>
                    <a:lnTo>
                      <a:pt x="6627" y="1710"/>
                    </a:lnTo>
                    <a:lnTo>
                      <a:pt x="6614" y="1747"/>
                    </a:lnTo>
                    <a:lnTo>
                      <a:pt x="6608" y="1773"/>
                    </a:lnTo>
                    <a:lnTo>
                      <a:pt x="6594" y="1780"/>
                    </a:lnTo>
                    <a:lnTo>
                      <a:pt x="6568" y="1827"/>
                    </a:lnTo>
                    <a:lnTo>
                      <a:pt x="6571" y="1856"/>
                    </a:lnTo>
                    <a:lnTo>
                      <a:pt x="6537" y="1898"/>
                    </a:lnTo>
                    <a:lnTo>
                      <a:pt x="6503" y="1907"/>
                    </a:lnTo>
                    <a:lnTo>
                      <a:pt x="6472" y="1896"/>
                    </a:lnTo>
                    <a:lnTo>
                      <a:pt x="6446" y="1839"/>
                    </a:lnTo>
                    <a:lnTo>
                      <a:pt x="6447" y="1817"/>
                    </a:lnTo>
                    <a:lnTo>
                      <a:pt x="6462" y="1811"/>
                    </a:lnTo>
                    <a:lnTo>
                      <a:pt x="6466" y="1788"/>
                    </a:lnTo>
                    <a:lnTo>
                      <a:pt x="6460" y="1765"/>
                    </a:lnTo>
                    <a:lnTo>
                      <a:pt x="6440" y="1772"/>
                    </a:lnTo>
                    <a:lnTo>
                      <a:pt x="6428" y="1760"/>
                    </a:lnTo>
                    <a:lnTo>
                      <a:pt x="6410" y="1717"/>
                    </a:lnTo>
                    <a:lnTo>
                      <a:pt x="6379" y="1702"/>
                    </a:lnTo>
                    <a:lnTo>
                      <a:pt x="6340" y="1696"/>
                    </a:lnTo>
                    <a:lnTo>
                      <a:pt x="6328" y="1678"/>
                    </a:lnTo>
                    <a:lnTo>
                      <a:pt x="6348" y="1653"/>
                    </a:lnTo>
                    <a:lnTo>
                      <a:pt x="6390" y="1649"/>
                    </a:lnTo>
                    <a:lnTo>
                      <a:pt x="6403" y="1662"/>
                    </a:lnTo>
                    <a:lnTo>
                      <a:pt x="6439" y="1666"/>
                    </a:lnTo>
                    <a:lnTo>
                      <a:pt x="6465" y="1679"/>
                    </a:lnTo>
                    <a:lnTo>
                      <a:pt x="6497" y="1660"/>
                    </a:lnTo>
                    <a:lnTo>
                      <a:pt x="6509" y="1619"/>
                    </a:lnTo>
                    <a:lnTo>
                      <a:pt x="6534" y="1611"/>
                    </a:lnTo>
                    <a:lnTo>
                      <a:pt x="6588" y="1635"/>
                    </a:lnTo>
                    <a:lnTo>
                      <a:pt x="6608" y="1666"/>
                    </a:lnTo>
                    <a:lnTo>
                      <a:pt x="6624" y="1632"/>
                    </a:lnTo>
                    <a:lnTo>
                      <a:pt x="6642" y="1607"/>
                    </a:lnTo>
                    <a:lnTo>
                      <a:pt x="6659" y="1614"/>
                    </a:lnTo>
                    <a:lnTo>
                      <a:pt x="6664" y="1577"/>
                    </a:lnTo>
                    <a:lnTo>
                      <a:pt x="6655" y="1555"/>
                    </a:lnTo>
                    <a:lnTo>
                      <a:pt x="6568" y="1545"/>
                    </a:lnTo>
                    <a:lnTo>
                      <a:pt x="6581" y="1562"/>
                    </a:lnTo>
                    <a:lnTo>
                      <a:pt x="6559" y="1567"/>
                    </a:lnTo>
                    <a:lnTo>
                      <a:pt x="6542" y="1562"/>
                    </a:lnTo>
                    <a:lnTo>
                      <a:pt x="6489" y="1574"/>
                    </a:lnTo>
                    <a:lnTo>
                      <a:pt x="6468" y="1566"/>
                    </a:lnTo>
                    <a:lnTo>
                      <a:pt x="6448" y="1576"/>
                    </a:lnTo>
                    <a:lnTo>
                      <a:pt x="6428" y="1563"/>
                    </a:lnTo>
                    <a:lnTo>
                      <a:pt x="6397" y="1570"/>
                    </a:lnTo>
                    <a:lnTo>
                      <a:pt x="6365" y="1566"/>
                    </a:lnTo>
                    <a:lnTo>
                      <a:pt x="6329" y="1537"/>
                    </a:lnTo>
                    <a:lnTo>
                      <a:pt x="6319" y="1496"/>
                    </a:lnTo>
                    <a:lnTo>
                      <a:pt x="6326" y="1487"/>
                    </a:lnTo>
                    <a:lnTo>
                      <a:pt x="6307" y="1455"/>
                    </a:lnTo>
                    <a:lnTo>
                      <a:pt x="6260" y="1428"/>
                    </a:lnTo>
                    <a:lnTo>
                      <a:pt x="6242" y="1408"/>
                    </a:lnTo>
                    <a:lnTo>
                      <a:pt x="6231" y="1421"/>
                    </a:lnTo>
                    <a:lnTo>
                      <a:pt x="6205" y="1437"/>
                    </a:lnTo>
                    <a:lnTo>
                      <a:pt x="6165" y="1431"/>
                    </a:lnTo>
                    <a:lnTo>
                      <a:pt x="6171" y="1409"/>
                    </a:lnTo>
                    <a:lnTo>
                      <a:pt x="6212" y="1383"/>
                    </a:lnTo>
                    <a:lnTo>
                      <a:pt x="6215" y="1359"/>
                    </a:lnTo>
                    <a:lnTo>
                      <a:pt x="6203" y="1336"/>
                    </a:lnTo>
                    <a:lnTo>
                      <a:pt x="6229" y="1315"/>
                    </a:lnTo>
                    <a:lnTo>
                      <a:pt x="6276" y="1313"/>
                    </a:lnTo>
                    <a:lnTo>
                      <a:pt x="6299" y="1291"/>
                    </a:lnTo>
                    <a:lnTo>
                      <a:pt x="6326" y="1284"/>
                    </a:lnTo>
                    <a:lnTo>
                      <a:pt x="6371" y="1249"/>
                    </a:lnTo>
                    <a:lnTo>
                      <a:pt x="6384" y="1236"/>
                    </a:lnTo>
                    <a:lnTo>
                      <a:pt x="6439" y="1225"/>
                    </a:lnTo>
                    <a:lnTo>
                      <a:pt x="6526" y="1259"/>
                    </a:lnTo>
                    <a:lnTo>
                      <a:pt x="6581" y="1296"/>
                    </a:lnTo>
                    <a:lnTo>
                      <a:pt x="6636" y="1293"/>
                    </a:lnTo>
                    <a:lnTo>
                      <a:pt x="6693" y="1298"/>
                    </a:lnTo>
                    <a:lnTo>
                      <a:pt x="6706" y="1313"/>
                    </a:lnTo>
                    <a:lnTo>
                      <a:pt x="6695" y="1332"/>
                    </a:lnTo>
                    <a:lnTo>
                      <a:pt x="6695" y="1374"/>
                    </a:lnTo>
                    <a:lnTo>
                      <a:pt x="6725" y="1398"/>
                    </a:lnTo>
                    <a:lnTo>
                      <a:pt x="6736" y="1429"/>
                    </a:lnTo>
                    <a:lnTo>
                      <a:pt x="6714" y="1459"/>
                    </a:lnTo>
                    <a:lnTo>
                      <a:pt x="6696" y="1492"/>
                    </a:lnTo>
                    <a:lnTo>
                      <a:pt x="6708" y="1538"/>
                    </a:lnTo>
                    <a:lnTo>
                      <a:pt x="6711" y="1617"/>
                    </a:lnTo>
                    <a:lnTo>
                      <a:pt x="6733" y="1655"/>
                    </a:lnTo>
                    <a:lnTo>
                      <a:pt x="6752" y="1679"/>
                    </a:lnTo>
                    <a:lnTo>
                      <a:pt x="6767" y="1680"/>
                    </a:lnTo>
                    <a:lnTo>
                      <a:pt x="6763" y="1637"/>
                    </a:lnTo>
                    <a:lnTo>
                      <a:pt x="6779" y="1620"/>
                    </a:lnTo>
                    <a:lnTo>
                      <a:pt x="6799" y="1632"/>
                    </a:lnTo>
                    <a:lnTo>
                      <a:pt x="6798" y="1667"/>
                    </a:lnTo>
                    <a:lnTo>
                      <a:pt x="6808" y="1700"/>
                    </a:lnTo>
                    <a:lnTo>
                      <a:pt x="6819" y="1693"/>
                    </a:lnTo>
                    <a:lnTo>
                      <a:pt x="6830" y="1724"/>
                    </a:lnTo>
                    <a:lnTo>
                      <a:pt x="6868" y="1754"/>
                    </a:lnTo>
                    <a:lnTo>
                      <a:pt x="6888" y="1776"/>
                    </a:lnTo>
                    <a:lnTo>
                      <a:pt x="6917" y="1776"/>
                    </a:lnTo>
                    <a:lnTo>
                      <a:pt x="6950" y="1761"/>
                    </a:lnTo>
                    <a:lnTo>
                      <a:pt x="6959" y="1730"/>
                    </a:lnTo>
                    <a:lnTo>
                      <a:pt x="6977" y="1715"/>
                    </a:lnTo>
                    <a:lnTo>
                      <a:pt x="6997" y="1708"/>
                    </a:lnTo>
                    <a:lnTo>
                      <a:pt x="6997" y="1665"/>
                    </a:lnTo>
                    <a:lnTo>
                      <a:pt x="7018" y="1630"/>
                    </a:lnTo>
                    <a:lnTo>
                      <a:pt x="7051" y="1627"/>
                    </a:lnTo>
                    <a:lnTo>
                      <a:pt x="7084" y="1607"/>
                    </a:lnTo>
                    <a:lnTo>
                      <a:pt x="7088" y="1577"/>
                    </a:lnTo>
                    <a:lnTo>
                      <a:pt x="7101" y="1558"/>
                    </a:lnTo>
                    <a:lnTo>
                      <a:pt x="7116" y="1565"/>
                    </a:lnTo>
                    <a:lnTo>
                      <a:pt x="7137" y="1564"/>
                    </a:lnTo>
                    <a:lnTo>
                      <a:pt x="7169" y="1552"/>
                    </a:lnTo>
                    <a:lnTo>
                      <a:pt x="7218" y="1546"/>
                    </a:lnTo>
                    <a:lnTo>
                      <a:pt x="7224" y="1521"/>
                    </a:lnTo>
                    <a:lnTo>
                      <a:pt x="7209" y="1491"/>
                    </a:lnTo>
                    <a:lnTo>
                      <a:pt x="7215" y="1474"/>
                    </a:lnTo>
                    <a:lnTo>
                      <a:pt x="7300" y="1425"/>
                    </a:lnTo>
                    <a:lnTo>
                      <a:pt x="7340" y="1428"/>
                    </a:lnTo>
                    <a:lnTo>
                      <a:pt x="7368" y="1454"/>
                    </a:lnTo>
                    <a:lnTo>
                      <a:pt x="7419" y="1477"/>
                    </a:lnTo>
                    <a:lnTo>
                      <a:pt x="7481" y="1490"/>
                    </a:lnTo>
                    <a:lnTo>
                      <a:pt x="7513" y="1518"/>
                    </a:lnTo>
                    <a:lnTo>
                      <a:pt x="7548" y="1521"/>
                    </a:lnTo>
                    <a:lnTo>
                      <a:pt x="7591" y="1533"/>
                    </a:lnTo>
                    <a:lnTo>
                      <a:pt x="7690" y="1579"/>
                    </a:lnTo>
                    <a:lnTo>
                      <a:pt x="7715" y="1574"/>
                    </a:lnTo>
                    <a:lnTo>
                      <a:pt x="7738" y="1577"/>
                    </a:lnTo>
                    <a:lnTo>
                      <a:pt x="7781" y="1588"/>
                    </a:lnTo>
                    <a:lnTo>
                      <a:pt x="7812" y="1586"/>
                    </a:lnTo>
                    <a:lnTo>
                      <a:pt x="7837" y="1604"/>
                    </a:lnTo>
                    <a:lnTo>
                      <a:pt x="7832" y="1619"/>
                    </a:lnTo>
                    <a:lnTo>
                      <a:pt x="7833" y="1637"/>
                    </a:lnTo>
                    <a:lnTo>
                      <a:pt x="7855" y="1646"/>
                    </a:lnTo>
                    <a:lnTo>
                      <a:pt x="7884" y="1637"/>
                    </a:lnTo>
                    <a:lnTo>
                      <a:pt x="7884" y="1637"/>
                    </a:lnTo>
                    <a:lnTo>
                      <a:pt x="7884" y="1637"/>
                    </a:lnTo>
                    <a:close/>
                    <a:moveTo>
                      <a:pt x="5847" y="1161"/>
                    </a:moveTo>
                    <a:lnTo>
                      <a:pt x="5912" y="1194"/>
                    </a:lnTo>
                    <a:lnTo>
                      <a:pt x="5917" y="1212"/>
                    </a:lnTo>
                    <a:lnTo>
                      <a:pt x="5871" y="1186"/>
                    </a:lnTo>
                    <a:lnTo>
                      <a:pt x="5847" y="1161"/>
                    </a:lnTo>
                    <a:lnTo>
                      <a:pt x="5847" y="1161"/>
                    </a:lnTo>
                    <a:close/>
                    <a:moveTo>
                      <a:pt x="6188" y="1230"/>
                    </a:moveTo>
                    <a:lnTo>
                      <a:pt x="6210" y="1238"/>
                    </a:lnTo>
                    <a:lnTo>
                      <a:pt x="6239" y="1229"/>
                    </a:lnTo>
                    <a:lnTo>
                      <a:pt x="6232" y="1206"/>
                    </a:lnTo>
                    <a:lnTo>
                      <a:pt x="6190" y="1180"/>
                    </a:lnTo>
                    <a:lnTo>
                      <a:pt x="6133" y="1180"/>
                    </a:lnTo>
                    <a:lnTo>
                      <a:pt x="6107" y="1199"/>
                    </a:lnTo>
                    <a:lnTo>
                      <a:pt x="6073" y="1200"/>
                    </a:lnTo>
                    <a:lnTo>
                      <a:pt x="6063" y="1207"/>
                    </a:lnTo>
                    <a:lnTo>
                      <a:pt x="6074" y="1219"/>
                    </a:lnTo>
                    <a:lnTo>
                      <a:pt x="6050" y="1225"/>
                    </a:lnTo>
                    <a:lnTo>
                      <a:pt x="6100" y="1232"/>
                    </a:lnTo>
                    <a:lnTo>
                      <a:pt x="6132" y="1247"/>
                    </a:lnTo>
                    <a:lnTo>
                      <a:pt x="6159" y="1243"/>
                    </a:lnTo>
                    <a:lnTo>
                      <a:pt x="6159" y="1228"/>
                    </a:lnTo>
                    <a:lnTo>
                      <a:pt x="6132" y="1217"/>
                    </a:lnTo>
                    <a:lnTo>
                      <a:pt x="6127" y="1210"/>
                    </a:lnTo>
                    <a:lnTo>
                      <a:pt x="6139" y="1202"/>
                    </a:lnTo>
                    <a:lnTo>
                      <a:pt x="6188" y="1230"/>
                    </a:lnTo>
                    <a:lnTo>
                      <a:pt x="6188" y="1230"/>
                    </a:lnTo>
                    <a:close/>
                    <a:moveTo>
                      <a:pt x="6133" y="1333"/>
                    </a:moveTo>
                    <a:lnTo>
                      <a:pt x="6098" y="1320"/>
                    </a:lnTo>
                    <a:lnTo>
                      <a:pt x="6065" y="1327"/>
                    </a:lnTo>
                    <a:lnTo>
                      <a:pt x="6092" y="1340"/>
                    </a:lnTo>
                    <a:lnTo>
                      <a:pt x="6133" y="1333"/>
                    </a:lnTo>
                    <a:lnTo>
                      <a:pt x="6133" y="1333"/>
                    </a:lnTo>
                    <a:close/>
                    <a:moveTo>
                      <a:pt x="6157" y="1308"/>
                    </a:moveTo>
                    <a:lnTo>
                      <a:pt x="6144" y="1328"/>
                    </a:lnTo>
                    <a:lnTo>
                      <a:pt x="6130" y="1312"/>
                    </a:lnTo>
                    <a:lnTo>
                      <a:pt x="6157" y="1308"/>
                    </a:lnTo>
                    <a:lnTo>
                      <a:pt x="6157" y="1308"/>
                    </a:lnTo>
                    <a:close/>
                    <a:moveTo>
                      <a:pt x="6151" y="1333"/>
                    </a:moveTo>
                    <a:lnTo>
                      <a:pt x="6116" y="1359"/>
                    </a:lnTo>
                    <a:lnTo>
                      <a:pt x="6117" y="1405"/>
                    </a:lnTo>
                    <a:lnTo>
                      <a:pt x="6153" y="1413"/>
                    </a:lnTo>
                    <a:lnTo>
                      <a:pt x="6170" y="1401"/>
                    </a:lnTo>
                    <a:lnTo>
                      <a:pt x="6178" y="1343"/>
                    </a:lnTo>
                    <a:lnTo>
                      <a:pt x="6151" y="1333"/>
                    </a:lnTo>
                    <a:lnTo>
                      <a:pt x="6151" y="1333"/>
                    </a:lnTo>
                    <a:close/>
                    <a:moveTo>
                      <a:pt x="5197" y="498"/>
                    </a:moveTo>
                    <a:lnTo>
                      <a:pt x="5231" y="537"/>
                    </a:lnTo>
                    <a:lnTo>
                      <a:pt x="5243" y="573"/>
                    </a:lnTo>
                    <a:lnTo>
                      <a:pt x="5227" y="591"/>
                    </a:lnTo>
                    <a:lnTo>
                      <a:pt x="5197" y="563"/>
                    </a:lnTo>
                    <a:lnTo>
                      <a:pt x="5190" y="520"/>
                    </a:lnTo>
                    <a:lnTo>
                      <a:pt x="5197" y="498"/>
                    </a:lnTo>
                    <a:lnTo>
                      <a:pt x="5197" y="498"/>
                    </a:lnTo>
                    <a:close/>
                    <a:moveTo>
                      <a:pt x="5406" y="374"/>
                    </a:moveTo>
                    <a:lnTo>
                      <a:pt x="5418" y="416"/>
                    </a:lnTo>
                    <a:lnTo>
                      <a:pt x="5422" y="448"/>
                    </a:lnTo>
                    <a:lnTo>
                      <a:pt x="5439" y="441"/>
                    </a:lnTo>
                    <a:lnTo>
                      <a:pt x="5452" y="410"/>
                    </a:lnTo>
                    <a:lnTo>
                      <a:pt x="5444" y="378"/>
                    </a:lnTo>
                    <a:lnTo>
                      <a:pt x="5422" y="364"/>
                    </a:lnTo>
                    <a:lnTo>
                      <a:pt x="5406" y="374"/>
                    </a:lnTo>
                    <a:lnTo>
                      <a:pt x="5406" y="374"/>
                    </a:lnTo>
                    <a:close/>
                    <a:moveTo>
                      <a:pt x="5406" y="458"/>
                    </a:moveTo>
                    <a:lnTo>
                      <a:pt x="5425" y="462"/>
                    </a:lnTo>
                    <a:lnTo>
                      <a:pt x="5435" y="495"/>
                    </a:lnTo>
                    <a:lnTo>
                      <a:pt x="5422" y="495"/>
                    </a:lnTo>
                    <a:lnTo>
                      <a:pt x="5422" y="495"/>
                    </a:lnTo>
                    <a:lnTo>
                      <a:pt x="5406" y="458"/>
                    </a:lnTo>
                    <a:lnTo>
                      <a:pt x="5406" y="458"/>
                    </a:lnTo>
                    <a:close/>
                    <a:moveTo>
                      <a:pt x="5681" y="775"/>
                    </a:moveTo>
                    <a:lnTo>
                      <a:pt x="5691" y="829"/>
                    </a:lnTo>
                    <a:lnTo>
                      <a:pt x="5710" y="813"/>
                    </a:lnTo>
                    <a:lnTo>
                      <a:pt x="5735" y="814"/>
                    </a:lnTo>
                    <a:lnTo>
                      <a:pt x="5760" y="790"/>
                    </a:lnTo>
                    <a:lnTo>
                      <a:pt x="5750" y="764"/>
                    </a:lnTo>
                    <a:lnTo>
                      <a:pt x="5728" y="749"/>
                    </a:lnTo>
                    <a:lnTo>
                      <a:pt x="5706" y="766"/>
                    </a:lnTo>
                    <a:lnTo>
                      <a:pt x="5681" y="775"/>
                    </a:lnTo>
                    <a:lnTo>
                      <a:pt x="5681" y="775"/>
                    </a:lnTo>
                    <a:close/>
                    <a:moveTo>
                      <a:pt x="5649" y="1233"/>
                    </a:moveTo>
                    <a:lnTo>
                      <a:pt x="5662" y="1281"/>
                    </a:lnTo>
                    <a:lnTo>
                      <a:pt x="5706" y="1321"/>
                    </a:lnTo>
                    <a:lnTo>
                      <a:pt x="5716" y="1336"/>
                    </a:lnTo>
                    <a:lnTo>
                      <a:pt x="5702" y="1341"/>
                    </a:lnTo>
                    <a:lnTo>
                      <a:pt x="5700" y="1363"/>
                    </a:lnTo>
                    <a:lnTo>
                      <a:pt x="5693" y="1335"/>
                    </a:lnTo>
                    <a:lnTo>
                      <a:pt x="5663" y="1323"/>
                    </a:lnTo>
                    <a:lnTo>
                      <a:pt x="5636" y="1267"/>
                    </a:lnTo>
                    <a:lnTo>
                      <a:pt x="5600" y="1246"/>
                    </a:lnTo>
                    <a:lnTo>
                      <a:pt x="5578" y="1207"/>
                    </a:lnTo>
                    <a:lnTo>
                      <a:pt x="5591" y="1172"/>
                    </a:lnTo>
                    <a:lnTo>
                      <a:pt x="5585" y="1151"/>
                    </a:lnTo>
                    <a:lnTo>
                      <a:pt x="5590" y="1131"/>
                    </a:lnTo>
                    <a:lnTo>
                      <a:pt x="5557" y="1104"/>
                    </a:lnTo>
                    <a:lnTo>
                      <a:pt x="5563" y="1069"/>
                    </a:lnTo>
                    <a:lnTo>
                      <a:pt x="5577" y="1047"/>
                    </a:lnTo>
                    <a:lnTo>
                      <a:pt x="5557" y="1011"/>
                    </a:lnTo>
                    <a:lnTo>
                      <a:pt x="5540" y="989"/>
                    </a:lnTo>
                    <a:lnTo>
                      <a:pt x="5551" y="945"/>
                    </a:lnTo>
                    <a:lnTo>
                      <a:pt x="5572" y="930"/>
                    </a:lnTo>
                    <a:lnTo>
                      <a:pt x="5569" y="887"/>
                    </a:lnTo>
                    <a:lnTo>
                      <a:pt x="5579" y="838"/>
                    </a:lnTo>
                    <a:lnTo>
                      <a:pt x="5631" y="786"/>
                    </a:lnTo>
                    <a:lnTo>
                      <a:pt x="5649" y="782"/>
                    </a:lnTo>
                    <a:lnTo>
                      <a:pt x="5645" y="809"/>
                    </a:lnTo>
                    <a:lnTo>
                      <a:pt x="5619" y="839"/>
                    </a:lnTo>
                    <a:lnTo>
                      <a:pt x="5625" y="857"/>
                    </a:lnTo>
                    <a:lnTo>
                      <a:pt x="5655" y="869"/>
                    </a:lnTo>
                    <a:lnTo>
                      <a:pt x="5655" y="921"/>
                    </a:lnTo>
                    <a:lnTo>
                      <a:pt x="5640" y="964"/>
                    </a:lnTo>
                    <a:lnTo>
                      <a:pt x="5614" y="965"/>
                    </a:lnTo>
                    <a:lnTo>
                      <a:pt x="5589" y="990"/>
                    </a:lnTo>
                    <a:lnTo>
                      <a:pt x="5603" y="1018"/>
                    </a:lnTo>
                    <a:lnTo>
                      <a:pt x="5624" y="1014"/>
                    </a:lnTo>
                    <a:lnTo>
                      <a:pt x="5634" y="988"/>
                    </a:lnTo>
                    <a:lnTo>
                      <a:pt x="5664" y="974"/>
                    </a:lnTo>
                    <a:lnTo>
                      <a:pt x="5680" y="957"/>
                    </a:lnTo>
                    <a:lnTo>
                      <a:pt x="5662" y="956"/>
                    </a:lnTo>
                    <a:lnTo>
                      <a:pt x="5665" y="932"/>
                    </a:lnTo>
                    <a:lnTo>
                      <a:pt x="5718" y="906"/>
                    </a:lnTo>
                    <a:lnTo>
                      <a:pt x="5772" y="887"/>
                    </a:lnTo>
                    <a:lnTo>
                      <a:pt x="5792" y="907"/>
                    </a:lnTo>
                    <a:lnTo>
                      <a:pt x="5794" y="932"/>
                    </a:lnTo>
                    <a:lnTo>
                      <a:pt x="5768" y="993"/>
                    </a:lnTo>
                    <a:lnTo>
                      <a:pt x="5706" y="1013"/>
                    </a:lnTo>
                    <a:lnTo>
                      <a:pt x="5684" y="1039"/>
                    </a:lnTo>
                    <a:lnTo>
                      <a:pt x="5698" y="1063"/>
                    </a:lnTo>
                    <a:lnTo>
                      <a:pt x="5720" y="1065"/>
                    </a:lnTo>
                    <a:lnTo>
                      <a:pt x="5763" y="1097"/>
                    </a:lnTo>
                    <a:lnTo>
                      <a:pt x="5769" y="1121"/>
                    </a:lnTo>
                    <a:lnTo>
                      <a:pt x="5785" y="1135"/>
                    </a:lnTo>
                    <a:lnTo>
                      <a:pt x="5751" y="1137"/>
                    </a:lnTo>
                    <a:lnTo>
                      <a:pt x="5729" y="1118"/>
                    </a:lnTo>
                    <a:lnTo>
                      <a:pt x="5684" y="1117"/>
                    </a:lnTo>
                    <a:lnTo>
                      <a:pt x="5645" y="1105"/>
                    </a:lnTo>
                    <a:lnTo>
                      <a:pt x="5620" y="1113"/>
                    </a:lnTo>
                    <a:lnTo>
                      <a:pt x="5620" y="1178"/>
                    </a:lnTo>
                    <a:lnTo>
                      <a:pt x="5649" y="1233"/>
                    </a:lnTo>
                    <a:lnTo>
                      <a:pt x="5649" y="1233"/>
                    </a:lnTo>
                    <a:close/>
                    <a:moveTo>
                      <a:pt x="5511" y="1309"/>
                    </a:moveTo>
                    <a:lnTo>
                      <a:pt x="5523" y="1335"/>
                    </a:lnTo>
                    <a:lnTo>
                      <a:pt x="5488" y="1325"/>
                    </a:lnTo>
                    <a:lnTo>
                      <a:pt x="5501" y="1302"/>
                    </a:lnTo>
                    <a:lnTo>
                      <a:pt x="5511" y="1309"/>
                    </a:lnTo>
                    <a:lnTo>
                      <a:pt x="5511" y="1309"/>
                    </a:lnTo>
                    <a:close/>
                    <a:moveTo>
                      <a:pt x="5510" y="1242"/>
                    </a:moveTo>
                    <a:lnTo>
                      <a:pt x="5490" y="1241"/>
                    </a:lnTo>
                    <a:lnTo>
                      <a:pt x="5480" y="1274"/>
                    </a:lnTo>
                    <a:lnTo>
                      <a:pt x="5501" y="1282"/>
                    </a:lnTo>
                    <a:lnTo>
                      <a:pt x="5510" y="1259"/>
                    </a:lnTo>
                    <a:lnTo>
                      <a:pt x="5510" y="1242"/>
                    </a:lnTo>
                    <a:lnTo>
                      <a:pt x="5510" y="1242"/>
                    </a:lnTo>
                    <a:close/>
                    <a:moveTo>
                      <a:pt x="5538" y="1260"/>
                    </a:moveTo>
                    <a:lnTo>
                      <a:pt x="5527" y="1270"/>
                    </a:lnTo>
                    <a:lnTo>
                      <a:pt x="5530" y="1291"/>
                    </a:lnTo>
                    <a:lnTo>
                      <a:pt x="5549" y="1319"/>
                    </a:lnTo>
                    <a:lnTo>
                      <a:pt x="5578" y="1319"/>
                    </a:lnTo>
                    <a:lnTo>
                      <a:pt x="5596" y="1336"/>
                    </a:lnTo>
                    <a:lnTo>
                      <a:pt x="5612" y="1320"/>
                    </a:lnTo>
                    <a:lnTo>
                      <a:pt x="5602" y="1305"/>
                    </a:lnTo>
                    <a:lnTo>
                      <a:pt x="5579" y="1295"/>
                    </a:lnTo>
                    <a:lnTo>
                      <a:pt x="5581" y="1269"/>
                    </a:lnTo>
                    <a:lnTo>
                      <a:pt x="5561" y="1256"/>
                    </a:lnTo>
                    <a:lnTo>
                      <a:pt x="5538" y="1260"/>
                    </a:lnTo>
                    <a:lnTo>
                      <a:pt x="5538" y="1260"/>
                    </a:lnTo>
                    <a:close/>
                    <a:moveTo>
                      <a:pt x="5533" y="1459"/>
                    </a:moveTo>
                    <a:lnTo>
                      <a:pt x="5580" y="1423"/>
                    </a:lnTo>
                    <a:lnTo>
                      <a:pt x="5622" y="1426"/>
                    </a:lnTo>
                    <a:lnTo>
                      <a:pt x="5664" y="1468"/>
                    </a:lnTo>
                    <a:lnTo>
                      <a:pt x="5654" y="1488"/>
                    </a:lnTo>
                    <a:lnTo>
                      <a:pt x="5632" y="1488"/>
                    </a:lnTo>
                    <a:lnTo>
                      <a:pt x="5604" y="1488"/>
                    </a:lnTo>
                    <a:lnTo>
                      <a:pt x="5581" y="1492"/>
                    </a:lnTo>
                    <a:lnTo>
                      <a:pt x="5552" y="1480"/>
                    </a:lnTo>
                    <a:lnTo>
                      <a:pt x="5533" y="1459"/>
                    </a:lnTo>
                    <a:lnTo>
                      <a:pt x="5533" y="1459"/>
                    </a:lnTo>
                    <a:close/>
                    <a:moveTo>
                      <a:pt x="6026" y="1475"/>
                    </a:moveTo>
                    <a:lnTo>
                      <a:pt x="5963" y="1490"/>
                    </a:lnTo>
                    <a:lnTo>
                      <a:pt x="5941" y="1505"/>
                    </a:lnTo>
                    <a:lnTo>
                      <a:pt x="5956" y="1519"/>
                    </a:lnTo>
                    <a:lnTo>
                      <a:pt x="6010" y="1538"/>
                    </a:lnTo>
                    <a:lnTo>
                      <a:pt x="6057" y="1523"/>
                    </a:lnTo>
                    <a:lnTo>
                      <a:pt x="6043" y="1516"/>
                    </a:lnTo>
                    <a:lnTo>
                      <a:pt x="6041" y="1489"/>
                    </a:lnTo>
                    <a:lnTo>
                      <a:pt x="6026" y="1475"/>
                    </a:lnTo>
                    <a:lnTo>
                      <a:pt x="6026" y="1475"/>
                    </a:lnTo>
                    <a:close/>
                    <a:moveTo>
                      <a:pt x="5732" y="1809"/>
                    </a:moveTo>
                    <a:lnTo>
                      <a:pt x="5750" y="1806"/>
                    </a:lnTo>
                    <a:lnTo>
                      <a:pt x="5752" y="1819"/>
                    </a:lnTo>
                    <a:lnTo>
                      <a:pt x="5739" y="1822"/>
                    </a:lnTo>
                    <a:lnTo>
                      <a:pt x="5732" y="1809"/>
                    </a:lnTo>
                    <a:lnTo>
                      <a:pt x="5732" y="1809"/>
                    </a:lnTo>
                    <a:close/>
                    <a:moveTo>
                      <a:pt x="5699" y="1812"/>
                    </a:moveTo>
                    <a:lnTo>
                      <a:pt x="5716" y="1812"/>
                    </a:lnTo>
                    <a:lnTo>
                      <a:pt x="5720" y="1827"/>
                    </a:lnTo>
                    <a:lnTo>
                      <a:pt x="5703" y="1827"/>
                    </a:lnTo>
                    <a:lnTo>
                      <a:pt x="5699" y="1812"/>
                    </a:lnTo>
                    <a:lnTo>
                      <a:pt x="5699" y="1812"/>
                    </a:lnTo>
                    <a:close/>
                    <a:moveTo>
                      <a:pt x="5612" y="1828"/>
                    </a:moveTo>
                    <a:lnTo>
                      <a:pt x="5652" y="1816"/>
                    </a:lnTo>
                    <a:lnTo>
                      <a:pt x="5668" y="1804"/>
                    </a:lnTo>
                    <a:lnTo>
                      <a:pt x="5687" y="1813"/>
                    </a:lnTo>
                    <a:lnTo>
                      <a:pt x="5666" y="1849"/>
                    </a:lnTo>
                    <a:lnTo>
                      <a:pt x="5660" y="1834"/>
                    </a:lnTo>
                    <a:lnTo>
                      <a:pt x="5634" y="1849"/>
                    </a:lnTo>
                    <a:lnTo>
                      <a:pt x="5612" y="1828"/>
                    </a:lnTo>
                    <a:lnTo>
                      <a:pt x="5612" y="1828"/>
                    </a:lnTo>
                    <a:close/>
                    <a:moveTo>
                      <a:pt x="5599" y="1725"/>
                    </a:moveTo>
                    <a:lnTo>
                      <a:pt x="5580" y="1742"/>
                    </a:lnTo>
                    <a:lnTo>
                      <a:pt x="5598" y="1745"/>
                    </a:lnTo>
                    <a:lnTo>
                      <a:pt x="5599" y="1725"/>
                    </a:lnTo>
                    <a:lnTo>
                      <a:pt x="5599" y="1725"/>
                    </a:lnTo>
                    <a:close/>
                    <a:moveTo>
                      <a:pt x="5635" y="1690"/>
                    </a:moveTo>
                    <a:lnTo>
                      <a:pt x="5607" y="1691"/>
                    </a:lnTo>
                    <a:lnTo>
                      <a:pt x="5613" y="1706"/>
                    </a:lnTo>
                    <a:lnTo>
                      <a:pt x="5630" y="1705"/>
                    </a:lnTo>
                    <a:lnTo>
                      <a:pt x="5635" y="1690"/>
                    </a:lnTo>
                    <a:lnTo>
                      <a:pt x="5635" y="1690"/>
                    </a:lnTo>
                    <a:close/>
                    <a:moveTo>
                      <a:pt x="5645" y="1785"/>
                    </a:moveTo>
                    <a:lnTo>
                      <a:pt x="5675" y="1736"/>
                    </a:lnTo>
                    <a:lnTo>
                      <a:pt x="5701" y="1765"/>
                    </a:lnTo>
                    <a:lnTo>
                      <a:pt x="5716" y="1786"/>
                    </a:lnTo>
                    <a:lnTo>
                      <a:pt x="5747" y="1784"/>
                    </a:lnTo>
                    <a:lnTo>
                      <a:pt x="5779" y="1752"/>
                    </a:lnTo>
                    <a:lnTo>
                      <a:pt x="5800" y="1752"/>
                    </a:lnTo>
                    <a:lnTo>
                      <a:pt x="5818" y="1784"/>
                    </a:lnTo>
                    <a:lnTo>
                      <a:pt x="5892" y="1793"/>
                    </a:lnTo>
                    <a:lnTo>
                      <a:pt x="5909" y="1771"/>
                    </a:lnTo>
                    <a:lnTo>
                      <a:pt x="5943" y="1771"/>
                    </a:lnTo>
                    <a:lnTo>
                      <a:pt x="6010" y="1811"/>
                    </a:lnTo>
                    <a:lnTo>
                      <a:pt x="6041" y="1817"/>
                    </a:lnTo>
                    <a:lnTo>
                      <a:pt x="6078" y="1857"/>
                    </a:lnTo>
                    <a:lnTo>
                      <a:pt x="6114" y="1857"/>
                    </a:lnTo>
                    <a:lnTo>
                      <a:pt x="6128" y="1826"/>
                    </a:lnTo>
                    <a:lnTo>
                      <a:pt x="6112" y="1762"/>
                    </a:lnTo>
                    <a:lnTo>
                      <a:pt x="6027" y="1714"/>
                    </a:lnTo>
                    <a:lnTo>
                      <a:pt x="5957" y="1700"/>
                    </a:lnTo>
                    <a:lnTo>
                      <a:pt x="5922" y="1672"/>
                    </a:lnTo>
                    <a:lnTo>
                      <a:pt x="5885" y="1668"/>
                    </a:lnTo>
                    <a:lnTo>
                      <a:pt x="5854" y="1696"/>
                    </a:lnTo>
                    <a:lnTo>
                      <a:pt x="5818" y="1692"/>
                    </a:lnTo>
                    <a:lnTo>
                      <a:pt x="5794" y="1681"/>
                    </a:lnTo>
                    <a:lnTo>
                      <a:pt x="5743" y="1686"/>
                    </a:lnTo>
                    <a:lnTo>
                      <a:pt x="5673" y="1685"/>
                    </a:lnTo>
                    <a:lnTo>
                      <a:pt x="5658" y="1704"/>
                    </a:lnTo>
                    <a:lnTo>
                      <a:pt x="5656" y="1724"/>
                    </a:lnTo>
                    <a:lnTo>
                      <a:pt x="5627" y="1734"/>
                    </a:lnTo>
                    <a:lnTo>
                      <a:pt x="5616" y="1764"/>
                    </a:lnTo>
                    <a:lnTo>
                      <a:pt x="5625" y="1785"/>
                    </a:lnTo>
                    <a:lnTo>
                      <a:pt x="5645" y="1785"/>
                    </a:lnTo>
                    <a:lnTo>
                      <a:pt x="5645" y="1785"/>
                    </a:lnTo>
                    <a:close/>
                    <a:moveTo>
                      <a:pt x="5306" y="1731"/>
                    </a:moveTo>
                    <a:lnTo>
                      <a:pt x="5338" y="1745"/>
                    </a:lnTo>
                    <a:lnTo>
                      <a:pt x="5366" y="1722"/>
                    </a:lnTo>
                    <a:lnTo>
                      <a:pt x="5431" y="1725"/>
                    </a:lnTo>
                    <a:lnTo>
                      <a:pt x="5479" y="1745"/>
                    </a:lnTo>
                    <a:lnTo>
                      <a:pt x="5482" y="1765"/>
                    </a:lnTo>
                    <a:lnTo>
                      <a:pt x="5511" y="1799"/>
                    </a:lnTo>
                    <a:lnTo>
                      <a:pt x="5509" y="1825"/>
                    </a:lnTo>
                    <a:lnTo>
                      <a:pt x="5480" y="1823"/>
                    </a:lnTo>
                    <a:lnTo>
                      <a:pt x="5446" y="1854"/>
                    </a:lnTo>
                    <a:lnTo>
                      <a:pt x="5406" y="1851"/>
                    </a:lnTo>
                    <a:lnTo>
                      <a:pt x="5366" y="1854"/>
                    </a:lnTo>
                    <a:lnTo>
                      <a:pt x="5351" y="1841"/>
                    </a:lnTo>
                    <a:lnTo>
                      <a:pt x="5300" y="1832"/>
                    </a:lnTo>
                    <a:lnTo>
                      <a:pt x="5274" y="1795"/>
                    </a:lnTo>
                    <a:lnTo>
                      <a:pt x="5279" y="1751"/>
                    </a:lnTo>
                    <a:lnTo>
                      <a:pt x="5306" y="1731"/>
                    </a:lnTo>
                    <a:lnTo>
                      <a:pt x="5306" y="1731"/>
                    </a:lnTo>
                    <a:close/>
                    <a:moveTo>
                      <a:pt x="4361" y="2436"/>
                    </a:moveTo>
                    <a:lnTo>
                      <a:pt x="4337" y="2424"/>
                    </a:lnTo>
                    <a:lnTo>
                      <a:pt x="4324" y="2436"/>
                    </a:lnTo>
                    <a:lnTo>
                      <a:pt x="4344" y="2452"/>
                    </a:lnTo>
                    <a:lnTo>
                      <a:pt x="4361" y="2436"/>
                    </a:lnTo>
                    <a:lnTo>
                      <a:pt x="4361" y="2436"/>
                    </a:lnTo>
                    <a:close/>
                    <a:moveTo>
                      <a:pt x="4325" y="2199"/>
                    </a:moveTo>
                    <a:lnTo>
                      <a:pt x="4353" y="2253"/>
                    </a:lnTo>
                    <a:lnTo>
                      <a:pt x="4339" y="2279"/>
                    </a:lnTo>
                    <a:lnTo>
                      <a:pt x="4326" y="2315"/>
                    </a:lnTo>
                    <a:lnTo>
                      <a:pt x="4319" y="2289"/>
                    </a:lnTo>
                    <a:lnTo>
                      <a:pt x="4304" y="2265"/>
                    </a:lnTo>
                    <a:lnTo>
                      <a:pt x="4316" y="2244"/>
                    </a:lnTo>
                    <a:lnTo>
                      <a:pt x="4318" y="2216"/>
                    </a:lnTo>
                    <a:lnTo>
                      <a:pt x="4325" y="2199"/>
                    </a:lnTo>
                    <a:lnTo>
                      <a:pt x="4325" y="2199"/>
                    </a:lnTo>
                    <a:close/>
                    <a:moveTo>
                      <a:pt x="5275" y="1539"/>
                    </a:moveTo>
                    <a:lnTo>
                      <a:pt x="5275" y="1565"/>
                    </a:lnTo>
                    <a:lnTo>
                      <a:pt x="5298" y="1604"/>
                    </a:lnTo>
                    <a:lnTo>
                      <a:pt x="5297" y="1620"/>
                    </a:lnTo>
                    <a:lnTo>
                      <a:pt x="5284" y="1614"/>
                    </a:lnTo>
                    <a:lnTo>
                      <a:pt x="5269" y="1574"/>
                    </a:lnTo>
                    <a:lnTo>
                      <a:pt x="5262" y="1545"/>
                    </a:lnTo>
                    <a:lnTo>
                      <a:pt x="5275" y="1539"/>
                    </a:lnTo>
                    <a:lnTo>
                      <a:pt x="5275" y="1539"/>
                    </a:lnTo>
                    <a:close/>
                    <a:moveTo>
                      <a:pt x="5180" y="1497"/>
                    </a:moveTo>
                    <a:lnTo>
                      <a:pt x="5199" y="1488"/>
                    </a:lnTo>
                    <a:lnTo>
                      <a:pt x="5225" y="1499"/>
                    </a:lnTo>
                    <a:lnTo>
                      <a:pt x="5249" y="1487"/>
                    </a:lnTo>
                    <a:lnTo>
                      <a:pt x="5313" y="1495"/>
                    </a:lnTo>
                    <a:lnTo>
                      <a:pt x="5348" y="1502"/>
                    </a:lnTo>
                    <a:lnTo>
                      <a:pt x="5308" y="1512"/>
                    </a:lnTo>
                    <a:lnTo>
                      <a:pt x="5232" y="1529"/>
                    </a:lnTo>
                    <a:lnTo>
                      <a:pt x="5195" y="1519"/>
                    </a:lnTo>
                    <a:lnTo>
                      <a:pt x="5194" y="1506"/>
                    </a:lnTo>
                    <a:lnTo>
                      <a:pt x="5180" y="1497"/>
                    </a:lnTo>
                    <a:lnTo>
                      <a:pt x="5180" y="1497"/>
                    </a:lnTo>
                    <a:close/>
                    <a:moveTo>
                      <a:pt x="5011" y="1501"/>
                    </a:moveTo>
                    <a:lnTo>
                      <a:pt x="5033" y="1478"/>
                    </a:lnTo>
                    <a:lnTo>
                      <a:pt x="5050" y="1482"/>
                    </a:lnTo>
                    <a:lnTo>
                      <a:pt x="5071" y="1474"/>
                    </a:lnTo>
                    <a:lnTo>
                      <a:pt x="5105" y="1482"/>
                    </a:lnTo>
                    <a:lnTo>
                      <a:pt x="5127" y="1494"/>
                    </a:lnTo>
                    <a:lnTo>
                      <a:pt x="5148" y="1478"/>
                    </a:lnTo>
                    <a:lnTo>
                      <a:pt x="5171" y="1486"/>
                    </a:lnTo>
                    <a:lnTo>
                      <a:pt x="5171" y="1515"/>
                    </a:lnTo>
                    <a:lnTo>
                      <a:pt x="5145" y="1512"/>
                    </a:lnTo>
                    <a:lnTo>
                      <a:pt x="5114" y="1526"/>
                    </a:lnTo>
                    <a:lnTo>
                      <a:pt x="5090" y="1520"/>
                    </a:lnTo>
                    <a:lnTo>
                      <a:pt x="5053" y="1542"/>
                    </a:lnTo>
                    <a:lnTo>
                      <a:pt x="5021" y="1536"/>
                    </a:lnTo>
                    <a:lnTo>
                      <a:pt x="5008" y="1517"/>
                    </a:lnTo>
                    <a:lnTo>
                      <a:pt x="5011" y="1501"/>
                    </a:lnTo>
                    <a:lnTo>
                      <a:pt x="5011" y="1501"/>
                    </a:lnTo>
                    <a:close/>
                    <a:moveTo>
                      <a:pt x="4709" y="2132"/>
                    </a:moveTo>
                    <a:lnTo>
                      <a:pt x="4738" y="2082"/>
                    </a:lnTo>
                    <a:lnTo>
                      <a:pt x="4755" y="2029"/>
                    </a:lnTo>
                    <a:lnTo>
                      <a:pt x="4758" y="1975"/>
                    </a:lnTo>
                    <a:lnTo>
                      <a:pt x="4771" y="1962"/>
                    </a:lnTo>
                    <a:lnTo>
                      <a:pt x="4796" y="1966"/>
                    </a:lnTo>
                    <a:lnTo>
                      <a:pt x="4797" y="1988"/>
                    </a:lnTo>
                    <a:lnTo>
                      <a:pt x="4807" y="2011"/>
                    </a:lnTo>
                    <a:lnTo>
                      <a:pt x="4806" y="2027"/>
                    </a:lnTo>
                    <a:lnTo>
                      <a:pt x="4797" y="2014"/>
                    </a:lnTo>
                    <a:lnTo>
                      <a:pt x="4792" y="2029"/>
                    </a:lnTo>
                    <a:lnTo>
                      <a:pt x="4771" y="2044"/>
                    </a:lnTo>
                    <a:lnTo>
                      <a:pt x="4761" y="2058"/>
                    </a:lnTo>
                    <a:lnTo>
                      <a:pt x="4768" y="2083"/>
                    </a:lnTo>
                    <a:lnTo>
                      <a:pt x="4796" y="2090"/>
                    </a:lnTo>
                    <a:lnTo>
                      <a:pt x="4801" y="2105"/>
                    </a:lnTo>
                    <a:lnTo>
                      <a:pt x="4790" y="2119"/>
                    </a:lnTo>
                    <a:lnTo>
                      <a:pt x="4769" y="2126"/>
                    </a:lnTo>
                    <a:lnTo>
                      <a:pt x="4750" y="2158"/>
                    </a:lnTo>
                    <a:lnTo>
                      <a:pt x="4728" y="2170"/>
                    </a:lnTo>
                    <a:lnTo>
                      <a:pt x="4705" y="2157"/>
                    </a:lnTo>
                    <a:lnTo>
                      <a:pt x="4709" y="2132"/>
                    </a:lnTo>
                    <a:lnTo>
                      <a:pt x="4709" y="2132"/>
                    </a:lnTo>
                    <a:close/>
                    <a:moveTo>
                      <a:pt x="4631" y="2098"/>
                    </a:moveTo>
                    <a:lnTo>
                      <a:pt x="4631" y="2098"/>
                    </a:lnTo>
                    <a:lnTo>
                      <a:pt x="4631" y="2100"/>
                    </a:lnTo>
                    <a:lnTo>
                      <a:pt x="4632" y="2104"/>
                    </a:lnTo>
                    <a:lnTo>
                      <a:pt x="4632" y="2112"/>
                    </a:lnTo>
                    <a:lnTo>
                      <a:pt x="4646" y="2122"/>
                    </a:lnTo>
                    <a:lnTo>
                      <a:pt x="4676" y="2119"/>
                    </a:lnTo>
                    <a:lnTo>
                      <a:pt x="4680" y="2106"/>
                    </a:lnTo>
                    <a:lnTo>
                      <a:pt x="4693" y="2102"/>
                    </a:lnTo>
                    <a:lnTo>
                      <a:pt x="4697" y="2073"/>
                    </a:lnTo>
                    <a:lnTo>
                      <a:pt x="4719" y="2052"/>
                    </a:lnTo>
                    <a:lnTo>
                      <a:pt x="4719" y="2033"/>
                    </a:lnTo>
                    <a:lnTo>
                      <a:pt x="4703" y="2004"/>
                    </a:lnTo>
                    <a:lnTo>
                      <a:pt x="4675" y="2019"/>
                    </a:lnTo>
                    <a:lnTo>
                      <a:pt x="4652" y="2042"/>
                    </a:lnTo>
                    <a:lnTo>
                      <a:pt x="4661" y="2063"/>
                    </a:lnTo>
                    <a:lnTo>
                      <a:pt x="4631" y="2098"/>
                    </a:lnTo>
                    <a:lnTo>
                      <a:pt x="4631" y="2098"/>
                    </a:lnTo>
                    <a:close/>
                    <a:moveTo>
                      <a:pt x="4556" y="2073"/>
                    </a:moveTo>
                    <a:lnTo>
                      <a:pt x="4554" y="2095"/>
                    </a:lnTo>
                    <a:lnTo>
                      <a:pt x="4545" y="2105"/>
                    </a:lnTo>
                    <a:lnTo>
                      <a:pt x="4557" y="2142"/>
                    </a:lnTo>
                    <a:lnTo>
                      <a:pt x="4572" y="2148"/>
                    </a:lnTo>
                    <a:lnTo>
                      <a:pt x="4597" y="2131"/>
                    </a:lnTo>
                    <a:lnTo>
                      <a:pt x="4589" y="2097"/>
                    </a:lnTo>
                    <a:lnTo>
                      <a:pt x="4569" y="2067"/>
                    </a:lnTo>
                    <a:lnTo>
                      <a:pt x="4569" y="2067"/>
                    </a:lnTo>
                    <a:lnTo>
                      <a:pt x="4556" y="2073"/>
                    </a:lnTo>
                    <a:lnTo>
                      <a:pt x="4556" y="2073"/>
                    </a:lnTo>
                    <a:close/>
                    <a:moveTo>
                      <a:pt x="4806" y="1512"/>
                    </a:moveTo>
                    <a:lnTo>
                      <a:pt x="4780" y="1523"/>
                    </a:lnTo>
                    <a:lnTo>
                      <a:pt x="4799" y="1531"/>
                    </a:lnTo>
                    <a:lnTo>
                      <a:pt x="4799" y="1531"/>
                    </a:lnTo>
                    <a:lnTo>
                      <a:pt x="4803" y="1522"/>
                    </a:lnTo>
                    <a:lnTo>
                      <a:pt x="4806" y="1512"/>
                    </a:lnTo>
                    <a:lnTo>
                      <a:pt x="4806" y="1512"/>
                    </a:lnTo>
                    <a:close/>
                    <a:moveTo>
                      <a:pt x="4842" y="1490"/>
                    </a:moveTo>
                    <a:lnTo>
                      <a:pt x="4828" y="1505"/>
                    </a:lnTo>
                    <a:lnTo>
                      <a:pt x="4852" y="1508"/>
                    </a:lnTo>
                    <a:lnTo>
                      <a:pt x="4842" y="1490"/>
                    </a:lnTo>
                    <a:lnTo>
                      <a:pt x="4842" y="1490"/>
                    </a:lnTo>
                    <a:close/>
                    <a:moveTo>
                      <a:pt x="4886" y="1456"/>
                    </a:moveTo>
                    <a:lnTo>
                      <a:pt x="4867" y="1471"/>
                    </a:lnTo>
                    <a:lnTo>
                      <a:pt x="4892" y="1480"/>
                    </a:lnTo>
                    <a:lnTo>
                      <a:pt x="4886" y="1456"/>
                    </a:lnTo>
                    <a:lnTo>
                      <a:pt x="4886" y="1456"/>
                    </a:lnTo>
                    <a:close/>
                    <a:moveTo>
                      <a:pt x="4743" y="1416"/>
                    </a:moveTo>
                    <a:lnTo>
                      <a:pt x="4781" y="1394"/>
                    </a:lnTo>
                    <a:lnTo>
                      <a:pt x="4829" y="1397"/>
                    </a:lnTo>
                    <a:lnTo>
                      <a:pt x="4832" y="1412"/>
                    </a:lnTo>
                    <a:lnTo>
                      <a:pt x="4821" y="1432"/>
                    </a:lnTo>
                    <a:lnTo>
                      <a:pt x="4847" y="1426"/>
                    </a:lnTo>
                    <a:lnTo>
                      <a:pt x="4859" y="1404"/>
                    </a:lnTo>
                    <a:lnTo>
                      <a:pt x="4884" y="1422"/>
                    </a:lnTo>
                    <a:lnTo>
                      <a:pt x="4878" y="1449"/>
                    </a:lnTo>
                    <a:lnTo>
                      <a:pt x="4847" y="1456"/>
                    </a:lnTo>
                    <a:lnTo>
                      <a:pt x="4837" y="1444"/>
                    </a:lnTo>
                    <a:lnTo>
                      <a:pt x="4821" y="1468"/>
                    </a:lnTo>
                    <a:lnTo>
                      <a:pt x="4793" y="1446"/>
                    </a:lnTo>
                    <a:lnTo>
                      <a:pt x="4770" y="1466"/>
                    </a:lnTo>
                    <a:lnTo>
                      <a:pt x="4744" y="1447"/>
                    </a:lnTo>
                    <a:lnTo>
                      <a:pt x="4743" y="1416"/>
                    </a:lnTo>
                    <a:lnTo>
                      <a:pt x="4743" y="1416"/>
                    </a:lnTo>
                    <a:close/>
                    <a:moveTo>
                      <a:pt x="4564" y="1248"/>
                    </a:moveTo>
                    <a:lnTo>
                      <a:pt x="4590" y="1259"/>
                    </a:lnTo>
                    <a:lnTo>
                      <a:pt x="4591" y="1239"/>
                    </a:lnTo>
                    <a:lnTo>
                      <a:pt x="4591" y="1239"/>
                    </a:lnTo>
                    <a:lnTo>
                      <a:pt x="4578" y="1244"/>
                    </a:lnTo>
                    <a:lnTo>
                      <a:pt x="4564" y="1248"/>
                    </a:lnTo>
                    <a:lnTo>
                      <a:pt x="4564" y="1248"/>
                    </a:lnTo>
                    <a:close/>
                    <a:moveTo>
                      <a:pt x="4539" y="1256"/>
                    </a:moveTo>
                    <a:lnTo>
                      <a:pt x="4554" y="1256"/>
                    </a:lnTo>
                    <a:lnTo>
                      <a:pt x="4578" y="1269"/>
                    </a:lnTo>
                    <a:lnTo>
                      <a:pt x="4554" y="1275"/>
                    </a:lnTo>
                    <a:lnTo>
                      <a:pt x="4539" y="1256"/>
                    </a:lnTo>
                    <a:lnTo>
                      <a:pt x="4539" y="1256"/>
                    </a:lnTo>
                    <a:close/>
                    <a:moveTo>
                      <a:pt x="4324" y="1106"/>
                    </a:moveTo>
                    <a:lnTo>
                      <a:pt x="4363" y="1092"/>
                    </a:lnTo>
                    <a:lnTo>
                      <a:pt x="4410" y="1115"/>
                    </a:lnTo>
                    <a:lnTo>
                      <a:pt x="4466" y="1116"/>
                    </a:lnTo>
                    <a:lnTo>
                      <a:pt x="4528" y="1085"/>
                    </a:lnTo>
                    <a:lnTo>
                      <a:pt x="4569" y="1090"/>
                    </a:lnTo>
                    <a:lnTo>
                      <a:pt x="4583" y="1110"/>
                    </a:lnTo>
                    <a:lnTo>
                      <a:pt x="4619" y="1110"/>
                    </a:lnTo>
                    <a:lnTo>
                      <a:pt x="4640" y="1100"/>
                    </a:lnTo>
                    <a:lnTo>
                      <a:pt x="4713" y="1107"/>
                    </a:lnTo>
                    <a:lnTo>
                      <a:pt x="4751" y="1105"/>
                    </a:lnTo>
                    <a:lnTo>
                      <a:pt x="4758" y="1095"/>
                    </a:lnTo>
                    <a:lnTo>
                      <a:pt x="4799" y="1097"/>
                    </a:lnTo>
                    <a:lnTo>
                      <a:pt x="4826" y="1111"/>
                    </a:lnTo>
                    <a:lnTo>
                      <a:pt x="4835" y="1128"/>
                    </a:lnTo>
                    <a:lnTo>
                      <a:pt x="4869" y="1139"/>
                    </a:lnTo>
                    <a:lnTo>
                      <a:pt x="4998" y="1110"/>
                    </a:lnTo>
                    <a:lnTo>
                      <a:pt x="5053" y="1073"/>
                    </a:lnTo>
                    <a:lnTo>
                      <a:pt x="5068" y="1044"/>
                    </a:lnTo>
                    <a:lnTo>
                      <a:pt x="5090" y="1042"/>
                    </a:lnTo>
                    <a:lnTo>
                      <a:pt x="5108" y="1019"/>
                    </a:lnTo>
                    <a:lnTo>
                      <a:pt x="5132" y="1003"/>
                    </a:lnTo>
                    <a:lnTo>
                      <a:pt x="5143" y="974"/>
                    </a:lnTo>
                    <a:lnTo>
                      <a:pt x="5157" y="950"/>
                    </a:lnTo>
                    <a:lnTo>
                      <a:pt x="5174" y="937"/>
                    </a:lnTo>
                    <a:lnTo>
                      <a:pt x="5157" y="920"/>
                    </a:lnTo>
                    <a:lnTo>
                      <a:pt x="5153" y="900"/>
                    </a:lnTo>
                    <a:lnTo>
                      <a:pt x="5106" y="889"/>
                    </a:lnTo>
                    <a:lnTo>
                      <a:pt x="5072" y="900"/>
                    </a:lnTo>
                    <a:lnTo>
                      <a:pt x="5066" y="933"/>
                    </a:lnTo>
                    <a:lnTo>
                      <a:pt x="5040" y="953"/>
                    </a:lnTo>
                    <a:lnTo>
                      <a:pt x="5038" y="970"/>
                    </a:lnTo>
                    <a:lnTo>
                      <a:pt x="5002" y="996"/>
                    </a:lnTo>
                    <a:lnTo>
                      <a:pt x="4975" y="1000"/>
                    </a:lnTo>
                    <a:lnTo>
                      <a:pt x="4958" y="1026"/>
                    </a:lnTo>
                    <a:lnTo>
                      <a:pt x="4917" y="1036"/>
                    </a:lnTo>
                    <a:lnTo>
                      <a:pt x="4836" y="1019"/>
                    </a:lnTo>
                    <a:lnTo>
                      <a:pt x="4767" y="1013"/>
                    </a:lnTo>
                    <a:lnTo>
                      <a:pt x="4755" y="1032"/>
                    </a:lnTo>
                    <a:lnTo>
                      <a:pt x="4738" y="1035"/>
                    </a:lnTo>
                    <a:lnTo>
                      <a:pt x="4705" y="1005"/>
                    </a:lnTo>
                    <a:lnTo>
                      <a:pt x="4680" y="1002"/>
                    </a:lnTo>
                    <a:lnTo>
                      <a:pt x="4650" y="1003"/>
                    </a:lnTo>
                    <a:lnTo>
                      <a:pt x="4617" y="996"/>
                    </a:lnTo>
                    <a:lnTo>
                      <a:pt x="4573" y="989"/>
                    </a:lnTo>
                    <a:lnTo>
                      <a:pt x="4550" y="1003"/>
                    </a:lnTo>
                    <a:lnTo>
                      <a:pt x="4523" y="989"/>
                    </a:lnTo>
                    <a:lnTo>
                      <a:pt x="4491" y="957"/>
                    </a:lnTo>
                    <a:lnTo>
                      <a:pt x="4440" y="947"/>
                    </a:lnTo>
                    <a:lnTo>
                      <a:pt x="4409" y="949"/>
                    </a:lnTo>
                    <a:lnTo>
                      <a:pt x="4409" y="986"/>
                    </a:lnTo>
                    <a:lnTo>
                      <a:pt x="4384" y="1002"/>
                    </a:lnTo>
                    <a:lnTo>
                      <a:pt x="4368" y="1035"/>
                    </a:lnTo>
                    <a:lnTo>
                      <a:pt x="4347" y="1054"/>
                    </a:lnTo>
                    <a:lnTo>
                      <a:pt x="4301" y="1039"/>
                    </a:lnTo>
                    <a:lnTo>
                      <a:pt x="4261" y="1049"/>
                    </a:lnTo>
                    <a:lnTo>
                      <a:pt x="4245" y="1068"/>
                    </a:lnTo>
                    <a:lnTo>
                      <a:pt x="4249" y="1080"/>
                    </a:lnTo>
                    <a:lnTo>
                      <a:pt x="4206" y="1121"/>
                    </a:lnTo>
                    <a:lnTo>
                      <a:pt x="4206" y="1171"/>
                    </a:lnTo>
                    <a:lnTo>
                      <a:pt x="4214" y="1198"/>
                    </a:lnTo>
                    <a:lnTo>
                      <a:pt x="4212" y="1255"/>
                    </a:lnTo>
                    <a:lnTo>
                      <a:pt x="4203" y="1274"/>
                    </a:lnTo>
                    <a:lnTo>
                      <a:pt x="4220" y="1316"/>
                    </a:lnTo>
                    <a:lnTo>
                      <a:pt x="4225" y="1347"/>
                    </a:lnTo>
                    <a:lnTo>
                      <a:pt x="4212" y="1330"/>
                    </a:lnTo>
                    <a:lnTo>
                      <a:pt x="4202" y="1304"/>
                    </a:lnTo>
                    <a:lnTo>
                      <a:pt x="4180" y="1310"/>
                    </a:lnTo>
                    <a:lnTo>
                      <a:pt x="4158" y="1338"/>
                    </a:lnTo>
                    <a:lnTo>
                      <a:pt x="4131" y="1353"/>
                    </a:lnTo>
                    <a:lnTo>
                      <a:pt x="4125" y="1385"/>
                    </a:lnTo>
                    <a:lnTo>
                      <a:pt x="4130" y="1426"/>
                    </a:lnTo>
                    <a:lnTo>
                      <a:pt x="4117" y="1451"/>
                    </a:lnTo>
                    <a:lnTo>
                      <a:pt x="4126" y="1523"/>
                    </a:lnTo>
                    <a:lnTo>
                      <a:pt x="4117" y="1539"/>
                    </a:lnTo>
                    <a:lnTo>
                      <a:pt x="4112" y="1567"/>
                    </a:lnTo>
                    <a:lnTo>
                      <a:pt x="4090" y="1577"/>
                    </a:lnTo>
                    <a:lnTo>
                      <a:pt x="4091" y="1620"/>
                    </a:lnTo>
                    <a:lnTo>
                      <a:pt x="4052" y="1651"/>
                    </a:lnTo>
                    <a:lnTo>
                      <a:pt x="4039" y="1696"/>
                    </a:lnTo>
                    <a:lnTo>
                      <a:pt x="4046" y="1709"/>
                    </a:lnTo>
                    <a:lnTo>
                      <a:pt x="4030" y="1729"/>
                    </a:lnTo>
                    <a:lnTo>
                      <a:pt x="4051" y="1788"/>
                    </a:lnTo>
                    <a:lnTo>
                      <a:pt x="4069" y="1815"/>
                    </a:lnTo>
                    <a:lnTo>
                      <a:pt x="4082" y="1808"/>
                    </a:lnTo>
                    <a:lnTo>
                      <a:pt x="4107" y="1808"/>
                    </a:lnTo>
                    <a:lnTo>
                      <a:pt x="4126" y="1795"/>
                    </a:lnTo>
                    <a:lnTo>
                      <a:pt x="4143" y="1803"/>
                    </a:lnTo>
                    <a:lnTo>
                      <a:pt x="4154" y="1846"/>
                    </a:lnTo>
                    <a:lnTo>
                      <a:pt x="4183" y="1925"/>
                    </a:lnTo>
                    <a:lnTo>
                      <a:pt x="4171" y="1945"/>
                    </a:lnTo>
                    <a:lnTo>
                      <a:pt x="4162" y="1989"/>
                    </a:lnTo>
                    <a:lnTo>
                      <a:pt x="4137" y="2025"/>
                    </a:lnTo>
                    <a:lnTo>
                      <a:pt x="4133" y="2099"/>
                    </a:lnTo>
                    <a:lnTo>
                      <a:pt x="4138" y="2156"/>
                    </a:lnTo>
                    <a:lnTo>
                      <a:pt x="4157" y="2156"/>
                    </a:lnTo>
                    <a:lnTo>
                      <a:pt x="4180" y="2172"/>
                    </a:lnTo>
                    <a:lnTo>
                      <a:pt x="4215" y="2170"/>
                    </a:lnTo>
                    <a:lnTo>
                      <a:pt x="4232" y="2151"/>
                    </a:lnTo>
                    <a:lnTo>
                      <a:pt x="4263" y="2159"/>
                    </a:lnTo>
                    <a:lnTo>
                      <a:pt x="4292" y="2154"/>
                    </a:lnTo>
                    <a:lnTo>
                      <a:pt x="4313" y="2170"/>
                    </a:lnTo>
                    <a:lnTo>
                      <a:pt x="4319" y="2143"/>
                    </a:lnTo>
                    <a:lnTo>
                      <a:pt x="4316" y="2108"/>
                    </a:lnTo>
                    <a:lnTo>
                      <a:pt x="4292" y="2093"/>
                    </a:lnTo>
                    <a:lnTo>
                      <a:pt x="4287" y="2048"/>
                    </a:lnTo>
                    <a:lnTo>
                      <a:pt x="4306" y="2018"/>
                    </a:lnTo>
                    <a:lnTo>
                      <a:pt x="4313" y="1961"/>
                    </a:lnTo>
                    <a:lnTo>
                      <a:pt x="4307" y="1908"/>
                    </a:lnTo>
                    <a:lnTo>
                      <a:pt x="4293" y="1893"/>
                    </a:lnTo>
                    <a:lnTo>
                      <a:pt x="4326" y="1844"/>
                    </a:lnTo>
                    <a:lnTo>
                      <a:pt x="4337" y="1799"/>
                    </a:lnTo>
                    <a:lnTo>
                      <a:pt x="4328" y="1746"/>
                    </a:lnTo>
                    <a:lnTo>
                      <a:pt x="4306" y="1727"/>
                    </a:lnTo>
                    <a:lnTo>
                      <a:pt x="4306" y="1710"/>
                    </a:lnTo>
                    <a:lnTo>
                      <a:pt x="4343" y="1687"/>
                    </a:lnTo>
                    <a:lnTo>
                      <a:pt x="4357" y="1663"/>
                    </a:lnTo>
                    <a:lnTo>
                      <a:pt x="4392" y="1656"/>
                    </a:lnTo>
                    <a:lnTo>
                      <a:pt x="4427" y="1668"/>
                    </a:lnTo>
                    <a:lnTo>
                      <a:pt x="4423" y="1686"/>
                    </a:lnTo>
                    <a:lnTo>
                      <a:pt x="4439" y="1714"/>
                    </a:lnTo>
                    <a:lnTo>
                      <a:pt x="4439" y="1748"/>
                    </a:lnTo>
                    <a:lnTo>
                      <a:pt x="4411" y="1779"/>
                    </a:lnTo>
                    <a:lnTo>
                      <a:pt x="4404" y="1810"/>
                    </a:lnTo>
                    <a:lnTo>
                      <a:pt x="4423" y="1845"/>
                    </a:lnTo>
                    <a:lnTo>
                      <a:pt x="4446" y="1848"/>
                    </a:lnTo>
                    <a:lnTo>
                      <a:pt x="4467" y="1875"/>
                    </a:lnTo>
                    <a:lnTo>
                      <a:pt x="4507" y="1897"/>
                    </a:lnTo>
                    <a:lnTo>
                      <a:pt x="4513" y="1930"/>
                    </a:lnTo>
                    <a:lnTo>
                      <a:pt x="4499" y="1927"/>
                    </a:lnTo>
                    <a:lnTo>
                      <a:pt x="4491" y="1990"/>
                    </a:lnTo>
                    <a:lnTo>
                      <a:pt x="4503" y="2025"/>
                    </a:lnTo>
                    <a:lnTo>
                      <a:pt x="4528" y="2033"/>
                    </a:lnTo>
                    <a:lnTo>
                      <a:pt x="4546" y="2027"/>
                    </a:lnTo>
                    <a:lnTo>
                      <a:pt x="4584" y="2043"/>
                    </a:lnTo>
                    <a:lnTo>
                      <a:pt x="4613" y="2038"/>
                    </a:lnTo>
                    <a:lnTo>
                      <a:pt x="4610" y="2026"/>
                    </a:lnTo>
                    <a:lnTo>
                      <a:pt x="4601" y="2001"/>
                    </a:lnTo>
                    <a:lnTo>
                      <a:pt x="4630" y="1974"/>
                    </a:lnTo>
                    <a:lnTo>
                      <a:pt x="4659" y="1966"/>
                    </a:lnTo>
                    <a:lnTo>
                      <a:pt x="4700" y="1944"/>
                    </a:lnTo>
                    <a:lnTo>
                      <a:pt x="4751" y="1947"/>
                    </a:lnTo>
                    <a:lnTo>
                      <a:pt x="4769" y="1927"/>
                    </a:lnTo>
                    <a:lnTo>
                      <a:pt x="4782" y="1934"/>
                    </a:lnTo>
                    <a:lnTo>
                      <a:pt x="4807" y="1934"/>
                    </a:lnTo>
                    <a:lnTo>
                      <a:pt x="4822" y="1910"/>
                    </a:lnTo>
                    <a:lnTo>
                      <a:pt x="4817" y="1895"/>
                    </a:lnTo>
                    <a:lnTo>
                      <a:pt x="4773" y="1891"/>
                    </a:lnTo>
                    <a:lnTo>
                      <a:pt x="4759" y="1897"/>
                    </a:lnTo>
                    <a:lnTo>
                      <a:pt x="4744" y="1893"/>
                    </a:lnTo>
                    <a:lnTo>
                      <a:pt x="4713" y="1896"/>
                    </a:lnTo>
                    <a:lnTo>
                      <a:pt x="4710" y="1872"/>
                    </a:lnTo>
                    <a:lnTo>
                      <a:pt x="4694" y="1870"/>
                    </a:lnTo>
                    <a:lnTo>
                      <a:pt x="4695" y="1853"/>
                    </a:lnTo>
                    <a:lnTo>
                      <a:pt x="4681" y="1850"/>
                    </a:lnTo>
                    <a:lnTo>
                      <a:pt x="4665" y="1858"/>
                    </a:lnTo>
                    <a:lnTo>
                      <a:pt x="4664" y="1840"/>
                    </a:lnTo>
                    <a:lnTo>
                      <a:pt x="4634" y="1832"/>
                    </a:lnTo>
                    <a:lnTo>
                      <a:pt x="4625" y="1810"/>
                    </a:lnTo>
                    <a:lnTo>
                      <a:pt x="4645" y="1790"/>
                    </a:lnTo>
                    <a:lnTo>
                      <a:pt x="4652" y="1774"/>
                    </a:lnTo>
                    <a:lnTo>
                      <a:pt x="4664" y="1779"/>
                    </a:lnTo>
                    <a:lnTo>
                      <a:pt x="4655" y="1759"/>
                    </a:lnTo>
                    <a:lnTo>
                      <a:pt x="4669" y="1756"/>
                    </a:lnTo>
                    <a:lnTo>
                      <a:pt x="4677" y="1739"/>
                    </a:lnTo>
                    <a:lnTo>
                      <a:pt x="4661" y="1723"/>
                    </a:lnTo>
                    <a:lnTo>
                      <a:pt x="4638" y="1715"/>
                    </a:lnTo>
                    <a:lnTo>
                      <a:pt x="4647" y="1699"/>
                    </a:lnTo>
                    <a:lnTo>
                      <a:pt x="4644" y="1680"/>
                    </a:lnTo>
                    <a:lnTo>
                      <a:pt x="4614" y="1661"/>
                    </a:lnTo>
                    <a:lnTo>
                      <a:pt x="4594" y="1660"/>
                    </a:lnTo>
                    <a:lnTo>
                      <a:pt x="4585" y="1628"/>
                    </a:lnTo>
                    <a:lnTo>
                      <a:pt x="4539" y="1575"/>
                    </a:lnTo>
                    <a:lnTo>
                      <a:pt x="4510" y="1555"/>
                    </a:lnTo>
                    <a:lnTo>
                      <a:pt x="4493" y="1524"/>
                    </a:lnTo>
                    <a:lnTo>
                      <a:pt x="4497" y="1511"/>
                    </a:lnTo>
                    <a:lnTo>
                      <a:pt x="4510" y="1512"/>
                    </a:lnTo>
                    <a:lnTo>
                      <a:pt x="4517" y="1529"/>
                    </a:lnTo>
                    <a:lnTo>
                      <a:pt x="4548" y="1530"/>
                    </a:lnTo>
                    <a:lnTo>
                      <a:pt x="4576" y="1509"/>
                    </a:lnTo>
                    <a:lnTo>
                      <a:pt x="4583" y="1488"/>
                    </a:lnTo>
                    <a:lnTo>
                      <a:pt x="4652" y="1464"/>
                    </a:lnTo>
                    <a:lnTo>
                      <a:pt x="4701" y="1426"/>
                    </a:lnTo>
                    <a:lnTo>
                      <a:pt x="4725" y="1385"/>
                    </a:lnTo>
                    <a:lnTo>
                      <a:pt x="4756" y="1370"/>
                    </a:lnTo>
                    <a:lnTo>
                      <a:pt x="4757" y="1346"/>
                    </a:lnTo>
                    <a:lnTo>
                      <a:pt x="4794" y="1338"/>
                    </a:lnTo>
                    <a:lnTo>
                      <a:pt x="4828" y="1355"/>
                    </a:lnTo>
                    <a:lnTo>
                      <a:pt x="4848" y="1358"/>
                    </a:lnTo>
                    <a:lnTo>
                      <a:pt x="4878" y="1316"/>
                    </a:lnTo>
                    <a:lnTo>
                      <a:pt x="4878" y="1289"/>
                    </a:lnTo>
                    <a:lnTo>
                      <a:pt x="4842" y="1274"/>
                    </a:lnTo>
                    <a:lnTo>
                      <a:pt x="4765" y="1283"/>
                    </a:lnTo>
                    <a:lnTo>
                      <a:pt x="4732" y="1306"/>
                    </a:lnTo>
                    <a:lnTo>
                      <a:pt x="4682" y="1306"/>
                    </a:lnTo>
                    <a:lnTo>
                      <a:pt x="4657" y="1313"/>
                    </a:lnTo>
                    <a:lnTo>
                      <a:pt x="4627" y="1344"/>
                    </a:lnTo>
                    <a:lnTo>
                      <a:pt x="4595" y="1341"/>
                    </a:lnTo>
                    <a:lnTo>
                      <a:pt x="4571" y="1347"/>
                    </a:lnTo>
                    <a:lnTo>
                      <a:pt x="4539" y="1328"/>
                    </a:lnTo>
                    <a:lnTo>
                      <a:pt x="4508" y="1320"/>
                    </a:lnTo>
                    <a:lnTo>
                      <a:pt x="4474" y="1363"/>
                    </a:lnTo>
                    <a:lnTo>
                      <a:pt x="4452" y="1419"/>
                    </a:lnTo>
                    <a:lnTo>
                      <a:pt x="4418" y="1437"/>
                    </a:lnTo>
                    <a:lnTo>
                      <a:pt x="4382" y="1432"/>
                    </a:lnTo>
                    <a:lnTo>
                      <a:pt x="4373" y="1415"/>
                    </a:lnTo>
                    <a:lnTo>
                      <a:pt x="4329" y="1366"/>
                    </a:lnTo>
                    <a:lnTo>
                      <a:pt x="4285" y="1328"/>
                    </a:lnTo>
                    <a:lnTo>
                      <a:pt x="4261" y="1267"/>
                    </a:lnTo>
                    <a:lnTo>
                      <a:pt x="4267" y="1200"/>
                    </a:lnTo>
                    <a:lnTo>
                      <a:pt x="4293" y="1137"/>
                    </a:lnTo>
                    <a:lnTo>
                      <a:pt x="4324" y="1106"/>
                    </a:lnTo>
                    <a:lnTo>
                      <a:pt x="4324" y="1106"/>
                    </a:lnTo>
                    <a:close/>
                    <a:moveTo>
                      <a:pt x="4357" y="0"/>
                    </a:moveTo>
                    <a:lnTo>
                      <a:pt x="4335" y="25"/>
                    </a:lnTo>
                    <a:lnTo>
                      <a:pt x="4356" y="32"/>
                    </a:lnTo>
                    <a:lnTo>
                      <a:pt x="4365" y="15"/>
                    </a:lnTo>
                    <a:lnTo>
                      <a:pt x="4357" y="0"/>
                    </a:lnTo>
                    <a:lnTo>
                      <a:pt x="4357" y="0"/>
                    </a:lnTo>
                    <a:close/>
                    <a:moveTo>
                      <a:pt x="4400" y="113"/>
                    </a:moveTo>
                    <a:lnTo>
                      <a:pt x="4430" y="114"/>
                    </a:lnTo>
                    <a:lnTo>
                      <a:pt x="4443" y="104"/>
                    </a:lnTo>
                    <a:lnTo>
                      <a:pt x="4459" y="113"/>
                    </a:lnTo>
                    <a:lnTo>
                      <a:pt x="4483" y="100"/>
                    </a:lnTo>
                    <a:lnTo>
                      <a:pt x="4482" y="86"/>
                    </a:lnTo>
                    <a:lnTo>
                      <a:pt x="4443" y="79"/>
                    </a:lnTo>
                    <a:lnTo>
                      <a:pt x="4403" y="86"/>
                    </a:lnTo>
                    <a:lnTo>
                      <a:pt x="4390" y="102"/>
                    </a:lnTo>
                    <a:lnTo>
                      <a:pt x="4400" y="113"/>
                    </a:lnTo>
                    <a:lnTo>
                      <a:pt x="4400" y="113"/>
                    </a:lnTo>
                    <a:close/>
                    <a:moveTo>
                      <a:pt x="4141" y="290"/>
                    </a:moveTo>
                    <a:lnTo>
                      <a:pt x="4134" y="311"/>
                    </a:lnTo>
                    <a:lnTo>
                      <a:pt x="4149" y="342"/>
                    </a:lnTo>
                    <a:lnTo>
                      <a:pt x="4149" y="314"/>
                    </a:lnTo>
                    <a:lnTo>
                      <a:pt x="4141" y="290"/>
                    </a:lnTo>
                    <a:lnTo>
                      <a:pt x="4141" y="290"/>
                    </a:lnTo>
                    <a:close/>
                    <a:moveTo>
                      <a:pt x="4201" y="254"/>
                    </a:moveTo>
                    <a:lnTo>
                      <a:pt x="4257" y="206"/>
                    </a:lnTo>
                    <a:lnTo>
                      <a:pt x="4284" y="202"/>
                    </a:lnTo>
                    <a:lnTo>
                      <a:pt x="4287" y="228"/>
                    </a:lnTo>
                    <a:lnTo>
                      <a:pt x="4247" y="257"/>
                    </a:lnTo>
                    <a:lnTo>
                      <a:pt x="4210" y="264"/>
                    </a:lnTo>
                    <a:lnTo>
                      <a:pt x="4201" y="254"/>
                    </a:lnTo>
                    <a:lnTo>
                      <a:pt x="4201" y="254"/>
                    </a:lnTo>
                    <a:close/>
                    <a:moveTo>
                      <a:pt x="3848" y="441"/>
                    </a:moveTo>
                    <a:lnTo>
                      <a:pt x="3859" y="457"/>
                    </a:lnTo>
                    <a:lnTo>
                      <a:pt x="3841" y="450"/>
                    </a:lnTo>
                    <a:lnTo>
                      <a:pt x="3848" y="441"/>
                    </a:lnTo>
                    <a:lnTo>
                      <a:pt x="3848" y="441"/>
                    </a:lnTo>
                    <a:close/>
                    <a:moveTo>
                      <a:pt x="3849" y="421"/>
                    </a:moveTo>
                    <a:lnTo>
                      <a:pt x="3848" y="428"/>
                    </a:lnTo>
                    <a:lnTo>
                      <a:pt x="3859" y="445"/>
                    </a:lnTo>
                    <a:lnTo>
                      <a:pt x="3886" y="446"/>
                    </a:lnTo>
                    <a:lnTo>
                      <a:pt x="3885" y="435"/>
                    </a:lnTo>
                    <a:lnTo>
                      <a:pt x="3849" y="421"/>
                    </a:lnTo>
                    <a:lnTo>
                      <a:pt x="3849" y="421"/>
                    </a:lnTo>
                    <a:close/>
                    <a:moveTo>
                      <a:pt x="3869" y="517"/>
                    </a:moveTo>
                    <a:lnTo>
                      <a:pt x="3834" y="525"/>
                    </a:lnTo>
                    <a:lnTo>
                      <a:pt x="3860" y="532"/>
                    </a:lnTo>
                    <a:lnTo>
                      <a:pt x="3869" y="517"/>
                    </a:lnTo>
                    <a:lnTo>
                      <a:pt x="3869" y="517"/>
                    </a:lnTo>
                    <a:close/>
                    <a:moveTo>
                      <a:pt x="3832" y="552"/>
                    </a:moveTo>
                    <a:lnTo>
                      <a:pt x="3848" y="561"/>
                    </a:lnTo>
                    <a:lnTo>
                      <a:pt x="3848" y="592"/>
                    </a:lnTo>
                    <a:lnTo>
                      <a:pt x="3837" y="588"/>
                    </a:lnTo>
                    <a:lnTo>
                      <a:pt x="3832" y="552"/>
                    </a:lnTo>
                    <a:lnTo>
                      <a:pt x="3832" y="552"/>
                    </a:lnTo>
                    <a:close/>
                    <a:moveTo>
                      <a:pt x="3618" y="1786"/>
                    </a:moveTo>
                    <a:lnTo>
                      <a:pt x="3626" y="1796"/>
                    </a:lnTo>
                    <a:lnTo>
                      <a:pt x="3623" y="1841"/>
                    </a:lnTo>
                    <a:lnTo>
                      <a:pt x="3614" y="1843"/>
                    </a:lnTo>
                    <a:lnTo>
                      <a:pt x="3612" y="1801"/>
                    </a:lnTo>
                    <a:lnTo>
                      <a:pt x="3618" y="1786"/>
                    </a:lnTo>
                    <a:lnTo>
                      <a:pt x="3618" y="1786"/>
                    </a:lnTo>
                    <a:close/>
                    <a:moveTo>
                      <a:pt x="3604" y="1788"/>
                    </a:moveTo>
                    <a:lnTo>
                      <a:pt x="3605" y="1848"/>
                    </a:lnTo>
                    <a:lnTo>
                      <a:pt x="3597" y="1883"/>
                    </a:lnTo>
                    <a:lnTo>
                      <a:pt x="3570" y="1900"/>
                    </a:lnTo>
                    <a:lnTo>
                      <a:pt x="3556" y="1884"/>
                    </a:lnTo>
                    <a:lnTo>
                      <a:pt x="3562" y="1835"/>
                    </a:lnTo>
                    <a:lnTo>
                      <a:pt x="3579" y="1785"/>
                    </a:lnTo>
                    <a:lnTo>
                      <a:pt x="3594" y="1775"/>
                    </a:lnTo>
                    <a:lnTo>
                      <a:pt x="3604" y="1788"/>
                    </a:lnTo>
                    <a:lnTo>
                      <a:pt x="3604" y="1788"/>
                    </a:lnTo>
                    <a:close/>
                    <a:moveTo>
                      <a:pt x="2419" y="1248"/>
                    </a:moveTo>
                    <a:lnTo>
                      <a:pt x="2460" y="1260"/>
                    </a:lnTo>
                    <a:lnTo>
                      <a:pt x="2466" y="1269"/>
                    </a:lnTo>
                    <a:lnTo>
                      <a:pt x="2449" y="1279"/>
                    </a:lnTo>
                    <a:lnTo>
                      <a:pt x="2418" y="1268"/>
                    </a:lnTo>
                    <a:lnTo>
                      <a:pt x="2412" y="1252"/>
                    </a:lnTo>
                    <a:lnTo>
                      <a:pt x="2419" y="1248"/>
                    </a:lnTo>
                    <a:lnTo>
                      <a:pt x="2419" y="1248"/>
                    </a:lnTo>
                    <a:close/>
                    <a:moveTo>
                      <a:pt x="2435" y="1322"/>
                    </a:moveTo>
                    <a:lnTo>
                      <a:pt x="2478" y="1330"/>
                    </a:lnTo>
                    <a:lnTo>
                      <a:pt x="2498" y="1347"/>
                    </a:lnTo>
                    <a:lnTo>
                      <a:pt x="2511" y="1352"/>
                    </a:lnTo>
                    <a:lnTo>
                      <a:pt x="2512" y="1364"/>
                    </a:lnTo>
                    <a:lnTo>
                      <a:pt x="2472" y="1363"/>
                    </a:lnTo>
                    <a:lnTo>
                      <a:pt x="2456" y="1363"/>
                    </a:lnTo>
                    <a:lnTo>
                      <a:pt x="2431" y="1335"/>
                    </a:lnTo>
                    <a:lnTo>
                      <a:pt x="2435" y="1322"/>
                    </a:lnTo>
                    <a:lnTo>
                      <a:pt x="2435" y="1322"/>
                    </a:lnTo>
                    <a:close/>
                    <a:moveTo>
                      <a:pt x="2470" y="1376"/>
                    </a:moveTo>
                    <a:lnTo>
                      <a:pt x="2512" y="1378"/>
                    </a:lnTo>
                    <a:lnTo>
                      <a:pt x="2537" y="1396"/>
                    </a:lnTo>
                    <a:lnTo>
                      <a:pt x="2504" y="1430"/>
                    </a:lnTo>
                    <a:lnTo>
                      <a:pt x="2483" y="1436"/>
                    </a:lnTo>
                    <a:lnTo>
                      <a:pt x="2468" y="1418"/>
                    </a:lnTo>
                    <a:lnTo>
                      <a:pt x="2473" y="1396"/>
                    </a:lnTo>
                    <a:lnTo>
                      <a:pt x="2473" y="1396"/>
                    </a:lnTo>
                    <a:lnTo>
                      <a:pt x="2470" y="1376"/>
                    </a:lnTo>
                    <a:lnTo>
                      <a:pt x="2470" y="1376"/>
                    </a:lnTo>
                    <a:close/>
                    <a:moveTo>
                      <a:pt x="2388" y="967"/>
                    </a:moveTo>
                    <a:lnTo>
                      <a:pt x="2416" y="920"/>
                    </a:lnTo>
                    <a:lnTo>
                      <a:pt x="2456" y="865"/>
                    </a:lnTo>
                    <a:lnTo>
                      <a:pt x="2473" y="840"/>
                    </a:lnTo>
                    <a:lnTo>
                      <a:pt x="2500" y="831"/>
                    </a:lnTo>
                    <a:lnTo>
                      <a:pt x="2535" y="894"/>
                    </a:lnTo>
                    <a:lnTo>
                      <a:pt x="2589" y="933"/>
                    </a:lnTo>
                    <a:lnTo>
                      <a:pt x="2596" y="947"/>
                    </a:lnTo>
                    <a:lnTo>
                      <a:pt x="2635" y="984"/>
                    </a:lnTo>
                    <a:lnTo>
                      <a:pt x="2649" y="1012"/>
                    </a:lnTo>
                    <a:lnTo>
                      <a:pt x="2674" y="1015"/>
                    </a:lnTo>
                    <a:lnTo>
                      <a:pt x="2723" y="1001"/>
                    </a:lnTo>
                    <a:lnTo>
                      <a:pt x="2729" y="981"/>
                    </a:lnTo>
                    <a:lnTo>
                      <a:pt x="2771" y="985"/>
                    </a:lnTo>
                    <a:lnTo>
                      <a:pt x="2796" y="972"/>
                    </a:lnTo>
                    <a:lnTo>
                      <a:pt x="2890" y="977"/>
                    </a:lnTo>
                    <a:lnTo>
                      <a:pt x="2985" y="939"/>
                    </a:lnTo>
                    <a:lnTo>
                      <a:pt x="3010" y="917"/>
                    </a:lnTo>
                    <a:lnTo>
                      <a:pt x="3093" y="914"/>
                    </a:lnTo>
                    <a:lnTo>
                      <a:pt x="3136" y="935"/>
                    </a:lnTo>
                    <a:lnTo>
                      <a:pt x="3150" y="956"/>
                    </a:lnTo>
                    <a:lnTo>
                      <a:pt x="3191" y="955"/>
                    </a:lnTo>
                    <a:lnTo>
                      <a:pt x="3261" y="917"/>
                    </a:lnTo>
                    <a:lnTo>
                      <a:pt x="3342" y="904"/>
                    </a:lnTo>
                    <a:lnTo>
                      <a:pt x="3338" y="879"/>
                    </a:lnTo>
                    <a:lnTo>
                      <a:pt x="3405" y="776"/>
                    </a:lnTo>
                    <a:lnTo>
                      <a:pt x="3432" y="703"/>
                    </a:lnTo>
                    <a:lnTo>
                      <a:pt x="3484" y="626"/>
                    </a:lnTo>
                    <a:lnTo>
                      <a:pt x="3520" y="493"/>
                    </a:lnTo>
                    <a:lnTo>
                      <a:pt x="3520" y="467"/>
                    </a:lnTo>
                    <a:lnTo>
                      <a:pt x="3538" y="438"/>
                    </a:lnTo>
                    <a:lnTo>
                      <a:pt x="3536" y="416"/>
                    </a:lnTo>
                    <a:lnTo>
                      <a:pt x="3572" y="373"/>
                    </a:lnTo>
                    <a:lnTo>
                      <a:pt x="3600" y="385"/>
                    </a:lnTo>
                    <a:lnTo>
                      <a:pt x="3654" y="380"/>
                    </a:lnTo>
                    <a:lnTo>
                      <a:pt x="3729" y="381"/>
                    </a:lnTo>
                    <a:lnTo>
                      <a:pt x="3748" y="394"/>
                    </a:lnTo>
                    <a:lnTo>
                      <a:pt x="3796" y="393"/>
                    </a:lnTo>
                    <a:lnTo>
                      <a:pt x="3833" y="405"/>
                    </a:lnTo>
                    <a:lnTo>
                      <a:pt x="3831" y="414"/>
                    </a:lnTo>
                    <a:lnTo>
                      <a:pt x="3813" y="418"/>
                    </a:lnTo>
                    <a:lnTo>
                      <a:pt x="3816" y="434"/>
                    </a:lnTo>
                    <a:lnTo>
                      <a:pt x="3805" y="451"/>
                    </a:lnTo>
                    <a:lnTo>
                      <a:pt x="3841" y="464"/>
                    </a:lnTo>
                    <a:lnTo>
                      <a:pt x="3874" y="504"/>
                    </a:lnTo>
                    <a:lnTo>
                      <a:pt x="3836" y="514"/>
                    </a:lnTo>
                    <a:lnTo>
                      <a:pt x="3798" y="508"/>
                    </a:lnTo>
                    <a:lnTo>
                      <a:pt x="3782" y="518"/>
                    </a:lnTo>
                    <a:lnTo>
                      <a:pt x="3809" y="550"/>
                    </a:lnTo>
                    <a:lnTo>
                      <a:pt x="3824" y="558"/>
                    </a:lnTo>
                    <a:lnTo>
                      <a:pt x="3828" y="576"/>
                    </a:lnTo>
                    <a:lnTo>
                      <a:pt x="3812" y="581"/>
                    </a:lnTo>
                    <a:lnTo>
                      <a:pt x="3800" y="606"/>
                    </a:lnTo>
                    <a:lnTo>
                      <a:pt x="3829" y="631"/>
                    </a:lnTo>
                    <a:lnTo>
                      <a:pt x="3840" y="667"/>
                    </a:lnTo>
                    <a:lnTo>
                      <a:pt x="3897" y="727"/>
                    </a:lnTo>
                    <a:lnTo>
                      <a:pt x="3922" y="749"/>
                    </a:lnTo>
                    <a:lnTo>
                      <a:pt x="3905" y="782"/>
                    </a:lnTo>
                    <a:lnTo>
                      <a:pt x="3861" y="791"/>
                    </a:lnTo>
                    <a:lnTo>
                      <a:pt x="3854" y="813"/>
                    </a:lnTo>
                    <a:lnTo>
                      <a:pt x="3869" y="825"/>
                    </a:lnTo>
                    <a:lnTo>
                      <a:pt x="3876" y="854"/>
                    </a:lnTo>
                    <a:lnTo>
                      <a:pt x="3903" y="869"/>
                    </a:lnTo>
                    <a:lnTo>
                      <a:pt x="3976" y="937"/>
                    </a:lnTo>
                    <a:lnTo>
                      <a:pt x="3999" y="937"/>
                    </a:lnTo>
                    <a:lnTo>
                      <a:pt x="4028" y="969"/>
                    </a:lnTo>
                    <a:lnTo>
                      <a:pt x="4038" y="990"/>
                    </a:lnTo>
                    <a:lnTo>
                      <a:pt x="4065" y="996"/>
                    </a:lnTo>
                    <a:lnTo>
                      <a:pt x="4057" y="1027"/>
                    </a:lnTo>
                    <a:lnTo>
                      <a:pt x="4035" y="1036"/>
                    </a:lnTo>
                    <a:lnTo>
                      <a:pt x="4014" y="1027"/>
                    </a:lnTo>
                    <a:lnTo>
                      <a:pt x="3988" y="1045"/>
                    </a:lnTo>
                    <a:lnTo>
                      <a:pt x="3948" y="1041"/>
                    </a:lnTo>
                    <a:lnTo>
                      <a:pt x="3892" y="987"/>
                    </a:lnTo>
                    <a:lnTo>
                      <a:pt x="3904" y="1032"/>
                    </a:lnTo>
                    <a:lnTo>
                      <a:pt x="3894" y="1049"/>
                    </a:lnTo>
                    <a:lnTo>
                      <a:pt x="3878" y="1029"/>
                    </a:lnTo>
                    <a:lnTo>
                      <a:pt x="3842" y="1064"/>
                    </a:lnTo>
                    <a:lnTo>
                      <a:pt x="3842" y="1088"/>
                    </a:lnTo>
                    <a:lnTo>
                      <a:pt x="3826" y="1107"/>
                    </a:lnTo>
                    <a:lnTo>
                      <a:pt x="3820" y="1173"/>
                    </a:lnTo>
                    <a:lnTo>
                      <a:pt x="3805" y="1196"/>
                    </a:lnTo>
                    <a:lnTo>
                      <a:pt x="3793" y="1255"/>
                    </a:lnTo>
                    <a:lnTo>
                      <a:pt x="3748" y="1291"/>
                    </a:lnTo>
                    <a:lnTo>
                      <a:pt x="3764" y="1335"/>
                    </a:lnTo>
                    <a:lnTo>
                      <a:pt x="3743" y="1366"/>
                    </a:lnTo>
                    <a:lnTo>
                      <a:pt x="3714" y="1397"/>
                    </a:lnTo>
                    <a:lnTo>
                      <a:pt x="3699" y="1365"/>
                    </a:lnTo>
                    <a:lnTo>
                      <a:pt x="3682" y="1357"/>
                    </a:lnTo>
                    <a:lnTo>
                      <a:pt x="3691" y="1379"/>
                    </a:lnTo>
                    <a:lnTo>
                      <a:pt x="3689" y="1415"/>
                    </a:lnTo>
                    <a:lnTo>
                      <a:pt x="3660" y="1449"/>
                    </a:lnTo>
                    <a:lnTo>
                      <a:pt x="3654" y="1479"/>
                    </a:lnTo>
                    <a:lnTo>
                      <a:pt x="3626" y="1491"/>
                    </a:lnTo>
                    <a:lnTo>
                      <a:pt x="3601" y="1487"/>
                    </a:lnTo>
                    <a:lnTo>
                      <a:pt x="3607" y="1503"/>
                    </a:lnTo>
                    <a:lnTo>
                      <a:pt x="3593" y="1522"/>
                    </a:lnTo>
                    <a:lnTo>
                      <a:pt x="3635" y="1520"/>
                    </a:lnTo>
                    <a:lnTo>
                      <a:pt x="3642" y="1526"/>
                    </a:lnTo>
                    <a:lnTo>
                      <a:pt x="3637" y="1557"/>
                    </a:lnTo>
                    <a:lnTo>
                      <a:pt x="3617" y="1572"/>
                    </a:lnTo>
                    <a:lnTo>
                      <a:pt x="3627" y="1579"/>
                    </a:lnTo>
                    <a:lnTo>
                      <a:pt x="3648" y="1577"/>
                    </a:lnTo>
                    <a:lnTo>
                      <a:pt x="3652" y="1600"/>
                    </a:lnTo>
                    <a:lnTo>
                      <a:pt x="3642" y="1627"/>
                    </a:lnTo>
                    <a:lnTo>
                      <a:pt x="3614" y="1619"/>
                    </a:lnTo>
                    <a:lnTo>
                      <a:pt x="3609" y="1612"/>
                    </a:lnTo>
                    <a:lnTo>
                      <a:pt x="3608" y="1626"/>
                    </a:lnTo>
                    <a:lnTo>
                      <a:pt x="3623" y="1640"/>
                    </a:lnTo>
                    <a:lnTo>
                      <a:pt x="3634" y="1651"/>
                    </a:lnTo>
                    <a:lnTo>
                      <a:pt x="3608" y="1705"/>
                    </a:lnTo>
                    <a:lnTo>
                      <a:pt x="3589" y="1705"/>
                    </a:lnTo>
                    <a:lnTo>
                      <a:pt x="3582" y="1692"/>
                    </a:lnTo>
                    <a:lnTo>
                      <a:pt x="3572" y="1735"/>
                    </a:lnTo>
                    <a:lnTo>
                      <a:pt x="3572" y="1759"/>
                    </a:lnTo>
                    <a:lnTo>
                      <a:pt x="3536" y="1823"/>
                    </a:lnTo>
                    <a:lnTo>
                      <a:pt x="3478" y="1863"/>
                    </a:lnTo>
                    <a:lnTo>
                      <a:pt x="3429" y="1872"/>
                    </a:lnTo>
                    <a:lnTo>
                      <a:pt x="3359" y="1906"/>
                    </a:lnTo>
                    <a:lnTo>
                      <a:pt x="3325" y="1910"/>
                    </a:lnTo>
                    <a:lnTo>
                      <a:pt x="3316" y="1863"/>
                    </a:lnTo>
                    <a:lnTo>
                      <a:pt x="3322" y="1838"/>
                    </a:lnTo>
                    <a:lnTo>
                      <a:pt x="3305" y="1811"/>
                    </a:lnTo>
                    <a:lnTo>
                      <a:pt x="3299" y="1799"/>
                    </a:lnTo>
                    <a:lnTo>
                      <a:pt x="3282" y="1807"/>
                    </a:lnTo>
                    <a:lnTo>
                      <a:pt x="3264" y="1782"/>
                    </a:lnTo>
                    <a:lnTo>
                      <a:pt x="3248" y="1790"/>
                    </a:lnTo>
                    <a:lnTo>
                      <a:pt x="3220" y="1783"/>
                    </a:lnTo>
                    <a:lnTo>
                      <a:pt x="3206" y="1756"/>
                    </a:lnTo>
                    <a:lnTo>
                      <a:pt x="3194" y="1783"/>
                    </a:lnTo>
                    <a:lnTo>
                      <a:pt x="3206" y="1806"/>
                    </a:lnTo>
                    <a:lnTo>
                      <a:pt x="3174" y="1797"/>
                    </a:lnTo>
                    <a:lnTo>
                      <a:pt x="3161" y="1779"/>
                    </a:lnTo>
                    <a:lnTo>
                      <a:pt x="3161" y="1752"/>
                    </a:lnTo>
                    <a:lnTo>
                      <a:pt x="3141" y="1736"/>
                    </a:lnTo>
                    <a:lnTo>
                      <a:pt x="3122" y="1748"/>
                    </a:lnTo>
                    <a:lnTo>
                      <a:pt x="3091" y="1730"/>
                    </a:lnTo>
                    <a:lnTo>
                      <a:pt x="3072" y="1733"/>
                    </a:lnTo>
                    <a:lnTo>
                      <a:pt x="3047" y="1761"/>
                    </a:lnTo>
                    <a:lnTo>
                      <a:pt x="3005" y="1767"/>
                    </a:lnTo>
                    <a:lnTo>
                      <a:pt x="2998" y="1784"/>
                    </a:lnTo>
                    <a:lnTo>
                      <a:pt x="2973" y="1787"/>
                    </a:lnTo>
                    <a:lnTo>
                      <a:pt x="2954" y="1771"/>
                    </a:lnTo>
                    <a:lnTo>
                      <a:pt x="2935" y="1777"/>
                    </a:lnTo>
                    <a:lnTo>
                      <a:pt x="2896" y="1825"/>
                    </a:lnTo>
                    <a:lnTo>
                      <a:pt x="2871" y="1825"/>
                    </a:lnTo>
                    <a:lnTo>
                      <a:pt x="2874" y="1798"/>
                    </a:lnTo>
                    <a:lnTo>
                      <a:pt x="2869" y="1740"/>
                    </a:lnTo>
                    <a:lnTo>
                      <a:pt x="2855" y="1699"/>
                    </a:lnTo>
                    <a:lnTo>
                      <a:pt x="2862" y="1669"/>
                    </a:lnTo>
                    <a:lnTo>
                      <a:pt x="2852" y="1646"/>
                    </a:lnTo>
                    <a:lnTo>
                      <a:pt x="2855" y="1664"/>
                    </a:lnTo>
                    <a:lnTo>
                      <a:pt x="2839" y="1697"/>
                    </a:lnTo>
                    <a:lnTo>
                      <a:pt x="2818" y="1711"/>
                    </a:lnTo>
                    <a:lnTo>
                      <a:pt x="2796" y="1697"/>
                    </a:lnTo>
                    <a:lnTo>
                      <a:pt x="2767" y="1717"/>
                    </a:lnTo>
                    <a:lnTo>
                      <a:pt x="2724" y="1722"/>
                    </a:lnTo>
                    <a:lnTo>
                      <a:pt x="2698" y="1712"/>
                    </a:lnTo>
                    <a:lnTo>
                      <a:pt x="2662" y="1709"/>
                    </a:lnTo>
                    <a:lnTo>
                      <a:pt x="2651" y="1688"/>
                    </a:lnTo>
                    <a:lnTo>
                      <a:pt x="2625" y="1710"/>
                    </a:lnTo>
                    <a:lnTo>
                      <a:pt x="2606" y="1710"/>
                    </a:lnTo>
                    <a:lnTo>
                      <a:pt x="2586" y="1663"/>
                    </a:lnTo>
                    <a:lnTo>
                      <a:pt x="2585" y="1622"/>
                    </a:lnTo>
                    <a:lnTo>
                      <a:pt x="2576" y="1545"/>
                    </a:lnTo>
                    <a:lnTo>
                      <a:pt x="2546" y="1526"/>
                    </a:lnTo>
                    <a:lnTo>
                      <a:pt x="2538" y="1505"/>
                    </a:lnTo>
                    <a:lnTo>
                      <a:pt x="2557" y="1482"/>
                    </a:lnTo>
                    <a:lnTo>
                      <a:pt x="2580" y="1448"/>
                    </a:lnTo>
                    <a:lnTo>
                      <a:pt x="2576" y="1418"/>
                    </a:lnTo>
                    <a:lnTo>
                      <a:pt x="2560" y="1387"/>
                    </a:lnTo>
                    <a:lnTo>
                      <a:pt x="2510" y="1339"/>
                    </a:lnTo>
                    <a:lnTo>
                      <a:pt x="2468" y="1315"/>
                    </a:lnTo>
                    <a:lnTo>
                      <a:pt x="2428" y="1305"/>
                    </a:lnTo>
                    <a:lnTo>
                      <a:pt x="2427" y="1291"/>
                    </a:lnTo>
                    <a:lnTo>
                      <a:pt x="2458" y="1288"/>
                    </a:lnTo>
                    <a:lnTo>
                      <a:pt x="2485" y="1264"/>
                    </a:lnTo>
                    <a:lnTo>
                      <a:pt x="2544" y="1250"/>
                    </a:lnTo>
                    <a:lnTo>
                      <a:pt x="2584" y="1219"/>
                    </a:lnTo>
                    <a:lnTo>
                      <a:pt x="2617" y="1221"/>
                    </a:lnTo>
                    <a:lnTo>
                      <a:pt x="2586" y="1212"/>
                    </a:lnTo>
                    <a:lnTo>
                      <a:pt x="2541" y="1239"/>
                    </a:lnTo>
                    <a:lnTo>
                      <a:pt x="2488" y="1248"/>
                    </a:lnTo>
                    <a:lnTo>
                      <a:pt x="2465" y="1253"/>
                    </a:lnTo>
                    <a:lnTo>
                      <a:pt x="2430" y="1243"/>
                    </a:lnTo>
                    <a:lnTo>
                      <a:pt x="2409" y="1202"/>
                    </a:lnTo>
                    <a:lnTo>
                      <a:pt x="2420" y="1192"/>
                    </a:lnTo>
                    <a:lnTo>
                      <a:pt x="2439" y="1202"/>
                    </a:lnTo>
                    <a:lnTo>
                      <a:pt x="2424" y="1177"/>
                    </a:lnTo>
                    <a:lnTo>
                      <a:pt x="2373" y="1113"/>
                    </a:lnTo>
                    <a:lnTo>
                      <a:pt x="2369" y="1048"/>
                    </a:lnTo>
                    <a:lnTo>
                      <a:pt x="2392" y="1034"/>
                    </a:lnTo>
                    <a:lnTo>
                      <a:pt x="2395" y="1013"/>
                    </a:lnTo>
                    <a:lnTo>
                      <a:pt x="2387" y="991"/>
                    </a:lnTo>
                    <a:lnTo>
                      <a:pt x="2388" y="967"/>
                    </a:lnTo>
                    <a:lnTo>
                      <a:pt x="2388" y="967"/>
                    </a:lnTo>
                    <a:close/>
                    <a:moveTo>
                      <a:pt x="6820" y="1335"/>
                    </a:moveTo>
                    <a:lnTo>
                      <a:pt x="6800" y="1341"/>
                    </a:lnTo>
                    <a:lnTo>
                      <a:pt x="6819" y="1363"/>
                    </a:lnTo>
                    <a:lnTo>
                      <a:pt x="6842" y="1358"/>
                    </a:lnTo>
                    <a:lnTo>
                      <a:pt x="6820" y="1335"/>
                    </a:lnTo>
                    <a:lnTo>
                      <a:pt x="6820" y="1335"/>
                    </a:lnTo>
                    <a:close/>
                    <a:moveTo>
                      <a:pt x="6896" y="1444"/>
                    </a:moveTo>
                    <a:lnTo>
                      <a:pt x="6852" y="1444"/>
                    </a:lnTo>
                    <a:lnTo>
                      <a:pt x="6876" y="1452"/>
                    </a:lnTo>
                    <a:lnTo>
                      <a:pt x="6896" y="1444"/>
                    </a:lnTo>
                    <a:lnTo>
                      <a:pt x="6896" y="1444"/>
                    </a:lnTo>
                    <a:close/>
                    <a:moveTo>
                      <a:pt x="6922" y="1455"/>
                    </a:moveTo>
                    <a:lnTo>
                      <a:pt x="6922" y="1455"/>
                    </a:lnTo>
                    <a:lnTo>
                      <a:pt x="6924" y="1456"/>
                    </a:lnTo>
                    <a:lnTo>
                      <a:pt x="6927" y="1462"/>
                    </a:lnTo>
                    <a:lnTo>
                      <a:pt x="6933" y="1469"/>
                    </a:lnTo>
                    <a:lnTo>
                      <a:pt x="6988" y="1490"/>
                    </a:lnTo>
                    <a:lnTo>
                      <a:pt x="7066" y="1502"/>
                    </a:lnTo>
                    <a:lnTo>
                      <a:pt x="7138" y="1490"/>
                    </a:lnTo>
                    <a:lnTo>
                      <a:pt x="7157" y="1480"/>
                    </a:lnTo>
                    <a:lnTo>
                      <a:pt x="7100" y="1468"/>
                    </a:lnTo>
                    <a:lnTo>
                      <a:pt x="7071" y="1475"/>
                    </a:lnTo>
                    <a:lnTo>
                      <a:pt x="7020" y="1459"/>
                    </a:lnTo>
                    <a:lnTo>
                      <a:pt x="6985" y="1477"/>
                    </a:lnTo>
                    <a:lnTo>
                      <a:pt x="6922" y="1455"/>
                    </a:lnTo>
                    <a:lnTo>
                      <a:pt x="6922" y="1455"/>
                    </a:lnTo>
                    <a:close/>
                    <a:moveTo>
                      <a:pt x="6922" y="1291"/>
                    </a:moveTo>
                    <a:lnTo>
                      <a:pt x="6950" y="1320"/>
                    </a:lnTo>
                    <a:lnTo>
                      <a:pt x="6949" y="1299"/>
                    </a:lnTo>
                    <a:lnTo>
                      <a:pt x="6966" y="1301"/>
                    </a:lnTo>
                    <a:lnTo>
                      <a:pt x="6996" y="1340"/>
                    </a:lnTo>
                    <a:lnTo>
                      <a:pt x="6991" y="1363"/>
                    </a:lnTo>
                    <a:lnTo>
                      <a:pt x="7016" y="1367"/>
                    </a:lnTo>
                    <a:lnTo>
                      <a:pt x="7027" y="1367"/>
                    </a:lnTo>
                    <a:lnTo>
                      <a:pt x="7041" y="1375"/>
                    </a:lnTo>
                    <a:lnTo>
                      <a:pt x="7081" y="1367"/>
                    </a:lnTo>
                    <a:lnTo>
                      <a:pt x="7066" y="1353"/>
                    </a:lnTo>
                    <a:lnTo>
                      <a:pt x="7041" y="1340"/>
                    </a:lnTo>
                    <a:lnTo>
                      <a:pt x="7020" y="1304"/>
                    </a:lnTo>
                    <a:lnTo>
                      <a:pt x="6991" y="1286"/>
                    </a:lnTo>
                    <a:lnTo>
                      <a:pt x="6964" y="1286"/>
                    </a:lnTo>
                    <a:lnTo>
                      <a:pt x="6916" y="1278"/>
                    </a:lnTo>
                    <a:lnTo>
                      <a:pt x="6922" y="1291"/>
                    </a:lnTo>
                    <a:lnTo>
                      <a:pt x="6922" y="1291"/>
                    </a:lnTo>
                    <a:close/>
                    <a:moveTo>
                      <a:pt x="6426" y="2147"/>
                    </a:moveTo>
                    <a:lnTo>
                      <a:pt x="6435" y="2180"/>
                    </a:lnTo>
                    <a:lnTo>
                      <a:pt x="6436" y="2208"/>
                    </a:lnTo>
                    <a:lnTo>
                      <a:pt x="6448" y="2220"/>
                    </a:lnTo>
                    <a:lnTo>
                      <a:pt x="6449" y="2181"/>
                    </a:lnTo>
                    <a:lnTo>
                      <a:pt x="6426" y="2147"/>
                    </a:lnTo>
                    <a:lnTo>
                      <a:pt x="6426" y="2147"/>
                    </a:lnTo>
                    <a:close/>
                    <a:moveTo>
                      <a:pt x="6517" y="2113"/>
                    </a:moveTo>
                    <a:lnTo>
                      <a:pt x="6483" y="2132"/>
                    </a:lnTo>
                    <a:lnTo>
                      <a:pt x="6469" y="2204"/>
                    </a:lnTo>
                    <a:lnTo>
                      <a:pt x="6456" y="2223"/>
                    </a:lnTo>
                    <a:lnTo>
                      <a:pt x="6479" y="2215"/>
                    </a:lnTo>
                    <a:lnTo>
                      <a:pt x="6502" y="2144"/>
                    </a:lnTo>
                    <a:lnTo>
                      <a:pt x="6517" y="2113"/>
                    </a:lnTo>
                    <a:lnTo>
                      <a:pt x="6517" y="2113"/>
                    </a:lnTo>
                    <a:close/>
                    <a:moveTo>
                      <a:pt x="6785" y="2343"/>
                    </a:moveTo>
                    <a:lnTo>
                      <a:pt x="6773" y="2358"/>
                    </a:lnTo>
                    <a:lnTo>
                      <a:pt x="6781" y="2366"/>
                    </a:lnTo>
                    <a:lnTo>
                      <a:pt x="6789" y="2357"/>
                    </a:lnTo>
                    <a:lnTo>
                      <a:pt x="6785" y="2343"/>
                    </a:lnTo>
                    <a:lnTo>
                      <a:pt x="6785" y="2343"/>
                    </a:lnTo>
                    <a:close/>
                    <a:moveTo>
                      <a:pt x="6686" y="2283"/>
                    </a:moveTo>
                    <a:lnTo>
                      <a:pt x="6672" y="2273"/>
                    </a:lnTo>
                    <a:lnTo>
                      <a:pt x="6676" y="2287"/>
                    </a:lnTo>
                    <a:lnTo>
                      <a:pt x="6677" y="2322"/>
                    </a:lnTo>
                    <a:lnTo>
                      <a:pt x="6691" y="2334"/>
                    </a:lnTo>
                    <a:lnTo>
                      <a:pt x="6698" y="2354"/>
                    </a:lnTo>
                    <a:lnTo>
                      <a:pt x="6687" y="2341"/>
                    </a:lnTo>
                    <a:lnTo>
                      <a:pt x="6675" y="2341"/>
                    </a:lnTo>
                    <a:lnTo>
                      <a:pt x="6672" y="2372"/>
                    </a:lnTo>
                    <a:lnTo>
                      <a:pt x="6688" y="2389"/>
                    </a:lnTo>
                    <a:lnTo>
                      <a:pt x="6705" y="2386"/>
                    </a:lnTo>
                    <a:lnTo>
                      <a:pt x="6737" y="2357"/>
                    </a:lnTo>
                    <a:lnTo>
                      <a:pt x="6743" y="2341"/>
                    </a:lnTo>
                    <a:lnTo>
                      <a:pt x="6728" y="2332"/>
                    </a:lnTo>
                    <a:lnTo>
                      <a:pt x="6716" y="2309"/>
                    </a:lnTo>
                    <a:lnTo>
                      <a:pt x="6686" y="2283"/>
                    </a:lnTo>
                    <a:lnTo>
                      <a:pt x="6686" y="2283"/>
                    </a:lnTo>
                    <a:close/>
                    <a:moveTo>
                      <a:pt x="6747" y="2294"/>
                    </a:moveTo>
                    <a:lnTo>
                      <a:pt x="6747" y="2294"/>
                    </a:lnTo>
                    <a:lnTo>
                      <a:pt x="6742" y="2298"/>
                    </a:lnTo>
                    <a:lnTo>
                      <a:pt x="6737" y="2301"/>
                    </a:lnTo>
                    <a:lnTo>
                      <a:pt x="6739" y="2318"/>
                    </a:lnTo>
                    <a:lnTo>
                      <a:pt x="6752" y="2329"/>
                    </a:lnTo>
                    <a:lnTo>
                      <a:pt x="6770" y="2326"/>
                    </a:lnTo>
                    <a:lnTo>
                      <a:pt x="6765" y="2309"/>
                    </a:lnTo>
                    <a:lnTo>
                      <a:pt x="6747" y="2294"/>
                    </a:lnTo>
                    <a:lnTo>
                      <a:pt x="6747" y="2294"/>
                    </a:lnTo>
                    <a:close/>
                    <a:moveTo>
                      <a:pt x="6700" y="2243"/>
                    </a:moveTo>
                    <a:lnTo>
                      <a:pt x="6680" y="2238"/>
                    </a:lnTo>
                    <a:lnTo>
                      <a:pt x="6677" y="2255"/>
                    </a:lnTo>
                    <a:lnTo>
                      <a:pt x="6703" y="2284"/>
                    </a:lnTo>
                    <a:lnTo>
                      <a:pt x="6724" y="2295"/>
                    </a:lnTo>
                    <a:lnTo>
                      <a:pt x="6734" y="2288"/>
                    </a:lnTo>
                    <a:lnTo>
                      <a:pt x="6705" y="2261"/>
                    </a:lnTo>
                    <a:lnTo>
                      <a:pt x="6700" y="2243"/>
                    </a:lnTo>
                    <a:lnTo>
                      <a:pt x="6700" y="2243"/>
                    </a:lnTo>
                    <a:close/>
                    <a:moveTo>
                      <a:pt x="6764" y="2218"/>
                    </a:moveTo>
                    <a:lnTo>
                      <a:pt x="6735" y="2228"/>
                    </a:lnTo>
                    <a:lnTo>
                      <a:pt x="6710" y="2250"/>
                    </a:lnTo>
                    <a:lnTo>
                      <a:pt x="6716" y="2259"/>
                    </a:lnTo>
                    <a:lnTo>
                      <a:pt x="6752" y="2279"/>
                    </a:lnTo>
                    <a:lnTo>
                      <a:pt x="6767" y="2289"/>
                    </a:lnTo>
                    <a:lnTo>
                      <a:pt x="6784" y="2267"/>
                    </a:lnTo>
                    <a:lnTo>
                      <a:pt x="6787" y="2249"/>
                    </a:lnTo>
                    <a:lnTo>
                      <a:pt x="6780" y="2244"/>
                    </a:lnTo>
                    <a:lnTo>
                      <a:pt x="6783" y="2235"/>
                    </a:lnTo>
                    <a:lnTo>
                      <a:pt x="6773" y="2219"/>
                    </a:lnTo>
                    <a:lnTo>
                      <a:pt x="6764" y="2218"/>
                    </a:lnTo>
                    <a:lnTo>
                      <a:pt x="6764" y="2218"/>
                    </a:lnTo>
                    <a:close/>
                    <a:moveTo>
                      <a:pt x="6698" y="2180"/>
                    </a:moveTo>
                    <a:lnTo>
                      <a:pt x="6688" y="2180"/>
                    </a:lnTo>
                    <a:lnTo>
                      <a:pt x="6683" y="2191"/>
                    </a:lnTo>
                    <a:lnTo>
                      <a:pt x="6698" y="2191"/>
                    </a:lnTo>
                    <a:lnTo>
                      <a:pt x="6698" y="2180"/>
                    </a:lnTo>
                    <a:lnTo>
                      <a:pt x="6698" y="2180"/>
                    </a:lnTo>
                    <a:close/>
                    <a:moveTo>
                      <a:pt x="6751" y="2131"/>
                    </a:moveTo>
                    <a:lnTo>
                      <a:pt x="6767" y="2149"/>
                    </a:lnTo>
                    <a:lnTo>
                      <a:pt x="6780" y="2150"/>
                    </a:lnTo>
                    <a:lnTo>
                      <a:pt x="6766" y="2130"/>
                    </a:lnTo>
                    <a:lnTo>
                      <a:pt x="6751" y="2131"/>
                    </a:lnTo>
                    <a:lnTo>
                      <a:pt x="6751" y="2131"/>
                    </a:lnTo>
                    <a:close/>
                    <a:moveTo>
                      <a:pt x="6745" y="2142"/>
                    </a:moveTo>
                    <a:lnTo>
                      <a:pt x="6729" y="2140"/>
                    </a:lnTo>
                    <a:lnTo>
                      <a:pt x="6714" y="2166"/>
                    </a:lnTo>
                    <a:lnTo>
                      <a:pt x="6699" y="2170"/>
                    </a:lnTo>
                    <a:lnTo>
                      <a:pt x="6716" y="2175"/>
                    </a:lnTo>
                    <a:lnTo>
                      <a:pt x="6719" y="2188"/>
                    </a:lnTo>
                    <a:lnTo>
                      <a:pt x="6735" y="2185"/>
                    </a:lnTo>
                    <a:lnTo>
                      <a:pt x="6711" y="2202"/>
                    </a:lnTo>
                    <a:lnTo>
                      <a:pt x="6716" y="2222"/>
                    </a:lnTo>
                    <a:lnTo>
                      <a:pt x="6729" y="2221"/>
                    </a:lnTo>
                    <a:lnTo>
                      <a:pt x="6752" y="2205"/>
                    </a:lnTo>
                    <a:lnTo>
                      <a:pt x="6772" y="2205"/>
                    </a:lnTo>
                    <a:lnTo>
                      <a:pt x="6780" y="2189"/>
                    </a:lnTo>
                    <a:lnTo>
                      <a:pt x="6779" y="2159"/>
                    </a:lnTo>
                    <a:lnTo>
                      <a:pt x="6766" y="2157"/>
                    </a:lnTo>
                    <a:lnTo>
                      <a:pt x="6745" y="2142"/>
                    </a:lnTo>
                    <a:lnTo>
                      <a:pt x="6745" y="2142"/>
                    </a:lnTo>
                    <a:close/>
                    <a:moveTo>
                      <a:pt x="6296" y="2411"/>
                    </a:moveTo>
                    <a:lnTo>
                      <a:pt x="6324" y="2397"/>
                    </a:lnTo>
                    <a:lnTo>
                      <a:pt x="6315" y="2392"/>
                    </a:lnTo>
                    <a:lnTo>
                      <a:pt x="6296" y="2411"/>
                    </a:lnTo>
                    <a:lnTo>
                      <a:pt x="6296" y="2411"/>
                    </a:lnTo>
                    <a:close/>
                    <a:moveTo>
                      <a:pt x="6266" y="2426"/>
                    </a:moveTo>
                    <a:lnTo>
                      <a:pt x="6309" y="2448"/>
                    </a:lnTo>
                    <a:lnTo>
                      <a:pt x="6298" y="2431"/>
                    </a:lnTo>
                    <a:lnTo>
                      <a:pt x="6266" y="2426"/>
                    </a:lnTo>
                    <a:lnTo>
                      <a:pt x="6266" y="2426"/>
                    </a:lnTo>
                    <a:close/>
                    <a:moveTo>
                      <a:pt x="6120" y="2498"/>
                    </a:moveTo>
                    <a:lnTo>
                      <a:pt x="6101" y="2505"/>
                    </a:lnTo>
                    <a:lnTo>
                      <a:pt x="6114" y="2508"/>
                    </a:lnTo>
                    <a:lnTo>
                      <a:pt x="6114" y="2508"/>
                    </a:lnTo>
                    <a:lnTo>
                      <a:pt x="6117" y="2503"/>
                    </a:lnTo>
                    <a:lnTo>
                      <a:pt x="6119" y="2499"/>
                    </a:lnTo>
                    <a:lnTo>
                      <a:pt x="6120" y="2498"/>
                    </a:lnTo>
                    <a:lnTo>
                      <a:pt x="6120" y="2498"/>
                    </a:lnTo>
                    <a:close/>
                    <a:moveTo>
                      <a:pt x="6162" y="2479"/>
                    </a:moveTo>
                    <a:lnTo>
                      <a:pt x="6118" y="2482"/>
                    </a:lnTo>
                    <a:lnTo>
                      <a:pt x="6140" y="2492"/>
                    </a:lnTo>
                    <a:lnTo>
                      <a:pt x="6158" y="2486"/>
                    </a:lnTo>
                    <a:lnTo>
                      <a:pt x="6162" y="2479"/>
                    </a:lnTo>
                    <a:lnTo>
                      <a:pt x="6162" y="2479"/>
                    </a:lnTo>
                    <a:close/>
                    <a:moveTo>
                      <a:pt x="6166" y="2603"/>
                    </a:moveTo>
                    <a:lnTo>
                      <a:pt x="6147" y="2602"/>
                    </a:lnTo>
                    <a:lnTo>
                      <a:pt x="6116" y="2622"/>
                    </a:lnTo>
                    <a:lnTo>
                      <a:pt x="6111" y="2635"/>
                    </a:lnTo>
                    <a:lnTo>
                      <a:pt x="6136" y="2630"/>
                    </a:lnTo>
                    <a:lnTo>
                      <a:pt x="6158" y="2614"/>
                    </a:lnTo>
                    <a:lnTo>
                      <a:pt x="6166" y="2603"/>
                    </a:lnTo>
                    <a:lnTo>
                      <a:pt x="6166" y="2603"/>
                    </a:lnTo>
                    <a:close/>
                    <a:moveTo>
                      <a:pt x="6220" y="2462"/>
                    </a:moveTo>
                    <a:lnTo>
                      <a:pt x="6174" y="2504"/>
                    </a:lnTo>
                    <a:lnTo>
                      <a:pt x="6172" y="2519"/>
                    </a:lnTo>
                    <a:lnTo>
                      <a:pt x="6178" y="2532"/>
                    </a:lnTo>
                    <a:lnTo>
                      <a:pt x="6159" y="2547"/>
                    </a:lnTo>
                    <a:lnTo>
                      <a:pt x="6159" y="2572"/>
                    </a:lnTo>
                    <a:lnTo>
                      <a:pt x="6184" y="2593"/>
                    </a:lnTo>
                    <a:lnTo>
                      <a:pt x="6206" y="2587"/>
                    </a:lnTo>
                    <a:lnTo>
                      <a:pt x="6245" y="2538"/>
                    </a:lnTo>
                    <a:lnTo>
                      <a:pt x="6257" y="2496"/>
                    </a:lnTo>
                    <a:lnTo>
                      <a:pt x="6251" y="2472"/>
                    </a:lnTo>
                    <a:lnTo>
                      <a:pt x="6260" y="2455"/>
                    </a:lnTo>
                    <a:lnTo>
                      <a:pt x="6257" y="2442"/>
                    </a:lnTo>
                    <a:lnTo>
                      <a:pt x="6237" y="2437"/>
                    </a:lnTo>
                    <a:lnTo>
                      <a:pt x="6221" y="2449"/>
                    </a:lnTo>
                    <a:lnTo>
                      <a:pt x="6220" y="2462"/>
                    </a:lnTo>
                    <a:lnTo>
                      <a:pt x="6220" y="2462"/>
                    </a:lnTo>
                    <a:close/>
                    <a:moveTo>
                      <a:pt x="5962" y="2294"/>
                    </a:moveTo>
                    <a:lnTo>
                      <a:pt x="5986" y="2281"/>
                    </a:lnTo>
                    <a:lnTo>
                      <a:pt x="5968" y="2272"/>
                    </a:lnTo>
                    <a:lnTo>
                      <a:pt x="5962" y="2294"/>
                    </a:lnTo>
                    <a:lnTo>
                      <a:pt x="5962" y="2294"/>
                    </a:lnTo>
                    <a:close/>
                    <a:moveTo>
                      <a:pt x="5883" y="2347"/>
                    </a:moveTo>
                    <a:lnTo>
                      <a:pt x="5865" y="2360"/>
                    </a:lnTo>
                    <a:lnTo>
                      <a:pt x="5889" y="2361"/>
                    </a:lnTo>
                    <a:lnTo>
                      <a:pt x="5883" y="2347"/>
                    </a:lnTo>
                    <a:lnTo>
                      <a:pt x="5883" y="2347"/>
                    </a:lnTo>
                    <a:close/>
                    <a:moveTo>
                      <a:pt x="5946" y="2605"/>
                    </a:moveTo>
                    <a:lnTo>
                      <a:pt x="5911" y="2623"/>
                    </a:lnTo>
                    <a:lnTo>
                      <a:pt x="5931" y="2623"/>
                    </a:lnTo>
                    <a:lnTo>
                      <a:pt x="5946" y="2605"/>
                    </a:lnTo>
                    <a:lnTo>
                      <a:pt x="5946" y="2605"/>
                    </a:lnTo>
                    <a:close/>
                    <a:moveTo>
                      <a:pt x="5889" y="2554"/>
                    </a:moveTo>
                    <a:lnTo>
                      <a:pt x="5909" y="2544"/>
                    </a:lnTo>
                    <a:lnTo>
                      <a:pt x="5931" y="2557"/>
                    </a:lnTo>
                    <a:lnTo>
                      <a:pt x="5937" y="2584"/>
                    </a:lnTo>
                    <a:lnTo>
                      <a:pt x="5912" y="2590"/>
                    </a:lnTo>
                    <a:lnTo>
                      <a:pt x="5890" y="2572"/>
                    </a:lnTo>
                    <a:lnTo>
                      <a:pt x="5889" y="2554"/>
                    </a:lnTo>
                    <a:lnTo>
                      <a:pt x="5889" y="2554"/>
                    </a:lnTo>
                    <a:close/>
                    <a:moveTo>
                      <a:pt x="5704" y="2437"/>
                    </a:moveTo>
                    <a:lnTo>
                      <a:pt x="5720" y="2425"/>
                    </a:lnTo>
                    <a:lnTo>
                      <a:pt x="5737" y="2437"/>
                    </a:lnTo>
                    <a:lnTo>
                      <a:pt x="5728" y="2451"/>
                    </a:lnTo>
                    <a:lnTo>
                      <a:pt x="5709" y="2450"/>
                    </a:lnTo>
                    <a:lnTo>
                      <a:pt x="5704" y="2437"/>
                    </a:lnTo>
                    <a:lnTo>
                      <a:pt x="5704" y="2437"/>
                    </a:lnTo>
                    <a:close/>
                    <a:moveTo>
                      <a:pt x="5743" y="2637"/>
                    </a:moveTo>
                    <a:lnTo>
                      <a:pt x="5774" y="2635"/>
                    </a:lnTo>
                    <a:lnTo>
                      <a:pt x="5788" y="2644"/>
                    </a:lnTo>
                    <a:lnTo>
                      <a:pt x="5760" y="2647"/>
                    </a:lnTo>
                    <a:lnTo>
                      <a:pt x="5743" y="2637"/>
                    </a:lnTo>
                    <a:lnTo>
                      <a:pt x="5743" y="2637"/>
                    </a:lnTo>
                    <a:close/>
                    <a:moveTo>
                      <a:pt x="5480" y="2519"/>
                    </a:moveTo>
                    <a:lnTo>
                      <a:pt x="5512" y="2497"/>
                    </a:lnTo>
                    <a:lnTo>
                      <a:pt x="5491" y="2486"/>
                    </a:lnTo>
                    <a:lnTo>
                      <a:pt x="5478" y="2499"/>
                    </a:lnTo>
                    <a:lnTo>
                      <a:pt x="5480" y="2519"/>
                    </a:lnTo>
                    <a:lnTo>
                      <a:pt x="5480" y="2519"/>
                    </a:lnTo>
                    <a:close/>
                    <a:moveTo>
                      <a:pt x="5571" y="2617"/>
                    </a:moveTo>
                    <a:lnTo>
                      <a:pt x="5621" y="2620"/>
                    </a:lnTo>
                    <a:lnTo>
                      <a:pt x="5649" y="2615"/>
                    </a:lnTo>
                    <a:lnTo>
                      <a:pt x="5649" y="2632"/>
                    </a:lnTo>
                    <a:lnTo>
                      <a:pt x="5609" y="2647"/>
                    </a:lnTo>
                    <a:lnTo>
                      <a:pt x="5575" y="2630"/>
                    </a:lnTo>
                    <a:lnTo>
                      <a:pt x="5571" y="2617"/>
                    </a:lnTo>
                    <a:lnTo>
                      <a:pt x="5571" y="2617"/>
                    </a:lnTo>
                    <a:close/>
                    <a:moveTo>
                      <a:pt x="5522" y="2630"/>
                    </a:moveTo>
                    <a:lnTo>
                      <a:pt x="5546" y="2624"/>
                    </a:lnTo>
                    <a:lnTo>
                      <a:pt x="5545" y="2643"/>
                    </a:lnTo>
                    <a:lnTo>
                      <a:pt x="5522" y="2630"/>
                    </a:lnTo>
                    <a:lnTo>
                      <a:pt x="5522" y="2630"/>
                    </a:lnTo>
                    <a:close/>
                    <a:moveTo>
                      <a:pt x="5444" y="2620"/>
                    </a:moveTo>
                    <a:lnTo>
                      <a:pt x="5467" y="2609"/>
                    </a:lnTo>
                    <a:lnTo>
                      <a:pt x="5483" y="2623"/>
                    </a:lnTo>
                    <a:lnTo>
                      <a:pt x="5463" y="2634"/>
                    </a:lnTo>
                    <a:lnTo>
                      <a:pt x="5444" y="2620"/>
                    </a:lnTo>
                    <a:lnTo>
                      <a:pt x="5444" y="2620"/>
                    </a:lnTo>
                    <a:close/>
                    <a:moveTo>
                      <a:pt x="4806" y="2981"/>
                    </a:moveTo>
                    <a:lnTo>
                      <a:pt x="4795" y="3016"/>
                    </a:lnTo>
                    <a:lnTo>
                      <a:pt x="4812" y="3029"/>
                    </a:lnTo>
                    <a:lnTo>
                      <a:pt x="4868" y="3026"/>
                    </a:lnTo>
                    <a:lnTo>
                      <a:pt x="4917" y="2994"/>
                    </a:lnTo>
                    <a:lnTo>
                      <a:pt x="4947" y="2985"/>
                    </a:lnTo>
                    <a:lnTo>
                      <a:pt x="4976" y="2987"/>
                    </a:lnTo>
                    <a:lnTo>
                      <a:pt x="5007" y="2963"/>
                    </a:lnTo>
                    <a:lnTo>
                      <a:pt x="5028" y="2931"/>
                    </a:lnTo>
                    <a:lnTo>
                      <a:pt x="5093" y="2883"/>
                    </a:lnTo>
                    <a:lnTo>
                      <a:pt x="5108" y="2863"/>
                    </a:lnTo>
                    <a:lnTo>
                      <a:pt x="5126" y="2855"/>
                    </a:lnTo>
                    <a:lnTo>
                      <a:pt x="5085" y="2817"/>
                    </a:lnTo>
                    <a:lnTo>
                      <a:pt x="5049" y="2777"/>
                    </a:lnTo>
                    <a:lnTo>
                      <a:pt x="5034" y="2784"/>
                    </a:lnTo>
                    <a:lnTo>
                      <a:pt x="5005" y="2793"/>
                    </a:lnTo>
                    <a:lnTo>
                      <a:pt x="5003" y="2837"/>
                    </a:lnTo>
                    <a:lnTo>
                      <a:pt x="4973" y="2842"/>
                    </a:lnTo>
                    <a:lnTo>
                      <a:pt x="4937" y="2861"/>
                    </a:lnTo>
                    <a:lnTo>
                      <a:pt x="4911" y="2831"/>
                    </a:lnTo>
                    <a:lnTo>
                      <a:pt x="4901" y="2840"/>
                    </a:lnTo>
                    <a:lnTo>
                      <a:pt x="4868" y="2860"/>
                    </a:lnTo>
                    <a:lnTo>
                      <a:pt x="4855" y="2896"/>
                    </a:lnTo>
                    <a:lnTo>
                      <a:pt x="4824" y="2949"/>
                    </a:lnTo>
                    <a:lnTo>
                      <a:pt x="4818" y="2963"/>
                    </a:lnTo>
                    <a:lnTo>
                      <a:pt x="4832" y="2976"/>
                    </a:lnTo>
                    <a:lnTo>
                      <a:pt x="4838" y="2990"/>
                    </a:lnTo>
                    <a:lnTo>
                      <a:pt x="4819" y="2990"/>
                    </a:lnTo>
                    <a:lnTo>
                      <a:pt x="4806" y="2981"/>
                    </a:lnTo>
                    <a:lnTo>
                      <a:pt x="4806" y="2981"/>
                    </a:lnTo>
                    <a:close/>
                    <a:moveTo>
                      <a:pt x="4771" y="3018"/>
                    </a:moveTo>
                    <a:lnTo>
                      <a:pt x="4784" y="2984"/>
                    </a:lnTo>
                    <a:lnTo>
                      <a:pt x="4771" y="2983"/>
                    </a:lnTo>
                    <a:lnTo>
                      <a:pt x="4754" y="3012"/>
                    </a:lnTo>
                    <a:lnTo>
                      <a:pt x="4771" y="3018"/>
                    </a:lnTo>
                    <a:lnTo>
                      <a:pt x="4771" y="3018"/>
                    </a:lnTo>
                    <a:close/>
                    <a:moveTo>
                      <a:pt x="4775" y="3043"/>
                    </a:moveTo>
                    <a:lnTo>
                      <a:pt x="4743" y="3057"/>
                    </a:lnTo>
                    <a:lnTo>
                      <a:pt x="4750" y="3063"/>
                    </a:lnTo>
                    <a:lnTo>
                      <a:pt x="4696" y="3089"/>
                    </a:lnTo>
                    <a:lnTo>
                      <a:pt x="4670" y="3112"/>
                    </a:lnTo>
                    <a:lnTo>
                      <a:pt x="4695" y="3121"/>
                    </a:lnTo>
                    <a:lnTo>
                      <a:pt x="4773" y="3089"/>
                    </a:lnTo>
                    <a:lnTo>
                      <a:pt x="4784" y="3062"/>
                    </a:lnTo>
                    <a:lnTo>
                      <a:pt x="4775" y="3043"/>
                    </a:lnTo>
                    <a:lnTo>
                      <a:pt x="4775" y="3043"/>
                    </a:lnTo>
                    <a:close/>
                    <a:moveTo>
                      <a:pt x="4521" y="3035"/>
                    </a:moveTo>
                    <a:lnTo>
                      <a:pt x="4540" y="3048"/>
                    </a:lnTo>
                    <a:lnTo>
                      <a:pt x="4544" y="3064"/>
                    </a:lnTo>
                    <a:lnTo>
                      <a:pt x="4521" y="3075"/>
                    </a:lnTo>
                    <a:lnTo>
                      <a:pt x="4491" y="3073"/>
                    </a:lnTo>
                    <a:lnTo>
                      <a:pt x="4507" y="3046"/>
                    </a:lnTo>
                    <a:lnTo>
                      <a:pt x="4521" y="3035"/>
                    </a:lnTo>
                    <a:lnTo>
                      <a:pt x="4521" y="3035"/>
                    </a:lnTo>
                    <a:close/>
                    <a:moveTo>
                      <a:pt x="4026" y="2852"/>
                    </a:moveTo>
                    <a:lnTo>
                      <a:pt x="4100" y="2814"/>
                    </a:lnTo>
                    <a:lnTo>
                      <a:pt x="4145" y="2849"/>
                    </a:lnTo>
                    <a:lnTo>
                      <a:pt x="4176" y="2849"/>
                    </a:lnTo>
                    <a:lnTo>
                      <a:pt x="4207" y="2833"/>
                    </a:lnTo>
                    <a:lnTo>
                      <a:pt x="4248" y="2852"/>
                    </a:lnTo>
                    <a:lnTo>
                      <a:pt x="4258" y="2883"/>
                    </a:lnTo>
                    <a:lnTo>
                      <a:pt x="4292" y="2883"/>
                    </a:lnTo>
                    <a:lnTo>
                      <a:pt x="4320" y="2926"/>
                    </a:lnTo>
                    <a:lnTo>
                      <a:pt x="4349" y="2953"/>
                    </a:lnTo>
                    <a:lnTo>
                      <a:pt x="4350" y="2976"/>
                    </a:lnTo>
                    <a:lnTo>
                      <a:pt x="4307" y="2997"/>
                    </a:lnTo>
                    <a:lnTo>
                      <a:pt x="4258" y="3002"/>
                    </a:lnTo>
                    <a:lnTo>
                      <a:pt x="4219" y="2985"/>
                    </a:lnTo>
                    <a:lnTo>
                      <a:pt x="4190" y="2945"/>
                    </a:lnTo>
                    <a:lnTo>
                      <a:pt x="4163" y="2939"/>
                    </a:lnTo>
                    <a:lnTo>
                      <a:pt x="4136" y="2906"/>
                    </a:lnTo>
                    <a:lnTo>
                      <a:pt x="4097" y="2912"/>
                    </a:lnTo>
                    <a:lnTo>
                      <a:pt x="4051" y="2902"/>
                    </a:lnTo>
                    <a:lnTo>
                      <a:pt x="4023" y="2877"/>
                    </a:lnTo>
                    <a:lnTo>
                      <a:pt x="4026" y="2852"/>
                    </a:lnTo>
                    <a:lnTo>
                      <a:pt x="4026" y="2852"/>
                    </a:lnTo>
                    <a:close/>
                    <a:moveTo>
                      <a:pt x="3496" y="2460"/>
                    </a:moveTo>
                    <a:lnTo>
                      <a:pt x="3522" y="2461"/>
                    </a:lnTo>
                    <a:lnTo>
                      <a:pt x="3530" y="2459"/>
                    </a:lnTo>
                    <a:lnTo>
                      <a:pt x="3527" y="2469"/>
                    </a:lnTo>
                    <a:lnTo>
                      <a:pt x="3502" y="2468"/>
                    </a:lnTo>
                    <a:lnTo>
                      <a:pt x="3496" y="2460"/>
                    </a:lnTo>
                    <a:lnTo>
                      <a:pt x="3496" y="2460"/>
                    </a:lnTo>
                    <a:close/>
                    <a:moveTo>
                      <a:pt x="3397" y="2408"/>
                    </a:moveTo>
                    <a:lnTo>
                      <a:pt x="3421" y="2430"/>
                    </a:lnTo>
                    <a:lnTo>
                      <a:pt x="3442" y="2406"/>
                    </a:lnTo>
                    <a:lnTo>
                      <a:pt x="3459" y="2408"/>
                    </a:lnTo>
                    <a:lnTo>
                      <a:pt x="3470" y="2408"/>
                    </a:lnTo>
                    <a:lnTo>
                      <a:pt x="3464" y="2399"/>
                    </a:lnTo>
                    <a:lnTo>
                      <a:pt x="3442" y="2390"/>
                    </a:lnTo>
                    <a:lnTo>
                      <a:pt x="3411" y="2386"/>
                    </a:lnTo>
                    <a:lnTo>
                      <a:pt x="3397" y="2398"/>
                    </a:lnTo>
                    <a:lnTo>
                      <a:pt x="3397" y="2408"/>
                    </a:lnTo>
                    <a:lnTo>
                      <a:pt x="3397" y="2408"/>
                    </a:lnTo>
                    <a:close/>
                    <a:moveTo>
                      <a:pt x="5238" y="2581"/>
                    </a:moveTo>
                    <a:lnTo>
                      <a:pt x="5275" y="2559"/>
                    </a:lnTo>
                    <a:lnTo>
                      <a:pt x="5328" y="2571"/>
                    </a:lnTo>
                    <a:lnTo>
                      <a:pt x="5347" y="2586"/>
                    </a:lnTo>
                    <a:lnTo>
                      <a:pt x="5355" y="2571"/>
                    </a:lnTo>
                    <a:lnTo>
                      <a:pt x="5379" y="2551"/>
                    </a:lnTo>
                    <a:lnTo>
                      <a:pt x="5406" y="2538"/>
                    </a:lnTo>
                    <a:lnTo>
                      <a:pt x="5399" y="2519"/>
                    </a:lnTo>
                    <a:lnTo>
                      <a:pt x="5371" y="2507"/>
                    </a:lnTo>
                    <a:lnTo>
                      <a:pt x="5345" y="2526"/>
                    </a:lnTo>
                    <a:lnTo>
                      <a:pt x="5287" y="2532"/>
                    </a:lnTo>
                    <a:lnTo>
                      <a:pt x="5269" y="2517"/>
                    </a:lnTo>
                    <a:lnTo>
                      <a:pt x="5243" y="2530"/>
                    </a:lnTo>
                    <a:lnTo>
                      <a:pt x="5230" y="2566"/>
                    </a:lnTo>
                    <a:lnTo>
                      <a:pt x="5238" y="2581"/>
                    </a:lnTo>
                    <a:lnTo>
                      <a:pt x="5238" y="2581"/>
                    </a:lnTo>
                    <a:close/>
                    <a:moveTo>
                      <a:pt x="5180" y="2627"/>
                    </a:moveTo>
                    <a:lnTo>
                      <a:pt x="5171" y="2642"/>
                    </a:lnTo>
                    <a:lnTo>
                      <a:pt x="5177" y="2650"/>
                    </a:lnTo>
                    <a:lnTo>
                      <a:pt x="5189" y="2640"/>
                    </a:lnTo>
                    <a:lnTo>
                      <a:pt x="5180" y="2627"/>
                    </a:lnTo>
                    <a:lnTo>
                      <a:pt x="5180" y="2627"/>
                    </a:lnTo>
                    <a:close/>
                    <a:moveTo>
                      <a:pt x="5026" y="2624"/>
                    </a:moveTo>
                    <a:lnTo>
                      <a:pt x="4992" y="2639"/>
                    </a:lnTo>
                    <a:lnTo>
                      <a:pt x="5005" y="2649"/>
                    </a:lnTo>
                    <a:lnTo>
                      <a:pt x="4994" y="2661"/>
                    </a:lnTo>
                    <a:lnTo>
                      <a:pt x="4997" y="2675"/>
                    </a:lnTo>
                    <a:lnTo>
                      <a:pt x="5028" y="2682"/>
                    </a:lnTo>
                    <a:lnTo>
                      <a:pt x="5086" y="2661"/>
                    </a:lnTo>
                    <a:lnTo>
                      <a:pt x="5105" y="2639"/>
                    </a:lnTo>
                    <a:lnTo>
                      <a:pt x="5088" y="2627"/>
                    </a:lnTo>
                    <a:lnTo>
                      <a:pt x="5040" y="2632"/>
                    </a:lnTo>
                    <a:lnTo>
                      <a:pt x="5026" y="2624"/>
                    </a:lnTo>
                    <a:lnTo>
                      <a:pt x="5026" y="2624"/>
                    </a:lnTo>
                    <a:close/>
                    <a:moveTo>
                      <a:pt x="4902" y="2691"/>
                    </a:moveTo>
                    <a:lnTo>
                      <a:pt x="4925" y="2690"/>
                    </a:lnTo>
                    <a:lnTo>
                      <a:pt x="4942" y="2706"/>
                    </a:lnTo>
                    <a:lnTo>
                      <a:pt x="4968" y="2670"/>
                    </a:lnTo>
                    <a:lnTo>
                      <a:pt x="4965" y="2656"/>
                    </a:lnTo>
                    <a:lnTo>
                      <a:pt x="4949" y="2671"/>
                    </a:lnTo>
                    <a:lnTo>
                      <a:pt x="4917" y="2675"/>
                    </a:lnTo>
                    <a:lnTo>
                      <a:pt x="4902" y="2691"/>
                    </a:lnTo>
                    <a:lnTo>
                      <a:pt x="4902" y="2691"/>
                    </a:lnTo>
                    <a:close/>
                    <a:moveTo>
                      <a:pt x="4796" y="2696"/>
                    </a:moveTo>
                    <a:lnTo>
                      <a:pt x="4830" y="2672"/>
                    </a:lnTo>
                    <a:lnTo>
                      <a:pt x="4822" y="2657"/>
                    </a:lnTo>
                    <a:lnTo>
                      <a:pt x="4837" y="2651"/>
                    </a:lnTo>
                    <a:lnTo>
                      <a:pt x="4862" y="2655"/>
                    </a:lnTo>
                    <a:lnTo>
                      <a:pt x="4885" y="2642"/>
                    </a:lnTo>
                    <a:lnTo>
                      <a:pt x="4897" y="2650"/>
                    </a:lnTo>
                    <a:lnTo>
                      <a:pt x="4863" y="2683"/>
                    </a:lnTo>
                    <a:lnTo>
                      <a:pt x="4846" y="2702"/>
                    </a:lnTo>
                    <a:lnTo>
                      <a:pt x="4811" y="2709"/>
                    </a:lnTo>
                    <a:lnTo>
                      <a:pt x="4796" y="2696"/>
                    </a:lnTo>
                    <a:lnTo>
                      <a:pt x="4796" y="2696"/>
                    </a:lnTo>
                    <a:close/>
                    <a:moveTo>
                      <a:pt x="4767" y="2687"/>
                    </a:moveTo>
                    <a:lnTo>
                      <a:pt x="4732" y="2694"/>
                    </a:lnTo>
                    <a:lnTo>
                      <a:pt x="4720" y="2721"/>
                    </a:lnTo>
                    <a:lnTo>
                      <a:pt x="4739" y="2700"/>
                    </a:lnTo>
                    <a:lnTo>
                      <a:pt x="4767" y="2687"/>
                    </a:lnTo>
                    <a:lnTo>
                      <a:pt x="4767" y="2687"/>
                    </a:lnTo>
                    <a:close/>
                    <a:moveTo>
                      <a:pt x="4785" y="2636"/>
                    </a:moveTo>
                    <a:lnTo>
                      <a:pt x="4763" y="2656"/>
                    </a:lnTo>
                    <a:lnTo>
                      <a:pt x="4780" y="2665"/>
                    </a:lnTo>
                    <a:lnTo>
                      <a:pt x="4791" y="2651"/>
                    </a:lnTo>
                    <a:lnTo>
                      <a:pt x="4785" y="2636"/>
                    </a:lnTo>
                    <a:lnTo>
                      <a:pt x="4785" y="2636"/>
                    </a:lnTo>
                    <a:close/>
                    <a:moveTo>
                      <a:pt x="4178" y="2708"/>
                    </a:moveTo>
                    <a:lnTo>
                      <a:pt x="4178" y="2708"/>
                    </a:lnTo>
                    <a:lnTo>
                      <a:pt x="4177" y="2706"/>
                    </a:lnTo>
                    <a:lnTo>
                      <a:pt x="4178" y="2702"/>
                    </a:lnTo>
                    <a:lnTo>
                      <a:pt x="4181" y="2692"/>
                    </a:lnTo>
                    <a:lnTo>
                      <a:pt x="4186" y="2678"/>
                    </a:lnTo>
                    <a:lnTo>
                      <a:pt x="4238" y="2649"/>
                    </a:lnTo>
                    <a:lnTo>
                      <a:pt x="4322" y="2630"/>
                    </a:lnTo>
                    <a:lnTo>
                      <a:pt x="4363" y="2651"/>
                    </a:lnTo>
                    <a:lnTo>
                      <a:pt x="4387" y="2645"/>
                    </a:lnTo>
                    <a:lnTo>
                      <a:pt x="4431" y="2656"/>
                    </a:lnTo>
                    <a:lnTo>
                      <a:pt x="4478" y="2686"/>
                    </a:lnTo>
                    <a:lnTo>
                      <a:pt x="4514" y="2671"/>
                    </a:lnTo>
                    <a:lnTo>
                      <a:pt x="4564" y="2673"/>
                    </a:lnTo>
                    <a:lnTo>
                      <a:pt x="4585" y="2691"/>
                    </a:lnTo>
                    <a:lnTo>
                      <a:pt x="4624" y="2687"/>
                    </a:lnTo>
                    <a:lnTo>
                      <a:pt x="4644" y="2663"/>
                    </a:lnTo>
                    <a:lnTo>
                      <a:pt x="4675" y="2654"/>
                    </a:lnTo>
                    <a:lnTo>
                      <a:pt x="4694" y="2624"/>
                    </a:lnTo>
                    <a:lnTo>
                      <a:pt x="4681" y="2617"/>
                    </a:lnTo>
                    <a:lnTo>
                      <a:pt x="4710" y="2597"/>
                    </a:lnTo>
                    <a:lnTo>
                      <a:pt x="4745" y="2612"/>
                    </a:lnTo>
                    <a:lnTo>
                      <a:pt x="4750" y="2643"/>
                    </a:lnTo>
                    <a:lnTo>
                      <a:pt x="4733" y="2671"/>
                    </a:lnTo>
                    <a:lnTo>
                      <a:pt x="4711" y="2681"/>
                    </a:lnTo>
                    <a:lnTo>
                      <a:pt x="4687" y="2715"/>
                    </a:lnTo>
                    <a:lnTo>
                      <a:pt x="4650" y="2719"/>
                    </a:lnTo>
                    <a:lnTo>
                      <a:pt x="4634" y="2735"/>
                    </a:lnTo>
                    <a:lnTo>
                      <a:pt x="4610" y="2727"/>
                    </a:lnTo>
                    <a:lnTo>
                      <a:pt x="4558" y="2725"/>
                    </a:lnTo>
                    <a:lnTo>
                      <a:pt x="4510" y="2747"/>
                    </a:lnTo>
                    <a:lnTo>
                      <a:pt x="4456" y="2737"/>
                    </a:lnTo>
                    <a:lnTo>
                      <a:pt x="4418" y="2754"/>
                    </a:lnTo>
                    <a:lnTo>
                      <a:pt x="4410" y="2763"/>
                    </a:lnTo>
                    <a:lnTo>
                      <a:pt x="4386" y="2762"/>
                    </a:lnTo>
                    <a:lnTo>
                      <a:pt x="4366" y="2752"/>
                    </a:lnTo>
                    <a:lnTo>
                      <a:pt x="4335" y="2764"/>
                    </a:lnTo>
                    <a:lnTo>
                      <a:pt x="4316" y="2747"/>
                    </a:lnTo>
                    <a:lnTo>
                      <a:pt x="4289" y="2744"/>
                    </a:lnTo>
                    <a:lnTo>
                      <a:pt x="4264" y="2749"/>
                    </a:lnTo>
                    <a:lnTo>
                      <a:pt x="4239" y="2741"/>
                    </a:lnTo>
                    <a:lnTo>
                      <a:pt x="4216" y="2744"/>
                    </a:lnTo>
                    <a:lnTo>
                      <a:pt x="4187" y="2737"/>
                    </a:lnTo>
                    <a:lnTo>
                      <a:pt x="4178" y="2708"/>
                    </a:lnTo>
                    <a:lnTo>
                      <a:pt x="4178" y="2708"/>
                    </a:lnTo>
                    <a:close/>
                    <a:moveTo>
                      <a:pt x="4155" y="2705"/>
                    </a:moveTo>
                    <a:lnTo>
                      <a:pt x="4143" y="2739"/>
                    </a:lnTo>
                    <a:lnTo>
                      <a:pt x="4166" y="2735"/>
                    </a:lnTo>
                    <a:lnTo>
                      <a:pt x="4170" y="2715"/>
                    </a:lnTo>
                    <a:lnTo>
                      <a:pt x="4155" y="2705"/>
                    </a:lnTo>
                    <a:lnTo>
                      <a:pt x="4155" y="2705"/>
                    </a:lnTo>
                    <a:close/>
                    <a:moveTo>
                      <a:pt x="4139" y="2687"/>
                    </a:moveTo>
                    <a:lnTo>
                      <a:pt x="4109" y="2678"/>
                    </a:lnTo>
                    <a:lnTo>
                      <a:pt x="4097" y="2717"/>
                    </a:lnTo>
                    <a:lnTo>
                      <a:pt x="4115" y="2741"/>
                    </a:lnTo>
                    <a:lnTo>
                      <a:pt x="4126" y="2700"/>
                    </a:lnTo>
                    <a:lnTo>
                      <a:pt x="4139" y="2687"/>
                    </a:lnTo>
                    <a:lnTo>
                      <a:pt x="4139" y="2687"/>
                    </a:lnTo>
                    <a:close/>
                    <a:moveTo>
                      <a:pt x="3650" y="2710"/>
                    </a:moveTo>
                    <a:lnTo>
                      <a:pt x="3645" y="2731"/>
                    </a:lnTo>
                    <a:lnTo>
                      <a:pt x="3657" y="2743"/>
                    </a:lnTo>
                    <a:lnTo>
                      <a:pt x="3647" y="2759"/>
                    </a:lnTo>
                    <a:lnTo>
                      <a:pt x="3662" y="2777"/>
                    </a:lnTo>
                    <a:lnTo>
                      <a:pt x="3693" y="2791"/>
                    </a:lnTo>
                    <a:lnTo>
                      <a:pt x="3737" y="2780"/>
                    </a:lnTo>
                    <a:lnTo>
                      <a:pt x="3762" y="2791"/>
                    </a:lnTo>
                    <a:lnTo>
                      <a:pt x="3799" y="2778"/>
                    </a:lnTo>
                    <a:lnTo>
                      <a:pt x="3813" y="2759"/>
                    </a:lnTo>
                    <a:lnTo>
                      <a:pt x="3844" y="2770"/>
                    </a:lnTo>
                    <a:lnTo>
                      <a:pt x="3881" y="2754"/>
                    </a:lnTo>
                    <a:lnTo>
                      <a:pt x="3916" y="2760"/>
                    </a:lnTo>
                    <a:lnTo>
                      <a:pt x="3953" y="2728"/>
                    </a:lnTo>
                    <a:lnTo>
                      <a:pt x="3964" y="2752"/>
                    </a:lnTo>
                    <a:lnTo>
                      <a:pt x="3996" y="2746"/>
                    </a:lnTo>
                    <a:lnTo>
                      <a:pt x="4045" y="2753"/>
                    </a:lnTo>
                    <a:lnTo>
                      <a:pt x="4022" y="2734"/>
                    </a:lnTo>
                    <a:lnTo>
                      <a:pt x="4066" y="2734"/>
                    </a:lnTo>
                    <a:lnTo>
                      <a:pt x="4070" y="2697"/>
                    </a:lnTo>
                    <a:lnTo>
                      <a:pt x="4058" y="2712"/>
                    </a:lnTo>
                    <a:lnTo>
                      <a:pt x="4048" y="2681"/>
                    </a:lnTo>
                    <a:lnTo>
                      <a:pt x="4052" y="2655"/>
                    </a:lnTo>
                    <a:lnTo>
                      <a:pt x="4016" y="2645"/>
                    </a:lnTo>
                    <a:lnTo>
                      <a:pt x="4021" y="2672"/>
                    </a:lnTo>
                    <a:lnTo>
                      <a:pt x="4003" y="2680"/>
                    </a:lnTo>
                    <a:lnTo>
                      <a:pt x="3999" y="2650"/>
                    </a:lnTo>
                    <a:lnTo>
                      <a:pt x="3965" y="2629"/>
                    </a:lnTo>
                    <a:lnTo>
                      <a:pt x="3931" y="2642"/>
                    </a:lnTo>
                    <a:lnTo>
                      <a:pt x="3899" y="2622"/>
                    </a:lnTo>
                    <a:lnTo>
                      <a:pt x="3870" y="2610"/>
                    </a:lnTo>
                    <a:lnTo>
                      <a:pt x="3829" y="2635"/>
                    </a:lnTo>
                    <a:lnTo>
                      <a:pt x="3830" y="2654"/>
                    </a:lnTo>
                    <a:lnTo>
                      <a:pt x="3899" y="2680"/>
                    </a:lnTo>
                    <a:lnTo>
                      <a:pt x="3926" y="2706"/>
                    </a:lnTo>
                    <a:lnTo>
                      <a:pt x="3880" y="2713"/>
                    </a:lnTo>
                    <a:lnTo>
                      <a:pt x="3853" y="2725"/>
                    </a:lnTo>
                    <a:lnTo>
                      <a:pt x="3812" y="2699"/>
                    </a:lnTo>
                    <a:lnTo>
                      <a:pt x="3804" y="2669"/>
                    </a:lnTo>
                    <a:lnTo>
                      <a:pt x="3780" y="2665"/>
                    </a:lnTo>
                    <a:lnTo>
                      <a:pt x="3752" y="2672"/>
                    </a:lnTo>
                    <a:lnTo>
                      <a:pt x="3721" y="2665"/>
                    </a:lnTo>
                    <a:lnTo>
                      <a:pt x="3672" y="2684"/>
                    </a:lnTo>
                    <a:lnTo>
                      <a:pt x="3672" y="2684"/>
                    </a:lnTo>
                    <a:lnTo>
                      <a:pt x="3660" y="2697"/>
                    </a:lnTo>
                    <a:lnTo>
                      <a:pt x="3652" y="2706"/>
                    </a:lnTo>
                    <a:lnTo>
                      <a:pt x="3650" y="2709"/>
                    </a:lnTo>
                    <a:lnTo>
                      <a:pt x="3650" y="2710"/>
                    </a:lnTo>
                    <a:lnTo>
                      <a:pt x="3650" y="2710"/>
                    </a:lnTo>
                    <a:close/>
                    <a:moveTo>
                      <a:pt x="3549" y="2668"/>
                    </a:moveTo>
                    <a:lnTo>
                      <a:pt x="3585" y="2643"/>
                    </a:lnTo>
                    <a:lnTo>
                      <a:pt x="3640" y="2660"/>
                    </a:lnTo>
                    <a:lnTo>
                      <a:pt x="3633" y="2700"/>
                    </a:lnTo>
                    <a:lnTo>
                      <a:pt x="3617" y="2722"/>
                    </a:lnTo>
                    <a:lnTo>
                      <a:pt x="3620" y="2751"/>
                    </a:lnTo>
                    <a:lnTo>
                      <a:pt x="3597" y="2742"/>
                    </a:lnTo>
                    <a:lnTo>
                      <a:pt x="3564" y="2755"/>
                    </a:lnTo>
                    <a:lnTo>
                      <a:pt x="3508" y="2738"/>
                    </a:lnTo>
                    <a:lnTo>
                      <a:pt x="3497" y="2723"/>
                    </a:lnTo>
                    <a:lnTo>
                      <a:pt x="3512" y="2713"/>
                    </a:lnTo>
                    <a:lnTo>
                      <a:pt x="3542" y="2715"/>
                    </a:lnTo>
                    <a:lnTo>
                      <a:pt x="3549" y="2668"/>
                    </a:lnTo>
                    <a:lnTo>
                      <a:pt x="3549" y="2668"/>
                    </a:lnTo>
                    <a:close/>
                    <a:moveTo>
                      <a:pt x="3439" y="2722"/>
                    </a:moveTo>
                    <a:lnTo>
                      <a:pt x="3456" y="2705"/>
                    </a:lnTo>
                    <a:lnTo>
                      <a:pt x="3467" y="2724"/>
                    </a:lnTo>
                    <a:lnTo>
                      <a:pt x="3449" y="2733"/>
                    </a:lnTo>
                    <a:lnTo>
                      <a:pt x="3439" y="2722"/>
                    </a:lnTo>
                    <a:lnTo>
                      <a:pt x="3439" y="2722"/>
                    </a:lnTo>
                    <a:close/>
                    <a:moveTo>
                      <a:pt x="3276" y="2617"/>
                    </a:moveTo>
                    <a:lnTo>
                      <a:pt x="3276" y="2643"/>
                    </a:lnTo>
                    <a:lnTo>
                      <a:pt x="3292" y="2665"/>
                    </a:lnTo>
                    <a:lnTo>
                      <a:pt x="3339" y="2675"/>
                    </a:lnTo>
                    <a:lnTo>
                      <a:pt x="3381" y="2706"/>
                    </a:lnTo>
                    <a:lnTo>
                      <a:pt x="3390" y="2727"/>
                    </a:lnTo>
                    <a:lnTo>
                      <a:pt x="3404" y="2705"/>
                    </a:lnTo>
                    <a:lnTo>
                      <a:pt x="3431" y="2692"/>
                    </a:lnTo>
                    <a:lnTo>
                      <a:pt x="3442" y="2680"/>
                    </a:lnTo>
                    <a:lnTo>
                      <a:pt x="3473" y="2673"/>
                    </a:lnTo>
                    <a:lnTo>
                      <a:pt x="3482" y="2654"/>
                    </a:lnTo>
                    <a:lnTo>
                      <a:pt x="3445" y="2610"/>
                    </a:lnTo>
                    <a:lnTo>
                      <a:pt x="3399" y="2599"/>
                    </a:lnTo>
                    <a:lnTo>
                      <a:pt x="3353" y="2616"/>
                    </a:lnTo>
                    <a:lnTo>
                      <a:pt x="3314" y="2606"/>
                    </a:lnTo>
                    <a:lnTo>
                      <a:pt x="3276" y="2617"/>
                    </a:lnTo>
                    <a:lnTo>
                      <a:pt x="3276" y="2617"/>
                    </a:lnTo>
                    <a:close/>
                    <a:moveTo>
                      <a:pt x="7433" y="2642"/>
                    </a:moveTo>
                    <a:lnTo>
                      <a:pt x="7447" y="2645"/>
                    </a:lnTo>
                    <a:lnTo>
                      <a:pt x="7479" y="2656"/>
                    </a:lnTo>
                    <a:lnTo>
                      <a:pt x="7489" y="2646"/>
                    </a:lnTo>
                    <a:lnTo>
                      <a:pt x="7477" y="2607"/>
                    </a:lnTo>
                    <a:lnTo>
                      <a:pt x="7464" y="2604"/>
                    </a:lnTo>
                    <a:lnTo>
                      <a:pt x="7447" y="2615"/>
                    </a:lnTo>
                    <a:lnTo>
                      <a:pt x="7433" y="2642"/>
                    </a:lnTo>
                    <a:lnTo>
                      <a:pt x="7433" y="2642"/>
                    </a:lnTo>
                    <a:close/>
                    <a:moveTo>
                      <a:pt x="7263" y="2648"/>
                    </a:moveTo>
                    <a:lnTo>
                      <a:pt x="7263" y="2648"/>
                    </a:lnTo>
                    <a:lnTo>
                      <a:pt x="7272" y="2648"/>
                    </a:lnTo>
                    <a:lnTo>
                      <a:pt x="7292" y="2646"/>
                    </a:lnTo>
                    <a:lnTo>
                      <a:pt x="7322" y="2644"/>
                    </a:lnTo>
                    <a:lnTo>
                      <a:pt x="7345" y="2639"/>
                    </a:lnTo>
                    <a:lnTo>
                      <a:pt x="7389" y="2646"/>
                    </a:lnTo>
                    <a:lnTo>
                      <a:pt x="7417" y="2632"/>
                    </a:lnTo>
                    <a:lnTo>
                      <a:pt x="7444" y="2602"/>
                    </a:lnTo>
                    <a:lnTo>
                      <a:pt x="7471" y="2594"/>
                    </a:lnTo>
                    <a:lnTo>
                      <a:pt x="7483" y="2577"/>
                    </a:lnTo>
                    <a:lnTo>
                      <a:pt x="7483" y="2559"/>
                    </a:lnTo>
                    <a:lnTo>
                      <a:pt x="7491" y="2550"/>
                    </a:lnTo>
                    <a:lnTo>
                      <a:pt x="7498" y="2522"/>
                    </a:lnTo>
                    <a:lnTo>
                      <a:pt x="7505" y="2509"/>
                    </a:lnTo>
                    <a:lnTo>
                      <a:pt x="7479" y="2489"/>
                    </a:lnTo>
                    <a:lnTo>
                      <a:pt x="7468" y="2479"/>
                    </a:lnTo>
                    <a:lnTo>
                      <a:pt x="7407" y="2477"/>
                    </a:lnTo>
                    <a:lnTo>
                      <a:pt x="7369" y="2495"/>
                    </a:lnTo>
                    <a:lnTo>
                      <a:pt x="7351" y="2544"/>
                    </a:lnTo>
                    <a:lnTo>
                      <a:pt x="7333" y="2578"/>
                    </a:lnTo>
                    <a:lnTo>
                      <a:pt x="7263" y="2648"/>
                    </a:lnTo>
                    <a:lnTo>
                      <a:pt x="7263" y="2648"/>
                    </a:lnTo>
                    <a:close/>
                    <a:moveTo>
                      <a:pt x="3015" y="2388"/>
                    </a:moveTo>
                    <a:lnTo>
                      <a:pt x="2990" y="2424"/>
                    </a:lnTo>
                    <a:lnTo>
                      <a:pt x="3025" y="2459"/>
                    </a:lnTo>
                    <a:lnTo>
                      <a:pt x="3050" y="2463"/>
                    </a:lnTo>
                    <a:lnTo>
                      <a:pt x="3072" y="2449"/>
                    </a:lnTo>
                    <a:lnTo>
                      <a:pt x="3131" y="2452"/>
                    </a:lnTo>
                    <a:lnTo>
                      <a:pt x="3162" y="2439"/>
                    </a:lnTo>
                    <a:lnTo>
                      <a:pt x="3199" y="2434"/>
                    </a:lnTo>
                    <a:lnTo>
                      <a:pt x="3214" y="2413"/>
                    </a:lnTo>
                    <a:lnTo>
                      <a:pt x="3197" y="2405"/>
                    </a:lnTo>
                    <a:lnTo>
                      <a:pt x="3152" y="2412"/>
                    </a:lnTo>
                    <a:lnTo>
                      <a:pt x="3125" y="2403"/>
                    </a:lnTo>
                    <a:lnTo>
                      <a:pt x="3033" y="2400"/>
                    </a:lnTo>
                    <a:lnTo>
                      <a:pt x="3015" y="2388"/>
                    </a:lnTo>
                    <a:lnTo>
                      <a:pt x="3015" y="2388"/>
                    </a:lnTo>
                    <a:close/>
                    <a:moveTo>
                      <a:pt x="1726" y="2332"/>
                    </a:moveTo>
                    <a:lnTo>
                      <a:pt x="1730" y="2350"/>
                    </a:lnTo>
                    <a:lnTo>
                      <a:pt x="1743" y="2348"/>
                    </a:lnTo>
                    <a:lnTo>
                      <a:pt x="1744" y="2332"/>
                    </a:lnTo>
                    <a:lnTo>
                      <a:pt x="1726" y="2332"/>
                    </a:lnTo>
                    <a:lnTo>
                      <a:pt x="1726" y="2332"/>
                    </a:lnTo>
                    <a:close/>
                    <a:moveTo>
                      <a:pt x="1752" y="2356"/>
                    </a:moveTo>
                    <a:lnTo>
                      <a:pt x="1765" y="2370"/>
                    </a:lnTo>
                    <a:lnTo>
                      <a:pt x="1791" y="2361"/>
                    </a:lnTo>
                    <a:lnTo>
                      <a:pt x="1794" y="2326"/>
                    </a:lnTo>
                    <a:lnTo>
                      <a:pt x="1830" y="2321"/>
                    </a:lnTo>
                    <a:lnTo>
                      <a:pt x="1845" y="2286"/>
                    </a:lnTo>
                    <a:lnTo>
                      <a:pt x="1843" y="2250"/>
                    </a:lnTo>
                    <a:lnTo>
                      <a:pt x="1878" y="2210"/>
                    </a:lnTo>
                    <a:lnTo>
                      <a:pt x="1894" y="2225"/>
                    </a:lnTo>
                    <a:lnTo>
                      <a:pt x="1934" y="2225"/>
                    </a:lnTo>
                    <a:lnTo>
                      <a:pt x="1988" y="2234"/>
                    </a:lnTo>
                    <a:lnTo>
                      <a:pt x="2015" y="2254"/>
                    </a:lnTo>
                    <a:lnTo>
                      <a:pt x="2028" y="2242"/>
                    </a:lnTo>
                    <a:lnTo>
                      <a:pt x="2044" y="2225"/>
                    </a:lnTo>
                    <a:lnTo>
                      <a:pt x="2097" y="2228"/>
                    </a:lnTo>
                    <a:lnTo>
                      <a:pt x="2130" y="2254"/>
                    </a:lnTo>
                    <a:lnTo>
                      <a:pt x="2191" y="2269"/>
                    </a:lnTo>
                    <a:lnTo>
                      <a:pt x="2266" y="2278"/>
                    </a:lnTo>
                    <a:lnTo>
                      <a:pt x="2285" y="2314"/>
                    </a:lnTo>
                    <a:lnTo>
                      <a:pt x="2279" y="2347"/>
                    </a:lnTo>
                    <a:lnTo>
                      <a:pt x="2294" y="2361"/>
                    </a:lnTo>
                    <a:lnTo>
                      <a:pt x="2352" y="2388"/>
                    </a:lnTo>
                    <a:lnTo>
                      <a:pt x="2455" y="2386"/>
                    </a:lnTo>
                    <a:lnTo>
                      <a:pt x="2546" y="2400"/>
                    </a:lnTo>
                    <a:lnTo>
                      <a:pt x="2624" y="2388"/>
                    </a:lnTo>
                    <a:lnTo>
                      <a:pt x="2645" y="2360"/>
                    </a:lnTo>
                    <a:lnTo>
                      <a:pt x="2655" y="2292"/>
                    </a:lnTo>
                    <a:lnTo>
                      <a:pt x="2687" y="2290"/>
                    </a:lnTo>
                    <a:lnTo>
                      <a:pt x="2729" y="2335"/>
                    </a:lnTo>
                    <a:lnTo>
                      <a:pt x="2756" y="2334"/>
                    </a:lnTo>
                    <a:lnTo>
                      <a:pt x="2787" y="2329"/>
                    </a:lnTo>
                    <a:lnTo>
                      <a:pt x="2810" y="2342"/>
                    </a:lnTo>
                    <a:lnTo>
                      <a:pt x="2846" y="2374"/>
                    </a:lnTo>
                    <a:lnTo>
                      <a:pt x="2876" y="2372"/>
                    </a:lnTo>
                    <a:lnTo>
                      <a:pt x="2901" y="2399"/>
                    </a:lnTo>
                    <a:lnTo>
                      <a:pt x="2922" y="2388"/>
                    </a:lnTo>
                    <a:lnTo>
                      <a:pt x="2969" y="2389"/>
                    </a:lnTo>
                    <a:lnTo>
                      <a:pt x="2970" y="2435"/>
                    </a:lnTo>
                    <a:lnTo>
                      <a:pt x="3003" y="2478"/>
                    </a:lnTo>
                    <a:lnTo>
                      <a:pt x="3006" y="2503"/>
                    </a:lnTo>
                    <a:lnTo>
                      <a:pt x="3028" y="2530"/>
                    </a:lnTo>
                    <a:lnTo>
                      <a:pt x="3067" y="2548"/>
                    </a:lnTo>
                    <a:lnTo>
                      <a:pt x="3104" y="2534"/>
                    </a:lnTo>
                    <a:lnTo>
                      <a:pt x="3131" y="2550"/>
                    </a:lnTo>
                    <a:lnTo>
                      <a:pt x="3159" y="2549"/>
                    </a:lnTo>
                    <a:lnTo>
                      <a:pt x="3180" y="2535"/>
                    </a:lnTo>
                    <a:lnTo>
                      <a:pt x="3208" y="2534"/>
                    </a:lnTo>
                    <a:lnTo>
                      <a:pt x="3216" y="2545"/>
                    </a:lnTo>
                    <a:lnTo>
                      <a:pt x="3246" y="2550"/>
                    </a:lnTo>
                    <a:lnTo>
                      <a:pt x="3266" y="2572"/>
                    </a:lnTo>
                    <a:lnTo>
                      <a:pt x="3254" y="2646"/>
                    </a:lnTo>
                    <a:lnTo>
                      <a:pt x="3238" y="2667"/>
                    </a:lnTo>
                    <a:lnTo>
                      <a:pt x="3256" y="2681"/>
                    </a:lnTo>
                    <a:lnTo>
                      <a:pt x="3267" y="2732"/>
                    </a:lnTo>
                    <a:lnTo>
                      <a:pt x="3246" y="2738"/>
                    </a:lnTo>
                    <a:lnTo>
                      <a:pt x="3220" y="2713"/>
                    </a:lnTo>
                    <a:lnTo>
                      <a:pt x="3182" y="2717"/>
                    </a:lnTo>
                    <a:lnTo>
                      <a:pt x="3138" y="2681"/>
                    </a:lnTo>
                    <a:lnTo>
                      <a:pt x="3103" y="2671"/>
                    </a:lnTo>
                    <a:lnTo>
                      <a:pt x="3070" y="2636"/>
                    </a:lnTo>
                    <a:lnTo>
                      <a:pt x="3045" y="2635"/>
                    </a:lnTo>
                    <a:lnTo>
                      <a:pt x="2996" y="2661"/>
                    </a:lnTo>
                    <a:lnTo>
                      <a:pt x="2945" y="2663"/>
                    </a:lnTo>
                    <a:lnTo>
                      <a:pt x="2902" y="2639"/>
                    </a:lnTo>
                    <a:lnTo>
                      <a:pt x="2854" y="2628"/>
                    </a:lnTo>
                    <a:lnTo>
                      <a:pt x="2815" y="2662"/>
                    </a:lnTo>
                    <a:lnTo>
                      <a:pt x="2771" y="2631"/>
                    </a:lnTo>
                    <a:lnTo>
                      <a:pt x="2712" y="2627"/>
                    </a:lnTo>
                    <a:lnTo>
                      <a:pt x="2676" y="2647"/>
                    </a:lnTo>
                    <a:lnTo>
                      <a:pt x="2586" y="2613"/>
                    </a:lnTo>
                    <a:lnTo>
                      <a:pt x="2503" y="2560"/>
                    </a:lnTo>
                    <a:lnTo>
                      <a:pt x="2450" y="2561"/>
                    </a:lnTo>
                    <a:lnTo>
                      <a:pt x="2409" y="2534"/>
                    </a:lnTo>
                    <a:lnTo>
                      <a:pt x="2384" y="2535"/>
                    </a:lnTo>
                    <a:lnTo>
                      <a:pt x="2362" y="2559"/>
                    </a:lnTo>
                    <a:lnTo>
                      <a:pt x="2331" y="2553"/>
                    </a:lnTo>
                    <a:lnTo>
                      <a:pt x="2305" y="2526"/>
                    </a:lnTo>
                    <a:lnTo>
                      <a:pt x="2281" y="2528"/>
                    </a:lnTo>
                    <a:lnTo>
                      <a:pt x="2250" y="2563"/>
                    </a:lnTo>
                    <a:lnTo>
                      <a:pt x="2174" y="2542"/>
                    </a:lnTo>
                    <a:lnTo>
                      <a:pt x="2122" y="2502"/>
                    </a:lnTo>
                    <a:lnTo>
                      <a:pt x="2070" y="2499"/>
                    </a:lnTo>
                    <a:lnTo>
                      <a:pt x="2046" y="2486"/>
                    </a:lnTo>
                    <a:lnTo>
                      <a:pt x="2015" y="2505"/>
                    </a:lnTo>
                    <a:lnTo>
                      <a:pt x="1974" y="2490"/>
                    </a:lnTo>
                    <a:lnTo>
                      <a:pt x="1930" y="2483"/>
                    </a:lnTo>
                    <a:lnTo>
                      <a:pt x="1914" y="2468"/>
                    </a:lnTo>
                    <a:lnTo>
                      <a:pt x="1937" y="2426"/>
                    </a:lnTo>
                    <a:lnTo>
                      <a:pt x="1952" y="2411"/>
                    </a:lnTo>
                    <a:lnTo>
                      <a:pt x="1928" y="2409"/>
                    </a:lnTo>
                    <a:lnTo>
                      <a:pt x="1908" y="2421"/>
                    </a:lnTo>
                    <a:lnTo>
                      <a:pt x="1885" y="2406"/>
                    </a:lnTo>
                    <a:lnTo>
                      <a:pt x="1869" y="2377"/>
                    </a:lnTo>
                    <a:lnTo>
                      <a:pt x="1832" y="2392"/>
                    </a:lnTo>
                    <a:lnTo>
                      <a:pt x="1763" y="2391"/>
                    </a:lnTo>
                    <a:lnTo>
                      <a:pt x="1741" y="2377"/>
                    </a:lnTo>
                    <a:lnTo>
                      <a:pt x="1740" y="2358"/>
                    </a:lnTo>
                    <a:lnTo>
                      <a:pt x="1752" y="2356"/>
                    </a:lnTo>
                    <a:lnTo>
                      <a:pt x="1752" y="2356"/>
                    </a:lnTo>
                    <a:close/>
                    <a:moveTo>
                      <a:pt x="2196" y="431"/>
                    </a:moveTo>
                    <a:lnTo>
                      <a:pt x="2230" y="464"/>
                    </a:lnTo>
                    <a:lnTo>
                      <a:pt x="2248" y="464"/>
                    </a:lnTo>
                    <a:lnTo>
                      <a:pt x="2241" y="491"/>
                    </a:lnTo>
                    <a:lnTo>
                      <a:pt x="2267" y="491"/>
                    </a:lnTo>
                    <a:lnTo>
                      <a:pt x="2281" y="443"/>
                    </a:lnTo>
                    <a:lnTo>
                      <a:pt x="2242" y="390"/>
                    </a:lnTo>
                    <a:lnTo>
                      <a:pt x="2213" y="407"/>
                    </a:lnTo>
                    <a:lnTo>
                      <a:pt x="2196" y="431"/>
                    </a:lnTo>
                    <a:lnTo>
                      <a:pt x="2196" y="431"/>
                    </a:lnTo>
                    <a:close/>
                    <a:moveTo>
                      <a:pt x="1911" y="640"/>
                    </a:moveTo>
                    <a:lnTo>
                      <a:pt x="1910" y="668"/>
                    </a:lnTo>
                    <a:lnTo>
                      <a:pt x="1929" y="659"/>
                    </a:lnTo>
                    <a:lnTo>
                      <a:pt x="1911" y="640"/>
                    </a:lnTo>
                    <a:lnTo>
                      <a:pt x="1911" y="640"/>
                    </a:lnTo>
                    <a:close/>
                    <a:moveTo>
                      <a:pt x="1910" y="569"/>
                    </a:moveTo>
                    <a:lnTo>
                      <a:pt x="1929" y="549"/>
                    </a:lnTo>
                    <a:lnTo>
                      <a:pt x="1908" y="539"/>
                    </a:lnTo>
                    <a:lnTo>
                      <a:pt x="1910" y="569"/>
                    </a:lnTo>
                    <a:lnTo>
                      <a:pt x="1910" y="569"/>
                    </a:lnTo>
                    <a:close/>
                    <a:moveTo>
                      <a:pt x="1914" y="585"/>
                    </a:moveTo>
                    <a:lnTo>
                      <a:pt x="1904" y="604"/>
                    </a:lnTo>
                    <a:lnTo>
                      <a:pt x="1927" y="607"/>
                    </a:lnTo>
                    <a:lnTo>
                      <a:pt x="1914" y="585"/>
                    </a:lnTo>
                    <a:lnTo>
                      <a:pt x="1914" y="585"/>
                    </a:lnTo>
                    <a:close/>
                    <a:moveTo>
                      <a:pt x="1807" y="617"/>
                    </a:moveTo>
                    <a:lnTo>
                      <a:pt x="1803" y="646"/>
                    </a:lnTo>
                    <a:lnTo>
                      <a:pt x="1822" y="658"/>
                    </a:lnTo>
                    <a:lnTo>
                      <a:pt x="1856" y="622"/>
                    </a:lnTo>
                    <a:lnTo>
                      <a:pt x="1828" y="611"/>
                    </a:lnTo>
                    <a:lnTo>
                      <a:pt x="1807" y="617"/>
                    </a:lnTo>
                    <a:lnTo>
                      <a:pt x="1807" y="617"/>
                    </a:lnTo>
                    <a:close/>
                    <a:moveTo>
                      <a:pt x="2355" y="1474"/>
                    </a:moveTo>
                    <a:lnTo>
                      <a:pt x="2358" y="1491"/>
                    </a:lnTo>
                    <a:lnTo>
                      <a:pt x="2384" y="1503"/>
                    </a:lnTo>
                    <a:lnTo>
                      <a:pt x="2395" y="1488"/>
                    </a:lnTo>
                    <a:lnTo>
                      <a:pt x="2381" y="1473"/>
                    </a:lnTo>
                    <a:lnTo>
                      <a:pt x="2355" y="1474"/>
                    </a:lnTo>
                    <a:lnTo>
                      <a:pt x="2355" y="1474"/>
                    </a:lnTo>
                    <a:close/>
                    <a:moveTo>
                      <a:pt x="2132" y="1633"/>
                    </a:moveTo>
                    <a:lnTo>
                      <a:pt x="2145" y="1663"/>
                    </a:lnTo>
                    <a:lnTo>
                      <a:pt x="2142" y="1679"/>
                    </a:lnTo>
                    <a:lnTo>
                      <a:pt x="2108" y="1688"/>
                    </a:lnTo>
                    <a:lnTo>
                      <a:pt x="2096" y="1705"/>
                    </a:lnTo>
                    <a:lnTo>
                      <a:pt x="2123" y="1706"/>
                    </a:lnTo>
                    <a:lnTo>
                      <a:pt x="2122" y="1695"/>
                    </a:lnTo>
                    <a:lnTo>
                      <a:pt x="2145" y="1684"/>
                    </a:lnTo>
                    <a:lnTo>
                      <a:pt x="2145" y="1732"/>
                    </a:lnTo>
                    <a:lnTo>
                      <a:pt x="2170" y="1759"/>
                    </a:lnTo>
                    <a:lnTo>
                      <a:pt x="2199" y="1713"/>
                    </a:lnTo>
                    <a:lnTo>
                      <a:pt x="2216" y="1741"/>
                    </a:lnTo>
                    <a:lnTo>
                      <a:pt x="2243" y="1746"/>
                    </a:lnTo>
                    <a:lnTo>
                      <a:pt x="2253" y="1722"/>
                    </a:lnTo>
                    <a:lnTo>
                      <a:pt x="2279" y="1709"/>
                    </a:lnTo>
                    <a:lnTo>
                      <a:pt x="2264" y="1675"/>
                    </a:lnTo>
                    <a:lnTo>
                      <a:pt x="2206" y="1638"/>
                    </a:lnTo>
                    <a:lnTo>
                      <a:pt x="2150" y="1628"/>
                    </a:lnTo>
                    <a:lnTo>
                      <a:pt x="2132" y="1633"/>
                    </a:lnTo>
                    <a:lnTo>
                      <a:pt x="2132" y="1633"/>
                    </a:lnTo>
                    <a:close/>
                    <a:moveTo>
                      <a:pt x="2021" y="1698"/>
                    </a:moveTo>
                    <a:lnTo>
                      <a:pt x="2016" y="1727"/>
                    </a:lnTo>
                    <a:lnTo>
                      <a:pt x="2037" y="1708"/>
                    </a:lnTo>
                    <a:lnTo>
                      <a:pt x="2021" y="1698"/>
                    </a:lnTo>
                    <a:lnTo>
                      <a:pt x="2021" y="1698"/>
                    </a:lnTo>
                    <a:close/>
                    <a:moveTo>
                      <a:pt x="1776" y="1479"/>
                    </a:moveTo>
                    <a:lnTo>
                      <a:pt x="1775" y="1507"/>
                    </a:lnTo>
                    <a:lnTo>
                      <a:pt x="1743" y="1531"/>
                    </a:lnTo>
                    <a:lnTo>
                      <a:pt x="1764" y="1559"/>
                    </a:lnTo>
                    <a:lnTo>
                      <a:pt x="1826" y="1563"/>
                    </a:lnTo>
                    <a:lnTo>
                      <a:pt x="1842" y="1580"/>
                    </a:lnTo>
                    <a:lnTo>
                      <a:pt x="1844" y="1614"/>
                    </a:lnTo>
                    <a:lnTo>
                      <a:pt x="1863" y="1626"/>
                    </a:lnTo>
                    <a:lnTo>
                      <a:pt x="1873" y="1672"/>
                    </a:lnTo>
                    <a:lnTo>
                      <a:pt x="1912" y="1697"/>
                    </a:lnTo>
                    <a:lnTo>
                      <a:pt x="1946" y="1693"/>
                    </a:lnTo>
                    <a:lnTo>
                      <a:pt x="1957" y="1727"/>
                    </a:lnTo>
                    <a:lnTo>
                      <a:pt x="1973" y="1740"/>
                    </a:lnTo>
                    <a:lnTo>
                      <a:pt x="1990" y="1715"/>
                    </a:lnTo>
                    <a:lnTo>
                      <a:pt x="1979" y="1680"/>
                    </a:lnTo>
                    <a:lnTo>
                      <a:pt x="1997" y="1638"/>
                    </a:lnTo>
                    <a:lnTo>
                      <a:pt x="1940" y="1625"/>
                    </a:lnTo>
                    <a:lnTo>
                      <a:pt x="1904" y="1585"/>
                    </a:lnTo>
                    <a:lnTo>
                      <a:pt x="1891" y="1508"/>
                    </a:lnTo>
                    <a:lnTo>
                      <a:pt x="1876" y="1495"/>
                    </a:lnTo>
                    <a:lnTo>
                      <a:pt x="1872" y="1466"/>
                    </a:lnTo>
                    <a:lnTo>
                      <a:pt x="1848" y="1454"/>
                    </a:lnTo>
                    <a:lnTo>
                      <a:pt x="1826" y="1454"/>
                    </a:lnTo>
                    <a:lnTo>
                      <a:pt x="1829" y="1485"/>
                    </a:lnTo>
                    <a:lnTo>
                      <a:pt x="1841" y="1507"/>
                    </a:lnTo>
                    <a:lnTo>
                      <a:pt x="1808" y="1495"/>
                    </a:lnTo>
                    <a:lnTo>
                      <a:pt x="1787" y="1472"/>
                    </a:lnTo>
                    <a:lnTo>
                      <a:pt x="1776" y="1479"/>
                    </a:lnTo>
                    <a:lnTo>
                      <a:pt x="1776" y="1479"/>
                    </a:lnTo>
                    <a:close/>
                    <a:moveTo>
                      <a:pt x="1611" y="1268"/>
                    </a:moveTo>
                    <a:lnTo>
                      <a:pt x="1594" y="1291"/>
                    </a:lnTo>
                    <a:lnTo>
                      <a:pt x="1621" y="1318"/>
                    </a:lnTo>
                    <a:lnTo>
                      <a:pt x="1651" y="1300"/>
                    </a:lnTo>
                    <a:lnTo>
                      <a:pt x="1640" y="1268"/>
                    </a:lnTo>
                    <a:lnTo>
                      <a:pt x="1611" y="1268"/>
                    </a:lnTo>
                    <a:lnTo>
                      <a:pt x="1611" y="1268"/>
                    </a:lnTo>
                    <a:close/>
                    <a:moveTo>
                      <a:pt x="1638" y="1194"/>
                    </a:moveTo>
                    <a:lnTo>
                      <a:pt x="1619" y="1227"/>
                    </a:lnTo>
                    <a:lnTo>
                      <a:pt x="1637" y="1249"/>
                    </a:lnTo>
                    <a:lnTo>
                      <a:pt x="1665" y="1239"/>
                    </a:lnTo>
                    <a:lnTo>
                      <a:pt x="1704" y="1260"/>
                    </a:lnTo>
                    <a:lnTo>
                      <a:pt x="1718" y="1249"/>
                    </a:lnTo>
                    <a:lnTo>
                      <a:pt x="1666" y="1200"/>
                    </a:lnTo>
                    <a:lnTo>
                      <a:pt x="1638" y="1194"/>
                    </a:lnTo>
                    <a:lnTo>
                      <a:pt x="1638" y="1194"/>
                    </a:lnTo>
                    <a:close/>
                    <a:moveTo>
                      <a:pt x="1296" y="965"/>
                    </a:moveTo>
                    <a:lnTo>
                      <a:pt x="1271" y="1007"/>
                    </a:lnTo>
                    <a:lnTo>
                      <a:pt x="1277" y="1040"/>
                    </a:lnTo>
                    <a:lnTo>
                      <a:pt x="1336" y="1046"/>
                    </a:lnTo>
                    <a:lnTo>
                      <a:pt x="1376" y="1067"/>
                    </a:lnTo>
                    <a:lnTo>
                      <a:pt x="1389" y="1055"/>
                    </a:lnTo>
                    <a:lnTo>
                      <a:pt x="1378" y="1006"/>
                    </a:lnTo>
                    <a:lnTo>
                      <a:pt x="1340" y="973"/>
                    </a:lnTo>
                    <a:lnTo>
                      <a:pt x="1296" y="965"/>
                    </a:lnTo>
                    <a:lnTo>
                      <a:pt x="1296" y="965"/>
                    </a:lnTo>
                    <a:close/>
                    <a:moveTo>
                      <a:pt x="1199" y="913"/>
                    </a:moveTo>
                    <a:lnTo>
                      <a:pt x="1218" y="911"/>
                    </a:lnTo>
                    <a:lnTo>
                      <a:pt x="1262" y="927"/>
                    </a:lnTo>
                    <a:lnTo>
                      <a:pt x="1280" y="953"/>
                    </a:lnTo>
                    <a:lnTo>
                      <a:pt x="1259" y="991"/>
                    </a:lnTo>
                    <a:lnTo>
                      <a:pt x="1242" y="975"/>
                    </a:lnTo>
                    <a:lnTo>
                      <a:pt x="1199" y="913"/>
                    </a:lnTo>
                    <a:lnTo>
                      <a:pt x="1199" y="913"/>
                    </a:lnTo>
                    <a:close/>
                    <a:moveTo>
                      <a:pt x="1081" y="828"/>
                    </a:moveTo>
                    <a:lnTo>
                      <a:pt x="1099" y="880"/>
                    </a:lnTo>
                    <a:lnTo>
                      <a:pt x="1130" y="876"/>
                    </a:lnTo>
                    <a:lnTo>
                      <a:pt x="1162" y="840"/>
                    </a:lnTo>
                    <a:lnTo>
                      <a:pt x="1131" y="805"/>
                    </a:lnTo>
                    <a:lnTo>
                      <a:pt x="1111" y="823"/>
                    </a:lnTo>
                    <a:lnTo>
                      <a:pt x="1081" y="828"/>
                    </a:lnTo>
                    <a:lnTo>
                      <a:pt x="1081" y="828"/>
                    </a:lnTo>
                    <a:close/>
                    <a:moveTo>
                      <a:pt x="1200" y="2111"/>
                    </a:moveTo>
                    <a:lnTo>
                      <a:pt x="1243" y="2142"/>
                    </a:lnTo>
                    <a:lnTo>
                      <a:pt x="1242" y="2118"/>
                    </a:lnTo>
                    <a:lnTo>
                      <a:pt x="1221" y="2102"/>
                    </a:lnTo>
                    <a:lnTo>
                      <a:pt x="1200" y="2111"/>
                    </a:lnTo>
                    <a:lnTo>
                      <a:pt x="1200" y="2111"/>
                    </a:lnTo>
                    <a:close/>
                    <a:moveTo>
                      <a:pt x="884" y="1680"/>
                    </a:moveTo>
                    <a:lnTo>
                      <a:pt x="861" y="1711"/>
                    </a:lnTo>
                    <a:lnTo>
                      <a:pt x="924" y="1769"/>
                    </a:lnTo>
                    <a:lnTo>
                      <a:pt x="917" y="1736"/>
                    </a:lnTo>
                    <a:lnTo>
                      <a:pt x="920" y="1707"/>
                    </a:lnTo>
                    <a:lnTo>
                      <a:pt x="884" y="1680"/>
                    </a:lnTo>
                    <a:lnTo>
                      <a:pt x="884" y="1680"/>
                    </a:lnTo>
                    <a:close/>
                    <a:moveTo>
                      <a:pt x="833" y="1647"/>
                    </a:moveTo>
                    <a:lnTo>
                      <a:pt x="864" y="1660"/>
                    </a:lnTo>
                    <a:lnTo>
                      <a:pt x="837" y="1684"/>
                    </a:lnTo>
                    <a:lnTo>
                      <a:pt x="833" y="1647"/>
                    </a:lnTo>
                    <a:lnTo>
                      <a:pt x="833" y="1647"/>
                    </a:lnTo>
                    <a:close/>
                    <a:moveTo>
                      <a:pt x="770" y="1539"/>
                    </a:moveTo>
                    <a:lnTo>
                      <a:pt x="753" y="1558"/>
                    </a:lnTo>
                    <a:lnTo>
                      <a:pt x="773" y="1584"/>
                    </a:lnTo>
                    <a:lnTo>
                      <a:pt x="811" y="1596"/>
                    </a:lnTo>
                    <a:lnTo>
                      <a:pt x="770" y="1539"/>
                    </a:lnTo>
                    <a:lnTo>
                      <a:pt x="770" y="1539"/>
                    </a:lnTo>
                    <a:close/>
                    <a:moveTo>
                      <a:pt x="584" y="1382"/>
                    </a:moveTo>
                    <a:lnTo>
                      <a:pt x="584" y="1410"/>
                    </a:lnTo>
                    <a:lnTo>
                      <a:pt x="621" y="1423"/>
                    </a:lnTo>
                    <a:lnTo>
                      <a:pt x="665" y="1490"/>
                    </a:lnTo>
                    <a:lnTo>
                      <a:pt x="708" y="1504"/>
                    </a:lnTo>
                    <a:lnTo>
                      <a:pt x="708" y="1440"/>
                    </a:lnTo>
                    <a:lnTo>
                      <a:pt x="658" y="1367"/>
                    </a:lnTo>
                    <a:lnTo>
                      <a:pt x="620" y="1355"/>
                    </a:lnTo>
                    <a:lnTo>
                      <a:pt x="584" y="1382"/>
                    </a:lnTo>
                    <a:lnTo>
                      <a:pt x="584" y="1382"/>
                    </a:lnTo>
                    <a:close/>
                    <a:moveTo>
                      <a:pt x="561" y="1256"/>
                    </a:moveTo>
                    <a:lnTo>
                      <a:pt x="544" y="1293"/>
                    </a:lnTo>
                    <a:lnTo>
                      <a:pt x="564" y="1317"/>
                    </a:lnTo>
                    <a:lnTo>
                      <a:pt x="589" y="1292"/>
                    </a:lnTo>
                    <a:lnTo>
                      <a:pt x="588" y="1267"/>
                    </a:lnTo>
                    <a:lnTo>
                      <a:pt x="561" y="1256"/>
                    </a:lnTo>
                    <a:lnTo>
                      <a:pt x="561" y="1256"/>
                    </a:lnTo>
                    <a:close/>
                    <a:moveTo>
                      <a:pt x="585" y="1162"/>
                    </a:moveTo>
                    <a:lnTo>
                      <a:pt x="625" y="1163"/>
                    </a:lnTo>
                    <a:lnTo>
                      <a:pt x="639" y="1174"/>
                    </a:lnTo>
                    <a:lnTo>
                      <a:pt x="643" y="1152"/>
                    </a:lnTo>
                    <a:lnTo>
                      <a:pt x="603" y="1138"/>
                    </a:lnTo>
                    <a:lnTo>
                      <a:pt x="585" y="1162"/>
                    </a:lnTo>
                    <a:lnTo>
                      <a:pt x="585" y="1162"/>
                    </a:lnTo>
                    <a:close/>
                    <a:moveTo>
                      <a:pt x="339" y="932"/>
                    </a:moveTo>
                    <a:lnTo>
                      <a:pt x="373" y="931"/>
                    </a:lnTo>
                    <a:lnTo>
                      <a:pt x="389" y="913"/>
                    </a:lnTo>
                    <a:lnTo>
                      <a:pt x="412" y="921"/>
                    </a:lnTo>
                    <a:lnTo>
                      <a:pt x="437" y="969"/>
                    </a:lnTo>
                    <a:lnTo>
                      <a:pt x="477" y="1000"/>
                    </a:lnTo>
                    <a:lnTo>
                      <a:pt x="466" y="1025"/>
                    </a:lnTo>
                    <a:lnTo>
                      <a:pt x="459" y="1069"/>
                    </a:lnTo>
                    <a:lnTo>
                      <a:pt x="444" y="1076"/>
                    </a:lnTo>
                    <a:lnTo>
                      <a:pt x="412" y="1016"/>
                    </a:lnTo>
                    <a:lnTo>
                      <a:pt x="387" y="1010"/>
                    </a:lnTo>
                    <a:lnTo>
                      <a:pt x="379" y="972"/>
                    </a:lnTo>
                    <a:lnTo>
                      <a:pt x="339" y="932"/>
                    </a:lnTo>
                    <a:lnTo>
                      <a:pt x="339" y="932"/>
                    </a:lnTo>
                    <a:close/>
                    <a:moveTo>
                      <a:pt x="338" y="802"/>
                    </a:moveTo>
                    <a:lnTo>
                      <a:pt x="378" y="815"/>
                    </a:lnTo>
                    <a:lnTo>
                      <a:pt x="363" y="793"/>
                    </a:lnTo>
                    <a:lnTo>
                      <a:pt x="338" y="802"/>
                    </a:lnTo>
                    <a:lnTo>
                      <a:pt x="338" y="802"/>
                    </a:lnTo>
                    <a:close/>
                    <a:moveTo>
                      <a:pt x="105" y="651"/>
                    </a:moveTo>
                    <a:lnTo>
                      <a:pt x="91" y="666"/>
                    </a:lnTo>
                    <a:lnTo>
                      <a:pt x="81" y="687"/>
                    </a:lnTo>
                    <a:lnTo>
                      <a:pt x="114" y="707"/>
                    </a:lnTo>
                    <a:lnTo>
                      <a:pt x="154" y="702"/>
                    </a:lnTo>
                    <a:lnTo>
                      <a:pt x="130" y="670"/>
                    </a:lnTo>
                    <a:lnTo>
                      <a:pt x="105" y="651"/>
                    </a:lnTo>
                    <a:lnTo>
                      <a:pt x="105" y="651"/>
                    </a:lnTo>
                    <a:close/>
                    <a:moveTo>
                      <a:pt x="7" y="170"/>
                    </a:moveTo>
                    <a:lnTo>
                      <a:pt x="0" y="189"/>
                    </a:lnTo>
                    <a:lnTo>
                      <a:pt x="8" y="239"/>
                    </a:lnTo>
                    <a:lnTo>
                      <a:pt x="51" y="332"/>
                    </a:lnTo>
                    <a:lnTo>
                      <a:pt x="78" y="344"/>
                    </a:lnTo>
                    <a:lnTo>
                      <a:pt x="152" y="425"/>
                    </a:lnTo>
                    <a:lnTo>
                      <a:pt x="175" y="425"/>
                    </a:lnTo>
                    <a:lnTo>
                      <a:pt x="220" y="483"/>
                    </a:lnTo>
                    <a:lnTo>
                      <a:pt x="247" y="492"/>
                    </a:lnTo>
                    <a:lnTo>
                      <a:pt x="268" y="484"/>
                    </a:lnTo>
                    <a:lnTo>
                      <a:pt x="324" y="530"/>
                    </a:lnTo>
                    <a:lnTo>
                      <a:pt x="384" y="627"/>
                    </a:lnTo>
                    <a:lnTo>
                      <a:pt x="445" y="684"/>
                    </a:lnTo>
                    <a:lnTo>
                      <a:pt x="462" y="684"/>
                    </a:lnTo>
                    <a:lnTo>
                      <a:pt x="462" y="730"/>
                    </a:lnTo>
                    <a:lnTo>
                      <a:pt x="478" y="743"/>
                    </a:lnTo>
                    <a:lnTo>
                      <a:pt x="484" y="786"/>
                    </a:lnTo>
                    <a:lnTo>
                      <a:pt x="505" y="807"/>
                    </a:lnTo>
                    <a:lnTo>
                      <a:pt x="541" y="806"/>
                    </a:lnTo>
                    <a:lnTo>
                      <a:pt x="588" y="863"/>
                    </a:lnTo>
                    <a:lnTo>
                      <a:pt x="610" y="877"/>
                    </a:lnTo>
                    <a:lnTo>
                      <a:pt x="631" y="874"/>
                    </a:lnTo>
                    <a:lnTo>
                      <a:pt x="637" y="892"/>
                    </a:lnTo>
                    <a:lnTo>
                      <a:pt x="624" y="916"/>
                    </a:lnTo>
                    <a:lnTo>
                      <a:pt x="645" y="940"/>
                    </a:lnTo>
                    <a:lnTo>
                      <a:pt x="662" y="984"/>
                    </a:lnTo>
                    <a:lnTo>
                      <a:pt x="661" y="994"/>
                    </a:lnTo>
                    <a:lnTo>
                      <a:pt x="695" y="1085"/>
                    </a:lnTo>
                    <a:lnTo>
                      <a:pt x="711" y="1135"/>
                    </a:lnTo>
                    <a:lnTo>
                      <a:pt x="755" y="1148"/>
                    </a:lnTo>
                    <a:lnTo>
                      <a:pt x="806" y="1183"/>
                    </a:lnTo>
                    <a:lnTo>
                      <a:pt x="806" y="1213"/>
                    </a:lnTo>
                    <a:lnTo>
                      <a:pt x="848" y="1287"/>
                    </a:lnTo>
                    <a:lnTo>
                      <a:pt x="887" y="1317"/>
                    </a:lnTo>
                    <a:lnTo>
                      <a:pt x="895" y="1400"/>
                    </a:lnTo>
                    <a:lnTo>
                      <a:pt x="959" y="1518"/>
                    </a:lnTo>
                    <a:lnTo>
                      <a:pt x="955" y="1566"/>
                    </a:lnTo>
                    <a:lnTo>
                      <a:pt x="971" y="1610"/>
                    </a:lnTo>
                    <a:lnTo>
                      <a:pt x="1033" y="1657"/>
                    </a:lnTo>
                    <a:lnTo>
                      <a:pt x="1095" y="1734"/>
                    </a:lnTo>
                    <a:lnTo>
                      <a:pt x="1113" y="1776"/>
                    </a:lnTo>
                    <a:lnTo>
                      <a:pt x="1161" y="1786"/>
                    </a:lnTo>
                    <a:lnTo>
                      <a:pt x="1179" y="1806"/>
                    </a:lnTo>
                    <a:lnTo>
                      <a:pt x="1220" y="1833"/>
                    </a:lnTo>
                    <a:lnTo>
                      <a:pt x="1226" y="1882"/>
                    </a:lnTo>
                    <a:lnTo>
                      <a:pt x="1263" y="1906"/>
                    </a:lnTo>
                    <a:lnTo>
                      <a:pt x="1308" y="1955"/>
                    </a:lnTo>
                    <a:lnTo>
                      <a:pt x="1384" y="2003"/>
                    </a:lnTo>
                    <a:lnTo>
                      <a:pt x="1402" y="2040"/>
                    </a:lnTo>
                    <a:lnTo>
                      <a:pt x="1451" y="2054"/>
                    </a:lnTo>
                    <a:lnTo>
                      <a:pt x="1552" y="2142"/>
                    </a:lnTo>
                    <a:lnTo>
                      <a:pt x="1561" y="2178"/>
                    </a:lnTo>
                    <a:lnTo>
                      <a:pt x="1582" y="2188"/>
                    </a:lnTo>
                    <a:lnTo>
                      <a:pt x="1606" y="2227"/>
                    </a:lnTo>
                    <a:lnTo>
                      <a:pt x="1618" y="2213"/>
                    </a:lnTo>
                    <a:lnTo>
                      <a:pt x="1618" y="2179"/>
                    </a:lnTo>
                    <a:lnTo>
                      <a:pt x="1608" y="2163"/>
                    </a:lnTo>
                    <a:lnTo>
                      <a:pt x="1608" y="2144"/>
                    </a:lnTo>
                    <a:lnTo>
                      <a:pt x="1639" y="2150"/>
                    </a:lnTo>
                    <a:lnTo>
                      <a:pt x="1706" y="2212"/>
                    </a:lnTo>
                    <a:lnTo>
                      <a:pt x="1719" y="2201"/>
                    </a:lnTo>
                    <a:lnTo>
                      <a:pt x="1720" y="2156"/>
                    </a:lnTo>
                    <a:lnTo>
                      <a:pt x="1735" y="2133"/>
                    </a:lnTo>
                    <a:lnTo>
                      <a:pt x="1762" y="2139"/>
                    </a:lnTo>
                    <a:lnTo>
                      <a:pt x="1793" y="2187"/>
                    </a:lnTo>
                    <a:lnTo>
                      <a:pt x="1813" y="2195"/>
                    </a:lnTo>
                    <a:lnTo>
                      <a:pt x="1836" y="2172"/>
                    </a:lnTo>
                    <a:lnTo>
                      <a:pt x="1833" y="2096"/>
                    </a:lnTo>
                    <a:lnTo>
                      <a:pt x="1850" y="2002"/>
                    </a:lnTo>
                    <a:lnTo>
                      <a:pt x="1831" y="1940"/>
                    </a:lnTo>
                    <a:lnTo>
                      <a:pt x="1860" y="1872"/>
                    </a:lnTo>
                    <a:lnTo>
                      <a:pt x="1845" y="1845"/>
                    </a:lnTo>
                    <a:lnTo>
                      <a:pt x="1848" y="1791"/>
                    </a:lnTo>
                    <a:lnTo>
                      <a:pt x="1878" y="1777"/>
                    </a:lnTo>
                    <a:lnTo>
                      <a:pt x="1892" y="1752"/>
                    </a:lnTo>
                    <a:lnTo>
                      <a:pt x="1887" y="1721"/>
                    </a:lnTo>
                    <a:lnTo>
                      <a:pt x="1861" y="1708"/>
                    </a:lnTo>
                    <a:lnTo>
                      <a:pt x="1830" y="1684"/>
                    </a:lnTo>
                    <a:lnTo>
                      <a:pt x="1817" y="1644"/>
                    </a:lnTo>
                    <a:lnTo>
                      <a:pt x="1796" y="1633"/>
                    </a:lnTo>
                    <a:lnTo>
                      <a:pt x="1786" y="1606"/>
                    </a:lnTo>
                    <a:lnTo>
                      <a:pt x="1754" y="1592"/>
                    </a:lnTo>
                    <a:lnTo>
                      <a:pt x="1702" y="1598"/>
                    </a:lnTo>
                    <a:lnTo>
                      <a:pt x="1669" y="1594"/>
                    </a:lnTo>
                    <a:lnTo>
                      <a:pt x="1664" y="1543"/>
                    </a:lnTo>
                    <a:lnTo>
                      <a:pt x="1639" y="1510"/>
                    </a:lnTo>
                    <a:lnTo>
                      <a:pt x="1617" y="1523"/>
                    </a:lnTo>
                    <a:lnTo>
                      <a:pt x="1633" y="1490"/>
                    </a:lnTo>
                    <a:lnTo>
                      <a:pt x="1619" y="1453"/>
                    </a:lnTo>
                    <a:lnTo>
                      <a:pt x="1614" y="1369"/>
                    </a:lnTo>
                    <a:lnTo>
                      <a:pt x="1574" y="1385"/>
                    </a:lnTo>
                    <a:lnTo>
                      <a:pt x="1557" y="1369"/>
                    </a:lnTo>
                    <a:lnTo>
                      <a:pt x="1490" y="1368"/>
                    </a:lnTo>
                    <a:lnTo>
                      <a:pt x="1432" y="1329"/>
                    </a:lnTo>
                    <a:lnTo>
                      <a:pt x="1433" y="1300"/>
                    </a:lnTo>
                    <a:lnTo>
                      <a:pt x="1467" y="1284"/>
                    </a:lnTo>
                    <a:lnTo>
                      <a:pt x="1507" y="1262"/>
                    </a:lnTo>
                    <a:lnTo>
                      <a:pt x="1482" y="1249"/>
                    </a:lnTo>
                    <a:lnTo>
                      <a:pt x="1445" y="1254"/>
                    </a:lnTo>
                    <a:lnTo>
                      <a:pt x="1424" y="1246"/>
                    </a:lnTo>
                    <a:lnTo>
                      <a:pt x="1387" y="1259"/>
                    </a:lnTo>
                    <a:lnTo>
                      <a:pt x="1414" y="1235"/>
                    </a:lnTo>
                    <a:lnTo>
                      <a:pt x="1454" y="1205"/>
                    </a:lnTo>
                    <a:lnTo>
                      <a:pt x="1505" y="1197"/>
                    </a:lnTo>
                    <a:lnTo>
                      <a:pt x="1495" y="1161"/>
                    </a:lnTo>
                    <a:lnTo>
                      <a:pt x="1443" y="1104"/>
                    </a:lnTo>
                    <a:lnTo>
                      <a:pt x="1413" y="1100"/>
                    </a:lnTo>
                    <a:lnTo>
                      <a:pt x="1373" y="1126"/>
                    </a:lnTo>
                    <a:lnTo>
                      <a:pt x="1338" y="1148"/>
                    </a:lnTo>
                    <a:lnTo>
                      <a:pt x="1295" y="1150"/>
                    </a:lnTo>
                    <a:lnTo>
                      <a:pt x="1319" y="1146"/>
                    </a:lnTo>
                    <a:lnTo>
                      <a:pt x="1335" y="1131"/>
                    </a:lnTo>
                    <a:lnTo>
                      <a:pt x="1351" y="1126"/>
                    </a:lnTo>
                    <a:lnTo>
                      <a:pt x="1368" y="1103"/>
                    </a:lnTo>
                    <a:lnTo>
                      <a:pt x="1359" y="1081"/>
                    </a:lnTo>
                    <a:lnTo>
                      <a:pt x="1321" y="1063"/>
                    </a:lnTo>
                    <a:lnTo>
                      <a:pt x="1261" y="1065"/>
                    </a:lnTo>
                    <a:lnTo>
                      <a:pt x="1219" y="1029"/>
                    </a:lnTo>
                    <a:lnTo>
                      <a:pt x="1219" y="1006"/>
                    </a:lnTo>
                    <a:lnTo>
                      <a:pt x="1212" y="962"/>
                    </a:lnTo>
                    <a:lnTo>
                      <a:pt x="1142" y="891"/>
                    </a:lnTo>
                    <a:lnTo>
                      <a:pt x="1118" y="886"/>
                    </a:lnTo>
                    <a:lnTo>
                      <a:pt x="1095" y="893"/>
                    </a:lnTo>
                    <a:lnTo>
                      <a:pt x="1068" y="871"/>
                    </a:lnTo>
                    <a:lnTo>
                      <a:pt x="1059" y="808"/>
                    </a:lnTo>
                    <a:lnTo>
                      <a:pt x="1010" y="758"/>
                    </a:lnTo>
                    <a:lnTo>
                      <a:pt x="946" y="723"/>
                    </a:lnTo>
                    <a:lnTo>
                      <a:pt x="905" y="720"/>
                    </a:lnTo>
                    <a:lnTo>
                      <a:pt x="897" y="737"/>
                    </a:lnTo>
                    <a:lnTo>
                      <a:pt x="877" y="723"/>
                    </a:lnTo>
                    <a:lnTo>
                      <a:pt x="867" y="677"/>
                    </a:lnTo>
                    <a:lnTo>
                      <a:pt x="844" y="701"/>
                    </a:lnTo>
                    <a:lnTo>
                      <a:pt x="827" y="676"/>
                    </a:lnTo>
                    <a:lnTo>
                      <a:pt x="824" y="626"/>
                    </a:lnTo>
                    <a:lnTo>
                      <a:pt x="793" y="586"/>
                    </a:lnTo>
                    <a:lnTo>
                      <a:pt x="756" y="578"/>
                    </a:lnTo>
                    <a:lnTo>
                      <a:pt x="743" y="555"/>
                    </a:lnTo>
                    <a:lnTo>
                      <a:pt x="644" y="490"/>
                    </a:lnTo>
                    <a:lnTo>
                      <a:pt x="611" y="486"/>
                    </a:lnTo>
                    <a:lnTo>
                      <a:pt x="570" y="441"/>
                    </a:lnTo>
                    <a:lnTo>
                      <a:pt x="530" y="435"/>
                    </a:lnTo>
                    <a:lnTo>
                      <a:pt x="519" y="409"/>
                    </a:lnTo>
                    <a:lnTo>
                      <a:pt x="510" y="354"/>
                    </a:lnTo>
                    <a:lnTo>
                      <a:pt x="476" y="336"/>
                    </a:lnTo>
                    <a:lnTo>
                      <a:pt x="455" y="294"/>
                    </a:lnTo>
                    <a:lnTo>
                      <a:pt x="441" y="289"/>
                    </a:lnTo>
                    <a:lnTo>
                      <a:pt x="416" y="244"/>
                    </a:lnTo>
                    <a:lnTo>
                      <a:pt x="377" y="230"/>
                    </a:lnTo>
                    <a:lnTo>
                      <a:pt x="341" y="230"/>
                    </a:lnTo>
                    <a:lnTo>
                      <a:pt x="317" y="238"/>
                    </a:lnTo>
                    <a:lnTo>
                      <a:pt x="299" y="226"/>
                    </a:lnTo>
                    <a:lnTo>
                      <a:pt x="256" y="225"/>
                    </a:lnTo>
                    <a:lnTo>
                      <a:pt x="205" y="238"/>
                    </a:lnTo>
                    <a:lnTo>
                      <a:pt x="181" y="222"/>
                    </a:lnTo>
                    <a:lnTo>
                      <a:pt x="102" y="168"/>
                    </a:lnTo>
                    <a:lnTo>
                      <a:pt x="32" y="158"/>
                    </a:lnTo>
                    <a:lnTo>
                      <a:pt x="7" y="17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6" name="iṡ1ídê"/>
              <p:cNvSpPr/>
              <p:nvPr/>
            </p:nvSpPr>
            <p:spPr bwMode="auto">
              <a:xfrm>
                <a:off x="3678222" y="4729703"/>
                <a:ext cx="88327" cy="28576"/>
              </a:xfrm>
              <a:custGeom>
                <a:avLst/>
                <a:gdLst>
                  <a:gd name="T0" fmla="*/ 0 w 546"/>
                  <a:gd name="T1" fmla="*/ 147 h 177"/>
                  <a:gd name="T2" fmla="*/ 26 w 546"/>
                  <a:gd name="T3" fmla="*/ 177 h 177"/>
                  <a:gd name="T4" fmla="*/ 62 w 546"/>
                  <a:gd name="T5" fmla="*/ 158 h 177"/>
                  <a:gd name="T6" fmla="*/ 92 w 546"/>
                  <a:gd name="T7" fmla="*/ 153 h 177"/>
                  <a:gd name="T8" fmla="*/ 94 w 546"/>
                  <a:gd name="T9" fmla="*/ 109 h 177"/>
                  <a:gd name="T10" fmla="*/ 73 w 546"/>
                  <a:gd name="T11" fmla="*/ 115 h 177"/>
                  <a:gd name="T12" fmla="*/ 28 w 546"/>
                  <a:gd name="T13" fmla="*/ 120 h 177"/>
                  <a:gd name="T14" fmla="*/ 0 w 546"/>
                  <a:gd name="T15" fmla="*/ 147 h 177"/>
                  <a:gd name="T16" fmla="*/ 0 w 546"/>
                  <a:gd name="T17" fmla="*/ 147 h 177"/>
                  <a:gd name="T18" fmla="*/ 138 w 546"/>
                  <a:gd name="T19" fmla="*/ 93 h 177"/>
                  <a:gd name="T20" fmla="*/ 174 w 546"/>
                  <a:gd name="T21" fmla="*/ 133 h 177"/>
                  <a:gd name="T22" fmla="*/ 215 w 546"/>
                  <a:gd name="T23" fmla="*/ 171 h 177"/>
                  <a:gd name="T24" fmla="*/ 220 w 546"/>
                  <a:gd name="T25" fmla="*/ 169 h 177"/>
                  <a:gd name="T26" fmla="*/ 252 w 546"/>
                  <a:gd name="T27" fmla="*/ 139 h 177"/>
                  <a:gd name="T28" fmla="*/ 279 w 546"/>
                  <a:gd name="T29" fmla="*/ 129 h 177"/>
                  <a:gd name="T30" fmla="*/ 311 w 546"/>
                  <a:gd name="T31" fmla="*/ 132 h 177"/>
                  <a:gd name="T32" fmla="*/ 381 w 546"/>
                  <a:gd name="T33" fmla="*/ 119 h 177"/>
                  <a:gd name="T34" fmla="*/ 429 w 546"/>
                  <a:gd name="T35" fmla="*/ 89 h 177"/>
                  <a:gd name="T36" fmla="*/ 479 w 546"/>
                  <a:gd name="T37" fmla="*/ 76 h 177"/>
                  <a:gd name="T38" fmla="*/ 492 w 546"/>
                  <a:gd name="T39" fmla="*/ 55 h 177"/>
                  <a:gd name="T40" fmla="*/ 512 w 546"/>
                  <a:gd name="T41" fmla="*/ 52 h 177"/>
                  <a:gd name="T42" fmla="*/ 546 w 546"/>
                  <a:gd name="T43" fmla="*/ 30 h 177"/>
                  <a:gd name="T44" fmla="*/ 546 w 546"/>
                  <a:gd name="T45" fmla="*/ 15 h 177"/>
                  <a:gd name="T46" fmla="*/ 530 w 546"/>
                  <a:gd name="T47" fmla="*/ 0 h 177"/>
                  <a:gd name="T48" fmla="*/ 464 w 546"/>
                  <a:gd name="T49" fmla="*/ 15 h 177"/>
                  <a:gd name="T50" fmla="*/ 424 w 546"/>
                  <a:gd name="T51" fmla="*/ 13 h 177"/>
                  <a:gd name="T52" fmla="*/ 386 w 546"/>
                  <a:gd name="T53" fmla="*/ 21 h 177"/>
                  <a:gd name="T54" fmla="*/ 351 w 546"/>
                  <a:gd name="T55" fmla="*/ 21 h 177"/>
                  <a:gd name="T56" fmla="*/ 305 w 546"/>
                  <a:gd name="T57" fmla="*/ 29 h 177"/>
                  <a:gd name="T58" fmla="*/ 233 w 546"/>
                  <a:gd name="T59" fmla="*/ 25 h 177"/>
                  <a:gd name="T60" fmla="*/ 179 w 546"/>
                  <a:gd name="T61" fmla="*/ 74 h 177"/>
                  <a:gd name="T62" fmla="*/ 138 w 546"/>
                  <a:gd name="T63" fmla="*/ 93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46" h="177">
                    <a:moveTo>
                      <a:pt x="0" y="147"/>
                    </a:moveTo>
                    <a:lnTo>
                      <a:pt x="26" y="177"/>
                    </a:lnTo>
                    <a:lnTo>
                      <a:pt x="62" y="158"/>
                    </a:lnTo>
                    <a:lnTo>
                      <a:pt x="92" y="153"/>
                    </a:lnTo>
                    <a:lnTo>
                      <a:pt x="94" y="109"/>
                    </a:lnTo>
                    <a:lnTo>
                      <a:pt x="73" y="115"/>
                    </a:lnTo>
                    <a:lnTo>
                      <a:pt x="28" y="120"/>
                    </a:lnTo>
                    <a:lnTo>
                      <a:pt x="0" y="147"/>
                    </a:lnTo>
                    <a:lnTo>
                      <a:pt x="0" y="147"/>
                    </a:lnTo>
                    <a:close/>
                    <a:moveTo>
                      <a:pt x="138" y="93"/>
                    </a:moveTo>
                    <a:lnTo>
                      <a:pt x="174" y="133"/>
                    </a:lnTo>
                    <a:lnTo>
                      <a:pt x="215" y="171"/>
                    </a:lnTo>
                    <a:lnTo>
                      <a:pt x="220" y="169"/>
                    </a:lnTo>
                    <a:lnTo>
                      <a:pt x="252" y="139"/>
                    </a:lnTo>
                    <a:lnTo>
                      <a:pt x="279" y="129"/>
                    </a:lnTo>
                    <a:lnTo>
                      <a:pt x="311" y="132"/>
                    </a:lnTo>
                    <a:lnTo>
                      <a:pt x="381" y="119"/>
                    </a:lnTo>
                    <a:lnTo>
                      <a:pt x="429" y="89"/>
                    </a:lnTo>
                    <a:lnTo>
                      <a:pt x="479" y="76"/>
                    </a:lnTo>
                    <a:lnTo>
                      <a:pt x="492" y="55"/>
                    </a:lnTo>
                    <a:lnTo>
                      <a:pt x="512" y="52"/>
                    </a:lnTo>
                    <a:lnTo>
                      <a:pt x="546" y="30"/>
                    </a:lnTo>
                    <a:lnTo>
                      <a:pt x="546" y="15"/>
                    </a:lnTo>
                    <a:lnTo>
                      <a:pt x="530" y="0"/>
                    </a:lnTo>
                    <a:lnTo>
                      <a:pt x="464" y="15"/>
                    </a:lnTo>
                    <a:lnTo>
                      <a:pt x="424" y="13"/>
                    </a:lnTo>
                    <a:lnTo>
                      <a:pt x="386" y="21"/>
                    </a:lnTo>
                    <a:lnTo>
                      <a:pt x="351" y="21"/>
                    </a:lnTo>
                    <a:lnTo>
                      <a:pt x="305" y="29"/>
                    </a:lnTo>
                    <a:lnTo>
                      <a:pt x="233" y="25"/>
                    </a:lnTo>
                    <a:lnTo>
                      <a:pt x="179" y="74"/>
                    </a:lnTo>
                    <a:lnTo>
                      <a:pt x="138" y="93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7" name="íşlide"/>
              <p:cNvSpPr/>
              <p:nvPr/>
            </p:nvSpPr>
            <p:spPr bwMode="auto">
              <a:xfrm>
                <a:off x="3017074" y="4269889"/>
                <a:ext cx="533855" cy="188343"/>
              </a:xfrm>
              <a:custGeom>
                <a:avLst/>
                <a:gdLst>
                  <a:gd name="T0" fmla="*/ 1986 w 3289"/>
                  <a:gd name="T1" fmla="*/ 842 h 1163"/>
                  <a:gd name="T2" fmla="*/ 25 w 3289"/>
                  <a:gd name="T3" fmla="*/ 375 h 1163"/>
                  <a:gd name="T4" fmla="*/ 0 w 3289"/>
                  <a:gd name="T5" fmla="*/ 314 h 1163"/>
                  <a:gd name="T6" fmla="*/ 1802 w 3289"/>
                  <a:gd name="T7" fmla="*/ 1132 h 1163"/>
                  <a:gd name="T8" fmla="*/ 1938 w 3289"/>
                  <a:gd name="T9" fmla="*/ 1133 h 1163"/>
                  <a:gd name="T10" fmla="*/ 2260 w 3289"/>
                  <a:gd name="T11" fmla="*/ 1062 h 1163"/>
                  <a:gd name="T12" fmla="*/ 2509 w 3289"/>
                  <a:gd name="T13" fmla="*/ 1052 h 1163"/>
                  <a:gd name="T14" fmla="*/ 2687 w 3289"/>
                  <a:gd name="T15" fmla="*/ 641 h 1163"/>
                  <a:gd name="T16" fmla="*/ 2767 w 3289"/>
                  <a:gd name="T17" fmla="*/ 533 h 1163"/>
                  <a:gd name="T18" fmla="*/ 3000 w 3289"/>
                  <a:gd name="T19" fmla="*/ 553 h 1163"/>
                  <a:gd name="T20" fmla="*/ 3152 w 3289"/>
                  <a:gd name="T21" fmla="*/ 545 h 1163"/>
                  <a:gd name="T22" fmla="*/ 3196 w 3289"/>
                  <a:gd name="T23" fmla="*/ 434 h 1163"/>
                  <a:gd name="T24" fmla="*/ 3215 w 3289"/>
                  <a:gd name="T25" fmla="*/ 358 h 1163"/>
                  <a:gd name="T26" fmla="*/ 3064 w 3289"/>
                  <a:gd name="T27" fmla="*/ 319 h 1163"/>
                  <a:gd name="T28" fmla="*/ 3028 w 3289"/>
                  <a:gd name="T29" fmla="*/ 288 h 1163"/>
                  <a:gd name="T30" fmla="*/ 3029 w 3289"/>
                  <a:gd name="T31" fmla="*/ 179 h 1163"/>
                  <a:gd name="T32" fmla="*/ 2905 w 3289"/>
                  <a:gd name="T33" fmla="*/ 62 h 1163"/>
                  <a:gd name="T34" fmla="*/ 2859 w 3289"/>
                  <a:gd name="T35" fmla="*/ 106 h 1163"/>
                  <a:gd name="T36" fmla="*/ 2746 w 3289"/>
                  <a:gd name="T37" fmla="*/ 241 h 1163"/>
                  <a:gd name="T38" fmla="*/ 2583 w 3289"/>
                  <a:gd name="T39" fmla="*/ 391 h 1163"/>
                  <a:gd name="T40" fmla="*/ 2628 w 3289"/>
                  <a:gd name="T41" fmla="*/ 429 h 1163"/>
                  <a:gd name="T42" fmla="*/ 2605 w 3289"/>
                  <a:gd name="T43" fmla="*/ 551 h 1163"/>
                  <a:gd name="T44" fmla="*/ 2567 w 3289"/>
                  <a:gd name="T45" fmla="*/ 459 h 1163"/>
                  <a:gd name="T46" fmla="*/ 2494 w 3289"/>
                  <a:gd name="T47" fmla="*/ 548 h 1163"/>
                  <a:gd name="T48" fmla="*/ 2397 w 3289"/>
                  <a:gd name="T49" fmla="*/ 554 h 1163"/>
                  <a:gd name="T50" fmla="*/ 2234 w 3289"/>
                  <a:gd name="T51" fmla="*/ 754 h 1163"/>
                  <a:gd name="T52" fmla="*/ 2061 w 3289"/>
                  <a:gd name="T53" fmla="*/ 897 h 1163"/>
                  <a:gd name="T54" fmla="*/ 1945 w 3289"/>
                  <a:gd name="T55" fmla="*/ 965 h 1163"/>
                  <a:gd name="T56" fmla="*/ 1777 w 3289"/>
                  <a:gd name="T57" fmla="*/ 1035 h 1163"/>
                  <a:gd name="T58" fmla="*/ 1667 w 3289"/>
                  <a:gd name="T59" fmla="*/ 979 h 1163"/>
                  <a:gd name="T60" fmla="*/ 2886 w 3289"/>
                  <a:gd name="T61" fmla="*/ 0 h 1163"/>
                  <a:gd name="T62" fmla="*/ 2945 w 3289"/>
                  <a:gd name="T63" fmla="*/ 31 h 1163"/>
                  <a:gd name="T64" fmla="*/ 1954 w 3289"/>
                  <a:gd name="T65" fmla="*/ 912 h 1163"/>
                  <a:gd name="T66" fmla="*/ 1989 w 3289"/>
                  <a:gd name="T67" fmla="*/ 898 h 1163"/>
                  <a:gd name="T68" fmla="*/ 2026 w 3289"/>
                  <a:gd name="T69" fmla="*/ 836 h 1163"/>
                  <a:gd name="T70" fmla="*/ 2001 w 3289"/>
                  <a:gd name="T71" fmla="*/ 843 h 1163"/>
                  <a:gd name="T72" fmla="*/ 18 w 3289"/>
                  <a:gd name="T73" fmla="*/ 127 h 1163"/>
                  <a:gd name="T74" fmla="*/ 163 w 3289"/>
                  <a:gd name="T75" fmla="*/ 160 h 1163"/>
                  <a:gd name="T76" fmla="*/ 205 w 3289"/>
                  <a:gd name="T77" fmla="*/ 293 h 1163"/>
                  <a:gd name="T78" fmla="*/ 321 w 3289"/>
                  <a:gd name="T79" fmla="*/ 227 h 1163"/>
                  <a:gd name="T80" fmla="*/ 384 w 3289"/>
                  <a:gd name="T81" fmla="*/ 197 h 1163"/>
                  <a:gd name="T82" fmla="*/ 574 w 3289"/>
                  <a:gd name="T83" fmla="*/ 518 h 1163"/>
                  <a:gd name="T84" fmla="*/ 583 w 3289"/>
                  <a:gd name="T85" fmla="*/ 754 h 1163"/>
                  <a:gd name="T86" fmla="*/ 674 w 3289"/>
                  <a:gd name="T87" fmla="*/ 863 h 1163"/>
                  <a:gd name="T88" fmla="*/ 709 w 3289"/>
                  <a:gd name="T89" fmla="*/ 953 h 1163"/>
                  <a:gd name="T90" fmla="*/ 714 w 3289"/>
                  <a:gd name="T91" fmla="*/ 1030 h 1163"/>
                  <a:gd name="T92" fmla="*/ 709 w 3289"/>
                  <a:gd name="T93" fmla="*/ 1054 h 1163"/>
                  <a:gd name="T94" fmla="*/ 618 w 3289"/>
                  <a:gd name="T95" fmla="*/ 1061 h 1163"/>
                  <a:gd name="T96" fmla="*/ 444 w 3289"/>
                  <a:gd name="T97" fmla="*/ 954 h 1163"/>
                  <a:gd name="T98" fmla="*/ 304 w 3289"/>
                  <a:gd name="T99" fmla="*/ 842 h 1163"/>
                  <a:gd name="T100" fmla="*/ 232 w 3289"/>
                  <a:gd name="T101" fmla="*/ 718 h 1163"/>
                  <a:gd name="T102" fmla="*/ 112 w 3289"/>
                  <a:gd name="T103" fmla="*/ 582 h 1163"/>
                  <a:gd name="T104" fmla="*/ 79 w 3289"/>
                  <a:gd name="T105" fmla="*/ 412 h 1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289" h="1163">
                    <a:moveTo>
                      <a:pt x="1985" y="843"/>
                    </a:moveTo>
                    <a:lnTo>
                      <a:pt x="1984" y="870"/>
                    </a:lnTo>
                    <a:lnTo>
                      <a:pt x="1977" y="873"/>
                    </a:lnTo>
                    <a:lnTo>
                      <a:pt x="1973" y="863"/>
                    </a:lnTo>
                    <a:lnTo>
                      <a:pt x="1986" y="842"/>
                    </a:lnTo>
                    <a:lnTo>
                      <a:pt x="1985" y="843"/>
                    </a:lnTo>
                    <a:lnTo>
                      <a:pt x="1985" y="843"/>
                    </a:lnTo>
                    <a:close/>
                    <a:moveTo>
                      <a:pt x="0" y="314"/>
                    </a:moveTo>
                    <a:lnTo>
                      <a:pt x="6" y="349"/>
                    </a:lnTo>
                    <a:lnTo>
                      <a:pt x="25" y="375"/>
                    </a:lnTo>
                    <a:lnTo>
                      <a:pt x="38" y="366"/>
                    </a:lnTo>
                    <a:lnTo>
                      <a:pt x="32" y="342"/>
                    </a:lnTo>
                    <a:lnTo>
                      <a:pt x="15" y="317"/>
                    </a:lnTo>
                    <a:lnTo>
                      <a:pt x="0" y="314"/>
                    </a:lnTo>
                    <a:lnTo>
                      <a:pt x="0" y="314"/>
                    </a:lnTo>
                    <a:close/>
                    <a:moveTo>
                      <a:pt x="1667" y="979"/>
                    </a:moveTo>
                    <a:lnTo>
                      <a:pt x="1702" y="1042"/>
                    </a:lnTo>
                    <a:lnTo>
                      <a:pt x="1756" y="1081"/>
                    </a:lnTo>
                    <a:lnTo>
                      <a:pt x="1763" y="1095"/>
                    </a:lnTo>
                    <a:lnTo>
                      <a:pt x="1802" y="1132"/>
                    </a:lnTo>
                    <a:lnTo>
                      <a:pt x="1816" y="1160"/>
                    </a:lnTo>
                    <a:lnTo>
                      <a:pt x="1841" y="1163"/>
                    </a:lnTo>
                    <a:lnTo>
                      <a:pt x="1890" y="1149"/>
                    </a:lnTo>
                    <a:lnTo>
                      <a:pt x="1896" y="1129"/>
                    </a:lnTo>
                    <a:lnTo>
                      <a:pt x="1938" y="1133"/>
                    </a:lnTo>
                    <a:lnTo>
                      <a:pt x="1963" y="1120"/>
                    </a:lnTo>
                    <a:lnTo>
                      <a:pt x="2057" y="1125"/>
                    </a:lnTo>
                    <a:lnTo>
                      <a:pt x="2152" y="1087"/>
                    </a:lnTo>
                    <a:lnTo>
                      <a:pt x="2177" y="1065"/>
                    </a:lnTo>
                    <a:lnTo>
                      <a:pt x="2260" y="1062"/>
                    </a:lnTo>
                    <a:lnTo>
                      <a:pt x="2303" y="1083"/>
                    </a:lnTo>
                    <a:lnTo>
                      <a:pt x="2317" y="1104"/>
                    </a:lnTo>
                    <a:lnTo>
                      <a:pt x="2358" y="1103"/>
                    </a:lnTo>
                    <a:lnTo>
                      <a:pt x="2428" y="1065"/>
                    </a:lnTo>
                    <a:lnTo>
                      <a:pt x="2509" y="1052"/>
                    </a:lnTo>
                    <a:lnTo>
                      <a:pt x="2505" y="1027"/>
                    </a:lnTo>
                    <a:lnTo>
                      <a:pt x="2572" y="924"/>
                    </a:lnTo>
                    <a:lnTo>
                      <a:pt x="2599" y="851"/>
                    </a:lnTo>
                    <a:lnTo>
                      <a:pt x="2651" y="774"/>
                    </a:lnTo>
                    <a:lnTo>
                      <a:pt x="2687" y="641"/>
                    </a:lnTo>
                    <a:lnTo>
                      <a:pt x="2687" y="615"/>
                    </a:lnTo>
                    <a:lnTo>
                      <a:pt x="2705" y="586"/>
                    </a:lnTo>
                    <a:lnTo>
                      <a:pt x="2703" y="564"/>
                    </a:lnTo>
                    <a:lnTo>
                      <a:pt x="2739" y="521"/>
                    </a:lnTo>
                    <a:lnTo>
                      <a:pt x="2767" y="533"/>
                    </a:lnTo>
                    <a:lnTo>
                      <a:pt x="2821" y="528"/>
                    </a:lnTo>
                    <a:lnTo>
                      <a:pt x="2896" y="529"/>
                    </a:lnTo>
                    <a:lnTo>
                      <a:pt x="2915" y="542"/>
                    </a:lnTo>
                    <a:lnTo>
                      <a:pt x="2963" y="541"/>
                    </a:lnTo>
                    <a:lnTo>
                      <a:pt x="3000" y="553"/>
                    </a:lnTo>
                    <a:lnTo>
                      <a:pt x="3003" y="537"/>
                    </a:lnTo>
                    <a:lnTo>
                      <a:pt x="3043" y="564"/>
                    </a:lnTo>
                    <a:lnTo>
                      <a:pt x="3072" y="572"/>
                    </a:lnTo>
                    <a:lnTo>
                      <a:pt x="3108" y="554"/>
                    </a:lnTo>
                    <a:lnTo>
                      <a:pt x="3152" y="545"/>
                    </a:lnTo>
                    <a:lnTo>
                      <a:pt x="3152" y="525"/>
                    </a:lnTo>
                    <a:lnTo>
                      <a:pt x="3107" y="487"/>
                    </a:lnTo>
                    <a:lnTo>
                      <a:pt x="3107" y="443"/>
                    </a:lnTo>
                    <a:lnTo>
                      <a:pt x="3127" y="427"/>
                    </a:lnTo>
                    <a:lnTo>
                      <a:pt x="3196" y="434"/>
                    </a:lnTo>
                    <a:lnTo>
                      <a:pt x="3253" y="420"/>
                    </a:lnTo>
                    <a:lnTo>
                      <a:pt x="3289" y="393"/>
                    </a:lnTo>
                    <a:lnTo>
                      <a:pt x="3281" y="366"/>
                    </a:lnTo>
                    <a:lnTo>
                      <a:pt x="3255" y="366"/>
                    </a:lnTo>
                    <a:lnTo>
                      <a:pt x="3215" y="358"/>
                    </a:lnTo>
                    <a:lnTo>
                      <a:pt x="3185" y="332"/>
                    </a:lnTo>
                    <a:lnTo>
                      <a:pt x="3156" y="334"/>
                    </a:lnTo>
                    <a:lnTo>
                      <a:pt x="3114" y="294"/>
                    </a:lnTo>
                    <a:lnTo>
                      <a:pt x="3090" y="294"/>
                    </a:lnTo>
                    <a:lnTo>
                      <a:pt x="3064" y="319"/>
                    </a:lnTo>
                    <a:lnTo>
                      <a:pt x="3047" y="304"/>
                    </a:lnTo>
                    <a:lnTo>
                      <a:pt x="3084" y="272"/>
                    </a:lnTo>
                    <a:lnTo>
                      <a:pt x="3066" y="251"/>
                    </a:lnTo>
                    <a:lnTo>
                      <a:pt x="3051" y="255"/>
                    </a:lnTo>
                    <a:lnTo>
                      <a:pt x="3028" y="288"/>
                    </a:lnTo>
                    <a:lnTo>
                      <a:pt x="3013" y="269"/>
                    </a:lnTo>
                    <a:lnTo>
                      <a:pt x="2999" y="263"/>
                    </a:lnTo>
                    <a:lnTo>
                      <a:pt x="3001" y="211"/>
                    </a:lnTo>
                    <a:lnTo>
                      <a:pt x="3030" y="201"/>
                    </a:lnTo>
                    <a:lnTo>
                      <a:pt x="3029" y="179"/>
                    </a:lnTo>
                    <a:lnTo>
                      <a:pt x="2989" y="152"/>
                    </a:lnTo>
                    <a:lnTo>
                      <a:pt x="2973" y="161"/>
                    </a:lnTo>
                    <a:lnTo>
                      <a:pt x="2941" y="131"/>
                    </a:lnTo>
                    <a:lnTo>
                      <a:pt x="2940" y="85"/>
                    </a:lnTo>
                    <a:lnTo>
                      <a:pt x="2905" y="62"/>
                    </a:lnTo>
                    <a:lnTo>
                      <a:pt x="2890" y="73"/>
                    </a:lnTo>
                    <a:lnTo>
                      <a:pt x="2899" y="104"/>
                    </a:lnTo>
                    <a:lnTo>
                      <a:pt x="2862" y="140"/>
                    </a:lnTo>
                    <a:lnTo>
                      <a:pt x="2848" y="136"/>
                    </a:lnTo>
                    <a:lnTo>
                      <a:pt x="2859" y="106"/>
                    </a:lnTo>
                    <a:lnTo>
                      <a:pt x="2853" y="78"/>
                    </a:lnTo>
                    <a:lnTo>
                      <a:pt x="2830" y="76"/>
                    </a:lnTo>
                    <a:lnTo>
                      <a:pt x="2807" y="153"/>
                    </a:lnTo>
                    <a:lnTo>
                      <a:pt x="2782" y="159"/>
                    </a:lnTo>
                    <a:lnTo>
                      <a:pt x="2746" y="241"/>
                    </a:lnTo>
                    <a:lnTo>
                      <a:pt x="2740" y="286"/>
                    </a:lnTo>
                    <a:lnTo>
                      <a:pt x="2678" y="351"/>
                    </a:lnTo>
                    <a:lnTo>
                      <a:pt x="2649" y="351"/>
                    </a:lnTo>
                    <a:lnTo>
                      <a:pt x="2600" y="370"/>
                    </a:lnTo>
                    <a:lnTo>
                      <a:pt x="2583" y="391"/>
                    </a:lnTo>
                    <a:lnTo>
                      <a:pt x="2601" y="390"/>
                    </a:lnTo>
                    <a:lnTo>
                      <a:pt x="2589" y="409"/>
                    </a:lnTo>
                    <a:lnTo>
                      <a:pt x="2604" y="415"/>
                    </a:lnTo>
                    <a:lnTo>
                      <a:pt x="2644" y="404"/>
                    </a:lnTo>
                    <a:lnTo>
                      <a:pt x="2628" y="429"/>
                    </a:lnTo>
                    <a:lnTo>
                      <a:pt x="2601" y="443"/>
                    </a:lnTo>
                    <a:lnTo>
                      <a:pt x="2596" y="449"/>
                    </a:lnTo>
                    <a:lnTo>
                      <a:pt x="2599" y="462"/>
                    </a:lnTo>
                    <a:lnTo>
                      <a:pt x="2621" y="522"/>
                    </a:lnTo>
                    <a:lnTo>
                      <a:pt x="2605" y="551"/>
                    </a:lnTo>
                    <a:lnTo>
                      <a:pt x="2583" y="538"/>
                    </a:lnTo>
                    <a:lnTo>
                      <a:pt x="2580" y="495"/>
                    </a:lnTo>
                    <a:lnTo>
                      <a:pt x="2572" y="464"/>
                    </a:lnTo>
                    <a:lnTo>
                      <a:pt x="2566" y="465"/>
                    </a:lnTo>
                    <a:lnTo>
                      <a:pt x="2567" y="459"/>
                    </a:lnTo>
                    <a:lnTo>
                      <a:pt x="2552" y="460"/>
                    </a:lnTo>
                    <a:lnTo>
                      <a:pt x="2533" y="488"/>
                    </a:lnTo>
                    <a:lnTo>
                      <a:pt x="2545" y="564"/>
                    </a:lnTo>
                    <a:lnTo>
                      <a:pt x="2527" y="573"/>
                    </a:lnTo>
                    <a:lnTo>
                      <a:pt x="2494" y="548"/>
                    </a:lnTo>
                    <a:lnTo>
                      <a:pt x="2465" y="497"/>
                    </a:lnTo>
                    <a:lnTo>
                      <a:pt x="2446" y="495"/>
                    </a:lnTo>
                    <a:lnTo>
                      <a:pt x="2420" y="484"/>
                    </a:lnTo>
                    <a:lnTo>
                      <a:pt x="2398" y="513"/>
                    </a:lnTo>
                    <a:lnTo>
                      <a:pt x="2397" y="554"/>
                    </a:lnTo>
                    <a:lnTo>
                      <a:pt x="2351" y="592"/>
                    </a:lnTo>
                    <a:lnTo>
                      <a:pt x="2336" y="626"/>
                    </a:lnTo>
                    <a:lnTo>
                      <a:pt x="2288" y="672"/>
                    </a:lnTo>
                    <a:lnTo>
                      <a:pt x="2276" y="703"/>
                    </a:lnTo>
                    <a:lnTo>
                      <a:pt x="2234" y="754"/>
                    </a:lnTo>
                    <a:lnTo>
                      <a:pt x="2189" y="794"/>
                    </a:lnTo>
                    <a:lnTo>
                      <a:pt x="2050" y="827"/>
                    </a:lnTo>
                    <a:lnTo>
                      <a:pt x="2035" y="834"/>
                    </a:lnTo>
                    <a:lnTo>
                      <a:pt x="2044" y="879"/>
                    </a:lnTo>
                    <a:lnTo>
                      <a:pt x="2061" y="897"/>
                    </a:lnTo>
                    <a:lnTo>
                      <a:pt x="2039" y="889"/>
                    </a:lnTo>
                    <a:lnTo>
                      <a:pt x="2015" y="902"/>
                    </a:lnTo>
                    <a:lnTo>
                      <a:pt x="1974" y="906"/>
                    </a:lnTo>
                    <a:lnTo>
                      <a:pt x="1956" y="930"/>
                    </a:lnTo>
                    <a:lnTo>
                      <a:pt x="1945" y="965"/>
                    </a:lnTo>
                    <a:lnTo>
                      <a:pt x="1944" y="1014"/>
                    </a:lnTo>
                    <a:lnTo>
                      <a:pt x="1915" y="1055"/>
                    </a:lnTo>
                    <a:lnTo>
                      <a:pt x="1916" y="1069"/>
                    </a:lnTo>
                    <a:lnTo>
                      <a:pt x="1848" y="1061"/>
                    </a:lnTo>
                    <a:lnTo>
                      <a:pt x="1777" y="1035"/>
                    </a:lnTo>
                    <a:lnTo>
                      <a:pt x="1728" y="1036"/>
                    </a:lnTo>
                    <a:lnTo>
                      <a:pt x="1709" y="1008"/>
                    </a:lnTo>
                    <a:lnTo>
                      <a:pt x="1680" y="975"/>
                    </a:lnTo>
                    <a:lnTo>
                      <a:pt x="1667" y="979"/>
                    </a:lnTo>
                    <a:lnTo>
                      <a:pt x="1667" y="979"/>
                    </a:lnTo>
                    <a:close/>
                    <a:moveTo>
                      <a:pt x="2886" y="0"/>
                    </a:moveTo>
                    <a:lnTo>
                      <a:pt x="2842" y="25"/>
                    </a:lnTo>
                    <a:lnTo>
                      <a:pt x="2864" y="24"/>
                    </a:lnTo>
                    <a:lnTo>
                      <a:pt x="2885" y="12"/>
                    </a:lnTo>
                    <a:lnTo>
                      <a:pt x="2886" y="0"/>
                    </a:lnTo>
                    <a:lnTo>
                      <a:pt x="2886" y="0"/>
                    </a:lnTo>
                    <a:close/>
                    <a:moveTo>
                      <a:pt x="2930" y="1"/>
                    </a:moveTo>
                    <a:lnTo>
                      <a:pt x="2899" y="31"/>
                    </a:lnTo>
                    <a:lnTo>
                      <a:pt x="2907" y="42"/>
                    </a:lnTo>
                    <a:lnTo>
                      <a:pt x="2945" y="31"/>
                    </a:lnTo>
                    <a:lnTo>
                      <a:pt x="2946" y="6"/>
                    </a:lnTo>
                    <a:lnTo>
                      <a:pt x="2930" y="1"/>
                    </a:lnTo>
                    <a:lnTo>
                      <a:pt x="2930" y="1"/>
                    </a:lnTo>
                    <a:close/>
                    <a:moveTo>
                      <a:pt x="1982" y="899"/>
                    </a:moveTo>
                    <a:lnTo>
                      <a:pt x="1954" y="912"/>
                    </a:lnTo>
                    <a:lnTo>
                      <a:pt x="1973" y="883"/>
                    </a:lnTo>
                    <a:lnTo>
                      <a:pt x="1982" y="899"/>
                    </a:lnTo>
                    <a:lnTo>
                      <a:pt x="1982" y="899"/>
                    </a:lnTo>
                    <a:close/>
                    <a:moveTo>
                      <a:pt x="2007" y="890"/>
                    </a:moveTo>
                    <a:lnTo>
                      <a:pt x="1989" y="898"/>
                    </a:lnTo>
                    <a:lnTo>
                      <a:pt x="1982" y="884"/>
                    </a:lnTo>
                    <a:lnTo>
                      <a:pt x="1988" y="876"/>
                    </a:lnTo>
                    <a:lnTo>
                      <a:pt x="2007" y="890"/>
                    </a:lnTo>
                    <a:lnTo>
                      <a:pt x="2007" y="890"/>
                    </a:lnTo>
                    <a:close/>
                    <a:moveTo>
                      <a:pt x="2026" y="836"/>
                    </a:moveTo>
                    <a:lnTo>
                      <a:pt x="2037" y="877"/>
                    </a:lnTo>
                    <a:lnTo>
                      <a:pt x="2015" y="887"/>
                    </a:lnTo>
                    <a:lnTo>
                      <a:pt x="1991" y="862"/>
                    </a:lnTo>
                    <a:lnTo>
                      <a:pt x="1991" y="846"/>
                    </a:lnTo>
                    <a:lnTo>
                      <a:pt x="2001" y="843"/>
                    </a:lnTo>
                    <a:lnTo>
                      <a:pt x="2003" y="843"/>
                    </a:lnTo>
                    <a:lnTo>
                      <a:pt x="2026" y="836"/>
                    </a:lnTo>
                    <a:lnTo>
                      <a:pt x="2026" y="836"/>
                    </a:lnTo>
                    <a:close/>
                    <a:moveTo>
                      <a:pt x="6" y="166"/>
                    </a:moveTo>
                    <a:lnTo>
                      <a:pt x="18" y="127"/>
                    </a:lnTo>
                    <a:lnTo>
                      <a:pt x="39" y="98"/>
                    </a:lnTo>
                    <a:lnTo>
                      <a:pt x="71" y="127"/>
                    </a:lnTo>
                    <a:lnTo>
                      <a:pt x="118" y="141"/>
                    </a:lnTo>
                    <a:lnTo>
                      <a:pt x="127" y="160"/>
                    </a:lnTo>
                    <a:lnTo>
                      <a:pt x="163" y="160"/>
                    </a:lnTo>
                    <a:lnTo>
                      <a:pt x="185" y="183"/>
                    </a:lnTo>
                    <a:lnTo>
                      <a:pt x="180" y="232"/>
                    </a:lnTo>
                    <a:lnTo>
                      <a:pt x="161" y="257"/>
                    </a:lnTo>
                    <a:lnTo>
                      <a:pt x="160" y="281"/>
                    </a:lnTo>
                    <a:lnTo>
                      <a:pt x="205" y="293"/>
                    </a:lnTo>
                    <a:lnTo>
                      <a:pt x="243" y="259"/>
                    </a:lnTo>
                    <a:lnTo>
                      <a:pt x="274" y="256"/>
                    </a:lnTo>
                    <a:lnTo>
                      <a:pt x="297" y="275"/>
                    </a:lnTo>
                    <a:lnTo>
                      <a:pt x="321" y="258"/>
                    </a:lnTo>
                    <a:lnTo>
                      <a:pt x="321" y="227"/>
                    </a:lnTo>
                    <a:lnTo>
                      <a:pt x="329" y="219"/>
                    </a:lnTo>
                    <a:lnTo>
                      <a:pt x="329" y="219"/>
                    </a:lnTo>
                    <a:lnTo>
                      <a:pt x="354" y="218"/>
                    </a:lnTo>
                    <a:lnTo>
                      <a:pt x="369" y="201"/>
                    </a:lnTo>
                    <a:lnTo>
                      <a:pt x="384" y="197"/>
                    </a:lnTo>
                    <a:lnTo>
                      <a:pt x="409" y="243"/>
                    </a:lnTo>
                    <a:lnTo>
                      <a:pt x="534" y="371"/>
                    </a:lnTo>
                    <a:lnTo>
                      <a:pt x="571" y="430"/>
                    </a:lnTo>
                    <a:lnTo>
                      <a:pt x="587" y="500"/>
                    </a:lnTo>
                    <a:lnTo>
                      <a:pt x="574" y="518"/>
                    </a:lnTo>
                    <a:lnTo>
                      <a:pt x="578" y="602"/>
                    </a:lnTo>
                    <a:lnTo>
                      <a:pt x="570" y="618"/>
                    </a:lnTo>
                    <a:lnTo>
                      <a:pt x="570" y="646"/>
                    </a:lnTo>
                    <a:lnTo>
                      <a:pt x="583" y="670"/>
                    </a:lnTo>
                    <a:lnTo>
                      <a:pt x="583" y="754"/>
                    </a:lnTo>
                    <a:lnTo>
                      <a:pt x="605" y="799"/>
                    </a:lnTo>
                    <a:lnTo>
                      <a:pt x="644" y="834"/>
                    </a:lnTo>
                    <a:lnTo>
                      <a:pt x="671" y="835"/>
                    </a:lnTo>
                    <a:lnTo>
                      <a:pt x="679" y="850"/>
                    </a:lnTo>
                    <a:lnTo>
                      <a:pt x="674" y="863"/>
                    </a:lnTo>
                    <a:lnTo>
                      <a:pt x="681" y="915"/>
                    </a:lnTo>
                    <a:lnTo>
                      <a:pt x="692" y="925"/>
                    </a:lnTo>
                    <a:lnTo>
                      <a:pt x="699" y="937"/>
                    </a:lnTo>
                    <a:lnTo>
                      <a:pt x="699" y="948"/>
                    </a:lnTo>
                    <a:lnTo>
                      <a:pt x="709" y="953"/>
                    </a:lnTo>
                    <a:lnTo>
                      <a:pt x="745" y="1024"/>
                    </a:lnTo>
                    <a:lnTo>
                      <a:pt x="745" y="1067"/>
                    </a:lnTo>
                    <a:lnTo>
                      <a:pt x="720" y="1062"/>
                    </a:lnTo>
                    <a:lnTo>
                      <a:pt x="713" y="1049"/>
                    </a:lnTo>
                    <a:lnTo>
                      <a:pt x="714" y="1030"/>
                    </a:lnTo>
                    <a:lnTo>
                      <a:pt x="696" y="1016"/>
                    </a:lnTo>
                    <a:lnTo>
                      <a:pt x="706" y="1029"/>
                    </a:lnTo>
                    <a:lnTo>
                      <a:pt x="704" y="1047"/>
                    </a:lnTo>
                    <a:lnTo>
                      <a:pt x="693" y="1051"/>
                    </a:lnTo>
                    <a:lnTo>
                      <a:pt x="709" y="1054"/>
                    </a:lnTo>
                    <a:lnTo>
                      <a:pt x="709" y="1062"/>
                    </a:lnTo>
                    <a:lnTo>
                      <a:pt x="674" y="1083"/>
                    </a:lnTo>
                    <a:lnTo>
                      <a:pt x="662" y="1065"/>
                    </a:lnTo>
                    <a:lnTo>
                      <a:pt x="652" y="1077"/>
                    </a:lnTo>
                    <a:lnTo>
                      <a:pt x="618" y="1061"/>
                    </a:lnTo>
                    <a:lnTo>
                      <a:pt x="596" y="1035"/>
                    </a:lnTo>
                    <a:lnTo>
                      <a:pt x="540" y="1024"/>
                    </a:lnTo>
                    <a:lnTo>
                      <a:pt x="488" y="997"/>
                    </a:lnTo>
                    <a:lnTo>
                      <a:pt x="463" y="968"/>
                    </a:lnTo>
                    <a:lnTo>
                      <a:pt x="444" y="954"/>
                    </a:lnTo>
                    <a:lnTo>
                      <a:pt x="420" y="959"/>
                    </a:lnTo>
                    <a:lnTo>
                      <a:pt x="395" y="958"/>
                    </a:lnTo>
                    <a:lnTo>
                      <a:pt x="354" y="915"/>
                    </a:lnTo>
                    <a:lnTo>
                      <a:pt x="357" y="883"/>
                    </a:lnTo>
                    <a:lnTo>
                      <a:pt x="304" y="842"/>
                    </a:lnTo>
                    <a:lnTo>
                      <a:pt x="244" y="817"/>
                    </a:lnTo>
                    <a:lnTo>
                      <a:pt x="222" y="797"/>
                    </a:lnTo>
                    <a:lnTo>
                      <a:pt x="226" y="775"/>
                    </a:lnTo>
                    <a:lnTo>
                      <a:pt x="252" y="750"/>
                    </a:lnTo>
                    <a:lnTo>
                      <a:pt x="232" y="718"/>
                    </a:lnTo>
                    <a:lnTo>
                      <a:pt x="201" y="701"/>
                    </a:lnTo>
                    <a:lnTo>
                      <a:pt x="171" y="654"/>
                    </a:lnTo>
                    <a:lnTo>
                      <a:pt x="125" y="627"/>
                    </a:lnTo>
                    <a:lnTo>
                      <a:pt x="104" y="597"/>
                    </a:lnTo>
                    <a:lnTo>
                      <a:pt x="112" y="582"/>
                    </a:lnTo>
                    <a:lnTo>
                      <a:pt x="87" y="557"/>
                    </a:lnTo>
                    <a:lnTo>
                      <a:pt x="83" y="519"/>
                    </a:lnTo>
                    <a:lnTo>
                      <a:pt x="94" y="511"/>
                    </a:lnTo>
                    <a:lnTo>
                      <a:pt x="100" y="455"/>
                    </a:lnTo>
                    <a:lnTo>
                      <a:pt x="79" y="412"/>
                    </a:lnTo>
                    <a:lnTo>
                      <a:pt x="60" y="366"/>
                    </a:lnTo>
                    <a:lnTo>
                      <a:pt x="41" y="224"/>
                    </a:lnTo>
                    <a:lnTo>
                      <a:pt x="6" y="166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8" name="íşḻiḍè"/>
              <p:cNvSpPr/>
              <p:nvPr/>
            </p:nvSpPr>
            <p:spPr bwMode="auto">
              <a:xfrm>
                <a:off x="3409348" y="4336132"/>
                <a:ext cx="32473" cy="25979"/>
              </a:xfrm>
              <a:custGeom>
                <a:avLst/>
                <a:gdLst>
                  <a:gd name="T0" fmla="*/ 0 w 201"/>
                  <a:gd name="T1" fmla="*/ 72 h 161"/>
                  <a:gd name="T2" fmla="*/ 26 w 201"/>
                  <a:gd name="T3" fmla="*/ 83 h 161"/>
                  <a:gd name="T4" fmla="*/ 45 w 201"/>
                  <a:gd name="T5" fmla="*/ 85 h 161"/>
                  <a:gd name="T6" fmla="*/ 74 w 201"/>
                  <a:gd name="T7" fmla="*/ 136 h 161"/>
                  <a:gd name="T8" fmla="*/ 107 w 201"/>
                  <a:gd name="T9" fmla="*/ 161 h 161"/>
                  <a:gd name="T10" fmla="*/ 125 w 201"/>
                  <a:gd name="T11" fmla="*/ 152 h 161"/>
                  <a:gd name="T12" fmla="*/ 113 w 201"/>
                  <a:gd name="T13" fmla="*/ 76 h 161"/>
                  <a:gd name="T14" fmla="*/ 132 w 201"/>
                  <a:gd name="T15" fmla="*/ 48 h 161"/>
                  <a:gd name="T16" fmla="*/ 147 w 201"/>
                  <a:gd name="T17" fmla="*/ 47 h 161"/>
                  <a:gd name="T18" fmla="*/ 147 w 201"/>
                  <a:gd name="T19" fmla="*/ 34 h 161"/>
                  <a:gd name="T20" fmla="*/ 145 w 201"/>
                  <a:gd name="T21" fmla="*/ 0 h 161"/>
                  <a:gd name="T22" fmla="*/ 112 w 201"/>
                  <a:gd name="T23" fmla="*/ 12 h 161"/>
                  <a:gd name="T24" fmla="*/ 71 w 201"/>
                  <a:gd name="T25" fmla="*/ 43 h 161"/>
                  <a:gd name="T26" fmla="*/ 9 w 201"/>
                  <a:gd name="T27" fmla="*/ 62 h 161"/>
                  <a:gd name="T28" fmla="*/ 0 w 201"/>
                  <a:gd name="T29" fmla="*/ 72 h 161"/>
                  <a:gd name="T30" fmla="*/ 0 w 201"/>
                  <a:gd name="T31" fmla="*/ 72 h 161"/>
                  <a:gd name="T32" fmla="*/ 152 w 201"/>
                  <a:gd name="T33" fmla="*/ 52 h 161"/>
                  <a:gd name="T34" fmla="*/ 160 w 201"/>
                  <a:gd name="T35" fmla="*/ 83 h 161"/>
                  <a:gd name="T36" fmla="*/ 163 w 201"/>
                  <a:gd name="T37" fmla="*/ 126 h 161"/>
                  <a:gd name="T38" fmla="*/ 185 w 201"/>
                  <a:gd name="T39" fmla="*/ 139 h 161"/>
                  <a:gd name="T40" fmla="*/ 201 w 201"/>
                  <a:gd name="T41" fmla="*/ 110 h 161"/>
                  <a:gd name="T42" fmla="*/ 179 w 201"/>
                  <a:gd name="T43" fmla="*/ 50 h 161"/>
                  <a:gd name="T44" fmla="*/ 176 w 201"/>
                  <a:gd name="T45" fmla="*/ 37 h 161"/>
                  <a:gd name="T46" fmla="*/ 168 w 201"/>
                  <a:gd name="T47" fmla="*/ 49 h 161"/>
                  <a:gd name="T48" fmla="*/ 152 w 201"/>
                  <a:gd name="T49" fmla="*/ 52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1" h="161">
                    <a:moveTo>
                      <a:pt x="0" y="72"/>
                    </a:moveTo>
                    <a:lnTo>
                      <a:pt x="26" y="83"/>
                    </a:lnTo>
                    <a:lnTo>
                      <a:pt x="45" y="85"/>
                    </a:lnTo>
                    <a:lnTo>
                      <a:pt x="74" y="136"/>
                    </a:lnTo>
                    <a:lnTo>
                      <a:pt x="107" y="161"/>
                    </a:lnTo>
                    <a:lnTo>
                      <a:pt x="125" y="152"/>
                    </a:lnTo>
                    <a:lnTo>
                      <a:pt x="113" y="76"/>
                    </a:lnTo>
                    <a:lnTo>
                      <a:pt x="132" y="48"/>
                    </a:lnTo>
                    <a:lnTo>
                      <a:pt x="147" y="47"/>
                    </a:lnTo>
                    <a:lnTo>
                      <a:pt x="147" y="34"/>
                    </a:lnTo>
                    <a:lnTo>
                      <a:pt x="145" y="0"/>
                    </a:lnTo>
                    <a:lnTo>
                      <a:pt x="112" y="12"/>
                    </a:lnTo>
                    <a:lnTo>
                      <a:pt x="71" y="43"/>
                    </a:lnTo>
                    <a:lnTo>
                      <a:pt x="9" y="6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152" y="52"/>
                    </a:moveTo>
                    <a:lnTo>
                      <a:pt x="160" y="83"/>
                    </a:lnTo>
                    <a:lnTo>
                      <a:pt x="163" y="126"/>
                    </a:lnTo>
                    <a:lnTo>
                      <a:pt x="185" y="139"/>
                    </a:lnTo>
                    <a:lnTo>
                      <a:pt x="201" y="110"/>
                    </a:lnTo>
                    <a:lnTo>
                      <a:pt x="179" y="50"/>
                    </a:lnTo>
                    <a:lnTo>
                      <a:pt x="176" y="37"/>
                    </a:lnTo>
                    <a:lnTo>
                      <a:pt x="168" y="49"/>
                    </a:lnTo>
                    <a:lnTo>
                      <a:pt x="152" y="5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9" name="ïŝļiḓé"/>
              <p:cNvSpPr/>
              <p:nvPr/>
            </p:nvSpPr>
            <p:spPr bwMode="auto">
              <a:xfrm>
                <a:off x="3040456" y="3787990"/>
                <a:ext cx="228609" cy="445528"/>
              </a:xfrm>
              <a:custGeom>
                <a:avLst/>
                <a:gdLst>
                  <a:gd name="T0" fmla="*/ 54 w 1411"/>
                  <a:gd name="T1" fmla="*/ 144 h 2748"/>
                  <a:gd name="T2" fmla="*/ 149 w 1411"/>
                  <a:gd name="T3" fmla="*/ 170 h 2748"/>
                  <a:gd name="T4" fmla="*/ 253 w 1411"/>
                  <a:gd name="T5" fmla="*/ 130 h 2748"/>
                  <a:gd name="T6" fmla="*/ 380 w 1411"/>
                  <a:gd name="T7" fmla="*/ 117 h 2748"/>
                  <a:gd name="T8" fmla="*/ 538 w 1411"/>
                  <a:gd name="T9" fmla="*/ 0 h 2748"/>
                  <a:gd name="T10" fmla="*/ 705 w 1411"/>
                  <a:gd name="T11" fmla="*/ 80 h 2748"/>
                  <a:gd name="T12" fmla="*/ 764 w 1411"/>
                  <a:gd name="T13" fmla="*/ 140 h 2748"/>
                  <a:gd name="T14" fmla="*/ 855 w 1411"/>
                  <a:gd name="T15" fmla="*/ 295 h 2748"/>
                  <a:gd name="T16" fmla="*/ 994 w 1411"/>
                  <a:gd name="T17" fmla="*/ 323 h 2748"/>
                  <a:gd name="T18" fmla="*/ 998 w 1411"/>
                  <a:gd name="T19" fmla="*/ 378 h 2748"/>
                  <a:gd name="T20" fmla="*/ 884 w 1411"/>
                  <a:gd name="T21" fmla="*/ 416 h 2748"/>
                  <a:gd name="T22" fmla="*/ 826 w 1411"/>
                  <a:gd name="T23" fmla="*/ 461 h 2748"/>
                  <a:gd name="T24" fmla="*/ 773 w 1411"/>
                  <a:gd name="T25" fmla="*/ 484 h 2748"/>
                  <a:gd name="T26" fmla="*/ 762 w 1411"/>
                  <a:gd name="T27" fmla="*/ 572 h 2748"/>
                  <a:gd name="T28" fmla="*/ 702 w 1411"/>
                  <a:gd name="T29" fmla="*/ 652 h 2748"/>
                  <a:gd name="T30" fmla="*/ 654 w 1411"/>
                  <a:gd name="T31" fmla="*/ 707 h 2748"/>
                  <a:gd name="T32" fmla="*/ 641 w 1411"/>
                  <a:gd name="T33" fmla="*/ 844 h 2748"/>
                  <a:gd name="T34" fmla="*/ 726 w 1411"/>
                  <a:gd name="T35" fmla="*/ 940 h 2748"/>
                  <a:gd name="T36" fmla="*/ 804 w 1411"/>
                  <a:gd name="T37" fmla="*/ 1052 h 2748"/>
                  <a:gd name="T38" fmla="*/ 933 w 1411"/>
                  <a:gd name="T39" fmla="*/ 1200 h 2748"/>
                  <a:gd name="T40" fmla="*/ 1226 w 1411"/>
                  <a:gd name="T41" fmla="*/ 1444 h 2748"/>
                  <a:gd name="T42" fmla="*/ 1280 w 1411"/>
                  <a:gd name="T43" fmla="*/ 1553 h 2748"/>
                  <a:gd name="T44" fmla="*/ 1332 w 1411"/>
                  <a:gd name="T45" fmla="*/ 1690 h 2748"/>
                  <a:gd name="T46" fmla="*/ 1363 w 1411"/>
                  <a:gd name="T47" fmla="*/ 1835 h 2748"/>
                  <a:gd name="T48" fmla="*/ 1392 w 1411"/>
                  <a:gd name="T49" fmla="*/ 1938 h 2748"/>
                  <a:gd name="T50" fmla="*/ 1388 w 1411"/>
                  <a:gd name="T51" fmla="*/ 1977 h 2748"/>
                  <a:gd name="T52" fmla="*/ 1372 w 1411"/>
                  <a:gd name="T53" fmla="*/ 2057 h 2748"/>
                  <a:gd name="T54" fmla="*/ 1365 w 1411"/>
                  <a:gd name="T55" fmla="*/ 2177 h 2748"/>
                  <a:gd name="T56" fmla="*/ 1262 w 1411"/>
                  <a:gd name="T57" fmla="*/ 2294 h 2748"/>
                  <a:gd name="T58" fmla="*/ 1148 w 1411"/>
                  <a:gd name="T59" fmla="*/ 2384 h 2748"/>
                  <a:gd name="T60" fmla="*/ 970 w 1411"/>
                  <a:gd name="T61" fmla="*/ 2424 h 2748"/>
                  <a:gd name="T62" fmla="*/ 932 w 1411"/>
                  <a:gd name="T63" fmla="*/ 2402 h 2748"/>
                  <a:gd name="T64" fmla="*/ 960 w 1411"/>
                  <a:gd name="T65" fmla="*/ 2454 h 2748"/>
                  <a:gd name="T66" fmla="*/ 932 w 1411"/>
                  <a:gd name="T67" fmla="*/ 2515 h 2748"/>
                  <a:gd name="T68" fmla="*/ 866 w 1411"/>
                  <a:gd name="T69" fmla="*/ 2529 h 2748"/>
                  <a:gd name="T70" fmla="*/ 859 w 1411"/>
                  <a:gd name="T71" fmla="*/ 2595 h 2748"/>
                  <a:gd name="T72" fmla="*/ 765 w 1411"/>
                  <a:gd name="T73" fmla="*/ 2651 h 2748"/>
                  <a:gd name="T74" fmla="*/ 657 w 1411"/>
                  <a:gd name="T75" fmla="*/ 2748 h 2748"/>
                  <a:gd name="T76" fmla="*/ 672 w 1411"/>
                  <a:gd name="T77" fmla="*/ 2699 h 2748"/>
                  <a:gd name="T78" fmla="*/ 653 w 1411"/>
                  <a:gd name="T79" fmla="*/ 2605 h 2748"/>
                  <a:gd name="T80" fmla="*/ 712 w 1411"/>
                  <a:gd name="T81" fmla="*/ 2465 h 2748"/>
                  <a:gd name="T82" fmla="*/ 586 w 1411"/>
                  <a:gd name="T83" fmla="*/ 2456 h 2748"/>
                  <a:gd name="T84" fmla="*/ 650 w 1411"/>
                  <a:gd name="T85" fmla="*/ 2367 h 2748"/>
                  <a:gd name="T86" fmla="*/ 837 w 1411"/>
                  <a:gd name="T87" fmla="*/ 2329 h 2748"/>
                  <a:gd name="T88" fmla="*/ 858 w 1411"/>
                  <a:gd name="T89" fmla="*/ 2257 h 2748"/>
                  <a:gd name="T90" fmla="*/ 927 w 1411"/>
                  <a:gd name="T91" fmla="*/ 2131 h 2748"/>
                  <a:gd name="T92" fmla="*/ 1083 w 1411"/>
                  <a:gd name="T93" fmla="*/ 2001 h 2748"/>
                  <a:gd name="T94" fmla="*/ 1053 w 1411"/>
                  <a:gd name="T95" fmla="*/ 1761 h 2748"/>
                  <a:gd name="T96" fmla="*/ 1035 w 1411"/>
                  <a:gd name="T97" fmla="*/ 1621 h 2748"/>
                  <a:gd name="T98" fmla="*/ 1037 w 1411"/>
                  <a:gd name="T99" fmla="*/ 1471 h 2748"/>
                  <a:gd name="T100" fmla="*/ 1009 w 1411"/>
                  <a:gd name="T101" fmla="*/ 1368 h 2748"/>
                  <a:gd name="T102" fmla="*/ 925 w 1411"/>
                  <a:gd name="T103" fmla="*/ 1287 h 2748"/>
                  <a:gd name="T104" fmla="*/ 839 w 1411"/>
                  <a:gd name="T105" fmla="*/ 1197 h 2748"/>
                  <a:gd name="T106" fmla="*/ 709 w 1411"/>
                  <a:gd name="T107" fmla="*/ 1060 h 2748"/>
                  <a:gd name="T108" fmla="*/ 498 w 1411"/>
                  <a:gd name="T109" fmla="*/ 898 h 2748"/>
                  <a:gd name="T110" fmla="*/ 409 w 1411"/>
                  <a:gd name="T111" fmla="*/ 801 h 2748"/>
                  <a:gd name="T112" fmla="*/ 477 w 1411"/>
                  <a:gd name="T113" fmla="*/ 708 h 2748"/>
                  <a:gd name="T114" fmla="*/ 491 w 1411"/>
                  <a:gd name="T115" fmla="*/ 579 h 2748"/>
                  <a:gd name="T116" fmla="*/ 369 w 1411"/>
                  <a:gd name="T117" fmla="*/ 474 h 2748"/>
                  <a:gd name="T118" fmla="*/ 122 w 1411"/>
                  <a:gd name="T119" fmla="*/ 370 h 2748"/>
                  <a:gd name="T120" fmla="*/ 11 w 1411"/>
                  <a:gd name="T121" fmla="*/ 212 h 2748"/>
                  <a:gd name="T122" fmla="*/ 485 w 1411"/>
                  <a:gd name="T123" fmla="*/ 2467 h 2748"/>
                  <a:gd name="T124" fmla="*/ 505 w 1411"/>
                  <a:gd name="T125" fmla="*/ 2406 h 2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11" h="2748">
                    <a:moveTo>
                      <a:pt x="0" y="189"/>
                    </a:moveTo>
                    <a:lnTo>
                      <a:pt x="12" y="179"/>
                    </a:lnTo>
                    <a:lnTo>
                      <a:pt x="27" y="177"/>
                    </a:lnTo>
                    <a:lnTo>
                      <a:pt x="35" y="159"/>
                    </a:lnTo>
                    <a:lnTo>
                      <a:pt x="54" y="144"/>
                    </a:lnTo>
                    <a:lnTo>
                      <a:pt x="90" y="128"/>
                    </a:lnTo>
                    <a:lnTo>
                      <a:pt x="112" y="132"/>
                    </a:lnTo>
                    <a:lnTo>
                      <a:pt x="110" y="158"/>
                    </a:lnTo>
                    <a:lnTo>
                      <a:pt x="126" y="170"/>
                    </a:lnTo>
                    <a:lnTo>
                      <a:pt x="149" y="170"/>
                    </a:lnTo>
                    <a:lnTo>
                      <a:pt x="155" y="137"/>
                    </a:lnTo>
                    <a:lnTo>
                      <a:pt x="180" y="118"/>
                    </a:lnTo>
                    <a:lnTo>
                      <a:pt x="215" y="152"/>
                    </a:lnTo>
                    <a:lnTo>
                      <a:pt x="233" y="128"/>
                    </a:lnTo>
                    <a:lnTo>
                      <a:pt x="253" y="130"/>
                    </a:lnTo>
                    <a:lnTo>
                      <a:pt x="261" y="154"/>
                    </a:lnTo>
                    <a:lnTo>
                      <a:pt x="299" y="136"/>
                    </a:lnTo>
                    <a:lnTo>
                      <a:pt x="305" y="110"/>
                    </a:lnTo>
                    <a:lnTo>
                      <a:pt x="347" y="98"/>
                    </a:lnTo>
                    <a:lnTo>
                      <a:pt x="380" y="117"/>
                    </a:lnTo>
                    <a:lnTo>
                      <a:pt x="438" y="98"/>
                    </a:lnTo>
                    <a:lnTo>
                      <a:pt x="436" y="45"/>
                    </a:lnTo>
                    <a:lnTo>
                      <a:pt x="473" y="24"/>
                    </a:lnTo>
                    <a:lnTo>
                      <a:pt x="514" y="24"/>
                    </a:lnTo>
                    <a:lnTo>
                      <a:pt x="538" y="0"/>
                    </a:lnTo>
                    <a:lnTo>
                      <a:pt x="575" y="30"/>
                    </a:lnTo>
                    <a:lnTo>
                      <a:pt x="575" y="52"/>
                    </a:lnTo>
                    <a:lnTo>
                      <a:pt x="613" y="60"/>
                    </a:lnTo>
                    <a:lnTo>
                      <a:pt x="628" y="82"/>
                    </a:lnTo>
                    <a:lnTo>
                      <a:pt x="705" y="80"/>
                    </a:lnTo>
                    <a:lnTo>
                      <a:pt x="719" y="98"/>
                    </a:lnTo>
                    <a:lnTo>
                      <a:pt x="765" y="79"/>
                    </a:lnTo>
                    <a:lnTo>
                      <a:pt x="795" y="103"/>
                    </a:lnTo>
                    <a:lnTo>
                      <a:pt x="788" y="136"/>
                    </a:lnTo>
                    <a:lnTo>
                      <a:pt x="764" y="140"/>
                    </a:lnTo>
                    <a:lnTo>
                      <a:pt x="746" y="202"/>
                    </a:lnTo>
                    <a:lnTo>
                      <a:pt x="766" y="210"/>
                    </a:lnTo>
                    <a:lnTo>
                      <a:pt x="776" y="246"/>
                    </a:lnTo>
                    <a:lnTo>
                      <a:pt x="845" y="270"/>
                    </a:lnTo>
                    <a:lnTo>
                      <a:pt x="855" y="295"/>
                    </a:lnTo>
                    <a:lnTo>
                      <a:pt x="888" y="310"/>
                    </a:lnTo>
                    <a:lnTo>
                      <a:pt x="922" y="327"/>
                    </a:lnTo>
                    <a:lnTo>
                      <a:pt x="958" y="317"/>
                    </a:lnTo>
                    <a:lnTo>
                      <a:pt x="972" y="329"/>
                    </a:lnTo>
                    <a:lnTo>
                      <a:pt x="994" y="323"/>
                    </a:lnTo>
                    <a:lnTo>
                      <a:pt x="1024" y="338"/>
                    </a:lnTo>
                    <a:lnTo>
                      <a:pt x="1021" y="338"/>
                    </a:lnTo>
                    <a:lnTo>
                      <a:pt x="1028" y="352"/>
                    </a:lnTo>
                    <a:lnTo>
                      <a:pt x="1016" y="371"/>
                    </a:lnTo>
                    <a:lnTo>
                      <a:pt x="998" y="378"/>
                    </a:lnTo>
                    <a:lnTo>
                      <a:pt x="984" y="378"/>
                    </a:lnTo>
                    <a:lnTo>
                      <a:pt x="954" y="397"/>
                    </a:lnTo>
                    <a:lnTo>
                      <a:pt x="924" y="395"/>
                    </a:lnTo>
                    <a:lnTo>
                      <a:pt x="893" y="401"/>
                    </a:lnTo>
                    <a:lnTo>
                      <a:pt x="884" y="416"/>
                    </a:lnTo>
                    <a:lnTo>
                      <a:pt x="891" y="441"/>
                    </a:lnTo>
                    <a:lnTo>
                      <a:pt x="875" y="452"/>
                    </a:lnTo>
                    <a:lnTo>
                      <a:pt x="868" y="464"/>
                    </a:lnTo>
                    <a:lnTo>
                      <a:pt x="852" y="454"/>
                    </a:lnTo>
                    <a:lnTo>
                      <a:pt x="826" y="461"/>
                    </a:lnTo>
                    <a:lnTo>
                      <a:pt x="810" y="476"/>
                    </a:lnTo>
                    <a:lnTo>
                      <a:pt x="799" y="480"/>
                    </a:lnTo>
                    <a:lnTo>
                      <a:pt x="787" y="464"/>
                    </a:lnTo>
                    <a:lnTo>
                      <a:pt x="776" y="461"/>
                    </a:lnTo>
                    <a:lnTo>
                      <a:pt x="773" y="484"/>
                    </a:lnTo>
                    <a:lnTo>
                      <a:pt x="761" y="502"/>
                    </a:lnTo>
                    <a:lnTo>
                      <a:pt x="770" y="512"/>
                    </a:lnTo>
                    <a:lnTo>
                      <a:pt x="765" y="539"/>
                    </a:lnTo>
                    <a:lnTo>
                      <a:pt x="766" y="565"/>
                    </a:lnTo>
                    <a:lnTo>
                      <a:pt x="762" y="572"/>
                    </a:lnTo>
                    <a:lnTo>
                      <a:pt x="771" y="592"/>
                    </a:lnTo>
                    <a:lnTo>
                      <a:pt x="763" y="608"/>
                    </a:lnTo>
                    <a:lnTo>
                      <a:pt x="749" y="611"/>
                    </a:lnTo>
                    <a:lnTo>
                      <a:pt x="725" y="651"/>
                    </a:lnTo>
                    <a:lnTo>
                      <a:pt x="702" y="652"/>
                    </a:lnTo>
                    <a:lnTo>
                      <a:pt x="694" y="640"/>
                    </a:lnTo>
                    <a:lnTo>
                      <a:pt x="693" y="655"/>
                    </a:lnTo>
                    <a:lnTo>
                      <a:pt x="677" y="666"/>
                    </a:lnTo>
                    <a:lnTo>
                      <a:pt x="667" y="696"/>
                    </a:lnTo>
                    <a:lnTo>
                      <a:pt x="654" y="707"/>
                    </a:lnTo>
                    <a:lnTo>
                      <a:pt x="652" y="738"/>
                    </a:lnTo>
                    <a:lnTo>
                      <a:pt x="665" y="741"/>
                    </a:lnTo>
                    <a:lnTo>
                      <a:pt x="678" y="758"/>
                    </a:lnTo>
                    <a:lnTo>
                      <a:pt x="661" y="815"/>
                    </a:lnTo>
                    <a:lnTo>
                      <a:pt x="641" y="844"/>
                    </a:lnTo>
                    <a:lnTo>
                      <a:pt x="678" y="875"/>
                    </a:lnTo>
                    <a:lnTo>
                      <a:pt x="674" y="892"/>
                    </a:lnTo>
                    <a:lnTo>
                      <a:pt x="645" y="900"/>
                    </a:lnTo>
                    <a:lnTo>
                      <a:pt x="675" y="910"/>
                    </a:lnTo>
                    <a:lnTo>
                      <a:pt x="726" y="940"/>
                    </a:lnTo>
                    <a:lnTo>
                      <a:pt x="771" y="984"/>
                    </a:lnTo>
                    <a:lnTo>
                      <a:pt x="787" y="982"/>
                    </a:lnTo>
                    <a:lnTo>
                      <a:pt x="810" y="1021"/>
                    </a:lnTo>
                    <a:lnTo>
                      <a:pt x="810" y="1040"/>
                    </a:lnTo>
                    <a:lnTo>
                      <a:pt x="804" y="1052"/>
                    </a:lnTo>
                    <a:lnTo>
                      <a:pt x="818" y="1091"/>
                    </a:lnTo>
                    <a:lnTo>
                      <a:pt x="824" y="1111"/>
                    </a:lnTo>
                    <a:lnTo>
                      <a:pt x="891" y="1166"/>
                    </a:lnTo>
                    <a:lnTo>
                      <a:pt x="929" y="1188"/>
                    </a:lnTo>
                    <a:lnTo>
                      <a:pt x="933" y="1200"/>
                    </a:lnTo>
                    <a:lnTo>
                      <a:pt x="1025" y="1250"/>
                    </a:lnTo>
                    <a:lnTo>
                      <a:pt x="1108" y="1311"/>
                    </a:lnTo>
                    <a:lnTo>
                      <a:pt x="1125" y="1344"/>
                    </a:lnTo>
                    <a:lnTo>
                      <a:pt x="1201" y="1400"/>
                    </a:lnTo>
                    <a:lnTo>
                      <a:pt x="1226" y="1444"/>
                    </a:lnTo>
                    <a:lnTo>
                      <a:pt x="1232" y="1471"/>
                    </a:lnTo>
                    <a:lnTo>
                      <a:pt x="1243" y="1471"/>
                    </a:lnTo>
                    <a:lnTo>
                      <a:pt x="1240" y="1495"/>
                    </a:lnTo>
                    <a:lnTo>
                      <a:pt x="1280" y="1535"/>
                    </a:lnTo>
                    <a:lnTo>
                      <a:pt x="1280" y="1553"/>
                    </a:lnTo>
                    <a:lnTo>
                      <a:pt x="1289" y="1568"/>
                    </a:lnTo>
                    <a:lnTo>
                      <a:pt x="1281" y="1581"/>
                    </a:lnTo>
                    <a:lnTo>
                      <a:pt x="1310" y="1618"/>
                    </a:lnTo>
                    <a:lnTo>
                      <a:pt x="1319" y="1680"/>
                    </a:lnTo>
                    <a:lnTo>
                      <a:pt x="1332" y="1690"/>
                    </a:lnTo>
                    <a:lnTo>
                      <a:pt x="1345" y="1745"/>
                    </a:lnTo>
                    <a:lnTo>
                      <a:pt x="1356" y="1756"/>
                    </a:lnTo>
                    <a:lnTo>
                      <a:pt x="1358" y="1787"/>
                    </a:lnTo>
                    <a:lnTo>
                      <a:pt x="1351" y="1806"/>
                    </a:lnTo>
                    <a:lnTo>
                      <a:pt x="1363" y="1835"/>
                    </a:lnTo>
                    <a:lnTo>
                      <a:pt x="1355" y="1847"/>
                    </a:lnTo>
                    <a:lnTo>
                      <a:pt x="1367" y="1890"/>
                    </a:lnTo>
                    <a:lnTo>
                      <a:pt x="1368" y="1907"/>
                    </a:lnTo>
                    <a:lnTo>
                      <a:pt x="1383" y="1913"/>
                    </a:lnTo>
                    <a:lnTo>
                      <a:pt x="1392" y="1938"/>
                    </a:lnTo>
                    <a:lnTo>
                      <a:pt x="1411" y="1977"/>
                    </a:lnTo>
                    <a:lnTo>
                      <a:pt x="1408" y="2002"/>
                    </a:lnTo>
                    <a:lnTo>
                      <a:pt x="1400" y="2002"/>
                    </a:lnTo>
                    <a:lnTo>
                      <a:pt x="1399" y="1989"/>
                    </a:lnTo>
                    <a:lnTo>
                      <a:pt x="1388" y="1977"/>
                    </a:lnTo>
                    <a:lnTo>
                      <a:pt x="1374" y="1985"/>
                    </a:lnTo>
                    <a:lnTo>
                      <a:pt x="1376" y="2012"/>
                    </a:lnTo>
                    <a:lnTo>
                      <a:pt x="1392" y="2028"/>
                    </a:lnTo>
                    <a:lnTo>
                      <a:pt x="1388" y="2044"/>
                    </a:lnTo>
                    <a:lnTo>
                      <a:pt x="1372" y="2057"/>
                    </a:lnTo>
                    <a:lnTo>
                      <a:pt x="1370" y="2076"/>
                    </a:lnTo>
                    <a:lnTo>
                      <a:pt x="1343" y="2097"/>
                    </a:lnTo>
                    <a:lnTo>
                      <a:pt x="1367" y="2133"/>
                    </a:lnTo>
                    <a:lnTo>
                      <a:pt x="1355" y="2164"/>
                    </a:lnTo>
                    <a:lnTo>
                      <a:pt x="1365" y="2177"/>
                    </a:lnTo>
                    <a:lnTo>
                      <a:pt x="1342" y="2199"/>
                    </a:lnTo>
                    <a:lnTo>
                      <a:pt x="1324" y="2206"/>
                    </a:lnTo>
                    <a:lnTo>
                      <a:pt x="1319" y="2248"/>
                    </a:lnTo>
                    <a:lnTo>
                      <a:pt x="1300" y="2255"/>
                    </a:lnTo>
                    <a:lnTo>
                      <a:pt x="1262" y="2294"/>
                    </a:lnTo>
                    <a:lnTo>
                      <a:pt x="1236" y="2308"/>
                    </a:lnTo>
                    <a:lnTo>
                      <a:pt x="1202" y="2332"/>
                    </a:lnTo>
                    <a:lnTo>
                      <a:pt x="1198" y="2361"/>
                    </a:lnTo>
                    <a:lnTo>
                      <a:pt x="1168" y="2361"/>
                    </a:lnTo>
                    <a:lnTo>
                      <a:pt x="1148" y="2384"/>
                    </a:lnTo>
                    <a:lnTo>
                      <a:pt x="1073" y="2427"/>
                    </a:lnTo>
                    <a:lnTo>
                      <a:pt x="1029" y="2431"/>
                    </a:lnTo>
                    <a:lnTo>
                      <a:pt x="1009" y="2422"/>
                    </a:lnTo>
                    <a:lnTo>
                      <a:pt x="977" y="2430"/>
                    </a:lnTo>
                    <a:lnTo>
                      <a:pt x="970" y="2424"/>
                    </a:lnTo>
                    <a:lnTo>
                      <a:pt x="975" y="2402"/>
                    </a:lnTo>
                    <a:lnTo>
                      <a:pt x="974" y="2382"/>
                    </a:lnTo>
                    <a:lnTo>
                      <a:pt x="966" y="2401"/>
                    </a:lnTo>
                    <a:lnTo>
                      <a:pt x="961" y="2410"/>
                    </a:lnTo>
                    <a:lnTo>
                      <a:pt x="932" y="2402"/>
                    </a:lnTo>
                    <a:lnTo>
                      <a:pt x="952" y="2418"/>
                    </a:lnTo>
                    <a:lnTo>
                      <a:pt x="951" y="2430"/>
                    </a:lnTo>
                    <a:lnTo>
                      <a:pt x="941" y="2436"/>
                    </a:lnTo>
                    <a:lnTo>
                      <a:pt x="914" y="2432"/>
                    </a:lnTo>
                    <a:lnTo>
                      <a:pt x="960" y="2454"/>
                    </a:lnTo>
                    <a:lnTo>
                      <a:pt x="950" y="2469"/>
                    </a:lnTo>
                    <a:lnTo>
                      <a:pt x="963" y="2496"/>
                    </a:lnTo>
                    <a:lnTo>
                      <a:pt x="937" y="2509"/>
                    </a:lnTo>
                    <a:lnTo>
                      <a:pt x="900" y="2481"/>
                    </a:lnTo>
                    <a:lnTo>
                      <a:pt x="932" y="2515"/>
                    </a:lnTo>
                    <a:lnTo>
                      <a:pt x="929" y="2532"/>
                    </a:lnTo>
                    <a:lnTo>
                      <a:pt x="915" y="2550"/>
                    </a:lnTo>
                    <a:lnTo>
                      <a:pt x="899" y="2545"/>
                    </a:lnTo>
                    <a:lnTo>
                      <a:pt x="886" y="2526"/>
                    </a:lnTo>
                    <a:lnTo>
                      <a:pt x="866" y="2529"/>
                    </a:lnTo>
                    <a:lnTo>
                      <a:pt x="876" y="2554"/>
                    </a:lnTo>
                    <a:lnTo>
                      <a:pt x="875" y="2563"/>
                    </a:lnTo>
                    <a:lnTo>
                      <a:pt x="882" y="2572"/>
                    </a:lnTo>
                    <a:lnTo>
                      <a:pt x="868" y="2582"/>
                    </a:lnTo>
                    <a:lnTo>
                      <a:pt x="859" y="2595"/>
                    </a:lnTo>
                    <a:lnTo>
                      <a:pt x="842" y="2596"/>
                    </a:lnTo>
                    <a:lnTo>
                      <a:pt x="809" y="2625"/>
                    </a:lnTo>
                    <a:lnTo>
                      <a:pt x="795" y="2636"/>
                    </a:lnTo>
                    <a:lnTo>
                      <a:pt x="772" y="2633"/>
                    </a:lnTo>
                    <a:lnTo>
                      <a:pt x="765" y="2651"/>
                    </a:lnTo>
                    <a:lnTo>
                      <a:pt x="760" y="2687"/>
                    </a:lnTo>
                    <a:lnTo>
                      <a:pt x="738" y="2707"/>
                    </a:lnTo>
                    <a:lnTo>
                      <a:pt x="730" y="2706"/>
                    </a:lnTo>
                    <a:lnTo>
                      <a:pt x="732" y="2714"/>
                    </a:lnTo>
                    <a:lnTo>
                      <a:pt x="657" y="2748"/>
                    </a:lnTo>
                    <a:lnTo>
                      <a:pt x="616" y="2742"/>
                    </a:lnTo>
                    <a:lnTo>
                      <a:pt x="641" y="2726"/>
                    </a:lnTo>
                    <a:lnTo>
                      <a:pt x="672" y="2712"/>
                    </a:lnTo>
                    <a:lnTo>
                      <a:pt x="690" y="2692"/>
                    </a:lnTo>
                    <a:lnTo>
                      <a:pt x="672" y="2699"/>
                    </a:lnTo>
                    <a:lnTo>
                      <a:pt x="648" y="2687"/>
                    </a:lnTo>
                    <a:lnTo>
                      <a:pt x="652" y="2635"/>
                    </a:lnTo>
                    <a:lnTo>
                      <a:pt x="657" y="2630"/>
                    </a:lnTo>
                    <a:lnTo>
                      <a:pt x="647" y="2627"/>
                    </a:lnTo>
                    <a:lnTo>
                      <a:pt x="653" y="2605"/>
                    </a:lnTo>
                    <a:lnTo>
                      <a:pt x="650" y="2550"/>
                    </a:lnTo>
                    <a:lnTo>
                      <a:pt x="674" y="2509"/>
                    </a:lnTo>
                    <a:lnTo>
                      <a:pt x="723" y="2471"/>
                    </a:lnTo>
                    <a:lnTo>
                      <a:pt x="737" y="2454"/>
                    </a:lnTo>
                    <a:lnTo>
                      <a:pt x="712" y="2465"/>
                    </a:lnTo>
                    <a:lnTo>
                      <a:pt x="676" y="2460"/>
                    </a:lnTo>
                    <a:lnTo>
                      <a:pt x="651" y="2468"/>
                    </a:lnTo>
                    <a:lnTo>
                      <a:pt x="634" y="2458"/>
                    </a:lnTo>
                    <a:lnTo>
                      <a:pt x="619" y="2464"/>
                    </a:lnTo>
                    <a:lnTo>
                      <a:pt x="586" y="2456"/>
                    </a:lnTo>
                    <a:lnTo>
                      <a:pt x="591" y="2447"/>
                    </a:lnTo>
                    <a:lnTo>
                      <a:pt x="589" y="2419"/>
                    </a:lnTo>
                    <a:lnTo>
                      <a:pt x="582" y="2413"/>
                    </a:lnTo>
                    <a:lnTo>
                      <a:pt x="613" y="2374"/>
                    </a:lnTo>
                    <a:lnTo>
                      <a:pt x="650" y="2367"/>
                    </a:lnTo>
                    <a:lnTo>
                      <a:pt x="670" y="2318"/>
                    </a:lnTo>
                    <a:lnTo>
                      <a:pt x="704" y="2317"/>
                    </a:lnTo>
                    <a:lnTo>
                      <a:pt x="723" y="2329"/>
                    </a:lnTo>
                    <a:lnTo>
                      <a:pt x="803" y="2310"/>
                    </a:lnTo>
                    <a:lnTo>
                      <a:pt x="837" y="2329"/>
                    </a:lnTo>
                    <a:lnTo>
                      <a:pt x="845" y="2353"/>
                    </a:lnTo>
                    <a:lnTo>
                      <a:pt x="899" y="2349"/>
                    </a:lnTo>
                    <a:lnTo>
                      <a:pt x="883" y="2313"/>
                    </a:lnTo>
                    <a:lnTo>
                      <a:pt x="889" y="2289"/>
                    </a:lnTo>
                    <a:lnTo>
                      <a:pt x="858" y="2257"/>
                    </a:lnTo>
                    <a:lnTo>
                      <a:pt x="820" y="2246"/>
                    </a:lnTo>
                    <a:lnTo>
                      <a:pt x="813" y="2186"/>
                    </a:lnTo>
                    <a:lnTo>
                      <a:pt x="847" y="2162"/>
                    </a:lnTo>
                    <a:lnTo>
                      <a:pt x="911" y="2164"/>
                    </a:lnTo>
                    <a:lnTo>
                      <a:pt x="927" y="2131"/>
                    </a:lnTo>
                    <a:lnTo>
                      <a:pt x="976" y="2098"/>
                    </a:lnTo>
                    <a:lnTo>
                      <a:pt x="1024" y="2085"/>
                    </a:lnTo>
                    <a:lnTo>
                      <a:pt x="1031" y="2063"/>
                    </a:lnTo>
                    <a:lnTo>
                      <a:pt x="1059" y="2052"/>
                    </a:lnTo>
                    <a:lnTo>
                      <a:pt x="1083" y="2001"/>
                    </a:lnTo>
                    <a:lnTo>
                      <a:pt x="1077" y="1961"/>
                    </a:lnTo>
                    <a:lnTo>
                      <a:pt x="1087" y="1916"/>
                    </a:lnTo>
                    <a:lnTo>
                      <a:pt x="1075" y="1882"/>
                    </a:lnTo>
                    <a:lnTo>
                      <a:pt x="1083" y="1830"/>
                    </a:lnTo>
                    <a:lnTo>
                      <a:pt x="1053" y="1761"/>
                    </a:lnTo>
                    <a:lnTo>
                      <a:pt x="1023" y="1744"/>
                    </a:lnTo>
                    <a:lnTo>
                      <a:pt x="1002" y="1692"/>
                    </a:lnTo>
                    <a:lnTo>
                      <a:pt x="1007" y="1691"/>
                    </a:lnTo>
                    <a:lnTo>
                      <a:pt x="1040" y="1671"/>
                    </a:lnTo>
                    <a:lnTo>
                      <a:pt x="1035" y="1621"/>
                    </a:lnTo>
                    <a:lnTo>
                      <a:pt x="1023" y="1597"/>
                    </a:lnTo>
                    <a:lnTo>
                      <a:pt x="1015" y="1553"/>
                    </a:lnTo>
                    <a:lnTo>
                      <a:pt x="1063" y="1515"/>
                    </a:lnTo>
                    <a:lnTo>
                      <a:pt x="1063" y="1474"/>
                    </a:lnTo>
                    <a:lnTo>
                      <a:pt x="1037" y="1471"/>
                    </a:lnTo>
                    <a:lnTo>
                      <a:pt x="1024" y="1450"/>
                    </a:lnTo>
                    <a:lnTo>
                      <a:pt x="1029" y="1405"/>
                    </a:lnTo>
                    <a:lnTo>
                      <a:pt x="1053" y="1381"/>
                    </a:lnTo>
                    <a:lnTo>
                      <a:pt x="1042" y="1355"/>
                    </a:lnTo>
                    <a:lnTo>
                      <a:pt x="1009" y="1368"/>
                    </a:lnTo>
                    <a:lnTo>
                      <a:pt x="992" y="1363"/>
                    </a:lnTo>
                    <a:lnTo>
                      <a:pt x="970" y="1335"/>
                    </a:lnTo>
                    <a:lnTo>
                      <a:pt x="932" y="1332"/>
                    </a:lnTo>
                    <a:lnTo>
                      <a:pt x="919" y="1316"/>
                    </a:lnTo>
                    <a:lnTo>
                      <a:pt x="925" y="1287"/>
                    </a:lnTo>
                    <a:lnTo>
                      <a:pt x="899" y="1276"/>
                    </a:lnTo>
                    <a:lnTo>
                      <a:pt x="884" y="1281"/>
                    </a:lnTo>
                    <a:lnTo>
                      <a:pt x="862" y="1257"/>
                    </a:lnTo>
                    <a:lnTo>
                      <a:pt x="857" y="1227"/>
                    </a:lnTo>
                    <a:lnTo>
                      <a:pt x="839" y="1197"/>
                    </a:lnTo>
                    <a:lnTo>
                      <a:pt x="797" y="1197"/>
                    </a:lnTo>
                    <a:lnTo>
                      <a:pt x="775" y="1185"/>
                    </a:lnTo>
                    <a:lnTo>
                      <a:pt x="760" y="1145"/>
                    </a:lnTo>
                    <a:lnTo>
                      <a:pt x="707" y="1086"/>
                    </a:lnTo>
                    <a:lnTo>
                      <a:pt x="709" y="1060"/>
                    </a:lnTo>
                    <a:lnTo>
                      <a:pt x="674" y="1010"/>
                    </a:lnTo>
                    <a:lnTo>
                      <a:pt x="625" y="988"/>
                    </a:lnTo>
                    <a:lnTo>
                      <a:pt x="582" y="929"/>
                    </a:lnTo>
                    <a:lnTo>
                      <a:pt x="548" y="925"/>
                    </a:lnTo>
                    <a:lnTo>
                      <a:pt x="498" y="898"/>
                    </a:lnTo>
                    <a:lnTo>
                      <a:pt x="444" y="894"/>
                    </a:lnTo>
                    <a:lnTo>
                      <a:pt x="419" y="850"/>
                    </a:lnTo>
                    <a:lnTo>
                      <a:pt x="393" y="850"/>
                    </a:lnTo>
                    <a:lnTo>
                      <a:pt x="386" y="829"/>
                    </a:lnTo>
                    <a:lnTo>
                      <a:pt x="409" y="801"/>
                    </a:lnTo>
                    <a:lnTo>
                      <a:pt x="374" y="761"/>
                    </a:lnTo>
                    <a:lnTo>
                      <a:pt x="369" y="732"/>
                    </a:lnTo>
                    <a:lnTo>
                      <a:pt x="395" y="731"/>
                    </a:lnTo>
                    <a:lnTo>
                      <a:pt x="444" y="713"/>
                    </a:lnTo>
                    <a:lnTo>
                      <a:pt x="477" y="708"/>
                    </a:lnTo>
                    <a:lnTo>
                      <a:pt x="495" y="690"/>
                    </a:lnTo>
                    <a:lnTo>
                      <a:pt x="515" y="623"/>
                    </a:lnTo>
                    <a:lnTo>
                      <a:pt x="540" y="614"/>
                    </a:lnTo>
                    <a:lnTo>
                      <a:pt x="540" y="590"/>
                    </a:lnTo>
                    <a:lnTo>
                      <a:pt x="491" y="579"/>
                    </a:lnTo>
                    <a:lnTo>
                      <a:pt x="492" y="548"/>
                    </a:lnTo>
                    <a:lnTo>
                      <a:pt x="486" y="514"/>
                    </a:lnTo>
                    <a:lnTo>
                      <a:pt x="442" y="505"/>
                    </a:lnTo>
                    <a:lnTo>
                      <a:pt x="417" y="474"/>
                    </a:lnTo>
                    <a:lnTo>
                      <a:pt x="369" y="474"/>
                    </a:lnTo>
                    <a:lnTo>
                      <a:pt x="331" y="498"/>
                    </a:lnTo>
                    <a:lnTo>
                      <a:pt x="289" y="485"/>
                    </a:lnTo>
                    <a:lnTo>
                      <a:pt x="217" y="484"/>
                    </a:lnTo>
                    <a:lnTo>
                      <a:pt x="182" y="426"/>
                    </a:lnTo>
                    <a:lnTo>
                      <a:pt x="122" y="370"/>
                    </a:lnTo>
                    <a:lnTo>
                      <a:pt x="136" y="342"/>
                    </a:lnTo>
                    <a:lnTo>
                      <a:pt x="130" y="305"/>
                    </a:lnTo>
                    <a:lnTo>
                      <a:pt x="99" y="280"/>
                    </a:lnTo>
                    <a:lnTo>
                      <a:pt x="71" y="236"/>
                    </a:lnTo>
                    <a:lnTo>
                      <a:pt x="11" y="212"/>
                    </a:lnTo>
                    <a:lnTo>
                      <a:pt x="0" y="189"/>
                    </a:lnTo>
                    <a:lnTo>
                      <a:pt x="0" y="189"/>
                    </a:lnTo>
                    <a:close/>
                    <a:moveTo>
                      <a:pt x="473" y="2426"/>
                    </a:moveTo>
                    <a:lnTo>
                      <a:pt x="492" y="2449"/>
                    </a:lnTo>
                    <a:lnTo>
                      <a:pt x="485" y="2467"/>
                    </a:lnTo>
                    <a:lnTo>
                      <a:pt x="500" y="2496"/>
                    </a:lnTo>
                    <a:lnTo>
                      <a:pt x="518" y="2487"/>
                    </a:lnTo>
                    <a:lnTo>
                      <a:pt x="525" y="2434"/>
                    </a:lnTo>
                    <a:lnTo>
                      <a:pt x="515" y="2430"/>
                    </a:lnTo>
                    <a:lnTo>
                      <a:pt x="505" y="2406"/>
                    </a:lnTo>
                    <a:lnTo>
                      <a:pt x="473" y="2426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0" name="iśľiďè"/>
              <p:cNvSpPr/>
              <p:nvPr/>
            </p:nvSpPr>
            <p:spPr bwMode="auto">
              <a:xfrm>
                <a:off x="3070330" y="4052968"/>
                <a:ext cx="145479" cy="125995"/>
              </a:xfrm>
              <a:custGeom>
                <a:avLst/>
                <a:gdLst>
                  <a:gd name="T0" fmla="*/ 427 w 901"/>
                  <a:gd name="T1" fmla="*/ 739 h 778"/>
                  <a:gd name="T2" fmla="*/ 484 w 901"/>
                  <a:gd name="T3" fmla="*/ 683 h 778"/>
                  <a:gd name="T4" fmla="*/ 537 w 901"/>
                  <a:gd name="T5" fmla="*/ 694 h 778"/>
                  <a:gd name="T6" fmla="*/ 651 w 901"/>
                  <a:gd name="T7" fmla="*/ 694 h 778"/>
                  <a:gd name="T8" fmla="*/ 713 w 901"/>
                  <a:gd name="T9" fmla="*/ 714 h 778"/>
                  <a:gd name="T10" fmla="*/ 703 w 901"/>
                  <a:gd name="T11" fmla="*/ 654 h 778"/>
                  <a:gd name="T12" fmla="*/ 634 w 901"/>
                  <a:gd name="T13" fmla="*/ 611 h 778"/>
                  <a:gd name="T14" fmla="*/ 661 w 901"/>
                  <a:gd name="T15" fmla="*/ 527 h 778"/>
                  <a:gd name="T16" fmla="*/ 741 w 901"/>
                  <a:gd name="T17" fmla="*/ 496 h 778"/>
                  <a:gd name="T18" fmla="*/ 838 w 901"/>
                  <a:gd name="T19" fmla="*/ 450 h 778"/>
                  <a:gd name="T20" fmla="*/ 873 w 901"/>
                  <a:gd name="T21" fmla="*/ 417 h 778"/>
                  <a:gd name="T22" fmla="*/ 891 w 901"/>
                  <a:gd name="T23" fmla="*/ 326 h 778"/>
                  <a:gd name="T24" fmla="*/ 889 w 901"/>
                  <a:gd name="T25" fmla="*/ 247 h 778"/>
                  <a:gd name="T26" fmla="*/ 867 w 901"/>
                  <a:gd name="T27" fmla="*/ 126 h 778"/>
                  <a:gd name="T28" fmla="*/ 816 w 901"/>
                  <a:gd name="T29" fmla="*/ 57 h 778"/>
                  <a:gd name="T30" fmla="*/ 756 w 901"/>
                  <a:gd name="T31" fmla="*/ 35 h 778"/>
                  <a:gd name="T32" fmla="*/ 715 w 901"/>
                  <a:gd name="T33" fmla="*/ 0 h 778"/>
                  <a:gd name="T34" fmla="*/ 627 w 901"/>
                  <a:gd name="T35" fmla="*/ 42 h 778"/>
                  <a:gd name="T36" fmla="*/ 658 w 901"/>
                  <a:gd name="T37" fmla="*/ 110 h 778"/>
                  <a:gd name="T38" fmla="*/ 666 w 901"/>
                  <a:gd name="T39" fmla="*/ 166 h 778"/>
                  <a:gd name="T40" fmla="*/ 583 w 901"/>
                  <a:gd name="T41" fmla="*/ 96 h 778"/>
                  <a:gd name="T42" fmla="*/ 518 w 901"/>
                  <a:gd name="T43" fmla="*/ 71 h 778"/>
                  <a:gd name="T44" fmla="*/ 456 w 901"/>
                  <a:gd name="T45" fmla="*/ 53 h 778"/>
                  <a:gd name="T46" fmla="*/ 379 w 901"/>
                  <a:gd name="T47" fmla="*/ 35 h 778"/>
                  <a:gd name="T48" fmla="*/ 305 w 901"/>
                  <a:gd name="T49" fmla="*/ 25 h 778"/>
                  <a:gd name="T50" fmla="*/ 242 w 901"/>
                  <a:gd name="T51" fmla="*/ 28 h 778"/>
                  <a:gd name="T52" fmla="*/ 112 w 901"/>
                  <a:gd name="T53" fmla="*/ 53 h 778"/>
                  <a:gd name="T54" fmla="*/ 43 w 901"/>
                  <a:gd name="T55" fmla="*/ 103 h 778"/>
                  <a:gd name="T56" fmla="*/ 4 w 901"/>
                  <a:gd name="T57" fmla="*/ 192 h 778"/>
                  <a:gd name="T58" fmla="*/ 16 w 901"/>
                  <a:gd name="T59" fmla="*/ 326 h 778"/>
                  <a:gd name="T60" fmla="*/ 61 w 901"/>
                  <a:gd name="T61" fmla="*/ 376 h 778"/>
                  <a:gd name="T62" fmla="*/ 53 w 901"/>
                  <a:gd name="T63" fmla="*/ 465 h 778"/>
                  <a:gd name="T64" fmla="*/ 76 w 901"/>
                  <a:gd name="T65" fmla="*/ 493 h 778"/>
                  <a:gd name="T66" fmla="*/ 100 w 901"/>
                  <a:gd name="T67" fmla="*/ 544 h 778"/>
                  <a:gd name="T68" fmla="*/ 126 w 901"/>
                  <a:gd name="T69" fmla="*/ 612 h 778"/>
                  <a:gd name="T70" fmla="*/ 152 w 901"/>
                  <a:gd name="T71" fmla="*/ 632 h 778"/>
                  <a:gd name="T72" fmla="*/ 160 w 901"/>
                  <a:gd name="T73" fmla="*/ 678 h 778"/>
                  <a:gd name="T74" fmla="*/ 191 w 901"/>
                  <a:gd name="T75" fmla="*/ 708 h 778"/>
                  <a:gd name="T76" fmla="*/ 214 w 901"/>
                  <a:gd name="T77" fmla="*/ 675 h 778"/>
                  <a:gd name="T78" fmla="*/ 249 w 901"/>
                  <a:gd name="T79" fmla="*/ 647 h 778"/>
                  <a:gd name="T80" fmla="*/ 260 w 901"/>
                  <a:gd name="T81" fmla="*/ 694 h 778"/>
                  <a:gd name="T82" fmla="*/ 237 w 901"/>
                  <a:gd name="T83" fmla="*/ 741 h 778"/>
                  <a:gd name="T84" fmla="*/ 252 w 901"/>
                  <a:gd name="T85" fmla="*/ 770 h 778"/>
                  <a:gd name="T86" fmla="*/ 298 w 901"/>
                  <a:gd name="T87" fmla="*/ 746 h 778"/>
                  <a:gd name="T88" fmla="*/ 320 w 901"/>
                  <a:gd name="T89" fmla="*/ 750 h 778"/>
                  <a:gd name="T90" fmla="*/ 364 w 901"/>
                  <a:gd name="T91" fmla="*/ 754 h 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01" h="778">
                    <a:moveTo>
                      <a:pt x="396" y="778"/>
                    </a:moveTo>
                    <a:lnTo>
                      <a:pt x="427" y="739"/>
                    </a:lnTo>
                    <a:lnTo>
                      <a:pt x="464" y="732"/>
                    </a:lnTo>
                    <a:lnTo>
                      <a:pt x="484" y="683"/>
                    </a:lnTo>
                    <a:lnTo>
                      <a:pt x="518" y="682"/>
                    </a:lnTo>
                    <a:lnTo>
                      <a:pt x="537" y="694"/>
                    </a:lnTo>
                    <a:lnTo>
                      <a:pt x="617" y="675"/>
                    </a:lnTo>
                    <a:lnTo>
                      <a:pt x="651" y="694"/>
                    </a:lnTo>
                    <a:lnTo>
                      <a:pt x="659" y="718"/>
                    </a:lnTo>
                    <a:lnTo>
                      <a:pt x="713" y="714"/>
                    </a:lnTo>
                    <a:lnTo>
                      <a:pt x="697" y="678"/>
                    </a:lnTo>
                    <a:lnTo>
                      <a:pt x="703" y="654"/>
                    </a:lnTo>
                    <a:lnTo>
                      <a:pt x="672" y="622"/>
                    </a:lnTo>
                    <a:lnTo>
                      <a:pt x="634" y="611"/>
                    </a:lnTo>
                    <a:lnTo>
                      <a:pt x="627" y="551"/>
                    </a:lnTo>
                    <a:lnTo>
                      <a:pt x="661" y="527"/>
                    </a:lnTo>
                    <a:lnTo>
                      <a:pt x="725" y="529"/>
                    </a:lnTo>
                    <a:lnTo>
                      <a:pt x="741" y="496"/>
                    </a:lnTo>
                    <a:lnTo>
                      <a:pt x="790" y="463"/>
                    </a:lnTo>
                    <a:lnTo>
                      <a:pt x="838" y="450"/>
                    </a:lnTo>
                    <a:lnTo>
                      <a:pt x="845" y="428"/>
                    </a:lnTo>
                    <a:lnTo>
                      <a:pt x="873" y="417"/>
                    </a:lnTo>
                    <a:lnTo>
                      <a:pt x="897" y="366"/>
                    </a:lnTo>
                    <a:lnTo>
                      <a:pt x="891" y="326"/>
                    </a:lnTo>
                    <a:lnTo>
                      <a:pt x="901" y="281"/>
                    </a:lnTo>
                    <a:lnTo>
                      <a:pt x="889" y="247"/>
                    </a:lnTo>
                    <a:lnTo>
                      <a:pt x="897" y="195"/>
                    </a:lnTo>
                    <a:lnTo>
                      <a:pt x="867" y="126"/>
                    </a:lnTo>
                    <a:lnTo>
                      <a:pt x="837" y="109"/>
                    </a:lnTo>
                    <a:lnTo>
                      <a:pt x="816" y="57"/>
                    </a:lnTo>
                    <a:lnTo>
                      <a:pt x="790" y="58"/>
                    </a:lnTo>
                    <a:lnTo>
                      <a:pt x="756" y="35"/>
                    </a:lnTo>
                    <a:lnTo>
                      <a:pt x="732" y="28"/>
                    </a:lnTo>
                    <a:lnTo>
                      <a:pt x="715" y="0"/>
                    </a:lnTo>
                    <a:lnTo>
                      <a:pt x="658" y="13"/>
                    </a:lnTo>
                    <a:lnTo>
                      <a:pt x="627" y="42"/>
                    </a:lnTo>
                    <a:lnTo>
                      <a:pt x="664" y="79"/>
                    </a:lnTo>
                    <a:lnTo>
                      <a:pt x="658" y="110"/>
                    </a:lnTo>
                    <a:lnTo>
                      <a:pt x="669" y="142"/>
                    </a:lnTo>
                    <a:lnTo>
                      <a:pt x="666" y="166"/>
                    </a:lnTo>
                    <a:lnTo>
                      <a:pt x="614" y="146"/>
                    </a:lnTo>
                    <a:lnTo>
                      <a:pt x="583" y="96"/>
                    </a:lnTo>
                    <a:lnTo>
                      <a:pt x="533" y="95"/>
                    </a:lnTo>
                    <a:lnTo>
                      <a:pt x="518" y="71"/>
                    </a:lnTo>
                    <a:lnTo>
                      <a:pt x="479" y="42"/>
                    </a:lnTo>
                    <a:lnTo>
                      <a:pt x="456" y="53"/>
                    </a:lnTo>
                    <a:lnTo>
                      <a:pt x="427" y="29"/>
                    </a:lnTo>
                    <a:lnTo>
                      <a:pt x="379" y="35"/>
                    </a:lnTo>
                    <a:lnTo>
                      <a:pt x="342" y="25"/>
                    </a:lnTo>
                    <a:lnTo>
                      <a:pt x="305" y="25"/>
                    </a:lnTo>
                    <a:lnTo>
                      <a:pt x="257" y="43"/>
                    </a:lnTo>
                    <a:lnTo>
                      <a:pt x="242" y="28"/>
                    </a:lnTo>
                    <a:lnTo>
                      <a:pt x="193" y="27"/>
                    </a:lnTo>
                    <a:lnTo>
                      <a:pt x="112" y="53"/>
                    </a:lnTo>
                    <a:lnTo>
                      <a:pt x="79" y="53"/>
                    </a:lnTo>
                    <a:lnTo>
                      <a:pt x="43" y="103"/>
                    </a:lnTo>
                    <a:lnTo>
                      <a:pt x="32" y="154"/>
                    </a:lnTo>
                    <a:lnTo>
                      <a:pt x="4" y="192"/>
                    </a:lnTo>
                    <a:lnTo>
                      <a:pt x="0" y="258"/>
                    </a:lnTo>
                    <a:lnTo>
                      <a:pt x="16" y="326"/>
                    </a:lnTo>
                    <a:lnTo>
                      <a:pt x="45" y="343"/>
                    </a:lnTo>
                    <a:lnTo>
                      <a:pt x="61" y="376"/>
                    </a:lnTo>
                    <a:lnTo>
                      <a:pt x="58" y="438"/>
                    </a:lnTo>
                    <a:lnTo>
                      <a:pt x="53" y="465"/>
                    </a:lnTo>
                    <a:lnTo>
                      <a:pt x="53" y="465"/>
                    </a:lnTo>
                    <a:lnTo>
                      <a:pt x="76" y="493"/>
                    </a:lnTo>
                    <a:lnTo>
                      <a:pt x="77" y="525"/>
                    </a:lnTo>
                    <a:lnTo>
                      <a:pt x="100" y="544"/>
                    </a:lnTo>
                    <a:lnTo>
                      <a:pt x="102" y="577"/>
                    </a:lnTo>
                    <a:lnTo>
                      <a:pt x="126" y="612"/>
                    </a:lnTo>
                    <a:lnTo>
                      <a:pt x="139" y="607"/>
                    </a:lnTo>
                    <a:lnTo>
                      <a:pt x="152" y="632"/>
                    </a:lnTo>
                    <a:lnTo>
                      <a:pt x="149" y="659"/>
                    </a:lnTo>
                    <a:lnTo>
                      <a:pt x="160" y="678"/>
                    </a:lnTo>
                    <a:lnTo>
                      <a:pt x="166" y="704"/>
                    </a:lnTo>
                    <a:lnTo>
                      <a:pt x="191" y="708"/>
                    </a:lnTo>
                    <a:lnTo>
                      <a:pt x="213" y="704"/>
                    </a:lnTo>
                    <a:lnTo>
                      <a:pt x="214" y="675"/>
                    </a:lnTo>
                    <a:lnTo>
                      <a:pt x="234" y="657"/>
                    </a:lnTo>
                    <a:lnTo>
                      <a:pt x="249" y="647"/>
                    </a:lnTo>
                    <a:lnTo>
                      <a:pt x="249" y="668"/>
                    </a:lnTo>
                    <a:lnTo>
                      <a:pt x="260" y="694"/>
                    </a:lnTo>
                    <a:lnTo>
                      <a:pt x="257" y="716"/>
                    </a:lnTo>
                    <a:lnTo>
                      <a:pt x="237" y="741"/>
                    </a:lnTo>
                    <a:lnTo>
                      <a:pt x="247" y="757"/>
                    </a:lnTo>
                    <a:lnTo>
                      <a:pt x="252" y="770"/>
                    </a:lnTo>
                    <a:lnTo>
                      <a:pt x="270" y="771"/>
                    </a:lnTo>
                    <a:lnTo>
                      <a:pt x="298" y="746"/>
                    </a:lnTo>
                    <a:lnTo>
                      <a:pt x="301" y="735"/>
                    </a:lnTo>
                    <a:lnTo>
                      <a:pt x="320" y="750"/>
                    </a:lnTo>
                    <a:lnTo>
                      <a:pt x="354" y="761"/>
                    </a:lnTo>
                    <a:lnTo>
                      <a:pt x="364" y="754"/>
                    </a:lnTo>
                    <a:lnTo>
                      <a:pt x="396" y="778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1" name="ïS1îḑè"/>
              <p:cNvSpPr/>
              <p:nvPr/>
            </p:nvSpPr>
            <p:spPr bwMode="auto">
              <a:xfrm>
                <a:off x="2985900" y="3817865"/>
                <a:ext cx="226011" cy="262381"/>
              </a:xfrm>
              <a:custGeom>
                <a:avLst/>
                <a:gdLst>
                  <a:gd name="T0" fmla="*/ 196 w 1394"/>
                  <a:gd name="T1" fmla="*/ 226 h 1614"/>
                  <a:gd name="T2" fmla="*/ 260 w 1394"/>
                  <a:gd name="T3" fmla="*/ 177 h 1614"/>
                  <a:gd name="T4" fmla="*/ 243 w 1394"/>
                  <a:gd name="T5" fmla="*/ 43 h 1614"/>
                  <a:gd name="T6" fmla="*/ 330 w 1394"/>
                  <a:gd name="T7" fmla="*/ 0 h 1614"/>
                  <a:gd name="T8" fmla="*/ 430 w 1394"/>
                  <a:gd name="T9" fmla="*/ 93 h 1614"/>
                  <a:gd name="T10" fmla="*/ 453 w 1394"/>
                  <a:gd name="T11" fmla="*/ 183 h 1614"/>
                  <a:gd name="T12" fmla="*/ 620 w 1394"/>
                  <a:gd name="T13" fmla="*/ 298 h 1614"/>
                  <a:gd name="T14" fmla="*/ 748 w 1394"/>
                  <a:gd name="T15" fmla="*/ 287 h 1614"/>
                  <a:gd name="T16" fmla="*/ 823 w 1394"/>
                  <a:gd name="T17" fmla="*/ 361 h 1614"/>
                  <a:gd name="T18" fmla="*/ 871 w 1394"/>
                  <a:gd name="T19" fmla="*/ 427 h 1614"/>
                  <a:gd name="T20" fmla="*/ 808 w 1394"/>
                  <a:gd name="T21" fmla="*/ 521 h 1614"/>
                  <a:gd name="T22" fmla="*/ 700 w 1394"/>
                  <a:gd name="T23" fmla="*/ 545 h 1614"/>
                  <a:gd name="T24" fmla="*/ 717 w 1394"/>
                  <a:gd name="T25" fmla="*/ 642 h 1614"/>
                  <a:gd name="T26" fmla="*/ 775 w 1394"/>
                  <a:gd name="T27" fmla="*/ 707 h 1614"/>
                  <a:gd name="T28" fmla="*/ 913 w 1394"/>
                  <a:gd name="T29" fmla="*/ 742 h 1614"/>
                  <a:gd name="T30" fmla="*/ 1040 w 1394"/>
                  <a:gd name="T31" fmla="*/ 873 h 1614"/>
                  <a:gd name="T32" fmla="*/ 1106 w 1394"/>
                  <a:gd name="T33" fmla="*/ 998 h 1614"/>
                  <a:gd name="T34" fmla="*/ 1188 w 1394"/>
                  <a:gd name="T35" fmla="*/ 1040 h 1614"/>
                  <a:gd name="T36" fmla="*/ 1230 w 1394"/>
                  <a:gd name="T37" fmla="*/ 1089 h 1614"/>
                  <a:gd name="T38" fmla="*/ 1263 w 1394"/>
                  <a:gd name="T39" fmla="*/ 1145 h 1614"/>
                  <a:gd name="T40" fmla="*/ 1340 w 1394"/>
                  <a:gd name="T41" fmla="*/ 1181 h 1614"/>
                  <a:gd name="T42" fmla="*/ 1360 w 1394"/>
                  <a:gd name="T43" fmla="*/ 1218 h 1614"/>
                  <a:gd name="T44" fmla="*/ 1394 w 1394"/>
                  <a:gd name="T45" fmla="*/ 1287 h 1614"/>
                  <a:gd name="T46" fmla="*/ 1354 w 1394"/>
                  <a:gd name="T47" fmla="*/ 1410 h 1614"/>
                  <a:gd name="T48" fmla="*/ 1338 w 1394"/>
                  <a:gd name="T49" fmla="*/ 1504 h 1614"/>
                  <a:gd name="T50" fmla="*/ 1249 w 1394"/>
                  <a:gd name="T51" fmla="*/ 1476 h 1614"/>
                  <a:gd name="T52" fmla="*/ 1144 w 1394"/>
                  <a:gd name="T53" fmla="*/ 1490 h 1614"/>
                  <a:gd name="T54" fmla="*/ 1186 w 1394"/>
                  <a:gd name="T55" fmla="*/ 1590 h 1614"/>
                  <a:gd name="T56" fmla="*/ 1100 w 1394"/>
                  <a:gd name="T57" fmla="*/ 1544 h 1614"/>
                  <a:gd name="T58" fmla="*/ 996 w 1394"/>
                  <a:gd name="T59" fmla="*/ 1490 h 1614"/>
                  <a:gd name="T60" fmla="*/ 1039 w 1394"/>
                  <a:gd name="T61" fmla="*/ 1395 h 1614"/>
                  <a:gd name="T62" fmla="*/ 1036 w 1394"/>
                  <a:gd name="T63" fmla="*/ 1313 h 1614"/>
                  <a:gd name="T64" fmla="*/ 997 w 1394"/>
                  <a:gd name="T65" fmla="*/ 1223 h 1614"/>
                  <a:gd name="T66" fmla="*/ 947 w 1394"/>
                  <a:gd name="T67" fmla="*/ 1190 h 1614"/>
                  <a:gd name="T68" fmla="*/ 888 w 1394"/>
                  <a:gd name="T69" fmla="*/ 1102 h 1614"/>
                  <a:gd name="T70" fmla="*/ 885 w 1394"/>
                  <a:gd name="T71" fmla="*/ 993 h 1614"/>
                  <a:gd name="T72" fmla="*/ 832 w 1394"/>
                  <a:gd name="T73" fmla="*/ 895 h 1614"/>
                  <a:gd name="T74" fmla="*/ 657 w 1394"/>
                  <a:gd name="T75" fmla="*/ 773 h 1614"/>
                  <a:gd name="T76" fmla="*/ 491 w 1394"/>
                  <a:gd name="T77" fmla="*/ 869 h 1614"/>
                  <a:gd name="T78" fmla="*/ 370 w 1394"/>
                  <a:gd name="T79" fmla="*/ 805 h 1614"/>
                  <a:gd name="T80" fmla="*/ 270 w 1394"/>
                  <a:gd name="T81" fmla="*/ 874 h 1614"/>
                  <a:gd name="T82" fmla="*/ 219 w 1394"/>
                  <a:gd name="T83" fmla="*/ 749 h 1614"/>
                  <a:gd name="T84" fmla="*/ 225 w 1394"/>
                  <a:gd name="T85" fmla="*/ 655 h 1614"/>
                  <a:gd name="T86" fmla="*/ 224 w 1394"/>
                  <a:gd name="T87" fmla="*/ 552 h 1614"/>
                  <a:gd name="T88" fmla="*/ 104 w 1394"/>
                  <a:gd name="T89" fmla="*/ 565 h 1614"/>
                  <a:gd name="T90" fmla="*/ 98 w 1394"/>
                  <a:gd name="T91" fmla="*/ 444 h 1614"/>
                  <a:gd name="T92" fmla="*/ 0 w 1394"/>
                  <a:gd name="T93" fmla="*/ 375 h 1614"/>
                  <a:gd name="T94" fmla="*/ 72 w 1394"/>
                  <a:gd name="T95" fmla="*/ 303 h 1614"/>
                  <a:gd name="T96" fmla="*/ 77 w 1394"/>
                  <a:gd name="T97" fmla="*/ 222 h 1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94" h="1614">
                    <a:moveTo>
                      <a:pt x="160" y="182"/>
                    </a:moveTo>
                    <a:lnTo>
                      <a:pt x="181" y="198"/>
                    </a:lnTo>
                    <a:lnTo>
                      <a:pt x="196" y="226"/>
                    </a:lnTo>
                    <a:lnTo>
                      <a:pt x="240" y="213"/>
                    </a:lnTo>
                    <a:lnTo>
                      <a:pt x="270" y="220"/>
                    </a:lnTo>
                    <a:lnTo>
                      <a:pt x="260" y="177"/>
                    </a:lnTo>
                    <a:lnTo>
                      <a:pt x="257" y="137"/>
                    </a:lnTo>
                    <a:lnTo>
                      <a:pt x="245" y="101"/>
                    </a:lnTo>
                    <a:lnTo>
                      <a:pt x="243" y="43"/>
                    </a:lnTo>
                    <a:lnTo>
                      <a:pt x="266" y="27"/>
                    </a:lnTo>
                    <a:lnTo>
                      <a:pt x="266" y="2"/>
                    </a:lnTo>
                    <a:lnTo>
                      <a:pt x="330" y="0"/>
                    </a:lnTo>
                    <a:lnTo>
                      <a:pt x="342" y="25"/>
                    </a:lnTo>
                    <a:lnTo>
                      <a:pt x="402" y="49"/>
                    </a:lnTo>
                    <a:lnTo>
                      <a:pt x="430" y="93"/>
                    </a:lnTo>
                    <a:lnTo>
                      <a:pt x="461" y="118"/>
                    </a:lnTo>
                    <a:lnTo>
                      <a:pt x="467" y="155"/>
                    </a:lnTo>
                    <a:lnTo>
                      <a:pt x="453" y="183"/>
                    </a:lnTo>
                    <a:lnTo>
                      <a:pt x="513" y="239"/>
                    </a:lnTo>
                    <a:lnTo>
                      <a:pt x="548" y="297"/>
                    </a:lnTo>
                    <a:lnTo>
                      <a:pt x="620" y="298"/>
                    </a:lnTo>
                    <a:lnTo>
                      <a:pt x="662" y="311"/>
                    </a:lnTo>
                    <a:lnTo>
                      <a:pt x="700" y="287"/>
                    </a:lnTo>
                    <a:lnTo>
                      <a:pt x="748" y="287"/>
                    </a:lnTo>
                    <a:lnTo>
                      <a:pt x="773" y="318"/>
                    </a:lnTo>
                    <a:lnTo>
                      <a:pt x="817" y="327"/>
                    </a:lnTo>
                    <a:lnTo>
                      <a:pt x="823" y="361"/>
                    </a:lnTo>
                    <a:lnTo>
                      <a:pt x="822" y="392"/>
                    </a:lnTo>
                    <a:lnTo>
                      <a:pt x="871" y="403"/>
                    </a:lnTo>
                    <a:lnTo>
                      <a:pt x="871" y="427"/>
                    </a:lnTo>
                    <a:lnTo>
                      <a:pt x="846" y="436"/>
                    </a:lnTo>
                    <a:lnTo>
                      <a:pt x="826" y="503"/>
                    </a:lnTo>
                    <a:lnTo>
                      <a:pt x="808" y="521"/>
                    </a:lnTo>
                    <a:lnTo>
                      <a:pt x="775" y="526"/>
                    </a:lnTo>
                    <a:lnTo>
                      <a:pt x="726" y="544"/>
                    </a:lnTo>
                    <a:lnTo>
                      <a:pt x="700" y="545"/>
                    </a:lnTo>
                    <a:lnTo>
                      <a:pt x="705" y="574"/>
                    </a:lnTo>
                    <a:lnTo>
                      <a:pt x="740" y="614"/>
                    </a:lnTo>
                    <a:lnTo>
                      <a:pt x="717" y="642"/>
                    </a:lnTo>
                    <a:lnTo>
                      <a:pt x="724" y="663"/>
                    </a:lnTo>
                    <a:lnTo>
                      <a:pt x="750" y="663"/>
                    </a:lnTo>
                    <a:lnTo>
                      <a:pt x="775" y="707"/>
                    </a:lnTo>
                    <a:lnTo>
                      <a:pt x="829" y="711"/>
                    </a:lnTo>
                    <a:lnTo>
                      <a:pt x="879" y="738"/>
                    </a:lnTo>
                    <a:lnTo>
                      <a:pt x="913" y="742"/>
                    </a:lnTo>
                    <a:lnTo>
                      <a:pt x="956" y="801"/>
                    </a:lnTo>
                    <a:lnTo>
                      <a:pt x="1005" y="823"/>
                    </a:lnTo>
                    <a:lnTo>
                      <a:pt x="1040" y="873"/>
                    </a:lnTo>
                    <a:lnTo>
                      <a:pt x="1038" y="899"/>
                    </a:lnTo>
                    <a:lnTo>
                      <a:pt x="1091" y="958"/>
                    </a:lnTo>
                    <a:lnTo>
                      <a:pt x="1106" y="998"/>
                    </a:lnTo>
                    <a:lnTo>
                      <a:pt x="1128" y="1010"/>
                    </a:lnTo>
                    <a:lnTo>
                      <a:pt x="1170" y="1010"/>
                    </a:lnTo>
                    <a:lnTo>
                      <a:pt x="1188" y="1040"/>
                    </a:lnTo>
                    <a:lnTo>
                      <a:pt x="1193" y="1070"/>
                    </a:lnTo>
                    <a:lnTo>
                      <a:pt x="1215" y="1094"/>
                    </a:lnTo>
                    <a:lnTo>
                      <a:pt x="1230" y="1089"/>
                    </a:lnTo>
                    <a:lnTo>
                      <a:pt x="1256" y="1100"/>
                    </a:lnTo>
                    <a:lnTo>
                      <a:pt x="1250" y="1129"/>
                    </a:lnTo>
                    <a:lnTo>
                      <a:pt x="1263" y="1145"/>
                    </a:lnTo>
                    <a:lnTo>
                      <a:pt x="1301" y="1148"/>
                    </a:lnTo>
                    <a:lnTo>
                      <a:pt x="1323" y="1176"/>
                    </a:lnTo>
                    <a:lnTo>
                      <a:pt x="1340" y="1181"/>
                    </a:lnTo>
                    <a:lnTo>
                      <a:pt x="1373" y="1168"/>
                    </a:lnTo>
                    <a:lnTo>
                      <a:pt x="1384" y="1194"/>
                    </a:lnTo>
                    <a:lnTo>
                      <a:pt x="1360" y="1218"/>
                    </a:lnTo>
                    <a:lnTo>
                      <a:pt x="1355" y="1263"/>
                    </a:lnTo>
                    <a:lnTo>
                      <a:pt x="1368" y="1284"/>
                    </a:lnTo>
                    <a:lnTo>
                      <a:pt x="1394" y="1287"/>
                    </a:lnTo>
                    <a:lnTo>
                      <a:pt x="1394" y="1328"/>
                    </a:lnTo>
                    <a:lnTo>
                      <a:pt x="1346" y="1366"/>
                    </a:lnTo>
                    <a:lnTo>
                      <a:pt x="1354" y="1410"/>
                    </a:lnTo>
                    <a:lnTo>
                      <a:pt x="1366" y="1434"/>
                    </a:lnTo>
                    <a:lnTo>
                      <a:pt x="1371" y="1484"/>
                    </a:lnTo>
                    <a:lnTo>
                      <a:pt x="1338" y="1504"/>
                    </a:lnTo>
                    <a:lnTo>
                      <a:pt x="1307" y="1506"/>
                    </a:lnTo>
                    <a:lnTo>
                      <a:pt x="1273" y="1483"/>
                    </a:lnTo>
                    <a:lnTo>
                      <a:pt x="1249" y="1476"/>
                    </a:lnTo>
                    <a:lnTo>
                      <a:pt x="1232" y="1448"/>
                    </a:lnTo>
                    <a:lnTo>
                      <a:pt x="1175" y="1461"/>
                    </a:lnTo>
                    <a:lnTo>
                      <a:pt x="1144" y="1490"/>
                    </a:lnTo>
                    <a:lnTo>
                      <a:pt x="1181" y="1527"/>
                    </a:lnTo>
                    <a:lnTo>
                      <a:pt x="1175" y="1558"/>
                    </a:lnTo>
                    <a:lnTo>
                      <a:pt x="1186" y="1590"/>
                    </a:lnTo>
                    <a:lnTo>
                      <a:pt x="1183" y="1614"/>
                    </a:lnTo>
                    <a:lnTo>
                      <a:pt x="1131" y="1594"/>
                    </a:lnTo>
                    <a:lnTo>
                      <a:pt x="1100" y="1544"/>
                    </a:lnTo>
                    <a:lnTo>
                      <a:pt x="1050" y="1543"/>
                    </a:lnTo>
                    <a:lnTo>
                      <a:pt x="1035" y="1519"/>
                    </a:lnTo>
                    <a:lnTo>
                      <a:pt x="996" y="1490"/>
                    </a:lnTo>
                    <a:lnTo>
                      <a:pt x="1015" y="1481"/>
                    </a:lnTo>
                    <a:lnTo>
                      <a:pt x="1036" y="1457"/>
                    </a:lnTo>
                    <a:lnTo>
                      <a:pt x="1039" y="1395"/>
                    </a:lnTo>
                    <a:lnTo>
                      <a:pt x="1027" y="1367"/>
                    </a:lnTo>
                    <a:lnTo>
                      <a:pt x="1039" y="1335"/>
                    </a:lnTo>
                    <a:lnTo>
                      <a:pt x="1036" y="1313"/>
                    </a:lnTo>
                    <a:lnTo>
                      <a:pt x="1047" y="1275"/>
                    </a:lnTo>
                    <a:lnTo>
                      <a:pt x="1040" y="1252"/>
                    </a:lnTo>
                    <a:lnTo>
                      <a:pt x="997" y="1223"/>
                    </a:lnTo>
                    <a:lnTo>
                      <a:pt x="1008" y="1205"/>
                    </a:lnTo>
                    <a:lnTo>
                      <a:pt x="979" y="1193"/>
                    </a:lnTo>
                    <a:lnTo>
                      <a:pt x="947" y="1190"/>
                    </a:lnTo>
                    <a:lnTo>
                      <a:pt x="911" y="1150"/>
                    </a:lnTo>
                    <a:lnTo>
                      <a:pt x="880" y="1129"/>
                    </a:lnTo>
                    <a:lnTo>
                      <a:pt x="888" y="1102"/>
                    </a:lnTo>
                    <a:lnTo>
                      <a:pt x="891" y="1055"/>
                    </a:lnTo>
                    <a:lnTo>
                      <a:pt x="873" y="1014"/>
                    </a:lnTo>
                    <a:lnTo>
                      <a:pt x="885" y="993"/>
                    </a:lnTo>
                    <a:lnTo>
                      <a:pt x="891" y="963"/>
                    </a:lnTo>
                    <a:lnTo>
                      <a:pt x="874" y="926"/>
                    </a:lnTo>
                    <a:lnTo>
                      <a:pt x="832" y="895"/>
                    </a:lnTo>
                    <a:lnTo>
                      <a:pt x="758" y="842"/>
                    </a:lnTo>
                    <a:lnTo>
                      <a:pt x="733" y="793"/>
                    </a:lnTo>
                    <a:lnTo>
                      <a:pt x="657" y="773"/>
                    </a:lnTo>
                    <a:lnTo>
                      <a:pt x="599" y="784"/>
                    </a:lnTo>
                    <a:lnTo>
                      <a:pt x="562" y="862"/>
                    </a:lnTo>
                    <a:lnTo>
                      <a:pt x="491" y="869"/>
                    </a:lnTo>
                    <a:lnTo>
                      <a:pt x="462" y="832"/>
                    </a:lnTo>
                    <a:lnTo>
                      <a:pt x="427" y="835"/>
                    </a:lnTo>
                    <a:lnTo>
                      <a:pt x="370" y="805"/>
                    </a:lnTo>
                    <a:lnTo>
                      <a:pt x="316" y="830"/>
                    </a:lnTo>
                    <a:lnTo>
                      <a:pt x="311" y="864"/>
                    </a:lnTo>
                    <a:lnTo>
                      <a:pt x="270" y="874"/>
                    </a:lnTo>
                    <a:lnTo>
                      <a:pt x="222" y="899"/>
                    </a:lnTo>
                    <a:lnTo>
                      <a:pt x="219" y="809"/>
                    </a:lnTo>
                    <a:lnTo>
                      <a:pt x="219" y="749"/>
                    </a:lnTo>
                    <a:lnTo>
                      <a:pt x="205" y="707"/>
                    </a:lnTo>
                    <a:lnTo>
                      <a:pt x="224" y="682"/>
                    </a:lnTo>
                    <a:lnTo>
                      <a:pt x="225" y="655"/>
                    </a:lnTo>
                    <a:lnTo>
                      <a:pt x="206" y="621"/>
                    </a:lnTo>
                    <a:lnTo>
                      <a:pt x="225" y="582"/>
                    </a:lnTo>
                    <a:lnTo>
                      <a:pt x="224" y="552"/>
                    </a:lnTo>
                    <a:lnTo>
                      <a:pt x="162" y="551"/>
                    </a:lnTo>
                    <a:lnTo>
                      <a:pt x="132" y="576"/>
                    </a:lnTo>
                    <a:lnTo>
                      <a:pt x="104" y="565"/>
                    </a:lnTo>
                    <a:lnTo>
                      <a:pt x="79" y="522"/>
                    </a:lnTo>
                    <a:lnTo>
                      <a:pt x="107" y="503"/>
                    </a:lnTo>
                    <a:lnTo>
                      <a:pt x="98" y="444"/>
                    </a:lnTo>
                    <a:lnTo>
                      <a:pt x="65" y="404"/>
                    </a:lnTo>
                    <a:lnTo>
                      <a:pt x="20" y="415"/>
                    </a:lnTo>
                    <a:lnTo>
                      <a:pt x="0" y="375"/>
                    </a:lnTo>
                    <a:lnTo>
                      <a:pt x="20" y="331"/>
                    </a:lnTo>
                    <a:lnTo>
                      <a:pt x="38" y="331"/>
                    </a:lnTo>
                    <a:lnTo>
                      <a:pt x="72" y="303"/>
                    </a:lnTo>
                    <a:lnTo>
                      <a:pt x="57" y="281"/>
                    </a:lnTo>
                    <a:lnTo>
                      <a:pt x="76" y="254"/>
                    </a:lnTo>
                    <a:lnTo>
                      <a:pt x="77" y="222"/>
                    </a:lnTo>
                    <a:lnTo>
                      <a:pt x="126" y="212"/>
                    </a:lnTo>
                    <a:lnTo>
                      <a:pt x="160" y="18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2" name="ïślîďê"/>
              <p:cNvSpPr/>
              <p:nvPr/>
            </p:nvSpPr>
            <p:spPr bwMode="auto">
              <a:xfrm>
                <a:off x="2919656" y="3878914"/>
                <a:ext cx="236403" cy="437735"/>
              </a:xfrm>
              <a:custGeom>
                <a:avLst/>
                <a:gdLst>
                  <a:gd name="T0" fmla="*/ 518 w 1458"/>
                  <a:gd name="T1" fmla="*/ 128 h 2700"/>
                  <a:gd name="T2" fmla="*/ 635 w 1458"/>
                  <a:gd name="T3" fmla="*/ 177 h 2700"/>
                  <a:gd name="T4" fmla="*/ 616 w 1458"/>
                  <a:gd name="T5" fmla="*/ 332 h 2700"/>
                  <a:gd name="T6" fmla="*/ 722 w 1458"/>
                  <a:gd name="T7" fmla="*/ 489 h 2700"/>
                  <a:gd name="T8" fmla="*/ 902 w 1458"/>
                  <a:gd name="T9" fmla="*/ 494 h 2700"/>
                  <a:gd name="T10" fmla="*/ 1169 w 1458"/>
                  <a:gd name="T11" fmla="*/ 467 h 2700"/>
                  <a:gd name="T12" fmla="*/ 1284 w 1458"/>
                  <a:gd name="T13" fmla="*/ 639 h 2700"/>
                  <a:gd name="T14" fmla="*/ 1358 w 1458"/>
                  <a:gd name="T15" fmla="*/ 815 h 2700"/>
                  <a:gd name="T16" fmla="*/ 1458 w 1458"/>
                  <a:gd name="T17" fmla="*/ 900 h 2700"/>
                  <a:gd name="T18" fmla="*/ 1447 w 1458"/>
                  <a:gd name="T19" fmla="*/ 1082 h 2700"/>
                  <a:gd name="T20" fmla="*/ 1270 w 1458"/>
                  <a:gd name="T21" fmla="*/ 1098 h 2700"/>
                  <a:gd name="T22" fmla="*/ 1040 w 1458"/>
                  <a:gd name="T23" fmla="*/ 1126 h 2700"/>
                  <a:gd name="T24" fmla="*/ 928 w 1458"/>
                  <a:gd name="T25" fmla="*/ 1331 h 2700"/>
                  <a:gd name="T26" fmla="*/ 981 w 1458"/>
                  <a:gd name="T27" fmla="*/ 1538 h 2700"/>
                  <a:gd name="T28" fmla="*/ 917 w 1458"/>
                  <a:gd name="T29" fmla="*/ 1525 h 2700"/>
                  <a:gd name="T30" fmla="*/ 813 w 1458"/>
                  <a:gd name="T31" fmla="*/ 1445 h 2700"/>
                  <a:gd name="T32" fmla="*/ 742 w 1458"/>
                  <a:gd name="T33" fmla="*/ 1456 h 2700"/>
                  <a:gd name="T34" fmla="*/ 678 w 1458"/>
                  <a:gd name="T35" fmla="*/ 1420 h 2700"/>
                  <a:gd name="T36" fmla="*/ 636 w 1458"/>
                  <a:gd name="T37" fmla="*/ 1309 h 2700"/>
                  <a:gd name="T38" fmla="*/ 560 w 1458"/>
                  <a:gd name="T39" fmla="*/ 1312 h 2700"/>
                  <a:gd name="T40" fmla="*/ 508 w 1458"/>
                  <a:gd name="T41" fmla="*/ 1318 h 2700"/>
                  <a:gd name="T42" fmla="*/ 516 w 1458"/>
                  <a:gd name="T43" fmla="*/ 1454 h 2700"/>
                  <a:gd name="T44" fmla="*/ 488 w 1458"/>
                  <a:gd name="T45" fmla="*/ 1600 h 2700"/>
                  <a:gd name="T46" fmla="*/ 398 w 1458"/>
                  <a:gd name="T47" fmla="*/ 1888 h 2700"/>
                  <a:gd name="T48" fmla="*/ 415 w 1458"/>
                  <a:gd name="T49" fmla="*/ 1971 h 2700"/>
                  <a:gd name="T50" fmla="*/ 461 w 1458"/>
                  <a:gd name="T51" fmla="*/ 2084 h 2700"/>
                  <a:gd name="T52" fmla="*/ 532 w 1458"/>
                  <a:gd name="T53" fmla="*/ 2076 h 2700"/>
                  <a:gd name="T54" fmla="*/ 583 w 1458"/>
                  <a:gd name="T55" fmla="*/ 2213 h 2700"/>
                  <a:gd name="T56" fmla="*/ 631 w 1458"/>
                  <a:gd name="T57" fmla="*/ 2235 h 2700"/>
                  <a:gd name="T58" fmla="*/ 650 w 1458"/>
                  <a:gd name="T59" fmla="*/ 2365 h 2700"/>
                  <a:gd name="T60" fmla="*/ 665 w 1458"/>
                  <a:gd name="T61" fmla="*/ 2389 h 2700"/>
                  <a:gd name="T62" fmla="*/ 770 w 1458"/>
                  <a:gd name="T63" fmla="*/ 2510 h 2700"/>
                  <a:gd name="T64" fmla="*/ 891 w 1458"/>
                  <a:gd name="T65" fmla="*/ 2589 h 2700"/>
                  <a:gd name="T66" fmla="*/ 895 w 1458"/>
                  <a:gd name="T67" fmla="*/ 2682 h 2700"/>
                  <a:gd name="T68" fmla="*/ 759 w 1458"/>
                  <a:gd name="T69" fmla="*/ 2664 h 2700"/>
                  <a:gd name="T70" fmla="*/ 716 w 1458"/>
                  <a:gd name="T71" fmla="*/ 2548 h 2700"/>
                  <a:gd name="T72" fmla="*/ 590 w 1458"/>
                  <a:gd name="T73" fmla="*/ 2551 h 2700"/>
                  <a:gd name="T74" fmla="*/ 511 w 1458"/>
                  <a:gd name="T75" fmla="*/ 2446 h 2700"/>
                  <a:gd name="T76" fmla="*/ 403 w 1458"/>
                  <a:gd name="T77" fmla="*/ 2337 h 2700"/>
                  <a:gd name="T78" fmla="*/ 334 w 1458"/>
                  <a:gd name="T79" fmla="*/ 2212 h 2700"/>
                  <a:gd name="T80" fmla="*/ 256 w 1458"/>
                  <a:gd name="T81" fmla="*/ 2176 h 2700"/>
                  <a:gd name="T82" fmla="*/ 298 w 1458"/>
                  <a:gd name="T83" fmla="*/ 2040 h 2700"/>
                  <a:gd name="T84" fmla="*/ 330 w 1458"/>
                  <a:gd name="T85" fmla="*/ 1928 h 2700"/>
                  <a:gd name="T86" fmla="*/ 348 w 1458"/>
                  <a:gd name="T87" fmla="*/ 1774 h 2700"/>
                  <a:gd name="T88" fmla="*/ 426 w 1458"/>
                  <a:gd name="T89" fmla="*/ 1530 h 2700"/>
                  <a:gd name="T90" fmla="*/ 390 w 1458"/>
                  <a:gd name="T91" fmla="*/ 1342 h 2700"/>
                  <a:gd name="T92" fmla="*/ 274 w 1458"/>
                  <a:gd name="T93" fmla="*/ 1121 h 2700"/>
                  <a:gd name="T94" fmla="*/ 244 w 1458"/>
                  <a:gd name="T95" fmla="*/ 929 h 2700"/>
                  <a:gd name="T96" fmla="*/ 230 w 1458"/>
                  <a:gd name="T97" fmla="*/ 748 h 2700"/>
                  <a:gd name="T98" fmla="*/ 93 w 1458"/>
                  <a:gd name="T99" fmla="*/ 536 h 2700"/>
                  <a:gd name="T100" fmla="*/ 0 w 1458"/>
                  <a:gd name="T101" fmla="*/ 403 h 2700"/>
                  <a:gd name="T102" fmla="*/ 89 w 1458"/>
                  <a:gd name="T103" fmla="*/ 258 h 2700"/>
                  <a:gd name="T104" fmla="*/ 249 w 1458"/>
                  <a:gd name="T105" fmla="*/ 157 h 2700"/>
                  <a:gd name="T106" fmla="*/ 338 w 1458"/>
                  <a:gd name="T107" fmla="*/ 64 h 2700"/>
                  <a:gd name="T108" fmla="*/ 411 w 1458"/>
                  <a:gd name="T109" fmla="*/ 0 h 2700"/>
                  <a:gd name="T110" fmla="*/ 525 w 1458"/>
                  <a:gd name="T111" fmla="*/ 2526 h 2700"/>
                  <a:gd name="T112" fmla="*/ 403 w 1458"/>
                  <a:gd name="T113" fmla="*/ 2391 h 2700"/>
                  <a:gd name="T114" fmla="*/ 276 w 1458"/>
                  <a:gd name="T115" fmla="*/ 2270 h 2700"/>
                  <a:gd name="T116" fmla="*/ 296 w 1458"/>
                  <a:gd name="T117" fmla="*/ 2271 h 2700"/>
                  <a:gd name="T118" fmla="*/ 898 w 1458"/>
                  <a:gd name="T119" fmla="*/ 1534 h 2700"/>
                  <a:gd name="T120" fmla="*/ 898 w 1458"/>
                  <a:gd name="T121" fmla="*/ 1534 h 2700"/>
                  <a:gd name="T122" fmla="*/ 561 w 1458"/>
                  <a:gd name="T123" fmla="*/ 1956 h 2700"/>
                  <a:gd name="T124" fmla="*/ 580 w 1458"/>
                  <a:gd name="T125" fmla="*/ 2017 h 2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58" h="2700">
                    <a:moveTo>
                      <a:pt x="411" y="0"/>
                    </a:moveTo>
                    <a:lnTo>
                      <a:pt x="431" y="40"/>
                    </a:lnTo>
                    <a:lnTo>
                      <a:pt x="476" y="29"/>
                    </a:lnTo>
                    <a:lnTo>
                      <a:pt x="509" y="69"/>
                    </a:lnTo>
                    <a:lnTo>
                      <a:pt x="518" y="128"/>
                    </a:lnTo>
                    <a:lnTo>
                      <a:pt x="490" y="147"/>
                    </a:lnTo>
                    <a:lnTo>
                      <a:pt x="515" y="190"/>
                    </a:lnTo>
                    <a:lnTo>
                      <a:pt x="543" y="201"/>
                    </a:lnTo>
                    <a:lnTo>
                      <a:pt x="573" y="176"/>
                    </a:lnTo>
                    <a:lnTo>
                      <a:pt x="635" y="177"/>
                    </a:lnTo>
                    <a:lnTo>
                      <a:pt x="636" y="207"/>
                    </a:lnTo>
                    <a:lnTo>
                      <a:pt x="617" y="246"/>
                    </a:lnTo>
                    <a:lnTo>
                      <a:pt x="636" y="280"/>
                    </a:lnTo>
                    <a:lnTo>
                      <a:pt x="635" y="307"/>
                    </a:lnTo>
                    <a:lnTo>
                      <a:pt x="616" y="332"/>
                    </a:lnTo>
                    <a:lnTo>
                      <a:pt x="630" y="374"/>
                    </a:lnTo>
                    <a:lnTo>
                      <a:pt x="630" y="434"/>
                    </a:lnTo>
                    <a:lnTo>
                      <a:pt x="633" y="524"/>
                    </a:lnTo>
                    <a:lnTo>
                      <a:pt x="681" y="499"/>
                    </a:lnTo>
                    <a:lnTo>
                      <a:pt x="722" y="489"/>
                    </a:lnTo>
                    <a:lnTo>
                      <a:pt x="727" y="455"/>
                    </a:lnTo>
                    <a:lnTo>
                      <a:pt x="781" y="430"/>
                    </a:lnTo>
                    <a:lnTo>
                      <a:pt x="838" y="460"/>
                    </a:lnTo>
                    <a:lnTo>
                      <a:pt x="873" y="457"/>
                    </a:lnTo>
                    <a:lnTo>
                      <a:pt x="902" y="494"/>
                    </a:lnTo>
                    <a:lnTo>
                      <a:pt x="973" y="487"/>
                    </a:lnTo>
                    <a:lnTo>
                      <a:pt x="1010" y="409"/>
                    </a:lnTo>
                    <a:lnTo>
                      <a:pt x="1068" y="398"/>
                    </a:lnTo>
                    <a:lnTo>
                      <a:pt x="1144" y="418"/>
                    </a:lnTo>
                    <a:lnTo>
                      <a:pt x="1169" y="467"/>
                    </a:lnTo>
                    <a:lnTo>
                      <a:pt x="1243" y="520"/>
                    </a:lnTo>
                    <a:lnTo>
                      <a:pt x="1285" y="551"/>
                    </a:lnTo>
                    <a:lnTo>
                      <a:pt x="1302" y="588"/>
                    </a:lnTo>
                    <a:lnTo>
                      <a:pt x="1296" y="618"/>
                    </a:lnTo>
                    <a:lnTo>
                      <a:pt x="1284" y="639"/>
                    </a:lnTo>
                    <a:lnTo>
                      <a:pt x="1302" y="680"/>
                    </a:lnTo>
                    <a:lnTo>
                      <a:pt x="1299" y="727"/>
                    </a:lnTo>
                    <a:lnTo>
                      <a:pt x="1291" y="754"/>
                    </a:lnTo>
                    <a:lnTo>
                      <a:pt x="1322" y="775"/>
                    </a:lnTo>
                    <a:lnTo>
                      <a:pt x="1358" y="815"/>
                    </a:lnTo>
                    <a:lnTo>
                      <a:pt x="1390" y="818"/>
                    </a:lnTo>
                    <a:lnTo>
                      <a:pt x="1419" y="830"/>
                    </a:lnTo>
                    <a:lnTo>
                      <a:pt x="1408" y="848"/>
                    </a:lnTo>
                    <a:lnTo>
                      <a:pt x="1451" y="877"/>
                    </a:lnTo>
                    <a:lnTo>
                      <a:pt x="1458" y="900"/>
                    </a:lnTo>
                    <a:lnTo>
                      <a:pt x="1447" y="938"/>
                    </a:lnTo>
                    <a:lnTo>
                      <a:pt x="1450" y="960"/>
                    </a:lnTo>
                    <a:lnTo>
                      <a:pt x="1438" y="992"/>
                    </a:lnTo>
                    <a:lnTo>
                      <a:pt x="1450" y="1020"/>
                    </a:lnTo>
                    <a:lnTo>
                      <a:pt x="1447" y="1082"/>
                    </a:lnTo>
                    <a:lnTo>
                      <a:pt x="1426" y="1106"/>
                    </a:lnTo>
                    <a:lnTo>
                      <a:pt x="1384" y="1126"/>
                    </a:lnTo>
                    <a:lnTo>
                      <a:pt x="1355" y="1102"/>
                    </a:lnTo>
                    <a:lnTo>
                      <a:pt x="1307" y="1108"/>
                    </a:lnTo>
                    <a:lnTo>
                      <a:pt x="1270" y="1098"/>
                    </a:lnTo>
                    <a:lnTo>
                      <a:pt x="1233" y="1098"/>
                    </a:lnTo>
                    <a:lnTo>
                      <a:pt x="1185" y="1116"/>
                    </a:lnTo>
                    <a:lnTo>
                      <a:pt x="1170" y="1101"/>
                    </a:lnTo>
                    <a:lnTo>
                      <a:pt x="1121" y="1100"/>
                    </a:lnTo>
                    <a:lnTo>
                      <a:pt x="1040" y="1126"/>
                    </a:lnTo>
                    <a:lnTo>
                      <a:pt x="1007" y="1126"/>
                    </a:lnTo>
                    <a:lnTo>
                      <a:pt x="971" y="1176"/>
                    </a:lnTo>
                    <a:lnTo>
                      <a:pt x="960" y="1227"/>
                    </a:lnTo>
                    <a:lnTo>
                      <a:pt x="932" y="1265"/>
                    </a:lnTo>
                    <a:lnTo>
                      <a:pt x="928" y="1331"/>
                    </a:lnTo>
                    <a:lnTo>
                      <a:pt x="944" y="1399"/>
                    </a:lnTo>
                    <a:lnTo>
                      <a:pt x="973" y="1416"/>
                    </a:lnTo>
                    <a:lnTo>
                      <a:pt x="989" y="1449"/>
                    </a:lnTo>
                    <a:lnTo>
                      <a:pt x="986" y="1511"/>
                    </a:lnTo>
                    <a:lnTo>
                      <a:pt x="981" y="1538"/>
                    </a:lnTo>
                    <a:lnTo>
                      <a:pt x="965" y="1536"/>
                    </a:lnTo>
                    <a:lnTo>
                      <a:pt x="963" y="1560"/>
                    </a:lnTo>
                    <a:lnTo>
                      <a:pt x="957" y="1563"/>
                    </a:lnTo>
                    <a:lnTo>
                      <a:pt x="952" y="1555"/>
                    </a:lnTo>
                    <a:lnTo>
                      <a:pt x="917" y="1525"/>
                    </a:lnTo>
                    <a:lnTo>
                      <a:pt x="902" y="1524"/>
                    </a:lnTo>
                    <a:lnTo>
                      <a:pt x="903" y="1508"/>
                    </a:lnTo>
                    <a:lnTo>
                      <a:pt x="882" y="1498"/>
                    </a:lnTo>
                    <a:lnTo>
                      <a:pt x="837" y="1454"/>
                    </a:lnTo>
                    <a:lnTo>
                      <a:pt x="813" y="1445"/>
                    </a:lnTo>
                    <a:lnTo>
                      <a:pt x="794" y="1461"/>
                    </a:lnTo>
                    <a:lnTo>
                      <a:pt x="797" y="1468"/>
                    </a:lnTo>
                    <a:lnTo>
                      <a:pt x="794" y="1475"/>
                    </a:lnTo>
                    <a:lnTo>
                      <a:pt x="779" y="1465"/>
                    </a:lnTo>
                    <a:lnTo>
                      <a:pt x="742" y="1456"/>
                    </a:lnTo>
                    <a:lnTo>
                      <a:pt x="708" y="1464"/>
                    </a:lnTo>
                    <a:lnTo>
                      <a:pt x="685" y="1456"/>
                    </a:lnTo>
                    <a:lnTo>
                      <a:pt x="658" y="1458"/>
                    </a:lnTo>
                    <a:lnTo>
                      <a:pt x="667" y="1431"/>
                    </a:lnTo>
                    <a:lnTo>
                      <a:pt x="678" y="1420"/>
                    </a:lnTo>
                    <a:lnTo>
                      <a:pt x="663" y="1392"/>
                    </a:lnTo>
                    <a:lnTo>
                      <a:pt x="665" y="1347"/>
                    </a:lnTo>
                    <a:lnTo>
                      <a:pt x="675" y="1337"/>
                    </a:lnTo>
                    <a:lnTo>
                      <a:pt x="666" y="1314"/>
                    </a:lnTo>
                    <a:lnTo>
                      <a:pt x="636" y="1309"/>
                    </a:lnTo>
                    <a:lnTo>
                      <a:pt x="630" y="1304"/>
                    </a:lnTo>
                    <a:lnTo>
                      <a:pt x="620" y="1307"/>
                    </a:lnTo>
                    <a:lnTo>
                      <a:pt x="608" y="1299"/>
                    </a:lnTo>
                    <a:lnTo>
                      <a:pt x="581" y="1310"/>
                    </a:lnTo>
                    <a:lnTo>
                      <a:pt x="560" y="1312"/>
                    </a:lnTo>
                    <a:lnTo>
                      <a:pt x="548" y="1302"/>
                    </a:lnTo>
                    <a:lnTo>
                      <a:pt x="537" y="1316"/>
                    </a:lnTo>
                    <a:lnTo>
                      <a:pt x="518" y="1316"/>
                    </a:lnTo>
                    <a:lnTo>
                      <a:pt x="508" y="1311"/>
                    </a:lnTo>
                    <a:lnTo>
                      <a:pt x="508" y="1318"/>
                    </a:lnTo>
                    <a:lnTo>
                      <a:pt x="500" y="1342"/>
                    </a:lnTo>
                    <a:lnTo>
                      <a:pt x="528" y="1356"/>
                    </a:lnTo>
                    <a:lnTo>
                      <a:pt x="534" y="1387"/>
                    </a:lnTo>
                    <a:lnTo>
                      <a:pt x="515" y="1417"/>
                    </a:lnTo>
                    <a:lnTo>
                      <a:pt x="516" y="1454"/>
                    </a:lnTo>
                    <a:lnTo>
                      <a:pt x="510" y="1475"/>
                    </a:lnTo>
                    <a:lnTo>
                      <a:pt x="523" y="1486"/>
                    </a:lnTo>
                    <a:lnTo>
                      <a:pt x="518" y="1533"/>
                    </a:lnTo>
                    <a:lnTo>
                      <a:pt x="493" y="1564"/>
                    </a:lnTo>
                    <a:lnTo>
                      <a:pt x="488" y="1600"/>
                    </a:lnTo>
                    <a:lnTo>
                      <a:pt x="464" y="1636"/>
                    </a:lnTo>
                    <a:lnTo>
                      <a:pt x="454" y="1765"/>
                    </a:lnTo>
                    <a:lnTo>
                      <a:pt x="414" y="1818"/>
                    </a:lnTo>
                    <a:lnTo>
                      <a:pt x="414" y="1854"/>
                    </a:lnTo>
                    <a:lnTo>
                      <a:pt x="398" y="1888"/>
                    </a:lnTo>
                    <a:lnTo>
                      <a:pt x="415" y="1892"/>
                    </a:lnTo>
                    <a:lnTo>
                      <a:pt x="421" y="1900"/>
                    </a:lnTo>
                    <a:lnTo>
                      <a:pt x="404" y="1921"/>
                    </a:lnTo>
                    <a:lnTo>
                      <a:pt x="407" y="1936"/>
                    </a:lnTo>
                    <a:lnTo>
                      <a:pt x="415" y="1971"/>
                    </a:lnTo>
                    <a:lnTo>
                      <a:pt x="415" y="1993"/>
                    </a:lnTo>
                    <a:lnTo>
                      <a:pt x="448" y="2043"/>
                    </a:lnTo>
                    <a:lnTo>
                      <a:pt x="432" y="2076"/>
                    </a:lnTo>
                    <a:lnTo>
                      <a:pt x="442" y="2089"/>
                    </a:lnTo>
                    <a:lnTo>
                      <a:pt x="461" y="2084"/>
                    </a:lnTo>
                    <a:lnTo>
                      <a:pt x="466" y="2070"/>
                    </a:lnTo>
                    <a:lnTo>
                      <a:pt x="482" y="2051"/>
                    </a:lnTo>
                    <a:lnTo>
                      <a:pt x="490" y="2056"/>
                    </a:lnTo>
                    <a:lnTo>
                      <a:pt x="516" y="2061"/>
                    </a:lnTo>
                    <a:lnTo>
                      <a:pt x="532" y="2076"/>
                    </a:lnTo>
                    <a:lnTo>
                      <a:pt x="536" y="2112"/>
                    </a:lnTo>
                    <a:lnTo>
                      <a:pt x="551" y="2132"/>
                    </a:lnTo>
                    <a:lnTo>
                      <a:pt x="547" y="2169"/>
                    </a:lnTo>
                    <a:lnTo>
                      <a:pt x="565" y="2175"/>
                    </a:lnTo>
                    <a:lnTo>
                      <a:pt x="583" y="2213"/>
                    </a:lnTo>
                    <a:lnTo>
                      <a:pt x="601" y="2212"/>
                    </a:lnTo>
                    <a:lnTo>
                      <a:pt x="601" y="2194"/>
                    </a:lnTo>
                    <a:lnTo>
                      <a:pt x="603" y="2180"/>
                    </a:lnTo>
                    <a:lnTo>
                      <a:pt x="612" y="2206"/>
                    </a:lnTo>
                    <a:lnTo>
                      <a:pt x="631" y="2235"/>
                    </a:lnTo>
                    <a:lnTo>
                      <a:pt x="632" y="2263"/>
                    </a:lnTo>
                    <a:lnTo>
                      <a:pt x="648" y="2272"/>
                    </a:lnTo>
                    <a:lnTo>
                      <a:pt x="662" y="2343"/>
                    </a:lnTo>
                    <a:lnTo>
                      <a:pt x="655" y="2352"/>
                    </a:lnTo>
                    <a:lnTo>
                      <a:pt x="650" y="2365"/>
                    </a:lnTo>
                    <a:lnTo>
                      <a:pt x="641" y="2353"/>
                    </a:lnTo>
                    <a:lnTo>
                      <a:pt x="614" y="2371"/>
                    </a:lnTo>
                    <a:lnTo>
                      <a:pt x="610" y="2395"/>
                    </a:lnTo>
                    <a:lnTo>
                      <a:pt x="659" y="2414"/>
                    </a:lnTo>
                    <a:lnTo>
                      <a:pt x="665" y="2389"/>
                    </a:lnTo>
                    <a:lnTo>
                      <a:pt x="675" y="2396"/>
                    </a:lnTo>
                    <a:lnTo>
                      <a:pt x="678" y="2426"/>
                    </a:lnTo>
                    <a:lnTo>
                      <a:pt x="701" y="2446"/>
                    </a:lnTo>
                    <a:lnTo>
                      <a:pt x="749" y="2493"/>
                    </a:lnTo>
                    <a:lnTo>
                      <a:pt x="770" y="2510"/>
                    </a:lnTo>
                    <a:lnTo>
                      <a:pt x="784" y="2499"/>
                    </a:lnTo>
                    <a:lnTo>
                      <a:pt x="819" y="2503"/>
                    </a:lnTo>
                    <a:lnTo>
                      <a:pt x="851" y="2516"/>
                    </a:lnTo>
                    <a:lnTo>
                      <a:pt x="873" y="2565"/>
                    </a:lnTo>
                    <a:lnTo>
                      <a:pt x="891" y="2589"/>
                    </a:lnTo>
                    <a:lnTo>
                      <a:pt x="923" y="2609"/>
                    </a:lnTo>
                    <a:lnTo>
                      <a:pt x="927" y="2626"/>
                    </a:lnTo>
                    <a:lnTo>
                      <a:pt x="919" y="2634"/>
                    </a:lnTo>
                    <a:lnTo>
                      <a:pt x="919" y="2665"/>
                    </a:lnTo>
                    <a:lnTo>
                      <a:pt x="895" y="2682"/>
                    </a:lnTo>
                    <a:lnTo>
                      <a:pt x="872" y="2663"/>
                    </a:lnTo>
                    <a:lnTo>
                      <a:pt x="841" y="2666"/>
                    </a:lnTo>
                    <a:lnTo>
                      <a:pt x="803" y="2700"/>
                    </a:lnTo>
                    <a:lnTo>
                      <a:pt x="758" y="2688"/>
                    </a:lnTo>
                    <a:lnTo>
                      <a:pt x="759" y="2664"/>
                    </a:lnTo>
                    <a:lnTo>
                      <a:pt x="778" y="2639"/>
                    </a:lnTo>
                    <a:lnTo>
                      <a:pt x="783" y="2590"/>
                    </a:lnTo>
                    <a:lnTo>
                      <a:pt x="761" y="2567"/>
                    </a:lnTo>
                    <a:lnTo>
                      <a:pt x="725" y="2567"/>
                    </a:lnTo>
                    <a:lnTo>
                      <a:pt x="716" y="2548"/>
                    </a:lnTo>
                    <a:lnTo>
                      <a:pt x="669" y="2534"/>
                    </a:lnTo>
                    <a:lnTo>
                      <a:pt x="637" y="2505"/>
                    </a:lnTo>
                    <a:lnTo>
                      <a:pt x="616" y="2534"/>
                    </a:lnTo>
                    <a:lnTo>
                      <a:pt x="604" y="2573"/>
                    </a:lnTo>
                    <a:lnTo>
                      <a:pt x="590" y="2551"/>
                    </a:lnTo>
                    <a:lnTo>
                      <a:pt x="516" y="2497"/>
                    </a:lnTo>
                    <a:lnTo>
                      <a:pt x="514" y="2484"/>
                    </a:lnTo>
                    <a:lnTo>
                      <a:pt x="528" y="2466"/>
                    </a:lnTo>
                    <a:lnTo>
                      <a:pt x="529" y="2449"/>
                    </a:lnTo>
                    <a:lnTo>
                      <a:pt x="511" y="2446"/>
                    </a:lnTo>
                    <a:lnTo>
                      <a:pt x="500" y="2417"/>
                    </a:lnTo>
                    <a:lnTo>
                      <a:pt x="466" y="2412"/>
                    </a:lnTo>
                    <a:lnTo>
                      <a:pt x="466" y="2389"/>
                    </a:lnTo>
                    <a:lnTo>
                      <a:pt x="428" y="2337"/>
                    </a:lnTo>
                    <a:lnTo>
                      <a:pt x="403" y="2337"/>
                    </a:lnTo>
                    <a:lnTo>
                      <a:pt x="384" y="2275"/>
                    </a:lnTo>
                    <a:lnTo>
                      <a:pt x="352" y="2270"/>
                    </a:lnTo>
                    <a:lnTo>
                      <a:pt x="352" y="2244"/>
                    </a:lnTo>
                    <a:lnTo>
                      <a:pt x="333" y="2230"/>
                    </a:lnTo>
                    <a:lnTo>
                      <a:pt x="334" y="2212"/>
                    </a:lnTo>
                    <a:lnTo>
                      <a:pt x="301" y="2229"/>
                    </a:lnTo>
                    <a:lnTo>
                      <a:pt x="303" y="2261"/>
                    </a:lnTo>
                    <a:lnTo>
                      <a:pt x="281" y="2259"/>
                    </a:lnTo>
                    <a:lnTo>
                      <a:pt x="265" y="2235"/>
                    </a:lnTo>
                    <a:lnTo>
                      <a:pt x="256" y="2176"/>
                    </a:lnTo>
                    <a:lnTo>
                      <a:pt x="264" y="2161"/>
                    </a:lnTo>
                    <a:lnTo>
                      <a:pt x="259" y="2112"/>
                    </a:lnTo>
                    <a:lnTo>
                      <a:pt x="281" y="2101"/>
                    </a:lnTo>
                    <a:lnTo>
                      <a:pt x="280" y="2036"/>
                    </a:lnTo>
                    <a:lnTo>
                      <a:pt x="298" y="2040"/>
                    </a:lnTo>
                    <a:lnTo>
                      <a:pt x="311" y="2014"/>
                    </a:lnTo>
                    <a:lnTo>
                      <a:pt x="291" y="2010"/>
                    </a:lnTo>
                    <a:lnTo>
                      <a:pt x="316" y="1975"/>
                    </a:lnTo>
                    <a:lnTo>
                      <a:pt x="309" y="1961"/>
                    </a:lnTo>
                    <a:lnTo>
                      <a:pt x="330" y="1928"/>
                    </a:lnTo>
                    <a:lnTo>
                      <a:pt x="311" y="1926"/>
                    </a:lnTo>
                    <a:lnTo>
                      <a:pt x="318" y="1869"/>
                    </a:lnTo>
                    <a:lnTo>
                      <a:pt x="327" y="1843"/>
                    </a:lnTo>
                    <a:lnTo>
                      <a:pt x="342" y="1817"/>
                    </a:lnTo>
                    <a:lnTo>
                      <a:pt x="348" y="1774"/>
                    </a:lnTo>
                    <a:lnTo>
                      <a:pt x="385" y="1746"/>
                    </a:lnTo>
                    <a:lnTo>
                      <a:pt x="426" y="1638"/>
                    </a:lnTo>
                    <a:lnTo>
                      <a:pt x="445" y="1625"/>
                    </a:lnTo>
                    <a:lnTo>
                      <a:pt x="447" y="1569"/>
                    </a:lnTo>
                    <a:lnTo>
                      <a:pt x="426" y="1530"/>
                    </a:lnTo>
                    <a:lnTo>
                      <a:pt x="428" y="1481"/>
                    </a:lnTo>
                    <a:lnTo>
                      <a:pt x="413" y="1450"/>
                    </a:lnTo>
                    <a:lnTo>
                      <a:pt x="406" y="1399"/>
                    </a:lnTo>
                    <a:lnTo>
                      <a:pt x="386" y="1379"/>
                    </a:lnTo>
                    <a:lnTo>
                      <a:pt x="390" y="1342"/>
                    </a:lnTo>
                    <a:lnTo>
                      <a:pt x="382" y="1308"/>
                    </a:lnTo>
                    <a:lnTo>
                      <a:pt x="395" y="1280"/>
                    </a:lnTo>
                    <a:lnTo>
                      <a:pt x="372" y="1207"/>
                    </a:lnTo>
                    <a:lnTo>
                      <a:pt x="326" y="1162"/>
                    </a:lnTo>
                    <a:lnTo>
                      <a:pt x="274" y="1121"/>
                    </a:lnTo>
                    <a:lnTo>
                      <a:pt x="229" y="1065"/>
                    </a:lnTo>
                    <a:lnTo>
                      <a:pt x="228" y="1034"/>
                    </a:lnTo>
                    <a:lnTo>
                      <a:pt x="204" y="975"/>
                    </a:lnTo>
                    <a:lnTo>
                      <a:pt x="240" y="954"/>
                    </a:lnTo>
                    <a:lnTo>
                      <a:pt x="244" y="929"/>
                    </a:lnTo>
                    <a:lnTo>
                      <a:pt x="224" y="841"/>
                    </a:lnTo>
                    <a:lnTo>
                      <a:pt x="238" y="816"/>
                    </a:lnTo>
                    <a:lnTo>
                      <a:pt x="270" y="799"/>
                    </a:lnTo>
                    <a:lnTo>
                      <a:pt x="266" y="764"/>
                    </a:lnTo>
                    <a:lnTo>
                      <a:pt x="230" y="748"/>
                    </a:lnTo>
                    <a:lnTo>
                      <a:pt x="224" y="710"/>
                    </a:lnTo>
                    <a:lnTo>
                      <a:pt x="205" y="665"/>
                    </a:lnTo>
                    <a:lnTo>
                      <a:pt x="178" y="656"/>
                    </a:lnTo>
                    <a:lnTo>
                      <a:pt x="137" y="567"/>
                    </a:lnTo>
                    <a:lnTo>
                      <a:pt x="93" y="536"/>
                    </a:lnTo>
                    <a:lnTo>
                      <a:pt x="82" y="510"/>
                    </a:lnTo>
                    <a:lnTo>
                      <a:pt x="58" y="487"/>
                    </a:lnTo>
                    <a:lnTo>
                      <a:pt x="30" y="437"/>
                    </a:lnTo>
                    <a:lnTo>
                      <a:pt x="3" y="430"/>
                    </a:lnTo>
                    <a:lnTo>
                      <a:pt x="0" y="403"/>
                    </a:lnTo>
                    <a:lnTo>
                      <a:pt x="44" y="385"/>
                    </a:lnTo>
                    <a:lnTo>
                      <a:pt x="76" y="361"/>
                    </a:lnTo>
                    <a:lnTo>
                      <a:pt x="64" y="332"/>
                    </a:lnTo>
                    <a:lnTo>
                      <a:pt x="64" y="282"/>
                    </a:lnTo>
                    <a:lnTo>
                      <a:pt x="89" y="258"/>
                    </a:lnTo>
                    <a:lnTo>
                      <a:pt x="80" y="200"/>
                    </a:lnTo>
                    <a:lnTo>
                      <a:pt x="107" y="163"/>
                    </a:lnTo>
                    <a:lnTo>
                      <a:pt x="172" y="188"/>
                    </a:lnTo>
                    <a:lnTo>
                      <a:pt x="211" y="157"/>
                    </a:lnTo>
                    <a:lnTo>
                      <a:pt x="249" y="157"/>
                    </a:lnTo>
                    <a:lnTo>
                      <a:pt x="260" y="139"/>
                    </a:lnTo>
                    <a:lnTo>
                      <a:pt x="261" y="96"/>
                    </a:lnTo>
                    <a:lnTo>
                      <a:pt x="283" y="76"/>
                    </a:lnTo>
                    <a:lnTo>
                      <a:pt x="326" y="83"/>
                    </a:lnTo>
                    <a:lnTo>
                      <a:pt x="338" y="64"/>
                    </a:lnTo>
                    <a:lnTo>
                      <a:pt x="321" y="38"/>
                    </a:lnTo>
                    <a:lnTo>
                      <a:pt x="321" y="20"/>
                    </a:lnTo>
                    <a:lnTo>
                      <a:pt x="359" y="6"/>
                    </a:lnTo>
                    <a:lnTo>
                      <a:pt x="409" y="3"/>
                    </a:lnTo>
                    <a:lnTo>
                      <a:pt x="411" y="0"/>
                    </a:lnTo>
                    <a:lnTo>
                      <a:pt x="411" y="0"/>
                    </a:lnTo>
                    <a:close/>
                    <a:moveTo>
                      <a:pt x="505" y="2524"/>
                    </a:moveTo>
                    <a:lnTo>
                      <a:pt x="518" y="2552"/>
                    </a:lnTo>
                    <a:lnTo>
                      <a:pt x="530" y="2547"/>
                    </a:lnTo>
                    <a:lnTo>
                      <a:pt x="525" y="2526"/>
                    </a:lnTo>
                    <a:lnTo>
                      <a:pt x="513" y="2520"/>
                    </a:lnTo>
                    <a:lnTo>
                      <a:pt x="505" y="2524"/>
                    </a:lnTo>
                    <a:lnTo>
                      <a:pt x="505" y="2524"/>
                    </a:lnTo>
                    <a:close/>
                    <a:moveTo>
                      <a:pt x="397" y="2356"/>
                    </a:moveTo>
                    <a:lnTo>
                      <a:pt x="403" y="2391"/>
                    </a:lnTo>
                    <a:lnTo>
                      <a:pt x="408" y="2373"/>
                    </a:lnTo>
                    <a:lnTo>
                      <a:pt x="406" y="2358"/>
                    </a:lnTo>
                    <a:lnTo>
                      <a:pt x="397" y="2356"/>
                    </a:lnTo>
                    <a:lnTo>
                      <a:pt x="397" y="2356"/>
                    </a:lnTo>
                    <a:close/>
                    <a:moveTo>
                      <a:pt x="276" y="2270"/>
                    </a:moveTo>
                    <a:lnTo>
                      <a:pt x="268" y="2293"/>
                    </a:lnTo>
                    <a:lnTo>
                      <a:pt x="276" y="2306"/>
                    </a:lnTo>
                    <a:lnTo>
                      <a:pt x="274" y="2342"/>
                    </a:lnTo>
                    <a:lnTo>
                      <a:pt x="296" y="2312"/>
                    </a:lnTo>
                    <a:lnTo>
                      <a:pt x="296" y="2271"/>
                    </a:lnTo>
                    <a:lnTo>
                      <a:pt x="296" y="2271"/>
                    </a:lnTo>
                    <a:lnTo>
                      <a:pt x="287" y="2270"/>
                    </a:lnTo>
                    <a:lnTo>
                      <a:pt x="276" y="2270"/>
                    </a:lnTo>
                    <a:lnTo>
                      <a:pt x="276" y="2270"/>
                    </a:lnTo>
                    <a:close/>
                    <a:moveTo>
                      <a:pt x="898" y="1534"/>
                    </a:moveTo>
                    <a:lnTo>
                      <a:pt x="900" y="1564"/>
                    </a:lnTo>
                    <a:lnTo>
                      <a:pt x="925" y="1583"/>
                    </a:lnTo>
                    <a:lnTo>
                      <a:pt x="943" y="1580"/>
                    </a:lnTo>
                    <a:lnTo>
                      <a:pt x="898" y="1534"/>
                    </a:lnTo>
                    <a:lnTo>
                      <a:pt x="898" y="1534"/>
                    </a:lnTo>
                    <a:close/>
                    <a:moveTo>
                      <a:pt x="561" y="1956"/>
                    </a:moveTo>
                    <a:lnTo>
                      <a:pt x="530" y="1968"/>
                    </a:lnTo>
                    <a:lnTo>
                      <a:pt x="553" y="1975"/>
                    </a:lnTo>
                    <a:lnTo>
                      <a:pt x="561" y="1956"/>
                    </a:lnTo>
                    <a:lnTo>
                      <a:pt x="561" y="1956"/>
                    </a:lnTo>
                    <a:close/>
                    <a:moveTo>
                      <a:pt x="570" y="1992"/>
                    </a:moveTo>
                    <a:lnTo>
                      <a:pt x="545" y="2009"/>
                    </a:lnTo>
                    <a:lnTo>
                      <a:pt x="547" y="2032"/>
                    </a:lnTo>
                    <a:lnTo>
                      <a:pt x="572" y="2052"/>
                    </a:lnTo>
                    <a:lnTo>
                      <a:pt x="580" y="2017"/>
                    </a:lnTo>
                    <a:lnTo>
                      <a:pt x="570" y="199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3" name="îsļïḑê"/>
              <p:cNvSpPr/>
              <p:nvPr/>
            </p:nvSpPr>
            <p:spPr bwMode="auto">
              <a:xfrm>
                <a:off x="2767681" y="3638615"/>
                <a:ext cx="246795" cy="557235"/>
              </a:xfrm>
              <a:custGeom>
                <a:avLst/>
                <a:gdLst>
                  <a:gd name="T0" fmla="*/ 841 w 1524"/>
                  <a:gd name="T1" fmla="*/ 49 h 3425"/>
                  <a:gd name="T2" fmla="*/ 973 w 1524"/>
                  <a:gd name="T3" fmla="*/ 270 h 3425"/>
                  <a:gd name="T4" fmla="*/ 924 w 1524"/>
                  <a:gd name="T5" fmla="*/ 498 h 3425"/>
                  <a:gd name="T6" fmla="*/ 855 w 1524"/>
                  <a:gd name="T7" fmla="*/ 595 h 3425"/>
                  <a:gd name="T8" fmla="*/ 882 w 1524"/>
                  <a:gd name="T9" fmla="*/ 735 h 3425"/>
                  <a:gd name="T10" fmla="*/ 1042 w 1524"/>
                  <a:gd name="T11" fmla="*/ 819 h 3425"/>
                  <a:gd name="T12" fmla="*/ 1114 w 1524"/>
                  <a:gd name="T13" fmla="*/ 932 h 3425"/>
                  <a:gd name="T14" fmla="*/ 1252 w 1524"/>
                  <a:gd name="T15" fmla="*/ 984 h 3425"/>
                  <a:gd name="T16" fmla="*/ 1173 w 1524"/>
                  <a:gd name="T17" fmla="*/ 1175 h 3425"/>
                  <a:gd name="T18" fmla="*/ 1301 w 1524"/>
                  <a:gd name="T19" fmla="*/ 1232 h 3425"/>
                  <a:gd name="T20" fmla="*/ 1524 w 1524"/>
                  <a:gd name="T21" fmla="*/ 1239 h 3425"/>
                  <a:gd name="T22" fmla="*/ 1419 w 1524"/>
                  <a:gd name="T23" fmla="*/ 1404 h 3425"/>
                  <a:gd name="T24" fmla="*/ 1257 w 1524"/>
                  <a:gd name="T25" fmla="*/ 1514 h 3425"/>
                  <a:gd name="T26" fmla="*/ 1185 w 1524"/>
                  <a:gd name="T27" fmla="*/ 1633 h 3425"/>
                  <a:gd name="T28" fmla="*/ 1000 w 1524"/>
                  <a:gd name="T29" fmla="*/ 1758 h 3425"/>
                  <a:gd name="T30" fmla="*/ 966 w 1524"/>
                  <a:gd name="T31" fmla="*/ 1913 h 3425"/>
                  <a:gd name="T32" fmla="*/ 1141 w 1524"/>
                  <a:gd name="T33" fmla="*/ 2141 h 3425"/>
                  <a:gd name="T34" fmla="*/ 1160 w 1524"/>
                  <a:gd name="T35" fmla="*/ 2317 h 3425"/>
                  <a:gd name="T36" fmla="*/ 1210 w 1524"/>
                  <a:gd name="T37" fmla="*/ 2597 h 3425"/>
                  <a:gd name="T38" fmla="*/ 1322 w 1524"/>
                  <a:gd name="T39" fmla="*/ 2855 h 3425"/>
                  <a:gd name="T40" fmla="*/ 1381 w 1524"/>
                  <a:gd name="T41" fmla="*/ 3101 h 3425"/>
                  <a:gd name="T42" fmla="*/ 1254 w 1524"/>
                  <a:gd name="T43" fmla="*/ 3345 h 3425"/>
                  <a:gd name="T44" fmla="*/ 1205 w 1524"/>
                  <a:gd name="T45" fmla="*/ 3302 h 3425"/>
                  <a:gd name="T46" fmla="*/ 1240 w 1524"/>
                  <a:gd name="T47" fmla="*/ 3207 h 3425"/>
                  <a:gd name="T48" fmla="*/ 1248 w 1524"/>
                  <a:gd name="T49" fmla="*/ 3044 h 3425"/>
                  <a:gd name="T50" fmla="*/ 1202 w 1524"/>
                  <a:gd name="T51" fmla="*/ 2810 h 3425"/>
                  <a:gd name="T52" fmla="*/ 1131 w 1524"/>
                  <a:gd name="T53" fmla="*/ 2744 h 3425"/>
                  <a:gd name="T54" fmla="*/ 1062 w 1524"/>
                  <a:gd name="T55" fmla="*/ 2535 h 3425"/>
                  <a:gd name="T56" fmla="*/ 1020 w 1524"/>
                  <a:gd name="T57" fmla="*/ 2296 h 3425"/>
                  <a:gd name="T58" fmla="*/ 975 w 1524"/>
                  <a:gd name="T59" fmla="*/ 2230 h 3425"/>
                  <a:gd name="T60" fmla="*/ 865 w 1524"/>
                  <a:gd name="T61" fmla="*/ 2085 h 3425"/>
                  <a:gd name="T62" fmla="*/ 863 w 1524"/>
                  <a:gd name="T63" fmla="*/ 2115 h 3425"/>
                  <a:gd name="T64" fmla="*/ 758 w 1524"/>
                  <a:gd name="T65" fmla="*/ 2194 h 3425"/>
                  <a:gd name="T66" fmla="*/ 722 w 1524"/>
                  <a:gd name="T67" fmla="*/ 2263 h 3425"/>
                  <a:gd name="T68" fmla="*/ 571 w 1524"/>
                  <a:gd name="T69" fmla="*/ 2331 h 3425"/>
                  <a:gd name="T70" fmla="*/ 478 w 1524"/>
                  <a:gd name="T71" fmla="*/ 2365 h 3425"/>
                  <a:gd name="T72" fmla="*/ 449 w 1524"/>
                  <a:gd name="T73" fmla="*/ 2304 h 3425"/>
                  <a:gd name="T74" fmla="*/ 481 w 1524"/>
                  <a:gd name="T75" fmla="*/ 2086 h 3425"/>
                  <a:gd name="T76" fmla="*/ 414 w 1524"/>
                  <a:gd name="T77" fmla="*/ 1896 h 3425"/>
                  <a:gd name="T78" fmla="*/ 303 w 1524"/>
                  <a:gd name="T79" fmla="*/ 1719 h 3425"/>
                  <a:gd name="T80" fmla="*/ 197 w 1524"/>
                  <a:gd name="T81" fmla="*/ 1704 h 3425"/>
                  <a:gd name="T82" fmla="*/ 262 w 1524"/>
                  <a:gd name="T83" fmla="*/ 1711 h 3425"/>
                  <a:gd name="T84" fmla="*/ 268 w 1524"/>
                  <a:gd name="T85" fmla="*/ 1606 h 3425"/>
                  <a:gd name="T86" fmla="*/ 129 w 1524"/>
                  <a:gd name="T87" fmla="*/ 1572 h 3425"/>
                  <a:gd name="T88" fmla="*/ 109 w 1524"/>
                  <a:gd name="T89" fmla="*/ 1554 h 3425"/>
                  <a:gd name="T90" fmla="*/ 5 w 1524"/>
                  <a:gd name="T91" fmla="*/ 1362 h 3425"/>
                  <a:gd name="T92" fmla="*/ 94 w 1524"/>
                  <a:gd name="T93" fmla="*/ 1204 h 3425"/>
                  <a:gd name="T94" fmla="*/ 159 w 1524"/>
                  <a:gd name="T95" fmla="*/ 1021 h 3425"/>
                  <a:gd name="T96" fmla="*/ 254 w 1524"/>
                  <a:gd name="T97" fmla="*/ 842 h 3425"/>
                  <a:gd name="T98" fmla="*/ 339 w 1524"/>
                  <a:gd name="T99" fmla="*/ 491 h 3425"/>
                  <a:gd name="T100" fmla="*/ 490 w 1524"/>
                  <a:gd name="T101" fmla="*/ 208 h 3425"/>
                  <a:gd name="T102" fmla="*/ 664 w 1524"/>
                  <a:gd name="T103" fmla="*/ 126 h 3425"/>
                  <a:gd name="T104" fmla="*/ 223 w 1524"/>
                  <a:gd name="T105" fmla="*/ 1822 h 3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24" h="3425">
                    <a:moveTo>
                      <a:pt x="685" y="15"/>
                    </a:moveTo>
                    <a:lnTo>
                      <a:pt x="714" y="0"/>
                    </a:lnTo>
                    <a:lnTo>
                      <a:pt x="753" y="18"/>
                    </a:lnTo>
                    <a:lnTo>
                      <a:pt x="779" y="3"/>
                    </a:lnTo>
                    <a:lnTo>
                      <a:pt x="819" y="4"/>
                    </a:lnTo>
                    <a:lnTo>
                      <a:pt x="841" y="49"/>
                    </a:lnTo>
                    <a:lnTo>
                      <a:pt x="875" y="74"/>
                    </a:lnTo>
                    <a:lnTo>
                      <a:pt x="884" y="128"/>
                    </a:lnTo>
                    <a:lnTo>
                      <a:pt x="914" y="127"/>
                    </a:lnTo>
                    <a:lnTo>
                      <a:pt x="944" y="160"/>
                    </a:lnTo>
                    <a:lnTo>
                      <a:pt x="944" y="213"/>
                    </a:lnTo>
                    <a:lnTo>
                      <a:pt x="973" y="270"/>
                    </a:lnTo>
                    <a:lnTo>
                      <a:pt x="976" y="323"/>
                    </a:lnTo>
                    <a:lnTo>
                      <a:pt x="967" y="395"/>
                    </a:lnTo>
                    <a:lnTo>
                      <a:pt x="967" y="430"/>
                    </a:lnTo>
                    <a:lnTo>
                      <a:pt x="960" y="450"/>
                    </a:lnTo>
                    <a:lnTo>
                      <a:pt x="927" y="466"/>
                    </a:lnTo>
                    <a:lnTo>
                      <a:pt x="924" y="498"/>
                    </a:lnTo>
                    <a:lnTo>
                      <a:pt x="907" y="503"/>
                    </a:lnTo>
                    <a:lnTo>
                      <a:pt x="899" y="526"/>
                    </a:lnTo>
                    <a:lnTo>
                      <a:pt x="914" y="559"/>
                    </a:lnTo>
                    <a:lnTo>
                      <a:pt x="900" y="579"/>
                    </a:lnTo>
                    <a:lnTo>
                      <a:pt x="879" y="571"/>
                    </a:lnTo>
                    <a:lnTo>
                      <a:pt x="855" y="595"/>
                    </a:lnTo>
                    <a:lnTo>
                      <a:pt x="841" y="625"/>
                    </a:lnTo>
                    <a:lnTo>
                      <a:pt x="856" y="647"/>
                    </a:lnTo>
                    <a:lnTo>
                      <a:pt x="840" y="672"/>
                    </a:lnTo>
                    <a:lnTo>
                      <a:pt x="840" y="701"/>
                    </a:lnTo>
                    <a:lnTo>
                      <a:pt x="869" y="714"/>
                    </a:lnTo>
                    <a:lnTo>
                      <a:pt x="882" y="735"/>
                    </a:lnTo>
                    <a:lnTo>
                      <a:pt x="905" y="758"/>
                    </a:lnTo>
                    <a:lnTo>
                      <a:pt x="900" y="799"/>
                    </a:lnTo>
                    <a:lnTo>
                      <a:pt x="917" y="838"/>
                    </a:lnTo>
                    <a:lnTo>
                      <a:pt x="957" y="808"/>
                    </a:lnTo>
                    <a:lnTo>
                      <a:pt x="1035" y="793"/>
                    </a:lnTo>
                    <a:lnTo>
                      <a:pt x="1042" y="819"/>
                    </a:lnTo>
                    <a:lnTo>
                      <a:pt x="1031" y="840"/>
                    </a:lnTo>
                    <a:lnTo>
                      <a:pt x="1052" y="857"/>
                    </a:lnTo>
                    <a:lnTo>
                      <a:pt x="1097" y="846"/>
                    </a:lnTo>
                    <a:lnTo>
                      <a:pt x="1105" y="876"/>
                    </a:lnTo>
                    <a:lnTo>
                      <a:pt x="1093" y="906"/>
                    </a:lnTo>
                    <a:lnTo>
                      <a:pt x="1114" y="932"/>
                    </a:lnTo>
                    <a:lnTo>
                      <a:pt x="1158" y="943"/>
                    </a:lnTo>
                    <a:lnTo>
                      <a:pt x="1149" y="959"/>
                    </a:lnTo>
                    <a:lnTo>
                      <a:pt x="1163" y="981"/>
                    </a:lnTo>
                    <a:lnTo>
                      <a:pt x="1169" y="967"/>
                    </a:lnTo>
                    <a:lnTo>
                      <a:pt x="1217" y="961"/>
                    </a:lnTo>
                    <a:lnTo>
                      <a:pt x="1252" y="984"/>
                    </a:lnTo>
                    <a:lnTo>
                      <a:pt x="1252" y="1010"/>
                    </a:lnTo>
                    <a:lnTo>
                      <a:pt x="1237" y="1039"/>
                    </a:lnTo>
                    <a:lnTo>
                      <a:pt x="1238" y="1064"/>
                    </a:lnTo>
                    <a:lnTo>
                      <a:pt x="1198" y="1120"/>
                    </a:lnTo>
                    <a:lnTo>
                      <a:pt x="1166" y="1151"/>
                    </a:lnTo>
                    <a:lnTo>
                      <a:pt x="1173" y="1175"/>
                    </a:lnTo>
                    <a:lnTo>
                      <a:pt x="1198" y="1163"/>
                    </a:lnTo>
                    <a:lnTo>
                      <a:pt x="1253" y="1169"/>
                    </a:lnTo>
                    <a:lnTo>
                      <a:pt x="1262" y="1178"/>
                    </a:lnTo>
                    <a:lnTo>
                      <a:pt x="1288" y="1155"/>
                    </a:lnTo>
                    <a:lnTo>
                      <a:pt x="1311" y="1185"/>
                    </a:lnTo>
                    <a:lnTo>
                      <a:pt x="1301" y="1232"/>
                    </a:lnTo>
                    <a:lnTo>
                      <a:pt x="1312" y="1263"/>
                    </a:lnTo>
                    <a:lnTo>
                      <a:pt x="1351" y="1283"/>
                    </a:lnTo>
                    <a:lnTo>
                      <a:pt x="1375" y="1261"/>
                    </a:lnTo>
                    <a:lnTo>
                      <a:pt x="1413" y="1261"/>
                    </a:lnTo>
                    <a:lnTo>
                      <a:pt x="1491" y="1228"/>
                    </a:lnTo>
                    <a:lnTo>
                      <a:pt x="1524" y="1239"/>
                    </a:lnTo>
                    <a:lnTo>
                      <a:pt x="1521" y="1271"/>
                    </a:lnTo>
                    <a:lnTo>
                      <a:pt x="1473" y="1313"/>
                    </a:lnTo>
                    <a:lnTo>
                      <a:pt x="1424" y="1323"/>
                    </a:lnTo>
                    <a:lnTo>
                      <a:pt x="1423" y="1355"/>
                    </a:lnTo>
                    <a:lnTo>
                      <a:pt x="1404" y="1382"/>
                    </a:lnTo>
                    <a:lnTo>
                      <a:pt x="1419" y="1404"/>
                    </a:lnTo>
                    <a:lnTo>
                      <a:pt x="1385" y="1432"/>
                    </a:lnTo>
                    <a:lnTo>
                      <a:pt x="1367" y="1432"/>
                    </a:lnTo>
                    <a:lnTo>
                      <a:pt x="1345" y="1479"/>
                    </a:lnTo>
                    <a:lnTo>
                      <a:pt x="1295" y="1482"/>
                    </a:lnTo>
                    <a:lnTo>
                      <a:pt x="1257" y="1496"/>
                    </a:lnTo>
                    <a:lnTo>
                      <a:pt x="1257" y="1514"/>
                    </a:lnTo>
                    <a:lnTo>
                      <a:pt x="1274" y="1540"/>
                    </a:lnTo>
                    <a:lnTo>
                      <a:pt x="1262" y="1559"/>
                    </a:lnTo>
                    <a:lnTo>
                      <a:pt x="1219" y="1552"/>
                    </a:lnTo>
                    <a:lnTo>
                      <a:pt x="1197" y="1572"/>
                    </a:lnTo>
                    <a:lnTo>
                      <a:pt x="1196" y="1615"/>
                    </a:lnTo>
                    <a:lnTo>
                      <a:pt x="1185" y="1633"/>
                    </a:lnTo>
                    <a:lnTo>
                      <a:pt x="1147" y="1633"/>
                    </a:lnTo>
                    <a:lnTo>
                      <a:pt x="1108" y="1664"/>
                    </a:lnTo>
                    <a:lnTo>
                      <a:pt x="1043" y="1639"/>
                    </a:lnTo>
                    <a:lnTo>
                      <a:pt x="1016" y="1676"/>
                    </a:lnTo>
                    <a:lnTo>
                      <a:pt x="1025" y="1734"/>
                    </a:lnTo>
                    <a:lnTo>
                      <a:pt x="1000" y="1758"/>
                    </a:lnTo>
                    <a:lnTo>
                      <a:pt x="1000" y="1808"/>
                    </a:lnTo>
                    <a:lnTo>
                      <a:pt x="1012" y="1837"/>
                    </a:lnTo>
                    <a:lnTo>
                      <a:pt x="980" y="1861"/>
                    </a:lnTo>
                    <a:lnTo>
                      <a:pt x="936" y="1879"/>
                    </a:lnTo>
                    <a:lnTo>
                      <a:pt x="939" y="1906"/>
                    </a:lnTo>
                    <a:lnTo>
                      <a:pt x="966" y="1913"/>
                    </a:lnTo>
                    <a:lnTo>
                      <a:pt x="994" y="1963"/>
                    </a:lnTo>
                    <a:lnTo>
                      <a:pt x="1018" y="1986"/>
                    </a:lnTo>
                    <a:lnTo>
                      <a:pt x="1029" y="2012"/>
                    </a:lnTo>
                    <a:lnTo>
                      <a:pt x="1073" y="2043"/>
                    </a:lnTo>
                    <a:lnTo>
                      <a:pt x="1114" y="2132"/>
                    </a:lnTo>
                    <a:lnTo>
                      <a:pt x="1141" y="2141"/>
                    </a:lnTo>
                    <a:lnTo>
                      <a:pt x="1160" y="2186"/>
                    </a:lnTo>
                    <a:lnTo>
                      <a:pt x="1166" y="2224"/>
                    </a:lnTo>
                    <a:lnTo>
                      <a:pt x="1202" y="2240"/>
                    </a:lnTo>
                    <a:lnTo>
                      <a:pt x="1206" y="2275"/>
                    </a:lnTo>
                    <a:lnTo>
                      <a:pt x="1174" y="2292"/>
                    </a:lnTo>
                    <a:lnTo>
                      <a:pt x="1160" y="2317"/>
                    </a:lnTo>
                    <a:lnTo>
                      <a:pt x="1180" y="2405"/>
                    </a:lnTo>
                    <a:lnTo>
                      <a:pt x="1176" y="2430"/>
                    </a:lnTo>
                    <a:lnTo>
                      <a:pt x="1140" y="2451"/>
                    </a:lnTo>
                    <a:lnTo>
                      <a:pt x="1164" y="2510"/>
                    </a:lnTo>
                    <a:lnTo>
                      <a:pt x="1165" y="2541"/>
                    </a:lnTo>
                    <a:lnTo>
                      <a:pt x="1210" y="2597"/>
                    </a:lnTo>
                    <a:lnTo>
                      <a:pt x="1262" y="2638"/>
                    </a:lnTo>
                    <a:lnTo>
                      <a:pt x="1308" y="2683"/>
                    </a:lnTo>
                    <a:lnTo>
                      <a:pt x="1331" y="2756"/>
                    </a:lnTo>
                    <a:lnTo>
                      <a:pt x="1318" y="2784"/>
                    </a:lnTo>
                    <a:lnTo>
                      <a:pt x="1326" y="2818"/>
                    </a:lnTo>
                    <a:lnTo>
                      <a:pt x="1322" y="2855"/>
                    </a:lnTo>
                    <a:lnTo>
                      <a:pt x="1342" y="2875"/>
                    </a:lnTo>
                    <a:lnTo>
                      <a:pt x="1349" y="2926"/>
                    </a:lnTo>
                    <a:lnTo>
                      <a:pt x="1364" y="2957"/>
                    </a:lnTo>
                    <a:lnTo>
                      <a:pt x="1362" y="3006"/>
                    </a:lnTo>
                    <a:lnTo>
                      <a:pt x="1383" y="3045"/>
                    </a:lnTo>
                    <a:lnTo>
                      <a:pt x="1381" y="3101"/>
                    </a:lnTo>
                    <a:lnTo>
                      <a:pt x="1362" y="3114"/>
                    </a:lnTo>
                    <a:lnTo>
                      <a:pt x="1321" y="3222"/>
                    </a:lnTo>
                    <a:lnTo>
                      <a:pt x="1284" y="3250"/>
                    </a:lnTo>
                    <a:lnTo>
                      <a:pt x="1278" y="3293"/>
                    </a:lnTo>
                    <a:lnTo>
                      <a:pt x="1263" y="3319"/>
                    </a:lnTo>
                    <a:lnTo>
                      <a:pt x="1254" y="3345"/>
                    </a:lnTo>
                    <a:lnTo>
                      <a:pt x="1255" y="3339"/>
                    </a:lnTo>
                    <a:lnTo>
                      <a:pt x="1239" y="3374"/>
                    </a:lnTo>
                    <a:lnTo>
                      <a:pt x="1235" y="3425"/>
                    </a:lnTo>
                    <a:lnTo>
                      <a:pt x="1218" y="3372"/>
                    </a:lnTo>
                    <a:lnTo>
                      <a:pt x="1217" y="3322"/>
                    </a:lnTo>
                    <a:lnTo>
                      <a:pt x="1205" y="3302"/>
                    </a:lnTo>
                    <a:lnTo>
                      <a:pt x="1204" y="3285"/>
                    </a:lnTo>
                    <a:lnTo>
                      <a:pt x="1217" y="3291"/>
                    </a:lnTo>
                    <a:lnTo>
                      <a:pt x="1230" y="3279"/>
                    </a:lnTo>
                    <a:lnTo>
                      <a:pt x="1251" y="3244"/>
                    </a:lnTo>
                    <a:lnTo>
                      <a:pt x="1251" y="3217"/>
                    </a:lnTo>
                    <a:lnTo>
                      <a:pt x="1240" y="3207"/>
                    </a:lnTo>
                    <a:lnTo>
                      <a:pt x="1246" y="3162"/>
                    </a:lnTo>
                    <a:lnTo>
                      <a:pt x="1257" y="3157"/>
                    </a:lnTo>
                    <a:lnTo>
                      <a:pt x="1265" y="3136"/>
                    </a:lnTo>
                    <a:lnTo>
                      <a:pt x="1250" y="3090"/>
                    </a:lnTo>
                    <a:lnTo>
                      <a:pt x="1273" y="3072"/>
                    </a:lnTo>
                    <a:lnTo>
                      <a:pt x="1248" y="3044"/>
                    </a:lnTo>
                    <a:lnTo>
                      <a:pt x="1231" y="3019"/>
                    </a:lnTo>
                    <a:lnTo>
                      <a:pt x="1230" y="2976"/>
                    </a:lnTo>
                    <a:lnTo>
                      <a:pt x="1241" y="2959"/>
                    </a:lnTo>
                    <a:lnTo>
                      <a:pt x="1231" y="2928"/>
                    </a:lnTo>
                    <a:lnTo>
                      <a:pt x="1215" y="2914"/>
                    </a:lnTo>
                    <a:lnTo>
                      <a:pt x="1202" y="2810"/>
                    </a:lnTo>
                    <a:lnTo>
                      <a:pt x="1180" y="2789"/>
                    </a:lnTo>
                    <a:lnTo>
                      <a:pt x="1172" y="2753"/>
                    </a:lnTo>
                    <a:lnTo>
                      <a:pt x="1147" y="2712"/>
                    </a:lnTo>
                    <a:lnTo>
                      <a:pt x="1141" y="2766"/>
                    </a:lnTo>
                    <a:lnTo>
                      <a:pt x="1130" y="2774"/>
                    </a:lnTo>
                    <a:lnTo>
                      <a:pt x="1131" y="2744"/>
                    </a:lnTo>
                    <a:lnTo>
                      <a:pt x="1116" y="2713"/>
                    </a:lnTo>
                    <a:lnTo>
                      <a:pt x="1119" y="2638"/>
                    </a:lnTo>
                    <a:lnTo>
                      <a:pt x="1094" y="2608"/>
                    </a:lnTo>
                    <a:lnTo>
                      <a:pt x="1091" y="2573"/>
                    </a:lnTo>
                    <a:lnTo>
                      <a:pt x="1105" y="2560"/>
                    </a:lnTo>
                    <a:lnTo>
                      <a:pt x="1062" y="2535"/>
                    </a:lnTo>
                    <a:lnTo>
                      <a:pt x="1061" y="2475"/>
                    </a:lnTo>
                    <a:lnTo>
                      <a:pt x="1049" y="2474"/>
                    </a:lnTo>
                    <a:lnTo>
                      <a:pt x="1035" y="2348"/>
                    </a:lnTo>
                    <a:lnTo>
                      <a:pt x="1013" y="2334"/>
                    </a:lnTo>
                    <a:lnTo>
                      <a:pt x="1007" y="2301"/>
                    </a:lnTo>
                    <a:lnTo>
                      <a:pt x="1020" y="2296"/>
                    </a:lnTo>
                    <a:lnTo>
                      <a:pt x="1020" y="2275"/>
                    </a:lnTo>
                    <a:lnTo>
                      <a:pt x="1000" y="2235"/>
                    </a:lnTo>
                    <a:lnTo>
                      <a:pt x="1008" y="2219"/>
                    </a:lnTo>
                    <a:lnTo>
                      <a:pt x="1010" y="2200"/>
                    </a:lnTo>
                    <a:lnTo>
                      <a:pt x="998" y="2221"/>
                    </a:lnTo>
                    <a:lnTo>
                      <a:pt x="975" y="2230"/>
                    </a:lnTo>
                    <a:lnTo>
                      <a:pt x="945" y="2230"/>
                    </a:lnTo>
                    <a:lnTo>
                      <a:pt x="936" y="2189"/>
                    </a:lnTo>
                    <a:lnTo>
                      <a:pt x="922" y="2170"/>
                    </a:lnTo>
                    <a:lnTo>
                      <a:pt x="888" y="2104"/>
                    </a:lnTo>
                    <a:lnTo>
                      <a:pt x="882" y="2086"/>
                    </a:lnTo>
                    <a:lnTo>
                      <a:pt x="865" y="2085"/>
                    </a:lnTo>
                    <a:lnTo>
                      <a:pt x="865" y="2065"/>
                    </a:lnTo>
                    <a:lnTo>
                      <a:pt x="833" y="2048"/>
                    </a:lnTo>
                    <a:lnTo>
                      <a:pt x="853" y="2069"/>
                    </a:lnTo>
                    <a:lnTo>
                      <a:pt x="847" y="2081"/>
                    </a:lnTo>
                    <a:lnTo>
                      <a:pt x="845" y="2100"/>
                    </a:lnTo>
                    <a:lnTo>
                      <a:pt x="863" y="2115"/>
                    </a:lnTo>
                    <a:lnTo>
                      <a:pt x="860" y="2150"/>
                    </a:lnTo>
                    <a:lnTo>
                      <a:pt x="845" y="2166"/>
                    </a:lnTo>
                    <a:lnTo>
                      <a:pt x="851" y="2188"/>
                    </a:lnTo>
                    <a:lnTo>
                      <a:pt x="807" y="2224"/>
                    </a:lnTo>
                    <a:lnTo>
                      <a:pt x="778" y="2218"/>
                    </a:lnTo>
                    <a:lnTo>
                      <a:pt x="758" y="2194"/>
                    </a:lnTo>
                    <a:lnTo>
                      <a:pt x="747" y="2194"/>
                    </a:lnTo>
                    <a:lnTo>
                      <a:pt x="761" y="2221"/>
                    </a:lnTo>
                    <a:lnTo>
                      <a:pt x="757" y="2233"/>
                    </a:lnTo>
                    <a:lnTo>
                      <a:pt x="785" y="2240"/>
                    </a:lnTo>
                    <a:lnTo>
                      <a:pt x="747" y="2263"/>
                    </a:lnTo>
                    <a:lnTo>
                      <a:pt x="722" y="2263"/>
                    </a:lnTo>
                    <a:lnTo>
                      <a:pt x="706" y="2250"/>
                    </a:lnTo>
                    <a:lnTo>
                      <a:pt x="697" y="2280"/>
                    </a:lnTo>
                    <a:lnTo>
                      <a:pt x="628" y="2327"/>
                    </a:lnTo>
                    <a:lnTo>
                      <a:pt x="594" y="2323"/>
                    </a:lnTo>
                    <a:lnTo>
                      <a:pt x="589" y="2331"/>
                    </a:lnTo>
                    <a:lnTo>
                      <a:pt x="571" y="2331"/>
                    </a:lnTo>
                    <a:lnTo>
                      <a:pt x="570" y="2322"/>
                    </a:lnTo>
                    <a:lnTo>
                      <a:pt x="566" y="2339"/>
                    </a:lnTo>
                    <a:lnTo>
                      <a:pt x="549" y="2343"/>
                    </a:lnTo>
                    <a:lnTo>
                      <a:pt x="530" y="2318"/>
                    </a:lnTo>
                    <a:lnTo>
                      <a:pt x="483" y="2343"/>
                    </a:lnTo>
                    <a:lnTo>
                      <a:pt x="478" y="2365"/>
                    </a:lnTo>
                    <a:lnTo>
                      <a:pt x="458" y="2368"/>
                    </a:lnTo>
                    <a:lnTo>
                      <a:pt x="458" y="2320"/>
                    </a:lnTo>
                    <a:lnTo>
                      <a:pt x="504" y="2278"/>
                    </a:lnTo>
                    <a:lnTo>
                      <a:pt x="507" y="2223"/>
                    </a:lnTo>
                    <a:lnTo>
                      <a:pt x="486" y="2273"/>
                    </a:lnTo>
                    <a:lnTo>
                      <a:pt x="449" y="2304"/>
                    </a:lnTo>
                    <a:lnTo>
                      <a:pt x="423" y="2345"/>
                    </a:lnTo>
                    <a:lnTo>
                      <a:pt x="419" y="2329"/>
                    </a:lnTo>
                    <a:lnTo>
                      <a:pt x="424" y="2317"/>
                    </a:lnTo>
                    <a:lnTo>
                      <a:pt x="414" y="2280"/>
                    </a:lnTo>
                    <a:lnTo>
                      <a:pt x="443" y="2111"/>
                    </a:lnTo>
                    <a:lnTo>
                      <a:pt x="481" y="2086"/>
                    </a:lnTo>
                    <a:lnTo>
                      <a:pt x="466" y="2070"/>
                    </a:lnTo>
                    <a:lnTo>
                      <a:pt x="436" y="1995"/>
                    </a:lnTo>
                    <a:lnTo>
                      <a:pt x="432" y="1929"/>
                    </a:lnTo>
                    <a:lnTo>
                      <a:pt x="414" y="1920"/>
                    </a:lnTo>
                    <a:lnTo>
                      <a:pt x="404" y="1902"/>
                    </a:lnTo>
                    <a:lnTo>
                      <a:pt x="414" y="1896"/>
                    </a:lnTo>
                    <a:lnTo>
                      <a:pt x="391" y="1876"/>
                    </a:lnTo>
                    <a:lnTo>
                      <a:pt x="377" y="1827"/>
                    </a:lnTo>
                    <a:lnTo>
                      <a:pt x="358" y="1801"/>
                    </a:lnTo>
                    <a:lnTo>
                      <a:pt x="344" y="1774"/>
                    </a:lnTo>
                    <a:lnTo>
                      <a:pt x="344" y="1745"/>
                    </a:lnTo>
                    <a:lnTo>
                      <a:pt x="303" y="1719"/>
                    </a:lnTo>
                    <a:lnTo>
                      <a:pt x="318" y="1747"/>
                    </a:lnTo>
                    <a:lnTo>
                      <a:pt x="326" y="1806"/>
                    </a:lnTo>
                    <a:lnTo>
                      <a:pt x="262" y="1789"/>
                    </a:lnTo>
                    <a:lnTo>
                      <a:pt x="232" y="1752"/>
                    </a:lnTo>
                    <a:lnTo>
                      <a:pt x="229" y="1733"/>
                    </a:lnTo>
                    <a:lnTo>
                      <a:pt x="197" y="1704"/>
                    </a:lnTo>
                    <a:lnTo>
                      <a:pt x="193" y="1686"/>
                    </a:lnTo>
                    <a:lnTo>
                      <a:pt x="224" y="1689"/>
                    </a:lnTo>
                    <a:lnTo>
                      <a:pt x="236" y="1715"/>
                    </a:lnTo>
                    <a:lnTo>
                      <a:pt x="262" y="1727"/>
                    </a:lnTo>
                    <a:lnTo>
                      <a:pt x="272" y="1716"/>
                    </a:lnTo>
                    <a:lnTo>
                      <a:pt x="262" y="1711"/>
                    </a:lnTo>
                    <a:lnTo>
                      <a:pt x="237" y="1687"/>
                    </a:lnTo>
                    <a:lnTo>
                      <a:pt x="263" y="1672"/>
                    </a:lnTo>
                    <a:lnTo>
                      <a:pt x="283" y="1691"/>
                    </a:lnTo>
                    <a:lnTo>
                      <a:pt x="303" y="1684"/>
                    </a:lnTo>
                    <a:lnTo>
                      <a:pt x="302" y="1655"/>
                    </a:lnTo>
                    <a:lnTo>
                      <a:pt x="268" y="1606"/>
                    </a:lnTo>
                    <a:lnTo>
                      <a:pt x="216" y="1596"/>
                    </a:lnTo>
                    <a:lnTo>
                      <a:pt x="201" y="1574"/>
                    </a:lnTo>
                    <a:lnTo>
                      <a:pt x="172" y="1569"/>
                    </a:lnTo>
                    <a:lnTo>
                      <a:pt x="163" y="1546"/>
                    </a:lnTo>
                    <a:lnTo>
                      <a:pt x="159" y="1569"/>
                    </a:lnTo>
                    <a:lnTo>
                      <a:pt x="129" y="1572"/>
                    </a:lnTo>
                    <a:lnTo>
                      <a:pt x="126" y="1559"/>
                    </a:lnTo>
                    <a:lnTo>
                      <a:pt x="152" y="1529"/>
                    </a:lnTo>
                    <a:lnTo>
                      <a:pt x="119" y="1531"/>
                    </a:lnTo>
                    <a:lnTo>
                      <a:pt x="93" y="1509"/>
                    </a:lnTo>
                    <a:lnTo>
                      <a:pt x="93" y="1525"/>
                    </a:lnTo>
                    <a:lnTo>
                      <a:pt x="109" y="1554"/>
                    </a:lnTo>
                    <a:lnTo>
                      <a:pt x="33" y="1487"/>
                    </a:lnTo>
                    <a:lnTo>
                      <a:pt x="20" y="1441"/>
                    </a:lnTo>
                    <a:lnTo>
                      <a:pt x="3" y="1405"/>
                    </a:lnTo>
                    <a:lnTo>
                      <a:pt x="2" y="1406"/>
                    </a:lnTo>
                    <a:lnTo>
                      <a:pt x="0" y="1394"/>
                    </a:lnTo>
                    <a:lnTo>
                      <a:pt x="5" y="1362"/>
                    </a:lnTo>
                    <a:lnTo>
                      <a:pt x="38" y="1321"/>
                    </a:lnTo>
                    <a:lnTo>
                      <a:pt x="52" y="1330"/>
                    </a:lnTo>
                    <a:lnTo>
                      <a:pt x="71" y="1288"/>
                    </a:lnTo>
                    <a:lnTo>
                      <a:pt x="71" y="1229"/>
                    </a:lnTo>
                    <a:lnTo>
                      <a:pt x="78" y="1197"/>
                    </a:lnTo>
                    <a:lnTo>
                      <a:pt x="94" y="1204"/>
                    </a:lnTo>
                    <a:lnTo>
                      <a:pt x="112" y="1195"/>
                    </a:lnTo>
                    <a:lnTo>
                      <a:pt x="133" y="1138"/>
                    </a:lnTo>
                    <a:lnTo>
                      <a:pt x="123" y="1103"/>
                    </a:lnTo>
                    <a:lnTo>
                      <a:pt x="130" y="1061"/>
                    </a:lnTo>
                    <a:lnTo>
                      <a:pt x="123" y="1016"/>
                    </a:lnTo>
                    <a:lnTo>
                      <a:pt x="159" y="1021"/>
                    </a:lnTo>
                    <a:lnTo>
                      <a:pt x="163" y="959"/>
                    </a:lnTo>
                    <a:lnTo>
                      <a:pt x="164" y="914"/>
                    </a:lnTo>
                    <a:lnTo>
                      <a:pt x="143" y="831"/>
                    </a:lnTo>
                    <a:lnTo>
                      <a:pt x="179" y="833"/>
                    </a:lnTo>
                    <a:lnTo>
                      <a:pt x="209" y="843"/>
                    </a:lnTo>
                    <a:lnTo>
                      <a:pt x="254" y="842"/>
                    </a:lnTo>
                    <a:lnTo>
                      <a:pt x="282" y="777"/>
                    </a:lnTo>
                    <a:lnTo>
                      <a:pt x="297" y="704"/>
                    </a:lnTo>
                    <a:lnTo>
                      <a:pt x="334" y="615"/>
                    </a:lnTo>
                    <a:lnTo>
                      <a:pt x="294" y="595"/>
                    </a:lnTo>
                    <a:lnTo>
                      <a:pt x="291" y="570"/>
                    </a:lnTo>
                    <a:lnTo>
                      <a:pt x="339" y="491"/>
                    </a:lnTo>
                    <a:lnTo>
                      <a:pt x="363" y="424"/>
                    </a:lnTo>
                    <a:lnTo>
                      <a:pt x="345" y="401"/>
                    </a:lnTo>
                    <a:lnTo>
                      <a:pt x="354" y="361"/>
                    </a:lnTo>
                    <a:lnTo>
                      <a:pt x="411" y="272"/>
                    </a:lnTo>
                    <a:lnTo>
                      <a:pt x="449" y="258"/>
                    </a:lnTo>
                    <a:lnTo>
                      <a:pt x="490" y="208"/>
                    </a:lnTo>
                    <a:lnTo>
                      <a:pt x="507" y="167"/>
                    </a:lnTo>
                    <a:lnTo>
                      <a:pt x="562" y="150"/>
                    </a:lnTo>
                    <a:lnTo>
                      <a:pt x="610" y="115"/>
                    </a:lnTo>
                    <a:lnTo>
                      <a:pt x="639" y="139"/>
                    </a:lnTo>
                    <a:lnTo>
                      <a:pt x="672" y="153"/>
                    </a:lnTo>
                    <a:lnTo>
                      <a:pt x="664" y="126"/>
                    </a:lnTo>
                    <a:lnTo>
                      <a:pt x="664" y="79"/>
                    </a:lnTo>
                    <a:lnTo>
                      <a:pt x="697" y="48"/>
                    </a:lnTo>
                    <a:lnTo>
                      <a:pt x="693" y="23"/>
                    </a:lnTo>
                    <a:lnTo>
                      <a:pt x="685" y="15"/>
                    </a:lnTo>
                    <a:lnTo>
                      <a:pt x="685" y="15"/>
                    </a:lnTo>
                    <a:close/>
                    <a:moveTo>
                      <a:pt x="223" y="1822"/>
                    </a:moveTo>
                    <a:lnTo>
                      <a:pt x="233" y="1846"/>
                    </a:lnTo>
                    <a:lnTo>
                      <a:pt x="267" y="1866"/>
                    </a:lnTo>
                    <a:lnTo>
                      <a:pt x="277" y="1837"/>
                    </a:lnTo>
                    <a:lnTo>
                      <a:pt x="249" y="1809"/>
                    </a:lnTo>
                    <a:lnTo>
                      <a:pt x="223" y="182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4" name="ïṩľíďe"/>
              <p:cNvSpPr/>
              <p:nvPr/>
            </p:nvSpPr>
            <p:spPr bwMode="auto">
              <a:xfrm>
                <a:off x="2444253" y="4198448"/>
                <a:ext cx="61049" cy="114305"/>
              </a:xfrm>
              <a:custGeom>
                <a:avLst/>
                <a:gdLst>
                  <a:gd name="T0" fmla="*/ 6 w 377"/>
                  <a:gd name="T1" fmla="*/ 303 h 703"/>
                  <a:gd name="T2" fmla="*/ 22 w 377"/>
                  <a:gd name="T3" fmla="*/ 265 h 703"/>
                  <a:gd name="T4" fmla="*/ 11 w 377"/>
                  <a:gd name="T5" fmla="*/ 277 h 703"/>
                  <a:gd name="T6" fmla="*/ 0 w 377"/>
                  <a:gd name="T7" fmla="*/ 342 h 703"/>
                  <a:gd name="T8" fmla="*/ 66 w 377"/>
                  <a:gd name="T9" fmla="*/ 52 h 703"/>
                  <a:gd name="T10" fmla="*/ 21 w 377"/>
                  <a:gd name="T11" fmla="*/ 3 h 703"/>
                  <a:gd name="T12" fmla="*/ 85 w 377"/>
                  <a:gd name="T13" fmla="*/ 6 h 703"/>
                  <a:gd name="T14" fmla="*/ 62 w 377"/>
                  <a:gd name="T15" fmla="*/ 38 h 703"/>
                  <a:gd name="T16" fmla="*/ 66 w 377"/>
                  <a:gd name="T17" fmla="*/ 52 h 703"/>
                  <a:gd name="T18" fmla="*/ 129 w 377"/>
                  <a:gd name="T19" fmla="*/ 20 h 703"/>
                  <a:gd name="T20" fmla="*/ 175 w 377"/>
                  <a:gd name="T21" fmla="*/ 71 h 703"/>
                  <a:gd name="T22" fmla="*/ 165 w 377"/>
                  <a:gd name="T23" fmla="*/ 74 h 703"/>
                  <a:gd name="T24" fmla="*/ 122 w 377"/>
                  <a:gd name="T25" fmla="*/ 60 h 703"/>
                  <a:gd name="T26" fmla="*/ 89 w 377"/>
                  <a:gd name="T27" fmla="*/ 33 h 703"/>
                  <a:gd name="T28" fmla="*/ 98 w 377"/>
                  <a:gd name="T29" fmla="*/ 25 h 703"/>
                  <a:gd name="T30" fmla="*/ 104 w 377"/>
                  <a:gd name="T31" fmla="*/ 13 h 703"/>
                  <a:gd name="T32" fmla="*/ 76 w 377"/>
                  <a:gd name="T33" fmla="*/ 74 h 703"/>
                  <a:gd name="T34" fmla="*/ 78 w 377"/>
                  <a:gd name="T35" fmla="*/ 92 h 703"/>
                  <a:gd name="T36" fmla="*/ 72 w 377"/>
                  <a:gd name="T37" fmla="*/ 106 h 703"/>
                  <a:gd name="T38" fmla="*/ 52 w 377"/>
                  <a:gd name="T39" fmla="*/ 159 h 703"/>
                  <a:gd name="T40" fmla="*/ 23 w 377"/>
                  <a:gd name="T41" fmla="*/ 139 h 703"/>
                  <a:gd name="T42" fmla="*/ 2 w 377"/>
                  <a:gd name="T43" fmla="*/ 144 h 703"/>
                  <a:gd name="T44" fmla="*/ 30 w 377"/>
                  <a:gd name="T45" fmla="*/ 168 h 703"/>
                  <a:gd name="T46" fmla="*/ 38 w 377"/>
                  <a:gd name="T47" fmla="*/ 210 h 703"/>
                  <a:gd name="T48" fmla="*/ 26 w 377"/>
                  <a:gd name="T49" fmla="*/ 272 h 703"/>
                  <a:gd name="T50" fmla="*/ 20 w 377"/>
                  <a:gd name="T51" fmla="*/ 371 h 703"/>
                  <a:gd name="T52" fmla="*/ 26 w 377"/>
                  <a:gd name="T53" fmla="*/ 445 h 703"/>
                  <a:gd name="T54" fmla="*/ 44 w 377"/>
                  <a:gd name="T55" fmla="*/ 550 h 703"/>
                  <a:gd name="T56" fmla="*/ 94 w 377"/>
                  <a:gd name="T57" fmla="*/ 681 h 703"/>
                  <a:gd name="T58" fmla="*/ 169 w 377"/>
                  <a:gd name="T59" fmla="*/ 695 h 703"/>
                  <a:gd name="T60" fmla="*/ 281 w 377"/>
                  <a:gd name="T61" fmla="*/ 671 h 703"/>
                  <a:gd name="T62" fmla="*/ 361 w 377"/>
                  <a:gd name="T63" fmla="*/ 564 h 703"/>
                  <a:gd name="T64" fmla="*/ 370 w 377"/>
                  <a:gd name="T65" fmla="*/ 506 h 703"/>
                  <a:gd name="T66" fmla="*/ 376 w 377"/>
                  <a:gd name="T67" fmla="*/ 449 h 703"/>
                  <a:gd name="T68" fmla="*/ 370 w 377"/>
                  <a:gd name="T69" fmla="*/ 402 h 703"/>
                  <a:gd name="T70" fmla="*/ 316 w 377"/>
                  <a:gd name="T71" fmla="*/ 304 h 703"/>
                  <a:gd name="T72" fmla="*/ 265 w 377"/>
                  <a:gd name="T73" fmla="*/ 255 h 703"/>
                  <a:gd name="T74" fmla="*/ 237 w 377"/>
                  <a:gd name="T75" fmla="*/ 246 h 703"/>
                  <a:gd name="T76" fmla="*/ 266 w 377"/>
                  <a:gd name="T77" fmla="*/ 212 h 703"/>
                  <a:gd name="T78" fmla="*/ 230 w 377"/>
                  <a:gd name="T79" fmla="*/ 165 h 703"/>
                  <a:gd name="T80" fmla="*/ 202 w 377"/>
                  <a:gd name="T81" fmla="*/ 135 h 703"/>
                  <a:gd name="T82" fmla="*/ 192 w 377"/>
                  <a:gd name="T83" fmla="*/ 102 h 703"/>
                  <a:gd name="T84" fmla="*/ 133 w 377"/>
                  <a:gd name="T85" fmla="*/ 95 h 703"/>
                  <a:gd name="T86" fmla="*/ 115 w 377"/>
                  <a:gd name="T87" fmla="*/ 75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77" h="703">
                    <a:moveTo>
                      <a:pt x="0" y="342"/>
                    </a:moveTo>
                    <a:lnTo>
                      <a:pt x="6" y="303"/>
                    </a:lnTo>
                    <a:lnTo>
                      <a:pt x="3" y="273"/>
                    </a:lnTo>
                    <a:lnTo>
                      <a:pt x="22" y="265"/>
                    </a:lnTo>
                    <a:lnTo>
                      <a:pt x="21" y="272"/>
                    </a:lnTo>
                    <a:lnTo>
                      <a:pt x="11" y="277"/>
                    </a:lnTo>
                    <a:lnTo>
                      <a:pt x="18" y="303"/>
                    </a:lnTo>
                    <a:lnTo>
                      <a:pt x="0" y="342"/>
                    </a:lnTo>
                    <a:lnTo>
                      <a:pt x="0" y="342"/>
                    </a:lnTo>
                    <a:close/>
                    <a:moveTo>
                      <a:pt x="66" y="52"/>
                    </a:moveTo>
                    <a:lnTo>
                      <a:pt x="21" y="23"/>
                    </a:lnTo>
                    <a:lnTo>
                      <a:pt x="21" y="3"/>
                    </a:lnTo>
                    <a:lnTo>
                      <a:pt x="77" y="0"/>
                    </a:lnTo>
                    <a:lnTo>
                      <a:pt x="85" y="6"/>
                    </a:lnTo>
                    <a:lnTo>
                      <a:pt x="73" y="36"/>
                    </a:lnTo>
                    <a:lnTo>
                      <a:pt x="62" y="38"/>
                    </a:lnTo>
                    <a:lnTo>
                      <a:pt x="66" y="52"/>
                    </a:lnTo>
                    <a:lnTo>
                      <a:pt x="66" y="52"/>
                    </a:lnTo>
                    <a:close/>
                    <a:moveTo>
                      <a:pt x="104" y="13"/>
                    </a:moveTo>
                    <a:lnTo>
                      <a:pt x="129" y="20"/>
                    </a:lnTo>
                    <a:lnTo>
                      <a:pt x="135" y="46"/>
                    </a:lnTo>
                    <a:lnTo>
                      <a:pt x="175" y="71"/>
                    </a:lnTo>
                    <a:lnTo>
                      <a:pt x="183" y="86"/>
                    </a:lnTo>
                    <a:lnTo>
                      <a:pt x="165" y="74"/>
                    </a:lnTo>
                    <a:lnTo>
                      <a:pt x="137" y="74"/>
                    </a:lnTo>
                    <a:lnTo>
                      <a:pt x="122" y="60"/>
                    </a:lnTo>
                    <a:lnTo>
                      <a:pt x="87" y="45"/>
                    </a:lnTo>
                    <a:lnTo>
                      <a:pt x="89" y="33"/>
                    </a:lnTo>
                    <a:lnTo>
                      <a:pt x="109" y="31"/>
                    </a:lnTo>
                    <a:lnTo>
                      <a:pt x="98" y="25"/>
                    </a:lnTo>
                    <a:lnTo>
                      <a:pt x="104" y="13"/>
                    </a:lnTo>
                    <a:lnTo>
                      <a:pt x="104" y="13"/>
                    </a:lnTo>
                    <a:close/>
                    <a:moveTo>
                      <a:pt x="77" y="65"/>
                    </a:moveTo>
                    <a:lnTo>
                      <a:pt x="76" y="74"/>
                    </a:lnTo>
                    <a:lnTo>
                      <a:pt x="82" y="85"/>
                    </a:lnTo>
                    <a:lnTo>
                      <a:pt x="78" y="92"/>
                    </a:lnTo>
                    <a:lnTo>
                      <a:pt x="67" y="94"/>
                    </a:lnTo>
                    <a:lnTo>
                      <a:pt x="72" y="106"/>
                    </a:lnTo>
                    <a:lnTo>
                      <a:pt x="69" y="128"/>
                    </a:lnTo>
                    <a:lnTo>
                      <a:pt x="52" y="159"/>
                    </a:lnTo>
                    <a:lnTo>
                      <a:pt x="42" y="155"/>
                    </a:lnTo>
                    <a:lnTo>
                      <a:pt x="23" y="139"/>
                    </a:lnTo>
                    <a:lnTo>
                      <a:pt x="2" y="136"/>
                    </a:lnTo>
                    <a:lnTo>
                      <a:pt x="2" y="144"/>
                    </a:lnTo>
                    <a:lnTo>
                      <a:pt x="20" y="153"/>
                    </a:lnTo>
                    <a:lnTo>
                      <a:pt x="30" y="168"/>
                    </a:lnTo>
                    <a:lnTo>
                      <a:pt x="23" y="177"/>
                    </a:lnTo>
                    <a:lnTo>
                      <a:pt x="38" y="210"/>
                    </a:lnTo>
                    <a:lnTo>
                      <a:pt x="39" y="256"/>
                    </a:lnTo>
                    <a:lnTo>
                      <a:pt x="26" y="272"/>
                    </a:lnTo>
                    <a:lnTo>
                      <a:pt x="16" y="349"/>
                    </a:lnTo>
                    <a:lnTo>
                      <a:pt x="20" y="371"/>
                    </a:lnTo>
                    <a:lnTo>
                      <a:pt x="11" y="380"/>
                    </a:lnTo>
                    <a:lnTo>
                      <a:pt x="26" y="445"/>
                    </a:lnTo>
                    <a:lnTo>
                      <a:pt x="21" y="469"/>
                    </a:lnTo>
                    <a:lnTo>
                      <a:pt x="44" y="550"/>
                    </a:lnTo>
                    <a:lnTo>
                      <a:pt x="71" y="641"/>
                    </a:lnTo>
                    <a:lnTo>
                      <a:pt x="94" y="681"/>
                    </a:lnTo>
                    <a:lnTo>
                      <a:pt x="135" y="703"/>
                    </a:lnTo>
                    <a:lnTo>
                      <a:pt x="169" y="695"/>
                    </a:lnTo>
                    <a:lnTo>
                      <a:pt x="228" y="688"/>
                    </a:lnTo>
                    <a:lnTo>
                      <a:pt x="281" y="671"/>
                    </a:lnTo>
                    <a:lnTo>
                      <a:pt x="337" y="614"/>
                    </a:lnTo>
                    <a:lnTo>
                      <a:pt x="361" y="564"/>
                    </a:lnTo>
                    <a:lnTo>
                      <a:pt x="373" y="534"/>
                    </a:lnTo>
                    <a:lnTo>
                      <a:pt x="370" y="506"/>
                    </a:lnTo>
                    <a:lnTo>
                      <a:pt x="377" y="495"/>
                    </a:lnTo>
                    <a:lnTo>
                      <a:pt x="376" y="449"/>
                    </a:lnTo>
                    <a:lnTo>
                      <a:pt x="361" y="429"/>
                    </a:lnTo>
                    <a:lnTo>
                      <a:pt x="370" y="402"/>
                    </a:lnTo>
                    <a:lnTo>
                      <a:pt x="344" y="380"/>
                    </a:lnTo>
                    <a:lnTo>
                      <a:pt x="316" y="304"/>
                    </a:lnTo>
                    <a:lnTo>
                      <a:pt x="295" y="251"/>
                    </a:lnTo>
                    <a:lnTo>
                      <a:pt x="265" y="255"/>
                    </a:lnTo>
                    <a:lnTo>
                      <a:pt x="263" y="248"/>
                    </a:lnTo>
                    <a:lnTo>
                      <a:pt x="237" y="246"/>
                    </a:lnTo>
                    <a:lnTo>
                      <a:pt x="271" y="227"/>
                    </a:lnTo>
                    <a:lnTo>
                      <a:pt x="266" y="212"/>
                    </a:lnTo>
                    <a:lnTo>
                      <a:pt x="251" y="205"/>
                    </a:lnTo>
                    <a:lnTo>
                      <a:pt x="230" y="165"/>
                    </a:lnTo>
                    <a:lnTo>
                      <a:pt x="212" y="166"/>
                    </a:lnTo>
                    <a:lnTo>
                      <a:pt x="202" y="135"/>
                    </a:lnTo>
                    <a:lnTo>
                      <a:pt x="192" y="121"/>
                    </a:lnTo>
                    <a:lnTo>
                      <a:pt x="192" y="102"/>
                    </a:lnTo>
                    <a:lnTo>
                      <a:pt x="142" y="84"/>
                    </a:lnTo>
                    <a:lnTo>
                      <a:pt x="133" y="95"/>
                    </a:lnTo>
                    <a:lnTo>
                      <a:pt x="112" y="87"/>
                    </a:lnTo>
                    <a:lnTo>
                      <a:pt x="115" y="75"/>
                    </a:lnTo>
                    <a:lnTo>
                      <a:pt x="77" y="65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5" name="işļíḍê"/>
              <p:cNvSpPr/>
              <p:nvPr/>
            </p:nvSpPr>
            <p:spPr bwMode="auto">
              <a:xfrm>
                <a:off x="2100041" y="3486642"/>
                <a:ext cx="780649" cy="762464"/>
              </a:xfrm>
              <a:custGeom>
                <a:avLst/>
                <a:gdLst>
                  <a:gd name="T0" fmla="*/ 1642 w 4810"/>
                  <a:gd name="T1" fmla="*/ 401 h 4698"/>
                  <a:gd name="T2" fmla="*/ 1899 w 4810"/>
                  <a:gd name="T3" fmla="*/ 541 h 4698"/>
                  <a:gd name="T4" fmla="*/ 1958 w 4810"/>
                  <a:gd name="T5" fmla="*/ 908 h 4698"/>
                  <a:gd name="T6" fmla="*/ 2499 w 4810"/>
                  <a:gd name="T7" fmla="*/ 1131 h 4698"/>
                  <a:gd name="T8" fmla="*/ 3121 w 4810"/>
                  <a:gd name="T9" fmla="*/ 1277 h 4698"/>
                  <a:gd name="T10" fmla="*/ 3370 w 4810"/>
                  <a:gd name="T11" fmla="*/ 1030 h 4698"/>
                  <a:gd name="T12" fmla="*/ 3635 w 4810"/>
                  <a:gd name="T13" fmla="*/ 1263 h 4698"/>
                  <a:gd name="T14" fmla="*/ 3861 w 4810"/>
                  <a:gd name="T15" fmla="*/ 1061 h 4698"/>
                  <a:gd name="T16" fmla="*/ 4104 w 4810"/>
                  <a:gd name="T17" fmla="*/ 882 h 4698"/>
                  <a:gd name="T18" fmla="*/ 4472 w 4810"/>
                  <a:gd name="T19" fmla="*/ 761 h 4698"/>
                  <a:gd name="T20" fmla="*/ 4646 w 4810"/>
                  <a:gd name="T21" fmla="*/ 782 h 4698"/>
                  <a:gd name="T22" fmla="*/ 4806 w 4810"/>
                  <a:gd name="T23" fmla="*/ 963 h 4698"/>
                  <a:gd name="T24" fmla="*/ 4562 w 4810"/>
                  <a:gd name="T25" fmla="*/ 1198 h 4698"/>
                  <a:gd name="T26" fmla="*/ 4395 w 4810"/>
                  <a:gd name="T27" fmla="*/ 1717 h 4698"/>
                  <a:gd name="T28" fmla="*/ 4236 w 4810"/>
                  <a:gd name="T29" fmla="*/ 2043 h 4698"/>
                  <a:gd name="T30" fmla="*/ 4160 w 4810"/>
                  <a:gd name="T31" fmla="*/ 2138 h 4698"/>
                  <a:gd name="T32" fmla="*/ 4026 w 4810"/>
                  <a:gd name="T33" fmla="*/ 1834 h 4698"/>
                  <a:gd name="T34" fmla="*/ 3929 w 4810"/>
                  <a:gd name="T35" fmla="*/ 1898 h 4698"/>
                  <a:gd name="T36" fmla="*/ 3985 w 4810"/>
                  <a:gd name="T37" fmla="*/ 1740 h 4698"/>
                  <a:gd name="T38" fmla="*/ 3946 w 4810"/>
                  <a:gd name="T39" fmla="*/ 1532 h 4698"/>
                  <a:gd name="T40" fmla="*/ 3605 w 4810"/>
                  <a:gd name="T41" fmla="*/ 1425 h 4698"/>
                  <a:gd name="T42" fmla="*/ 3482 w 4810"/>
                  <a:gd name="T43" fmla="*/ 1343 h 4698"/>
                  <a:gd name="T44" fmla="*/ 3363 w 4810"/>
                  <a:gd name="T45" fmla="*/ 1314 h 4698"/>
                  <a:gd name="T46" fmla="*/ 3423 w 4810"/>
                  <a:gd name="T47" fmla="*/ 1532 h 4698"/>
                  <a:gd name="T48" fmla="*/ 3484 w 4810"/>
                  <a:gd name="T49" fmla="*/ 1915 h 4698"/>
                  <a:gd name="T50" fmla="*/ 3526 w 4810"/>
                  <a:gd name="T51" fmla="*/ 2229 h 4698"/>
                  <a:gd name="T52" fmla="*/ 3411 w 4810"/>
                  <a:gd name="T53" fmla="*/ 2193 h 4698"/>
                  <a:gd name="T54" fmla="*/ 3366 w 4810"/>
                  <a:gd name="T55" fmla="*/ 2191 h 4698"/>
                  <a:gd name="T56" fmla="*/ 3187 w 4810"/>
                  <a:gd name="T57" fmla="*/ 2439 h 4698"/>
                  <a:gd name="T58" fmla="*/ 2978 w 4810"/>
                  <a:gd name="T59" fmla="*/ 2569 h 4698"/>
                  <a:gd name="T60" fmla="*/ 2653 w 4810"/>
                  <a:gd name="T61" fmla="*/ 2978 h 4698"/>
                  <a:gd name="T62" fmla="*/ 2327 w 4810"/>
                  <a:gd name="T63" fmla="*/ 3271 h 4698"/>
                  <a:gd name="T64" fmla="*/ 2157 w 4810"/>
                  <a:gd name="T65" fmla="*/ 3613 h 4698"/>
                  <a:gd name="T66" fmla="*/ 2121 w 4810"/>
                  <a:gd name="T67" fmla="*/ 4320 h 4698"/>
                  <a:gd name="T68" fmla="*/ 2056 w 4810"/>
                  <a:gd name="T69" fmla="*/ 4517 h 4698"/>
                  <a:gd name="T70" fmla="*/ 1840 w 4810"/>
                  <a:gd name="T71" fmla="*/ 4657 h 4698"/>
                  <a:gd name="T72" fmla="*/ 1478 w 4810"/>
                  <a:gd name="T73" fmla="*/ 4231 h 4698"/>
                  <a:gd name="T74" fmla="*/ 1246 w 4810"/>
                  <a:gd name="T75" fmla="*/ 3808 h 4698"/>
                  <a:gd name="T76" fmla="*/ 1061 w 4810"/>
                  <a:gd name="T77" fmla="*/ 3403 h 4698"/>
                  <a:gd name="T78" fmla="*/ 900 w 4810"/>
                  <a:gd name="T79" fmla="*/ 2890 h 4698"/>
                  <a:gd name="T80" fmla="*/ 797 w 4810"/>
                  <a:gd name="T81" fmla="*/ 2516 h 4698"/>
                  <a:gd name="T82" fmla="*/ 768 w 4810"/>
                  <a:gd name="T83" fmla="*/ 2243 h 4698"/>
                  <a:gd name="T84" fmla="*/ 763 w 4810"/>
                  <a:gd name="T85" fmla="*/ 2104 h 4698"/>
                  <a:gd name="T86" fmla="*/ 612 w 4810"/>
                  <a:gd name="T87" fmla="*/ 2370 h 4698"/>
                  <a:gd name="T88" fmla="*/ 113 w 4810"/>
                  <a:gd name="T89" fmla="*/ 2126 h 4698"/>
                  <a:gd name="T90" fmla="*/ 247 w 4810"/>
                  <a:gd name="T91" fmla="*/ 2133 h 4698"/>
                  <a:gd name="T92" fmla="*/ 281 w 4810"/>
                  <a:gd name="T93" fmla="*/ 2043 h 4698"/>
                  <a:gd name="T94" fmla="*/ 0 w 4810"/>
                  <a:gd name="T95" fmla="*/ 1888 h 4698"/>
                  <a:gd name="T96" fmla="*/ 367 w 4810"/>
                  <a:gd name="T97" fmla="*/ 1716 h 4698"/>
                  <a:gd name="T98" fmla="*/ 346 w 4810"/>
                  <a:gd name="T99" fmla="*/ 1489 h 4698"/>
                  <a:gd name="T100" fmla="*/ 107 w 4810"/>
                  <a:gd name="T101" fmla="*/ 1252 h 4698"/>
                  <a:gd name="T102" fmla="*/ 401 w 4810"/>
                  <a:gd name="T103" fmla="*/ 1068 h 4698"/>
                  <a:gd name="T104" fmla="*/ 795 w 4810"/>
                  <a:gd name="T105" fmla="*/ 598 h 4698"/>
                  <a:gd name="T106" fmla="*/ 954 w 4810"/>
                  <a:gd name="T107" fmla="*/ 217 h 4698"/>
                  <a:gd name="T108" fmla="*/ 1411 w 4810"/>
                  <a:gd name="T109" fmla="*/ 54 h 4698"/>
                  <a:gd name="T110" fmla="*/ 3485 w 4810"/>
                  <a:gd name="T111" fmla="*/ 2221 h 4698"/>
                  <a:gd name="T112" fmla="*/ 3442 w 4810"/>
                  <a:gd name="T113" fmla="*/ 2262 h 4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810" h="4698">
                    <a:moveTo>
                      <a:pt x="1542" y="140"/>
                    </a:moveTo>
                    <a:lnTo>
                      <a:pt x="1553" y="162"/>
                    </a:lnTo>
                    <a:lnTo>
                      <a:pt x="1556" y="191"/>
                    </a:lnTo>
                    <a:lnTo>
                      <a:pt x="1602" y="214"/>
                    </a:lnTo>
                    <a:lnTo>
                      <a:pt x="1594" y="280"/>
                    </a:lnTo>
                    <a:lnTo>
                      <a:pt x="1613" y="313"/>
                    </a:lnTo>
                    <a:lnTo>
                      <a:pt x="1602" y="334"/>
                    </a:lnTo>
                    <a:lnTo>
                      <a:pt x="1620" y="346"/>
                    </a:lnTo>
                    <a:lnTo>
                      <a:pt x="1642" y="376"/>
                    </a:lnTo>
                    <a:lnTo>
                      <a:pt x="1642" y="401"/>
                    </a:lnTo>
                    <a:lnTo>
                      <a:pt x="1657" y="407"/>
                    </a:lnTo>
                    <a:lnTo>
                      <a:pt x="1668" y="444"/>
                    </a:lnTo>
                    <a:lnTo>
                      <a:pt x="1706" y="462"/>
                    </a:lnTo>
                    <a:lnTo>
                      <a:pt x="1726" y="430"/>
                    </a:lnTo>
                    <a:lnTo>
                      <a:pt x="1765" y="431"/>
                    </a:lnTo>
                    <a:lnTo>
                      <a:pt x="1780" y="450"/>
                    </a:lnTo>
                    <a:lnTo>
                      <a:pt x="1820" y="456"/>
                    </a:lnTo>
                    <a:lnTo>
                      <a:pt x="1853" y="492"/>
                    </a:lnTo>
                    <a:lnTo>
                      <a:pt x="1879" y="500"/>
                    </a:lnTo>
                    <a:lnTo>
                      <a:pt x="1899" y="541"/>
                    </a:lnTo>
                    <a:lnTo>
                      <a:pt x="1928" y="545"/>
                    </a:lnTo>
                    <a:lnTo>
                      <a:pt x="1941" y="574"/>
                    </a:lnTo>
                    <a:lnTo>
                      <a:pt x="1944" y="571"/>
                    </a:lnTo>
                    <a:lnTo>
                      <a:pt x="1948" y="630"/>
                    </a:lnTo>
                    <a:lnTo>
                      <a:pt x="1921" y="721"/>
                    </a:lnTo>
                    <a:lnTo>
                      <a:pt x="1921" y="778"/>
                    </a:lnTo>
                    <a:lnTo>
                      <a:pt x="1881" y="837"/>
                    </a:lnTo>
                    <a:lnTo>
                      <a:pt x="1891" y="881"/>
                    </a:lnTo>
                    <a:lnTo>
                      <a:pt x="1928" y="884"/>
                    </a:lnTo>
                    <a:lnTo>
                      <a:pt x="1958" y="908"/>
                    </a:lnTo>
                    <a:lnTo>
                      <a:pt x="1989" y="909"/>
                    </a:lnTo>
                    <a:lnTo>
                      <a:pt x="2019" y="931"/>
                    </a:lnTo>
                    <a:lnTo>
                      <a:pt x="2079" y="948"/>
                    </a:lnTo>
                    <a:lnTo>
                      <a:pt x="2158" y="1000"/>
                    </a:lnTo>
                    <a:lnTo>
                      <a:pt x="2210" y="1063"/>
                    </a:lnTo>
                    <a:lnTo>
                      <a:pt x="2276" y="1079"/>
                    </a:lnTo>
                    <a:lnTo>
                      <a:pt x="2309" y="1102"/>
                    </a:lnTo>
                    <a:lnTo>
                      <a:pt x="2356" y="1102"/>
                    </a:lnTo>
                    <a:lnTo>
                      <a:pt x="2412" y="1139"/>
                    </a:lnTo>
                    <a:lnTo>
                      <a:pt x="2499" y="1131"/>
                    </a:lnTo>
                    <a:lnTo>
                      <a:pt x="2528" y="1158"/>
                    </a:lnTo>
                    <a:lnTo>
                      <a:pt x="2617" y="1133"/>
                    </a:lnTo>
                    <a:lnTo>
                      <a:pt x="2699" y="1154"/>
                    </a:lnTo>
                    <a:lnTo>
                      <a:pt x="2708" y="1198"/>
                    </a:lnTo>
                    <a:lnTo>
                      <a:pt x="2754" y="1237"/>
                    </a:lnTo>
                    <a:lnTo>
                      <a:pt x="2845" y="1262"/>
                    </a:lnTo>
                    <a:lnTo>
                      <a:pt x="2877" y="1244"/>
                    </a:lnTo>
                    <a:lnTo>
                      <a:pt x="2936" y="1242"/>
                    </a:lnTo>
                    <a:lnTo>
                      <a:pt x="3084" y="1297"/>
                    </a:lnTo>
                    <a:lnTo>
                      <a:pt x="3121" y="1277"/>
                    </a:lnTo>
                    <a:lnTo>
                      <a:pt x="3185" y="1311"/>
                    </a:lnTo>
                    <a:lnTo>
                      <a:pt x="3292" y="1290"/>
                    </a:lnTo>
                    <a:lnTo>
                      <a:pt x="3304" y="1210"/>
                    </a:lnTo>
                    <a:lnTo>
                      <a:pt x="3271" y="1144"/>
                    </a:lnTo>
                    <a:lnTo>
                      <a:pt x="3287" y="1062"/>
                    </a:lnTo>
                    <a:lnTo>
                      <a:pt x="3276" y="1025"/>
                    </a:lnTo>
                    <a:lnTo>
                      <a:pt x="3280" y="1025"/>
                    </a:lnTo>
                    <a:lnTo>
                      <a:pt x="3311" y="999"/>
                    </a:lnTo>
                    <a:lnTo>
                      <a:pt x="3350" y="994"/>
                    </a:lnTo>
                    <a:lnTo>
                      <a:pt x="3370" y="1030"/>
                    </a:lnTo>
                    <a:lnTo>
                      <a:pt x="3372" y="1073"/>
                    </a:lnTo>
                    <a:lnTo>
                      <a:pt x="3406" y="1097"/>
                    </a:lnTo>
                    <a:lnTo>
                      <a:pt x="3408" y="1096"/>
                    </a:lnTo>
                    <a:lnTo>
                      <a:pt x="3403" y="1135"/>
                    </a:lnTo>
                    <a:lnTo>
                      <a:pt x="3391" y="1164"/>
                    </a:lnTo>
                    <a:lnTo>
                      <a:pt x="3424" y="1217"/>
                    </a:lnTo>
                    <a:lnTo>
                      <a:pt x="3482" y="1229"/>
                    </a:lnTo>
                    <a:lnTo>
                      <a:pt x="3506" y="1215"/>
                    </a:lnTo>
                    <a:lnTo>
                      <a:pt x="3589" y="1263"/>
                    </a:lnTo>
                    <a:lnTo>
                      <a:pt x="3635" y="1263"/>
                    </a:lnTo>
                    <a:lnTo>
                      <a:pt x="3669" y="1221"/>
                    </a:lnTo>
                    <a:lnTo>
                      <a:pt x="3707" y="1216"/>
                    </a:lnTo>
                    <a:lnTo>
                      <a:pt x="3743" y="1232"/>
                    </a:lnTo>
                    <a:lnTo>
                      <a:pt x="3805" y="1215"/>
                    </a:lnTo>
                    <a:lnTo>
                      <a:pt x="3852" y="1217"/>
                    </a:lnTo>
                    <a:lnTo>
                      <a:pt x="3921" y="1195"/>
                    </a:lnTo>
                    <a:lnTo>
                      <a:pt x="3920" y="1167"/>
                    </a:lnTo>
                    <a:lnTo>
                      <a:pt x="3920" y="1119"/>
                    </a:lnTo>
                    <a:lnTo>
                      <a:pt x="3866" y="1096"/>
                    </a:lnTo>
                    <a:lnTo>
                      <a:pt x="3861" y="1061"/>
                    </a:lnTo>
                    <a:lnTo>
                      <a:pt x="3873" y="1020"/>
                    </a:lnTo>
                    <a:lnTo>
                      <a:pt x="3896" y="1018"/>
                    </a:lnTo>
                    <a:lnTo>
                      <a:pt x="3959" y="1004"/>
                    </a:lnTo>
                    <a:lnTo>
                      <a:pt x="3987" y="1001"/>
                    </a:lnTo>
                    <a:lnTo>
                      <a:pt x="4004" y="960"/>
                    </a:lnTo>
                    <a:lnTo>
                      <a:pt x="4030" y="940"/>
                    </a:lnTo>
                    <a:lnTo>
                      <a:pt x="4057" y="949"/>
                    </a:lnTo>
                    <a:lnTo>
                      <a:pt x="4057" y="927"/>
                    </a:lnTo>
                    <a:lnTo>
                      <a:pt x="4093" y="916"/>
                    </a:lnTo>
                    <a:lnTo>
                      <a:pt x="4104" y="882"/>
                    </a:lnTo>
                    <a:lnTo>
                      <a:pt x="4133" y="847"/>
                    </a:lnTo>
                    <a:lnTo>
                      <a:pt x="4170" y="840"/>
                    </a:lnTo>
                    <a:lnTo>
                      <a:pt x="4233" y="826"/>
                    </a:lnTo>
                    <a:lnTo>
                      <a:pt x="4271" y="778"/>
                    </a:lnTo>
                    <a:lnTo>
                      <a:pt x="4268" y="741"/>
                    </a:lnTo>
                    <a:lnTo>
                      <a:pt x="4293" y="736"/>
                    </a:lnTo>
                    <a:lnTo>
                      <a:pt x="4332" y="709"/>
                    </a:lnTo>
                    <a:lnTo>
                      <a:pt x="4363" y="753"/>
                    </a:lnTo>
                    <a:lnTo>
                      <a:pt x="4407" y="741"/>
                    </a:lnTo>
                    <a:lnTo>
                      <a:pt x="4472" y="761"/>
                    </a:lnTo>
                    <a:lnTo>
                      <a:pt x="4490" y="745"/>
                    </a:lnTo>
                    <a:lnTo>
                      <a:pt x="4486" y="714"/>
                    </a:lnTo>
                    <a:lnTo>
                      <a:pt x="4560" y="671"/>
                    </a:lnTo>
                    <a:lnTo>
                      <a:pt x="4587" y="679"/>
                    </a:lnTo>
                    <a:lnTo>
                      <a:pt x="4605" y="704"/>
                    </a:lnTo>
                    <a:lnTo>
                      <a:pt x="4629" y="698"/>
                    </a:lnTo>
                    <a:lnTo>
                      <a:pt x="4636" y="714"/>
                    </a:lnTo>
                    <a:lnTo>
                      <a:pt x="4611" y="760"/>
                    </a:lnTo>
                    <a:lnTo>
                      <a:pt x="4625" y="788"/>
                    </a:lnTo>
                    <a:lnTo>
                      <a:pt x="4646" y="782"/>
                    </a:lnTo>
                    <a:lnTo>
                      <a:pt x="4668" y="776"/>
                    </a:lnTo>
                    <a:lnTo>
                      <a:pt x="4675" y="801"/>
                    </a:lnTo>
                    <a:lnTo>
                      <a:pt x="4700" y="834"/>
                    </a:lnTo>
                    <a:lnTo>
                      <a:pt x="4700" y="858"/>
                    </a:lnTo>
                    <a:lnTo>
                      <a:pt x="4673" y="888"/>
                    </a:lnTo>
                    <a:lnTo>
                      <a:pt x="4681" y="915"/>
                    </a:lnTo>
                    <a:lnTo>
                      <a:pt x="4718" y="922"/>
                    </a:lnTo>
                    <a:lnTo>
                      <a:pt x="4740" y="913"/>
                    </a:lnTo>
                    <a:lnTo>
                      <a:pt x="4772" y="927"/>
                    </a:lnTo>
                    <a:lnTo>
                      <a:pt x="4806" y="963"/>
                    </a:lnTo>
                    <a:lnTo>
                      <a:pt x="4810" y="988"/>
                    </a:lnTo>
                    <a:lnTo>
                      <a:pt x="4777" y="1019"/>
                    </a:lnTo>
                    <a:lnTo>
                      <a:pt x="4777" y="1066"/>
                    </a:lnTo>
                    <a:lnTo>
                      <a:pt x="4785" y="1093"/>
                    </a:lnTo>
                    <a:lnTo>
                      <a:pt x="4752" y="1079"/>
                    </a:lnTo>
                    <a:lnTo>
                      <a:pt x="4723" y="1055"/>
                    </a:lnTo>
                    <a:lnTo>
                      <a:pt x="4675" y="1090"/>
                    </a:lnTo>
                    <a:lnTo>
                      <a:pt x="4620" y="1107"/>
                    </a:lnTo>
                    <a:lnTo>
                      <a:pt x="4603" y="1148"/>
                    </a:lnTo>
                    <a:lnTo>
                      <a:pt x="4562" y="1198"/>
                    </a:lnTo>
                    <a:lnTo>
                      <a:pt x="4524" y="1212"/>
                    </a:lnTo>
                    <a:lnTo>
                      <a:pt x="4467" y="1301"/>
                    </a:lnTo>
                    <a:lnTo>
                      <a:pt x="4458" y="1341"/>
                    </a:lnTo>
                    <a:lnTo>
                      <a:pt x="4476" y="1364"/>
                    </a:lnTo>
                    <a:lnTo>
                      <a:pt x="4452" y="1431"/>
                    </a:lnTo>
                    <a:lnTo>
                      <a:pt x="4404" y="1510"/>
                    </a:lnTo>
                    <a:lnTo>
                      <a:pt x="4407" y="1535"/>
                    </a:lnTo>
                    <a:lnTo>
                      <a:pt x="4447" y="1555"/>
                    </a:lnTo>
                    <a:lnTo>
                      <a:pt x="4410" y="1644"/>
                    </a:lnTo>
                    <a:lnTo>
                      <a:pt x="4395" y="1717"/>
                    </a:lnTo>
                    <a:lnTo>
                      <a:pt x="4367" y="1782"/>
                    </a:lnTo>
                    <a:lnTo>
                      <a:pt x="4322" y="1783"/>
                    </a:lnTo>
                    <a:lnTo>
                      <a:pt x="4292" y="1773"/>
                    </a:lnTo>
                    <a:lnTo>
                      <a:pt x="4256" y="1771"/>
                    </a:lnTo>
                    <a:lnTo>
                      <a:pt x="4277" y="1854"/>
                    </a:lnTo>
                    <a:lnTo>
                      <a:pt x="4276" y="1899"/>
                    </a:lnTo>
                    <a:lnTo>
                      <a:pt x="4272" y="1961"/>
                    </a:lnTo>
                    <a:lnTo>
                      <a:pt x="4236" y="1956"/>
                    </a:lnTo>
                    <a:lnTo>
                      <a:pt x="4243" y="2001"/>
                    </a:lnTo>
                    <a:lnTo>
                      <a:pt x="4236" y="2043"/>
                    </a:lnTo>
                    <a:lnTo>
                      <a:pt x="4246" y="2078"/>
                    </a:lnTo>
                    <a:lnTo>
                      <a:pt x="4225" y="2135"/>
                    </a:lnTo>
                    <a:lnTo>
                      <a:pt x="4207" y="2144"/>
                    </a:lnTo>
                    <a:lnTo>
                      <a:pt x="4191" y="2137"/>
                    </a:lnTo>
                    <a:lnTo>
                      <a:pt x="4184" y="2169"/>
                    </a:lnTo>
                    <a:lnTo>
                      <a:pt x="4184" y="2188"/>
                    </a:lnTo>
                    <a:lnTo>
                      <a:pt x="4177" y="2181"/>
                    </a:lnTo>
                    <a:lnTo>
                      <a:pt x="4169" y="2168"/>
                    </a:lnTo>
                    <a:lnTo>
                      <a:pt x="4168" y="2149"/>
                    </a:lnTo>
                    <a:lnTo>
                      <a:pt x="4160" y="2138"/>
                    </a:lnTo>
                    <a:lnTo>
                      <a:pt x="4148" y="2111"/>
                    </a:lnTo>
                    <a:lnTo>
                      <a:pt x="4135" y="2066"/>
                    </a:lnTo>
                    <a:lnTo>
                      <a:pt x="4124" y="1996"/>
                    </a:lnTo>
                    <a:lnTo>
                      <a:pt x="4112" y="1970"/>
                    </a:lnTo>
                    <a:lnTo>
                      <a:pt x="4112" y="1934"/>
                    </a:lnTo>
                    <a:lnTo>
                      <a:pt x="4101" y="1887"/>
                    </a:lnTo>
                    <a:lnTo>
                      <a:pt x="4085" y="1862"/>
                    </a:lnTo>
                    <a:lnTo>
                      <a:pt x="4077" y="1847"/>
                    </a:lnTo>
                    <a:lnTo>
                      <a:pt x="4047" y="1849"/>
                    </a:lnTo>
                    <a:lnTo>
                      <a:pt x="4026" y="1834"/>
                    </a:lnTo>
                    <a:lnTo>
                      <a:pt x="4010" y="1847"/>
                    </a:lnTo>
                    <a:lnTo>
                      <a:pt x="4021" y="1862"/>
                    </a:lnTo>
                    <a:lnTo>
                      <a:pt x="4011" y="1878"/>
                    </a:lnTo>
                    <a:lnTo>
                      <a:pt x="4010" y="1896"/>
                    </a:lnTo>
                    <a:lnTo>
                      <a:pt x="3993" y="1923"/>
                    </a:lnTo>
                    <a:lnTo>
                      <a:pt x="4003" y="1931"/>
                    </a:lnTo>
                    <a:lnTo>
                      <a:pt x="4000" y="1959"/>
                    </a:lnTo>
                    <a:lnTo>
                      <a:pt x="3984" y="1959"/>
                    </a:lnTo>
                    <a:lnTo>
                      <a:pt x="3957" y="1924"/>
                    </a:lnTo>
                    <a:lnTo>
                      <a:pt x="3929" y="1898"/>
                    </a:lnTo>
                    <a:lnTo>
                      <a:pt x="3923" y="1881"/>
                    </a:lnTo>
                    <a:lnTo>
                      <a:pt x="3905" y="1864"/>
                    </a:lnTo>
                    <a:lnTo>
                      <a:pt x="3888" y="1819"/>
                    </a:lnTo>
                    <a:lnTo>
                      <a:pt x="3888" y="1798"/>
                    </a:lnTo>
                    <a:lnTo>
                      <a:pt x="3901" y="1786"/>
                    </a:lnTo>
                    <a:lnTo>
                      <a:pt x="3908" y="1765"/>
                    </a:lnTo>
                    <a:lnTo>
                      <a:pt x="3940" y="1741"/>
                    </a:lnTo>
                    <a:lnTo>
                      <a:pt x="3953" y="1753"/>
                    </a:lnTo>
                    <a:lnTo>
                      <a:pt x="3971" y="1756"/>
                    </a:lnTo>
                    <a:lnTo>
                      <a:pt x="3985" y="1740"/>
                    </a:lnTo>
                    <a:lnTo>
                      <a:pt x="3985" y="1717"/>
                    </a:lnTo>
                    <a:lnTo>
                      <a:pt x="4006" y="1707"/>
                    </a:lnTo>
                    <a:lnTo>
                      <a:pt x="4028" y="1649"/>
                    </a:lnTo>
                    <a:lnTo>
                      <a:pt x="4034" y="1608"/>
                    </a:lnTo>
                    <a:lnTo>
                      <a:pt x="4052" y="1572"/>
                    </a:lnTo>
                    <a:lnTo>
                      <a:pt x="4036" y="1565"/>
                    </a:lnTo>
                    <a:lnTo>
                      <a:pt x="4006" y="1534"/>
                    </a:lnTo>
                    <a:lnTo>
                      <a:pt x="3987" y="1538"/>
                    </a:lnTo>
                    <a:lnTo>
                      <a:pt x="3974" y="1530"/>
                    </a:lnTo>
                    <a:lnTo>
                      <a:pt x="3946" y="1532"/>
                    </a:lnTo>
                    <a:lnTo>
                      <a:pt x="3888" y="1535"/>
                    </a:lnTo>
                    <a:lnTo>
                      <a:pt x="3836" y="1529"/>
                    </a:lnTo>
                    <a:lnTo>
                      <a:pt x="3767" y="1534"/>
                    </a:lnTo>
                    <a:lnTo>
                      <a:pt x="3723" y="1534"/>
                    </a:lnTo>
                    <a:lnTo>
                      <a:pt x="3687" y="1518"/>
                    </a:lnTo>
                    <a:lnTo>
                      <a:pt x="3655" y="1520"/>
                    </a:lnTo>
                    <a:lnTo>
                      <a:pt x="3623" y="1508"/>
                    </a:lnTo>
                    <a:lnTo>
                      <a:pt x="3624" y="1483"/>
                    </a:lnTo>
                    <a:lnTo>
                      <a:pt x="3611" y="1446"/>
                    </a:lnTo>
                    <a:lnTo>
                      <a:pt x="3605" y="1425"/>
                    </a:lnTo>
                    <a:lnTo>
                      <a:pt x="3598" y="1384"/>
                    </a:lnTo>
                    <a:lnTo>
                      <a:pt x="3575" y="1343"/>
                    </a:lnTo>
                    <a:lnTo>
                      <a:pt x="3557" y="1346"/>
                    </a:lnTo>
                    <a:lnTo>
                      <a:pt x="3555" y="1359"/>
                    </a:lnTo>
                    <a:lnTo>
                      <a:pt x="3521" y="1347"/>
                    </a:lnTo>
                    <a:lnTo>
                      <a:pt x="3505" y="1331"/>
                    </a:lnTo>
                    <a:lnTo>
                      <a:pt x="3480" y="1309"/>
                    </a:lnTo>
                    <a:lnTo>
                      <a:pt x="3465" y="1308"/>
                    </a:lnTo>
                    <a:lnTo>
                      <a:pt x="3457" y="1328"/>
                    </a:lnTo>
                    <a:lnTo>
                      <a:pt x="3482" y="1343"/>
                    </a:lnTo>
                    <a:lnTo>
                      <a:pt x="3465" y="1351"/>
                    </a:lnTo>
                    <a:lnTo>
                      <a:pt x="3429" y="1346"/>
                    </a:lnTo>
                    <a:lnTo>
                      <a:pt x="3404" y="1315"/>
                    </a:lnTo>
                    <a:lnTo>
                      <a:pt x="3406" y="1297"/>
                    </a:lnTo>
                    <a:lnTo>
                      <a:pt x="3382" y="1270"/>
                    </a:lnTo>
                    <a:lnTo>
                      <a:pt x="3369" y="1251"/>
                    </a:lnTo>
                    <a:lnTo>
                      <a:pt x="3359" y="1275"/>
                    </a:lnTo>
                    <a:lnTo>
                      <a:pt x="3344" y="1276"/>
                    </a:lnTo>
                    <a:lnTo>
                      <a:pt x="3345" y="1300"/>
                    </a:lnTo>
                    <a:lnTo>
                      <a:pt x="3363" y="1314"/>
                    </a:lnTo>
                    <a:lnTo>
                      <a:pt x="3346" y="1359"/>
                    </a:lnTo>
                    <a:lnTo>
                      <a:pt x="3314" y="1397"/>
                    </a:lnTo>
                    <a:lnTo>
                      <a:pt x="3308" y="1438"/>
                    </a:lnTo>
                    <a:lnTo>
                      <a:pt x="3389" y="1466"/>
                    </a:lnTo>
                    <a:lnTo>
                      <a:pt x="3419" y="1454"/>
                    </a:lnTo>
                    <a:lnTo>
                      <a:pt x="3464" y="1457"/>
                    </a:lnTo>
                    <a:lnTo>
                      <a:pt x="3456" y="1479"/>
                    </a:lnTo>
                    <a:lnTo>
                      <a:pt x="3466" y="1523"/>
                    </a:lnTo>
                    <a:lnTo>
                      <a:pt x="3444" y="1540"/>
                    </a:lnTo>
                    <a:lnTo>
                      <a:pt x="3423" y="1532"/>
                    </a:lnTo>
                    <a:lnTo>
                      <a:pt x="3398" y="1548"/>
                    </a:lnTo>
                    <a:lnTo>
                      <a:pt x="3383" y="1593"/>
                    </a:lnTo>
                    <a:lnTo>
                      <a:pt x="3352" y="1600"/>
                    </a:lnTo>
                    <a:lnTo>
                      <a:pt x="3350" y="1668"/>
                    </a:lnTo>
                    <a:lnTo>
                      <a:pt x="3389" y="1714"/>
                    </a:lnTo>
                    <a:lnTo>
                      <a:pt x="3433" y="1732"/>
                    </a:lnTo>
                    <a:lnTo>
                      <a:pt x="3475" y="1784"/>
                    </a:lnTo>
                    <a:lnTo>
                      <a:pt x="3475" y="1841"/>
                    </a:lnTo>
                    <a:lnTo>
                      <a:pt x="3490" y="1884"/>
                    </a:lnTo>
                    <a:lnTo>
                      <a:pt x="3484" y="1915"/>
                    </a:lnTo>
                    <a:lnTo>
                      <a:pt x="3493" y="1968"/>
                    </a:lnTo>
                    <a:lnTo>
                      <a:pt x="3542" y="2038"/>
                    </a:lnTo>
                    <a:lnTo>
                      <a:pt x="3543" y="2084"/>
                    </a:lnTo>
                    <a:lnTo>
                      <a:pt x="3555" y="2113"/>
                    </a:lnTo>
                    <a:lnTo>
                      <a:pt x="3559" y="2166"/>
                    </a:lnTo>
                    <a:lnTo>
                      <a:pt x="3552" y="2169"/>
                    </a:lnTo>
                    <a:lnTo>
                      <a:pt x="3570" y="2208"/>
                    </a:lnTo>
                    <a:lnTo>
                      <a:pt x="3553" y="2238"/>
                    </a:lnTo>
                    <a:lnTo>
                      <a:pt x="3526" y="2210"/>
                    </a:lnTo>
                    <a:lnTo>
                      <a:pt x="3526" y="2229"/>
                    </a:lnTo>
                    <a:lnTo>
                      <a:pt x="3508" y="2219"/>
                    </a:lnTo>
                    <a:lnTo>
                      <a:pt x="3495" y="2180"/>
                    </a:lnTo>
                    <a:lnTo>
                      <a:pt x="3488" y="2160"/>
                    </a:lnTo>
                    <a:lnTo>
                      <a:pt x="3484" y="2175"/>
                    </a:lnTo>
                    <a:lnTo>
                      <a:pt x="3480" y="2194"/>
                    </a:lnTo>
                    <a:lnTo>
                      <a:pt x="3476" y="2186"/>
                    </a:lnTo>
                    <a:lnTo>
                      <a:pt x="3469" y="2197"/>
                    </a:lnTo>
                    <a:lnTo>
                      <a:pt x="3442" y="2197"/>
                    </a:lnTo>
                    <a:lnTo>
                      <a:pt x="3439" y="2203"/>
                    </a:lnTo>
                    <a:lnTo>
                      <a:pt x="3411" y="2193"/>
                    </a:lnTo>
                    <a:lnTo>
                      <a:pt x="3402" y="2151"/>
                    </a:lnTo>
                    <a:lnTo>
                      <a:pt x="3409" y="2125"/>
                    </a:lnTo>
                    <a:lnTo>
                      <a:pt x="3383" y="2102"/>
                    </a:lnTo>
                    <a:lnTo>
                      <a:pt x="3354" y="2102"/>
                    </a:lnTo>
                    <a:lnTo>
                      <a:pt x="3356" y="2111"/>
                    </a:lnTo>
                    <a:lnTo>
                      <a:pt x="3376" y="2116"/>
                    </a:lnTo>
                    <a:lnTo>
                      <a:pt x="3390" y="2133"/>
                    </a:lnTo>
                    <a:lnTo>
                      <a:pt x="3379" y="2142"/>
                    </a:lnTo>
                    <a:lnTo>
                      <a:pt x="3369" y="2166"/>
                    </a:lnTo>
                    <a:lnTo>
                      <a:pt x="3366" y="2191"/>
                    </a:lnTo>
                    <a:lnTo>
                      <a:pt x="3341" y="2219"/>
                    </a:lnTo>
                    <a:lnTo>
                      <a:pt x="3234" y="2258"/>
                    </a:lnTo>
                    <a:lnTo>
                      <a:pt x="3217" y="2273"/>
                    </a:lnTo>
                    <a:lnTo>
                      <a:pt x="3210" y="2299"/>
                    </a:lnTo>
                    <a:lnTo>
                      <a:pt x="3192" y="2333"/>
                    </a:lnTo>
                    <a:lnTo>
                      <a:pt x="3199" y="2354"/>
                    </a:lnTo>
                    <a:lnTo>
                      <a:pt x="3217" y="2390"/>
                    </a:lnTo>
                    <a:lnTo>
                      <a:pt x="3215" y="2401"/>
                    </a:lnTo>
                    <a:lnTo>
                      <a:pt x="3225" y="2406"/>
                    </a:lnTo>
                    <a:lnTo>
                      <a:pt x="3187" y="2439"/>
                    </a:lnTo>
                    <a:lnTo>
                      <a:pt x="3178" y="2471"/>
                    </a:lnTo>
                    <a:lnTo>
                      <a:pt x="3159" y="2472"/>
                    </a:lnTo>
                    <a:lnTo>
                      <a:pt x="3167" y="2493"/>
                    </a:lnTo>
                    <a:lnTo>
                      <a:pt x="3104" y="2538"/>
                    </a:lnTo>
                    <a:lnTo>
                      <a:pt x="3101" y="2560"/>
                    </a:lnTo>
                    <a:lnTo>
                      <a:pt x="3008" y="2607"/>
                    </a:lnTo>
                    <a:lnTo>
                      <a:pt x="2998" y="2595"/>
                    </a:lnTo>
                    <a:lnTo>
                      <a:pt x="2997" y="2578"/>
                    </a:lnTo>
                    <a:lnTo>
                      <a:pt x="2990" y="2569"/>
                    </a:lnTo>
                    <a:lnTo>
                      <a:pt x="2978" y="2569"/>
                    </a:lnTo>
                    <a:lnTo>
                      <a:pt x="2948" y="2592"/>
                    </a:lnTo>
                    <a:lnTo>
                      <a:pt x="2930" y="2595"/>
                    </a:lnTo>
                    <a:lnTo>
                      <a:pt x="2922" y="2640"/>
                    </a:lnTo>
                    <a:lnTo>
                      <a:pt x="2950" y="2629"/>
                    </a:lnTo>
                    <a:lnTo>
                      <a:pt x="2959" y="2618"/>
                    </a:lnTo>
                    <a:lnTo>
                      <a:pt x="2974" y="2625"/>
                    </a:lnTo>
                    <a:lnTo>
                      <a:pt x="2858" y="2729"/>
                    </a:lnTo>
                    <a:lnTo>
                      <a:pt x="2829" y="2810"/>
                    </a:lnTo>
                    <a:lnTo>
                      <a:pt x="2675" y="2933"/>
                    </a:lnTo>
                    <a:lnTo>
                      <a:pt x="2653" y="2978"/>
                    </a:lnTo>
                    <a:lnTo>
                      <a:pt x="2618" y="3012"/>
                    </a:lnTo>
                    <a:lnTo>
                      <a:pt x="2553" y="3034"/>
                    </a:lnTo>
                    <a:lnTo>
                      <a:pt x="2505" y="3074"/>
                    </a:lnTo>
                    <a:lnTo>
                      <a:pt x="2500" y="3110"/>
                    </a:lnTo>
                    <a:lnTo>
                      <a:pt x="2506" y="3150"/>
                    </a:lnTo>
                    <a:lnTo>
                      <a:pt x="2478" y="3192"/>
                    </a:lnTo>
                    <a:lnTo>
                      <a:pt x="2438" y="3218"/>
                    </a:lnTo>
                    <a:lnTo>
                      <a:pt x="2361" y="3206"/>
                    </a:lnTo>
                    <a:lnTo>
                      <a:pt x="2327" y="3235"/>
                    </a:lnTo>
                    <a:lnTo>
                      <a:pt x="2327" y="3271"/>
                    </a:lnTo>
                    <a:lnTo>
                      <a:pt x="2281" y="3330"/>
                    </a:lnTo>
                    <a:lnTo>
                      <a:pt x="2255" y="3328"/>
                    </a:lnTo>
                    <a:lnTo>
                      <a:pt x="2237" y="3302"/>
                    </a:lnTo>
                    <a:lnTo>
                      <a:pt x="2222" y="3302"/>
                    </a:lnTo>
                    <a:lnTo>
                      <a:pt x="2166" y="3359"/>
                    </a:lnTo>
                    <a:lnTo>
                      <a:pt x="2149" y="3390"/>
                    </a:lnTo>
                    <a:lnTo>
                      <a:pt x="2150" y="3450"/>
                    </a:lnTo>
                    <a:lnTo>
                      <a:pt x="2179" y="3535"/>
                    </a:lnTo>
                    <a:lnTo>
                      <a:pt x="2151" y="3567"/>
                    </a:lnTo>
                    <a:lnTo>
                      <a:pt x="2157" y="3613"/>
                    </a:lnTo>
                    <a:lnTo>
                      <a:pt x="2157" y="3744"/>
                    </a:lnTo>
                    <a:lnTo>
                      <a:pt x="2200" y="3759"/>
                    </a:lnTo>
                    <a:lnTo>
                      <a:pt x="2206" y="3843"/>
                    </a:lnTo>
                    <a:lnTo>
                      <a:pt x="2167" y="3956"/>
                    </a:lnTo>
                    <a:lnTo>
                      <a:pt x="2124" y="4034"/>
                    </a:lnTo>
                    <a:lnTo>
                      <a:pt x="2124" y="4101"/>
                    </a:lnTo>
                    <a:lnTo>
                      <a:pt x="2140" y="4127"/>
                    </a:lnTo>
                    <a:lnTo>
                      <a:pt x="2153" y="4270"/>
                    </a:lnTo>
                    <a:lnTo>
                      <a:pt x="2153" y="4308"/>
                    </a:lnTo>
                    <a:lnTo>
                      <a:pt x="2121" y="4320"/>
                    </a:lnTo>
                    <a:lnTo>
                      <a:pt x="2103" y="4312"/>
                    </a:lnTo>
                    <a:lnTo>
                      <a:pt x="2058" y="4319"/>
                    </a:lnTo>
                    <a:lnTo>
                      <a:pt x="2038" y="4353"/>
                    </a:lnTo>
                    <a:lnTo>
                      <a:pt x="2047" y="4367"/>
                    </a:lnTo>
                    <a:lnTo>
                      <a:pt x="2002" y="4426"/>
                    </a:lnTo>
                    <a:lnTo>
                      <a:pt x="1987" y="4445"/>
                    </a:lnTo>
                    <a:lnTo>
                      <a:pt x="1992" y="4467"/>
                    </a:lnTo>
                    <a:lnTo>
                      <a:pt x="2049" y="4496"/>
                    </a:lnTo>
                    <a:lnTo>
                      <a:pt x="2055" y="4505"/>
                    </a:lnTo>
                    <a:lnTo>
                      <a:pt x="2056" y="4517"/>
                    </a:lnTo>
                    <a:lnTo>
                      <a:pt x="2048" y="4502"/>
                    </a:lnTo>
                    <a:lnTo>
                      <a:pt x="2022" y="4492"/>
                    </a:lnTo>
                    <a:lnTo>
                      <a:pt x="1949" y="4517"/>
                    </a:lnTo>
                    <a:lnTo>
                      <a:pt x="1937" y="4516"/>
                    </a:lnTo>
                    <a:lnTo>
                      <a:pt x="1877" y="4542"/>
                    </a:lnTo>
                    <a:lnTo>
                      <a:pt x="1857" y="4573"/>
                    </a:lnTo>
                    <a:lnTo>
                      <a:pt x="1855" y="4591"/>
                    </a:lnTo>
                    <a:lnTo>
                      <a:pt x="1847" y="4599"/>
                    </a:lnTo>
                    <a:lnTo>
                      <a:pt x="1855" y="4612"/>
                    </a:lnTo>
                    <a:lnTo>
                      <a:pt x="1840" y="4657"/>
                    </a:lnTo>
                    <a:lnTo>
                      <a:pt x="1772" y="4698"/>
                    </a:lnTo>
                    <a:lnTo>
                      <a:pt x="1717" y="4693"/>
                    </a:lnTo>
                    <a:lnTo>
                      <a:pt x="1665" y="4657"/>
                    </a:lnTo>
                    <a:lnTo>
                      <a:pt x="1615" y="4598"/>
                    </a:lnTo>
                    <a:lnTo>
                      <a:pt x="1553" y="4471"/>
                    </a:lnTo>
                    <a:lnTo>
                      <a:pt x="1550" y="4400"/>
                    </a:lnTo>
                    <a:lnTo>
                      <a:pt x="1532" y="4335"/>
                    </a:lnTo>
                    <a:lnTo>
                      <a:pt x="1493" y="4264"/>
                    </a:lnTo>
                    <a:lnTo>
                      <a:pt x="1493" y="4232"/>
                    </a:lnTo>
                    <a:lnTo>
                      <a:pt x="1478" y="4231"/>
                    </a:lnTo>
                    <a:lnTo>
                      <a:pt x="1462" y="4182"/>
                    </a:lnTo>
                    <a:lnTo>
                      <a:pt x="1446" y="4124"/>
                    </a:lnTo>
                    <a:lnTo>
                      <a:pt x="1396" y="4066"/>
                    </a:lnTo>
                    <a:lnTo>
                      <a:pt x="1366" y="4018"/>
                    </a:lnTo>
                    <a:lnTo>
                      <a:pt x="1353" y="4017"/>
                    </a:lnTo>
                    <a:lnTo>
                      <a:pt x="1307" y="3967"/>
                    </a:lnTo>
                    <a:lnTo>
                      <a:pt x="1286" y="3923"/>
                    </a:lnTo>
                    <a:lnTo>
                      <a:pt x="1271" y="3909"/>
                    </a:lnTo>
                    <a:lnTo>
                      <a:pt x="1265" y="3838"/>
                    </a:lnTo>
                    <a:lnTo>
                      <a:pt x="1246" y="3808"/>
                    </a:lnTo>
                    <a:lnTo>
                      <a:pt x="1216" y="3730"/>
                    </a:lnTo>
                    <a:lnTo>
                      <a:pt x="1207" y="3678"/>
                    </a:lnTo>
                    <a:lnTo>
                      <a:pt x="1188" y="3640"/>
                    </a:lnTo>
                    <a:lnTo>
                      <a:pt x="1171" y="3613"/>
                    </a:lnTo>
                    <a:lnTo>
                      <a:pt x="1167" y="3550"/>
                    </a:lnTo>
                    <a:lnTo>
                      <a:pt x="1157" y="3548"/>
                    </a:lnTo>
                    <a:lnTo>
                      <a:pt x="1112" y="3498"/>
                    </a:lnTo>
                    <a:lnTo>
                      <a:pt x="1112" y="3478"/>
                    </a:lnTo>
                    <a:lnTo>
                      <a:pt x="1101" y="3475"/>
                    </a:lnTo>
                    <a:lnTo>
                      <a:pt x="1061" y="3403"/>
                    </a:lnTo>
                    <a:lnTo>
                      <a:pt x="1059" y="3381"/>
                    </a:lnTo>
                    <a:lnTo>
                      <a:pt x="1037" y="3368"/>
                    </a:lnTo>
                    <a:lnTo>
                      <a:pt x="1024" y="3318"/>
                    </a:lnTo>
                    <a:lnTo>
                      <a:pt x="996" y="3299"/>
                    </a:lnTo>
                    <a:lnTo>
                      <a:pt x="969" y="3225"/>
                    </a:lnTo>
                    <a:lnTo>
                      <a:pt x="968" y="3130"/>
                    </a:lnTo>
                    <a:lnTo>
                      <a:pt x="895" y="2989"/>
                    </a:lnTo>
                    <a:lnTo>
                      <a:pt x="895" y="2942"/>
                    </a:lnTo>
                    <a:lnTo>
                      <a:pt x="863" y="2893"/>
                    </a:lnTo>
                    <a:lnTo>
                      <a:pt x="900" y="2890"/>
                    </a:lnTo>
                    <a:lnTo>
                      <a:pt x="849" y="2825"/>
                    </a:lnTo>
                    <a:lnTo>
                      <a:pt x="851" y="2789"/>
                    </a:lnTo>
                    <a:lnTo>
                      <a:pt x="874" y="2784"/>
                    </a:lnTo>
                    <a:lnTo>
                      <a:pt x="857" y="2760"/>
                    </a:lnTo>
                    <a:lnTo>
                      <a:pt x="853" y="2729"/>
                    </a:lnTo>
                    <a:lnTo>
                      <a:pt x="802" y="2635"/>
                    </a:lnTo>
                    <a:lnTo>
                      <a:pt x="794" y="2577"/>
                    </a:lnTo>
                    <a:lnTo>
                      <a:pt x="825" y="2561"/>
                    </a:lnTo>
                    <a:lnTo>
                      <a:pt x="798" y="2546"/>
                    </a:lnTo>
                    <a:lnTo>
                      <a:pt x="797" y="2516"/>
                    </a:lnTo>
                    <a:lnTo>
                      <a:pt x="814" y="2477"/>
                    </a:lnTo>
                    <a:lnTo>
                      <a:pt x="811" y="2429"/>
                    </a:lnTo>
                    <a:lnTo>
                      <a:pt x="795" y="2378"/>
                    </a:lnTo>
                    <a:lnTo>
                      <a:pt x="775" y="2366"/>
                    </a:lnTo>
                    <a:lnTo>
                      <a:pt x="761" y="2285"/>
                    </a:lnTo>
                    <a:lnTo>
                      <a:pt x="798" y="2262"/>
                    </a:lnTo>
                    <a:lnTo>
                      <a:pt x="810" y="2243"/>
                    </a:lnTo>
                    <a:lnTo>
                      <a:pt x="838" y="2243"/>
                    </a:lnTo>
                    <a:lnTo>
                      <a:pt x="808" y="2236"/>
                    </a:lnTo>
                    <a:lnTo>
                      <a:pt x="768" y="2243"/>
                    </a:lnTo>
                    <a:lnTo>
                      <a:pt x="748" y="2242"/>
                    </a:lnTo>
                    <a:lnTo>
                      <a:pt x="751" y="2209"/>
                    </a:lnTo>
                    <a:lnTo>
                      <a:pt x="735" y="2181"/>
                    </a:lnTo>
                    <a:lnTo>
                      <a:pt x="740" y="2147"/>
                    </a:lnTo>
                    <a:lnTo>
                      <a:pt x="750" y="2140"/>
                    </a:lnTo>
                    <a:lnTo>
                      <a:pt x="772" y="2145"/>
                    </a:lnTo>
                    <a:lnTo>
                      <a:pt x="801" y="2116"/>
                    </a:lnTo>
                    <a:lnTo>
                      <a:pt x="814" y="2095"/>
                    </a:lnTo>
                    <a:lnTo>
                      <a:pt x="784" y="2113"/>
                    </a:lnTo>
                    <a:lnTo>
                      <a:pt x="763" y="2104"/>
                    </a:lnTo>
                    <a:lnTo>
                      <a:pt x="722" y="2109"/>
                    </a:lnTo>
                    <a:lnTo>
                      <a:pt x="709" y="2081"/>
                    </a:lnTo>
                    <a:lnTo>
                      <a:pt x="704" y="2103"/>
                    </a:lnTo>
                    <a:lnTo>
                      <a:pt x="702" y="2137"/>
                    </a:lnTo>
                    <a:lnTo>
                      <a:pt x="678" y="2202"/>
                    </a:lnTo>
                    <a:lnTo>
                      <a:pt x="703" y="2234"/>
                    </a:lnTo>
                    <a:lnTo>
                      <a:pt x="697" y="2295"/>
                    </a:lnTo>
                    <a:lnTo>
                      <a:pt x="671" y="2322"/>
                    </a:lnTo>
                    <a:lnTo>
                      <a:pt x="670" y="2340"/>
                    </a:lnTo>
                    <a:lnTo>
                      <a:pt x="612" y="2370"/>
                    </a:lnTo>
                    <a:lnTo>
                      <a:pt x="524" y="2426"/>
                    </a:lnTo>
                    <a:lnTo>
                      <a:pt x="482" y="2439"/>
                    </a:lnTo>
                    <a:lnTo>
                      <a:pt x="420" y="2426"/>
                    </a:lnTo>
                    <a:lnTo>
                      <a:pt x="288" y="2320"/>
                    </a:lnTo>
                    <a:lnTo>
                      <a:pt x="234" y="2249"/>
                    </a:lnTo>
                    <a:lnTo>
                      <a:pt x="234" y="2236"/>
                    </a:lnTo>
                    <a:lnTo>
                      <a:pt x="217" y="2237"/>
                    </a:lnTo>
                    <a:lnTo>
                      <a:pt x="195" y="2225"/>
                    </a:lnTo>
                    <a:lnTo>
                      <a:pt x="120" y="2150"/>
                    </a:lnTo>
                    <a:lnTo>
                      <a:pt x="113" y="2126"/>
                    </a:lnTo>
                    <a:lnTo>
                      <a:pt x="120" y="2108"/>
                    </a:lnTo>
                    <a:lnTo>
                      <a:pt x="140" y="2106"/>
                    </a:lnTo>
                    <a:lnTo>
                      <a:pt x="147" y="2116"/>
                    </a:lnTo>
                    <a:lnTo>
                      <a:pt x="167" y="2110"/>
                    </a:lnTo>
                    <a:lnTo>
                      <a:pt x="166" y="2148"/>
                    </a:lnTo>
                    <a:lnTo>
                      <a:pt x="195" y="2151"/>
                    </a:lnTo>
                    <a:lnTo>
                      <a:pt x="213" y="2136"/>
                    </a:lnTo>
                    <a:lnTo>
                      <a:pt x="225" y="2134"/>
                    </a:lnTo>
                    <a:lnTo>
                      <a:pt x="243" y="2146"/>
                    </a:lnTo>
                    <a:lnTo>
                      <a:pt x="247" y="2133"/>
                    </a:lnTo>
                    <a:lnTo>
                      <a:pt x="317" y="2077"/>
                    </a:lnTo>
                    <a:lnTo>
                      <a:pt x="339" y="2076"/>
                    </a:lnTo>
                    <a:lnTo>
                      <a:pt x="372" y="2026"/>
                    </a:lnTo>
                    <a:lnTo>
                      <a:pt x="382" y="2028"/>
                    </a:lnTo>
                    <a:lnTo>
                      <a:pt x="395" y="1995"/>
                    </a:lnTo>
                    <a:lnTo>
                      <a:pt x="360" y="1993"/>
                    </a:lnTo>
                    <a:lnTo>
                      <a:pt x="350" y="1987"/>
                    </a:lnTo>
                    <a:lnTo>
                      <a:pt x="355" y="1998"/>
                    </a:lnTo>
                    <a:lnTo>
                      <a:pt x="352" y="2012"/>
                    </a:lnTo>
                    <a:lnTo>
                      <a:pt x="281" y="2043"/>
                    </a:lnTo>
                    <a:lnTo>
                      <a:pt x="240" y="2043"/>
                    </a:lnTo>
                    <a:lnTo>
                      <a:pt x="208" y="2054"/>
                    </a:lnTo>
                    <a:lnTo>
                      <a:pt x="96" y="2015"/>
                    </a:lnTo>
                    <a:lnTo>
                      <a:pt x="44" y="1960"/>
                    </a:lnTo>
                    <a:lnTo>
                      <a:pt x="21" y="1950"/>
                    </a:lnTo>
                    <a:lnTo>
                      <a:pt x="24" y="1915"/>
                    </a:lnTo>
                    <a:lnTo>
                      <a:pt x="58" y="1870"/>
                    </a:lnTo>
                    <a:lnTo>
                      <a:pt x="95" y="1850"/>
                    </a:lnTo>
                    <a:lnTo>
                      <a:pt x="48" y="1857"/>
                    </a:lnTo>
                    <a:lnTo>
                      <a:pt x="0" y="1888"/>
                    </a:lnTo>
                    <a:lnTo>
                      <a:pt x="2" y="1844"/>
                    </a:lnTo>
                    <a:lnTo>
                      <a:pt x="38" y="1820"/>
                    </a:lnTo>
                    <a:lnTo>
                      <a:pt x="60" y="1814"/>
                    </a:lnTo>
                    <a:lnTo>
                      <a:pt x="76" y="1771"/>
                    </a:lnTo>
                    <a:lnTo>
                      <a:pt x="101" y="1777"/>
                    </a:lnTo>
                    <a:lnTo>
                      <a:pt x="130" y="1761"/>
                    </a:lnTo>
                    <a:lnTo>
                      <a:pt x="247" y="1769"/>
                    </a:lnTo>
                    <a:lnTo>
                      <a:pt x="315" y="1744"/>
                    </a:lnTo>
                    <a:lnTo>
                      <a:pt x="328" y="1729"/>
                    </a:lnTo>
                    <a:lnTo>
                      <a:pt x="367" y="1716"/>
                    </a:lnTo>
                    <a:lnTo>
                      <a:pt x="354" y="1741"/>
                    </a:lnTo>
                    <a:lnTo>
                      <a:pt x="369" y="1760"/>
                    </a:lnTo>
                    <a:lnTo>
                      <a:pt x="409" y="1737"/>
                    </a:lnTo>
                    <a:lnTo>
                      <a:pt x="440" y="1727"/>
                    </a:lnTo>
                    <a:lnTo>
                      <a:pt x="427" y="1710"/>
                    </a:lnTo>
                    <a:lnTo>
                      <a:pt x="432" y="1685"/>
                    </a:lnTo>
                    <a:lnTo>
                      <a:pt x="393" y="1577"/>
                    </a:lnTo>
                    <a:lnTo>
                      <a:pt x="360" y="1532"/>
                    </a:lnTo>
                    <a:lnTo>
                      <a:pt x="368" y="1510"/>
                    </a:lnTo>
                    <a:lnTo>
                      <a:pt x="346" y="1489"/>
                    </a:lnTo>
                    <a:lnTo>
                      <a:pt x="312" y="1492"/>
                    </a:lnTo>
                    <a:lnTo>
                      <a:pt x="256" y="1456"/>
                    </a:lnTo>
                    <a:lnTo>
                      <a:pt x="249" y="1393"/>
                    </a:lnTo>
                    <a:lnTo>
                      <a:pt x="251" y="1351"/>
                    </a:lnTo>
                    <a:lnTo>
                      <a:pt x="227" y="1298"/>
                    </a:lnTo>
                    <a:lnTo>
                      <a:pt x="195" y="1297"/>
                    </a:lnTo>
                    <a:lnTo>
                      <a:pt x="176" y="1307"/>
                    </a:lnTo>
                    <a:lnTo>
                      <a:pt x="136" y="1294"/>
                    </a:lnTo>
                    <a:lnTo>
                      <a:pt x="107" y="1295"/>
                    </a:lnTo>
                    <a:lnTo>
                      <a:pt x="107" y="1252"/>
                    </a:lnTo>
                    <a:lnTo>
                      <a:pt x="134" y="1183"/>
                    </a:lnTo>
                    <a:lnTo>
                      <a:pt x="161" y="1173"/>
                    </a:lnTo>
                    <a:lnTo>
                      <a:pt x="206" y="1109"/>
                    </a:lnTo>
                    <a:lnTo>
                      <a:pt x="213" y="1079"/>
                    </a:lnTo>
                    <a:lnTo>
                      <a:pt x="245" y="1062"/>
                    </a:lnTo>
                    <a:lnTo>
                      <a:pt x="268" y="1047"/>
                    </a:lnTo>
                    <a:lnTo>
                      <a:pt x="305" y="1062"/>
                    </a:lnTo>
                    <a:lnTo>
                      <a:pt x="312" y="1096"/>
                    </a:lnTo>
                    <a:lnTo>
                      <a:pt x="337" y="1100"/>
                    </a:lnTo>
                    <a:lnTo>
                      <a:pt x="401" y="1068"/>
                    </a:lnTo>
                    <a:lnTo>
                      <a:pt x="491" y="1062"/>
                    </a:lnTo>
                    <a:lnTo>
                      <a:pt x="545" y="1002"/>
                    </a:lnTo>
                    <a:lnTo>
                      <a:pt x="578" y="901"/>
                    </a:lnTo>
                    <a:lnTo>
                      <a:pt x="657" y="846"/>
                    </a:lnTo>
                    <a:lnTo>
                      <a:pt x="677" y="809"/>
                    </a:lnTo>
                    <a:lnTo>
                      <a:pt x="685" y="753"/>
                    </a:lnTo>
                    <a:lnTo>
                      <a:pt x="723" y="699"/>
                    </a:lnTo>
                    <a:lnTo>
                      <a:pt x="778" y="672"/>
                    </a:lnTo>
                    <a:lnTo>
                      <a:pt x="797" y="630"/>
                    </a:lnTo>
                    <a:lnTo>
                      <a:pt x="795" y="598"/>
                    </a:lnTo>
                    <a:lnTo>
                      <a:pt x="773" y="580"/>
                    </a:lnTo>
                    <a:lnTo>
                      <a:pt x="823" y="526"/>
                    </a:lnTo>
                    <a:lnTo>
                      <a:pt x="849" y="505"/>
                    </a:lnTo>
                    <a:lnTo>
                      <a:pt x="855" y="464"/>
                    </a:lnTo>
                    <a:lnTo>
                      <a:pt x="863" y="379"/>
                    </a:lnTo>
                    <a:lnTo>
                      <a:pt x="846" y="316"/>
                    </a:lnTo>
                    <a:lnTo>
                      <a:pt x="836" y="302"/>
                    </a:lnTo>
                    <a:lnTo>
                      <a:pt x="890" y="250"/>
                    </a:lnTo>
                    <a:lnTo>
                      <a:pt x="922" y="239"/>
                    </a:lnTo>
                    <a:lnTo>
                      <a:pt x="954" y="217"/>
                    </a:lnTo>
                    <a:lnTo>
                      <a:pt x="976" y="222"/>
                    </a:lnTo>
                    <a:lnTo>
                      <a:pt x="1020" y="172"/>
                    </a:lnTo>
                    <a:lnTo>
                      <a:pt x="1070" y="88"/>
                    </a:lnTo>
                    <a:lnTo>
                      <a:pt x="1121" y="43"/>
                    </a:lnTo>
                    <a:lnTo>
                      <a:pt x="1164" y="41"/>
                    </a:lnTo>
                    <a:lnTo>
                      <a:pt x="1186" y="0"/>
                    </a:lnTo>
                    <a:lnTo>
                      <a:pt x="1222" y="0"/>
                    </a:lnTo>
                    <a:lnTo>
                      <a:pt x="1316" y="62"/>
                    </a:lnTo>
                    <a:lnTo>
                      <a:pt x="1365" y="36"/>
                    </a:lnTo>
                    <a:lnTo>
                      <a:pt x="1411" y="54"/>
                    </a:lnTo>
                    <a:lnTo>
                      <a:pt x="1429" y="100"/>
                    </a:lnTo>
                    <a:lnTo>
                      <a:pt x="1472" y="98"/>
                    </a:lnTo>
                    <a:lnTo>
                      <a:pt x="1541" y="141"/>
                    </a:lnTo>
                    <a:lnTo>
                      <a:pt x="1542" y="140"/>
                    </a:lnTo>
                    <a:lnTo>
                      <a:pt x="1542" y="140"/>
                    </a:lnTo>
                    <a:close/>
                    <a:moveTo>
                      <a:pt x="3485" y="2221"/>
                    </a:moveTo>
                    <a:lnTo>
                      <a:pt x="3485" y="2251"/>
                    </a:lnTo>
                    <a:lnTo>
                      <a:pt x="3495" y="2238"/>
                    </a:lnTo>
                    <a:lnTo>
                      <a:pt x="3485" y="2221"/>
                    </a:lnTo>
                    <a:lnTo>
                      <a:pt x="3485" y="2221"/>
                    </a:lnTo>
                    <a:close/>
                    <a:moveTo>
                      <a:pt x="3468" y="2209"/>
                    </a:moveTo>
                    <a:lnTo>
                      <a:pt x="3447" y="2219"/>
                    </a:lnTo>
                    <a:lnTo>
                      <a:pt x="3454" y="2238"/>
                    </a:lnTo>
                    <a:lnTo>
                      <a:pt x="3466" y="2248"/>
                    </a:lnTo>
                    <a:lnTo>
                      <a:pt x="3470" y="2226"/>
                    </a:lnTo>
                    <a:lnTo>
                      <a:pt x="3468" y="2209"/>
                    </a:lnTo>
                    <a:lnTo>
                      <a:pt x="3468" y="2209"/>
                    </a:lnTo>
                    <a:close/>
                    <a:moveTo>
                      <a:pt x="3420" y="2216"/>
                    </a:moveTo>
                    <a:lnTo>
                      <a:pt x="3424" y="2249"/>
                    </a:lnTo>
                    <a:lnTo>
                      <a:pt x="3442" y="2262"/>
                    </a:lnTo>
                    <a:lnTo>
                      <a:pt x="3437" y="2231"/>
                    </a:lnTo>
                    <a:lnTo>
                      <a:pt x="3420" y="2216"/>
                    </a:lnTo>
                    <a:lnTo>
                      <a:pt x="3420" y="2216"/>
                    </a:lnTo>
                    <a:close/>
                    <a:moveTo>
                      <a:pt x="3372" y="2227"/>
                    </a:moveTo>
                    <a:lnTo>
                      <a:pt x="3373" y="2244"/>
                    </a:lnTo>
                    <a:lnTo>
                      <a:pt x="3386" y="2237"/>
                    </a:lnTo>
                    <a:lnTo>
                      <a:pt x="3402" y="2197"/>
                    </a:lnTo>
                    <a:lnTo>
                      <a:pt x="3391" y="2180"/>
                    </a:lnTo>
                    <a:lnTo>
                      <a:pt x="3372" y="2227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6" name="ís1ïḋê"/>
              <p:cNvSpPr/>
              <p:nvPr/>
            </p:nvSpPr>
            <p:spPr bwMode="auto">
              <a:xfrm>
                <a:off x="2636493" y="3689273"/>
                <a:ext cx="142881" cy="185745"/>
              </a:xfrm>
              <a:custGeom>
                <a:avLst/>
                <a:gdLst>
                  <a:gd name="T0" fmla="*/ 843 w 876"/>
                  <a:gd name="T1" fmla="*/ 1010 h 1144"/>
                  <a:gd name="T2" fmla="*/ 804 w 876"/>
                  <a:gd name="T3" fmla="*/ 1098 h 1144"/>
                  <a:gd name="T4" fmla="*/ 752 w 876"/>
                  <a:gd name="T5" fmla="*/ 1039 h 1144"/>
                  <a:gd name="T6" fmla="*/ 742 w 876"/>
                  <a:gd name="T7" fmla="*/ 986 h 1144"/>
                  <a:gd name="T8" fmla="*/ 713 w 876"/>
                  <a:gd name="T9" fmla="*/ 938 h 1144"/>
                  <a:gd name="T10" fmla="*/ 646 w 876"/>
                  <a:gd name="T11" fmla="*/ 742 h 1144"/>
                  <a:gd name="T12" fmla="*/ 589 w 876"/>
                  <a:gd name="T13" fmla="*/ 766 h 1144"/>
                  <a:gd name="T14" fmla="*/ 472 w 876"/>
                  <a:gd name="T15" fmla="*/ 700 h 1144"/>
                  <a:gd name="T16" fmla="*/ 482 w 876"/>
                  <a:gd name="T17" fmla="*/ 761 h 1144"/>
                  <a:gd name="T18" fmla="*/ 489 w 876"/>
                  <a:gd name="T19" fmla="*/ 867 h 1144"/>
                  <a:gd name="T20" fmla="*/ 418 w 876"/>
                  <a:gd name="T21" fmla="*/ 884 h 1144"/>
                  <a:gd name="T22" fmla="*/ 394 w 876"/>
                  <a:gd name="T23" fmla="*/ 908 h 1144"/>
                  <a:gd name="T24" fmla="*/ 377 w 876"/>
                  <a:gd name="T25" fmla="*/ 793 h 1144"/>
                  <a:gd name="T26" fmla="*/ 358 w 876"/>
                  <a:gd name="T27" fmla="*/ 867 h 1144"/>
                  <a:gd name="T28" fmla="*/ 354 w 876"/>
                  <a:gd name="T29" fmla="*/ 941 h 1144"/>
                  <a:gd name="T30" fmla="*/ 289 w 876"/>
                  <a:gd name="T31" fmla="*/ 959 h 1144"/>
                  <a:gd name="T32" fmla="*/ 247 w 876"/>
                  <a:gd name="T33" fmla="*/ 862 h 1144"/>
                  <a:gd name="T34" fmla="*/ 176 w 876"/>
                  <a:gd name="T35" fmla="*/ 664 h 1144"/>
                  <a:gd name="T36" fmla="*/ 125 w 876"/>
                  <a:gd name="T37" fmla="*/ 481 h 1144"/>
                  <a:gd name="T38" fmla="*/ 75 w 876"/>
                  <a:gd name="T39" fmla="*/ 342 h 1144"/>
                  <a:gd name="T40" fmla="*/ 158 w 876"/>
                  <a:gd name="T41" fmla="*/ 272 h 1144"/>
                  <a:gd name="T42" fmla="*/ 81 w 876"/>
                  <a:gd name="T43" fmla="*/ 215 h 1144"/>
                  <a:gd name="T44" fmla="*/ 55 w 876"/>
                  <a:gd name="T45" fmla="*/ 63 h 1144"/>
                  <a:gd name="T46" fmla="*/ 61 w 876"/>
                  <a:gd name="T47" fmla="*/ 0 h 1144"/>
                  <a:gd name="T48" fmla="*/ 121 w 876"/>
                  <a:gd name="T49" fmla="*/ 95 h 1144"/>
                  <a:gd name="T50" fmla="*/ 157 w 876"/>
                  <a:gd name="T51" fmla="*/ 57 h 1144"/>
                  <a:gd name="T52" fmla="*/ 247 w 876"/>
                  <a:gd name="T53" fmla="*/ 108 h 1144"/>
                  <a:gd name="T54" fmla="*/ 297 w 876"/>
                  <a:gd name="T55" fmla="*/ 174 h 1144"/>
                  <a:gd name="T56" fmla="*/ 347 w 876"/>
                  <a:gd name="T57" fmla="*/ 269 h 1144"/>
                  <a:gd name="T58" fmla="*/ 528 w 876"/>
                  <a:gd name="T59" fmla="*/ 278 h 1144"/>
                  <a:gd name="T60" fmla="*/ 679 w 876"/>
                  <a:gd name="T61" fmla="*/ 287 h 1144"/>
                  <a:gd name="T62" fmla="*/ 726 w 876"/>
                  <a:gd name="T63" fmla="*/ 357 h 1144"/>
                  <a:gd name="T64" fmla="*/ 677 w 876"/>
                  <a:gd name="T65" fmla="*/ 489 h 1144"/>
                  <a:gd name="T66" fmla="*/ 600 w 876"/>
                  <a:gd name="T67" fmla="*/ 514 h 1144"/>
                  <a:gd name="T68" fmla="*/ 597 w 876"/>
                  <a:gd name="T69" fmla="*/ 613 h 1144"/>
                  <a:gd name="T70" fmla="*/ 676 w 876"/>
                  <a:gd name="T71" fmla="*/ 708 h 1144"/>
                  <a:gd name="T72" fmla="*/ 702 w 876"/>
                  <a:gd name="T73" fmla="*/ 645 h 1144"/>
                  <a:gd name="T74" fmla="*/ 718 w 876"/>
                  <a:gd name="T75" fmla="*/ 583 h 1144"/>
                  <a:gd name="T76" fmla="*/ 793 w 876"/>
                  <a:gd name="T77" fmla="*/ 636 h 1144"/>
                  <a:gd name="T78" fmla="*/ 827 w 876"/>
                  <a:gd name="T79" fmla="*/ 815 h 1144"/>
                  <a:gd name="T80" fmla="*/ 861 w 876"/>
                  <a:gd name="T81" fmla="*/ 917 h 1144"/>
                  <a:gd name="T82" fmla="*/ 644 w 876"/>
                  <a:gd name="T83" fmla="*/ 799 h 1144"/>
                  <a:gd name="T84" fmla="*/ 640 w 876"/>
                  <a:gd name="T85" fmla="*/ 824 h 1144"/>
                  <a:gd name="T86" fmla="*/ 572 w 876"/>
                  <a:gd name="T87" fmla="*/ 826 h 1144"/>
                  <a:gd name="T88" fmla="*/ 597 w 876"/>
                  <a:gd name="T89" fmla="*/ 805 h 1144"/>
                  <a:gd name="T90" fmla="*/ 555 w 876"/>
                  <a:gd name="T91" fmla="*/ 787 h 1144"/>
                  <a:gd name="T92" fmla="*/ 490 w 876"/>
                  <a:gd name="T93" fmla="*/ 780 h 1144"/>
                  <a:gd name="T94" fmla="*/ 541 w 876"/>
                  <a:gd name="T95" fmla="*/ 795 h 1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76" h="1144">
                    <a:moveTo>
                      <a:pt x="876" y="937"/>
                    </a:moveTo>
                    <a:lnTo>
                      <a:pt x="876" y="977"/>
                    </a:lnTo>
                    <a:lnTo>
                      <a:pt x="857" y="1019"/>
                    </a:lnTo>
                    <a:lnTo>
                      <a:pt x="843" y="1010"/>
                    </a:lnTo>
                    <a:lnTo>
                      <a:pt x="810" y="1051"/>
                    </a:lnTo>
                    <a:lnTo>
                      <a:pt x="805" y="1083"/>
                    </a:lnTo>
                    <a:lnTo>
                      <a:pt x="807" y="1095"/>
                    </a:lnTo>
                    <a:lnTo>
                      <a:pt x="804" y="1098"/>
                    </a:lnTo>
                    <a:lnTo>
                      <a:pt x="812" y="1142"/>
                    </a:lnTo>
                    <a:lnTo>
                      <a:pt x="807" y="1144"/>
                    </a:lnTo>
                    <a:lnTo>
                      <a:pt x="782" y="1083"/>
                    </a:lnTo>
                    <a:lnTo>
                      <a:pt x="752" y="1039"/>
                    </a:lnTo>
                    <a:lnTo>
                      <a:pt x="737" y="1020"/>
                    </a:lnTo>
                    <a:lnTo>
                      <a:pt x="745" y="1000"/>
                    </a:lnTo>
                    <a:lnTo>
                      <a:pt x="748" y="973"/>
                    </a:lnTo>
                    <a:lnTo>
                      <a:pt x="742" y="986"/>
                    </a:lnTo>
                    <a:lnTo>
                      <a:pt x="722" y="1006"/>
                    </a:lnTo>
                    <a:lnTo>
                      <a:pt x="715" y="996"/>
                    </a:lnTo>
                    <a:lnTo>
                      <a:pt x="724" y="945"/>
                    </a:lnTo>
                    <a:lnTo>
                      <a:pt x="713" y="938"/>
                    </a:lnTo>
                    <a:lnTo>
                      <a:pt x="720" y="899"/>
                    </a:lnTo>
                    <a:lnTo>
                      <a:pt x="722" y="875"/>
                    </a:lnTo>
                    <a:lnTo>
                      <a:pt x="699" y="860"/>
                    </a:lnTo>
                    <a:lnTo>
                      <a:pt x="646" y="742"/>
                    </a:lnTo>
                    <a:lnTo>
                      <a:pt x="632" y="742"/>
                    </a:lnTo>
                    <a:lnTo>
                      <a:pt x="633" y="752"/>
                    </a:lnTo>
                    <a:lnTo>
                      <a:pt x="622" y="747"/>
                    </a:lnTo>
                    <a:lnTo>
                      <a:pt x="589" y="766"/>
                    </a:lnTo>
                    <a:lnTo>
                      <a:pt x="529" y="739"/>
                    </a:lnTo>
                    <a:lnTo>
                      <a:pt x="522" y="726"/>
                    </a:lnTo>
                    <a:lnTo>
                      <a:pt x="503" y="728"/>
                    </a:lnTo>
                    <a:lnTo>
                      <a:pt x="472" y="700"/>
                    </a:lnTo>
                    <a:lnTo>
                      <a:pt x="458" y="649"/>
                    </a:lnTo>
                    <a:lnTo>
                      <a:pt x="464" y="709"/>
                    </a:lnTo>
                    <a:lnTo>
                      <a:pt x="488" y="744"/>
                    </a:lnTo>
                    <a:lnTo>
                      <a:pt x="482" y="761"/>
                    </a:lnTo>
                    <a:lnTo>
                      <a:pt x="447" y="775"/>
                    </a:lnTo>
                    <a:lnTo>
                      <a:pt x="469" y="784"/>
                    </a:lnTo>
                    <a:lnTo>
                      <a:pt x="493" y="821"/>
                    </a:lnTo>
                    <a:lnTo>
                      <a:pt x="489" y="867"/>
                    </a:lnTo>
                    <a:lnTo>
                      <a:pt x="456" y="881"/>
                    </a:lnTo>
                    <a:lnTo>
                      <a:pt x="428" y="932"/>
                    </a:lnTo>
                    <a:lnTo>
                      <a:pt x="401" y="913"/>
                    </a:lnTo>
                    <a:lnTo>
                      <a:pt x="418" y="884"/>
                    </a:lnTo>
                    <a:lnTo>
                      <a:pt x="432" y="877"/>
                    </a:lnTo>
                    <a:lnTo>
                      <a:pt x="439" y="862"/>
                    </a:lnTo>
                    <a:lnTo>
                      <a:pt x="416" y="874"/>
                    </a:lnTo>
                    <a:lnTo>
                      <a:pt x="394" y="908"/>
                    </a:lnTo>
                    <a:lnTo>
                      <a:pt x="371" y="876"/>
                    </a:lnTo>
                    <a:lnTo>
                      <a:pt x="389" y="819"/>
                    </a:lnTo>
                    <a:lnTo>
                      <a:pt x="389" y="809"/>
                    </a:lnTo>
                    <a:lnTo>
                      <a:pt x="377" y="793"/>
                    </a:lnTo>
                    <a:lnTo>
                      <a:pt x="384" y="810"/>
                    </a:lnTo>
                    <a:lnTo>
                      <a:pt x="370" y="830"/>
                    </a:lnTo>
                    <a:lnTo>
                      <a:pt x="367" y="866"/>
                    </a:lnTo>
                    <a:lnTo>
                      <a:pt x="358" y="867"/>
                    </a:lnTo>
                    <a:lnTo>
                      <a:pt x="376" y="907"/>
                    </a:lnTo>
                    <a:lnTo>
                      <a:pt x="373" y="937"/>
                    </a:lnTo>
                    <a:lnTo>
                      <a:pt x="356" y="947"/>
                    </a:lnTo>
                    <a:lnTo>
                      <a:pt x="354" y="941"/>
                    </a:lnTo>
                    <a:lnTo>
                      <a:pt x="331" y="927"/>
                    </a:lnTo>
                    <a:lnTo>
                      <a:pt x="316" y="933"/>
                    </a:lnTo>
                    <a:lnTo>
                      <a:pt x="309" y="959"/>
                    </a:lnTo>
                    <a:lnTo>
                      <a:pt x="289" y="959"/>
                    </a:lnTo>
                    <a:lnTo>
                      <a:pt x="282" y="942"/>
                    </a:lnTo>
                    <a:lnTo>
                      <a:pt x="268" y="909"/>
                    </a:lnTo>
                    <a:lnTo>
                      <a:pt x="251" y="915"/>
                    </a:lnTo>
                    <a:lnTo>
                      <a:pt x="247" y="862"/>
                    </a:lnTo>
                    <a:lnTo>
                      <a:pt x="235" y="833"/>
                    </a:lnTo>
                    <a:lnTo>
                      <a:pt x="234" y="787"/>
                    </a:lnTo>
                    <a:lnTo>
                      <a:pt x="185" y="717"/>
                    </a:lnTo>
                    <a:lnTo>
                      <a:pt x="176" y="664"/>
                    </a:lnTo>
                    <a:lnTo>
                      <a:pt x="182" y="633"/>
                    </a:lnTo>
                    <a:lnTo>
                      <a:pt x="167" y="590"/>
                    </a:lnTo>
                    <a:lnTo>
                      <a:pt x="167" y="533"/>
                    </a:lnTo>
                    <a:lnTo>
                      <a:pt x="125" y="481"/>
                    </a:lnTo>
                    <a:lnTo>
                      <a:pt x="81" y="463"/>
                    </a:lnTo>
                    <a:lnTo>
                      <a:pt x="42" y="417"/>
                    </a:lnTo>
                    <a:lnTo>
                      <a:pt x="44" y="349"/>
                    </a:lnTo>
                    <a:lnTo>
                      <a:pt x="75" y="342"/>
                    </a:lnTo>
                    <a:lnTo>
                      <a:pt x="90" y="297"/>
                    </a:lnTo>
                    <a:lnTo>
                      <a:pt x="115" y="281"/>
                    </a:lnTo>
                    <a:lnTo>
                      <a:pt x="136" y="289"/>
                    </a:lnTo>
                    <a:lnTo>
                      <a:pt x="158" y="272"/>
                    </a:lnTo>
                    <a:lnTo>
                      <a:pt x="148" y="228"/>
                    </a:lnTo>
                    <a:lnTo>
                      <a:pt x="156" y="206"/>
                    </a:lnTo>
                    <a:lnTo>
                      <a:pt x="111" y="203"/>
                    </a:lnTo>
                    <a:lnTo>
                      <a:pt x="81" y="215"/>
                    </a:lnTo>
                    <a:lnTo>
                      <a:pt x="0" y="187"/>
                    </a:lnTo>
                    <a:lnTo>
                      <a:pt x="6" y="146"/>
                    </a:lnTo>
                    <a:lnTo>
                      <a:pt x="38" y="108"/>
                    </a:lnTo>
                    <a:lnTo>
                      <a:pt x="55" y="63"/>
                    </a:lnTo>
                    <a:lnTo>
                      <a:pt x="37" y="49"/>
                    </a:lnTo>
                    <a:lnTo>
                      <a:pt x="36" y="25"/>
                    </a:lnTo>
                    <a:lnTo>
                      <a:pt x="51" y="24"/>
                    </a:lnTo>
                    <a:lnTo>
                      <a:pt x="61" y="0"/>
                    </a:lnTo>
                    <a:lnTo>
                      <a:pt x="74" y="19"/>
                    </a:lnTo>
                    <a:lnTo>
                      <a:pt x="98" y="46"/>
                    </a:lnTo>
                    <a:lnTo>
                      <a:pt x="96" y="64"/>
                    </a:lnTo>
                    <a:lnTo>
                      <a:pt x="121" y="95"/>
                    </a:lnTo>
                    <a:lnTo>
                      <a:pt x="157" y="100"/>
                    </a:lnTo>
                    <a:lnTo>
                      <a:pt x="174" y="92"/>
                    </a:lnTo>
                    <a:lnTo>
                      <a:pt x="149" y="77"/>
                    </a:lnTo>
                    <a:lnTo>
                      <a:pt x="157" y="57"/>
                    </a:lnTo>
                    <a:lnTo>
                      <a:pt x="172" y="58"/>
                    </a:lnTo>
                    <a:lnTo>
                      <a:pt x="197" y="80"/>
                    </a:lnTo>
                    <a:lnTo>
                      <a:pt x="213" y="96"/>
                    </a:lnTo>
                    <a:lnTo>
                      <a:pt x="247" y="108"/>
                    </a:lnTo>
                    <a:lnTo>
                      <a:pt x="249" y="95"/>
                    </a:lnTo>
                    <a:lnTo>
                      <a:pt x="267" y="92"/>
                    </a:lnTo>
                    <a:lnTo>
                      <a:pt x="290" y="133"/>
                    </a:lnTo>
                    <a:lnTo>
                      <a:pt x="297" y="174"/>
                    </a:lnTo>
                    <a:lnTo>
                      <a:pt x="303" y="195"/>
                    </a:lnTo>
                    <a:lnTo>
                      <a:pt x="316" y="232"/>
                    </a:lnTo>
                    <a:lnTo>
                      <a:pt x="315" y="257"/>
                    </a:lnTo>
                    <a:lnTo>
                      <a:pt x="347" y="269"/>
                    </a:lnTo>
                    <a:lnTo>
                      <a:pt x="379" y="267"/>
                    </a:lnTo>
                    <a:lnTo>
                      <a:pt x="415" y="283"/>
                    </a:lnTo>
                    <a:lnTo>
                      <a:pt x="459" y="283"/>
                    </a:lnTo>
                    <a:lnTo>
                      <a:pt x="528" y="278"/>
                    </a:lnTo>
                    <a:lnTo>
                      <a:pt x="580" y="284"/>
                    </a:lnTo>
                    <a:lnTo>
                      <a:pt x="638" y="281"/>
                    </a:lnTo>
                    <a:lnTo>
                      <a:pt x="666" y="279"/>
                    </a:lnTo>
                    <a:lnTo>
                      <a:pt x="679" y="287"/>
                    </a:lnTo>
                    <a:lnTo>
                      <a:pt x="698" y="283"/>
                    </a:lnTo>
                    <a:lnTo>
                      <a:pt x="728" y="314"/>
                    </a:lnTo>
                    <a:lnTo>
                      <a:pt x="744" y="321"/>
                    </a:lnTo>
                    <a:lnTo>
                      <a:pt x="726" y="357"/>
                    </a:lnTo>
                    <a:lnTo>
                      <a:pt x="720" y="398"/>
                    </a:lnTo>
                    <a:lnTo>
                      <a:pt x="698" y="456"/>
                    </a:lnTo>
                    <a:lnTo>
                      <a:pt x="677" y="466"/>
                    </a:lnTo>
                    <a:lnTo>
                      <a:pt x="677" y="489"/>
                    </a:lnTo>
                    <a:lnTo>
                      <a:pt x="663" y="505"/>
                    </a:lnTo>
                    <a:lnTo>
                      <a:pt x="645" y="502"/>
                    </a:lnTo>
                    <a:lnTo>
                      <a:pt x="632" y="490"/>
                    </a:lnTo>
                    <a:lnTo>
                      <a:pt x="600" y="514"/>
                    </a:lnTo>
                    <a:lnTo>
                      <a:pt x="593" y="535"/>
                    </a:lnTo>
                    <a:lnTo>
                      <a:pt x="580" y="547"/>
                    </a:lnTo>
                    <a:lnTo>
                      <a:pt x="580" y="568"/>
                    </a:lnTo>
                    <a:lnTo>
                      <a:pt x="597" y="613"/>
                    </a:lnTo>
                    <a:lnTo>
                      <a:pt x="615" y="630"/>
                    </a:lnTo>
                    <a:lnTo>
                      <a:pt x="621" y="647"/>
                    </a:lnTo>
                    <a:lnTo>
                      <a:pt x="649" y="673"/>
                    </a:lnTo>
                    <a:lnTo>
                      <a:pt x="676" y="708"/>
                    </a:lnTo>
                    <a:lnTo>
                      <a:pt x="692" y="708"/>
                    </a:lnTo>
                    <a:lnTo>
                      <a:pt x="695" y="680"/>
                    </a:lnTo>
                    <a:lnTo>
                      <a:pt x="685" y="672"/>
                    </a:lnTo>
                    <a:lnTo>
                      <a:pt x="702" y="645"/>
                    </a:lnTo>
                    <a:lnTo>
                      <a:pt x="703" y="627"/>
                    </a:lnTo>
                    <a:lnTo>
                      <a:pt x="713" y="611"/>
                    </a:lnTo>
                    <a:lnTo>
                      <a:pt x="702" y="596"/>
                    </a:lnTo>
                    <a:lnTo>
                      <a:pt x="718" y="583"/>
                    </a:lnTo>
                    <a:lnTo>
                      <a:pt x="739" y="598"/>
                    </a:lnTo>
                    <a:lnTo>
                      <a:pt x="769" y="596"/>
                    </a:lnTo>
                    <a:lnTo>
                      <a:pt x="777" y="611"/>
                    </a:lnTo>
                    <a:lnTo>
                      <a:pt x="793" y="636"/>
                    </a:lnTo>
                    <a:lnTo>
                      <a:pt x="804" y="683"/>
                    </a:lnTo>
                    <a:lnTo>
                      <a:pt x="804" y="719"/>
                    </a:lnTo>
                    <a:lnTo>
                      <a:pt x="816" y="745"/>
                    </a:lnTo>
                    <a:lnTo>
                      <a:pt x="827" y="815"/>
                    </a:lnTo>
                    <a:lnTo>
                      <a:pt x="840" y="860"/>
                    </a:lnTo>
                    <a:lnTo>
                      <a:pt x="852" y="887"/>
                    </a:lnTo>
                    <a:lnTo>
                      <a:pt x="860" y="898"/>
                    </a:lnTo>
                    <a:lnTo>
                      <a:pt x="861" y="917"/>
                    </a:lnTo>
                    <a:lnTo>
                      <a:pt x="869" y="930"/>
                    </a:lnTo>
                    <a:lnTo>
                      <a:pt x="876" y="937"/>
                    </a:lnTo>
                    <a:lnTo>
                      <a:pt x="876" y="937"/>
                    </a:lnTo>
                    <a:close/>
                    <a:moveTo>
                      <a:pt x="644" y="799"/>
                    </a:moveTo>
                    <a:lnTo>
                      <a:pt x="632" y="788"/>
                    </a:lnTo>
                    <a:lnTo>
                      <a:pt x="618" y="796"/>
                    </a:lnTo>
                    <a:lnTo>
                      <a:pt x="623" y="831"/>
                    </a:lnTo>
                    <a:lnTo>
                      <a:pt x="640" y="824"/>
                    </a:lnTo>
                    <a:lnTo>
                      <a:pt x="644" y="799"/>
                    </a:lnTo>
                    <a:lnTo>
                      <a:pt x="644" y="799"/>
                    </a:lnTo>
                    <a:close/>
                    <a:moveTo>
                      <a:pt x="554" y="791"/>
                    </a:moveTo>
                    <a:lnTo>
                      <a:pt x="572" y="826"/>
                    </a:lnTo>
                    <a:lnTo>
                      <a:pt x="569" y="855"/>
                    </a:lnTo>
                    <a:lnTo>
                      <a:pt x="583" y="877"/>
                    </a:lnTo>
                    <a:lnTo>
                      <a:pt x="607" y="832"/>
                    </a:lnTo>
                    <a:lnTo>
                      <a:pt x="597" y="805"/>
                    </a:lnTo>
                    <a:lnTo>
                      <a:pt x="554" y="775"/>
                    </a:lnTo>
                    <a:lnTo>
                      <a:pt x="554" y="775"/>
                    </a:lnTo>
                    <a:lnTo>
                      <a:pt x="555" y="782"/>
                    </a:lnTo>
                    <a:lnTo>
                      <a:pt x="555" y="787"/>
                    </a:lnTo>
                    <a:lnTo>
                      <a:pt x="554" y="791"/>
                    </a:lnTo>
                    <a:lnTo>
                      <a:pt x="554" y="791"/>
                    </a:lnTo>
                    <a:close/>
                    <a:moveTo>
                      <a:pt x="520" y="766"/>
                    </a:moveTo>
                    <a:lnTo>
                      <a:pt x="490" y="780"/>
                    </a:lnTo>
                    <a:lnTo>
                      <a:pt x="491" y="794"/>
                    </a:lnTo>
                    <a:lnTo>
                      <a:pt x="514" y="845"/>
                    </a:lnTo>
                    <a:lnTo>
                      <a:pt x="545" y="847"/>
                    </a:lnTo>
                    <a:lnTo>
                      <a:pt x="541" y="795"/>
                    </a:lnTo>
                    <a:lnTo>
                      <a:pt x="520" y="766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7" name="iṧľíḋe"/>
              <p:cNvSpPr/>
              <p:nvPr/>
            </p:nvSpPr>
            <p:spPr bwMode="auto">
              <a:xfrm>
                <a:off x="2649482" y="3639914"/>
                <a:ext cx="87028" cy="51957"/>
              </a:xfrm>
              <a:custGeom>
                <a:avLst/>
                <a:gdLst>
                  <a:gd name="T0" fmla="*/ 17 w 530"/>
                  <a:gd name="T1" fmla="*/ 148 h 315"/>
                  <a:gd name="T2" fmla="*/ 50 w 530"/>
                  <a:gd name="T3" fmla="*/ 132 h 315"/>
                  <a:gd name="T4" fmla="*/ 89 w 530"/>
                  <a:gd name="T5" fmla="*/ 57 h 315"/>
                  <a:gd name="T6" fmla="*/ 172 w 530"/>
                  <a:gd name="T7" fmla="*/ 8 h 315"/>
                  <a:gd name="T8" fmla="*/ 227 w 530"/>
                  <a:gd name="T9" fmla="*/ 0 h 315"/>
                  <a:gd name="T10" fmla="*/ 244 w 530"/>
                  <a:gd name="T11" fmla="*/ 28 h 315"/>
                  <a:gd name="T12" fmla="*/ 326 w 530"/>
                  <a:gd name="T13" fmla="*/ 37 h 315"/>
                  <a:gd name="T14" fmla="*/ 358 w 530"/>
                  <a:gd name="T15" fmla="*/ 52 h 315"/>
                  <a:gd name="T16" fmla="*/ 404 w 530"/>
                  <a:gd name="T17" fmla="*/ 34 h 315"/>
                  <a:gd name="T18" fmla="*/ 446 w 530"/>
                  <a:gd name="T19" fmla="*/ 35 h 315"/>
                  <a:gd name="T20" fmla="*/ 474 w 530"/>
                  <a:gd name="T21" fmla="*/ 72 h 315"/>
                  <a:gd name="T22" fmla="*/ 482 w 530"/>
                  <a:gd name="T23" fmla="*/ 72 h 315"/>
                  <a:gd name="T24" fmla="*/ 470 w 530"/>
                  <a:gd name="T25" fmla="*/ 113 h 315"/>
                  <a:gd name="T26" fmla="*/ 475 w 530"/>
                  <a:gd name="T27" fmla="*/ 148 h 315"/>
                  <a:gd name="T28" fmla="*/ 529 w 530"/>
                  <a:gd name="T29" fmla="*/ 171 h 315"/>
                  <a:gd name="T30" fmla="*/ 529 w 530"/>
                  <a:gd name="T31" fmla="*/ 219 h 315"/>
                  <a:gd name="T32" fmla="*/ 530 w 530"/>
                  <a:gd name="T33" fmla="*/ 247 h 315"/>
                  <a:gd name="T34" fmla="*/ 461 w 530"/>
                  <a:gd name="T35" fmla="*/ 269 h 315"/>
                  <a:gd name="T36" fmla="*/ 414 w 530"/>
                  <a:gd name="T37" fmla="*/ 267 h 315"/>
                  <a:gd name="T38" fmla="*/ 352 w 530"/>
                  <a:gd name="T39" fmla="*/ 284 h 315"/>
                  <a:gd name="T40" fmla="*/ 316 w 530"/>
                  <a:gd name="T41" fmla="*/ 268 h 315"/>
                  <a:gd name="T42" fmla="*/ 278 w 530"/>
                  <a:gd name="T43" fmla="*/ 273 h 315"/>
                  <a:gd name="T44" fmla="*/ 244 w 530"/>
                  <a:gd name="T45" fmla="*/ 315 h 315"/>
                  <a:gd name="T46" fmla="*/ 198 w 530"/>
                  <a:gd name="T47" fmla="*/ 315 h 315"/>
                  <a:gd name="T48" fmla="*/ 115 w 530"/>
                  <a:gd name="T49" fmla="*/ 267 h 315"/>
                  <a:gd name="T50" fmla="*/ 91 w 530"/>
                  <a:gd name="T51" fmla="*/ 281 h 315"/>
                  <a:gd name="T52" fmla="*/ 33 w 530"/>
                  <a:gd name="T53" fmla="*/ 269 h 315"/>
                  <a:gd name="T54" fmla="*/ 0 w 530"/>
                  <a:gd name="T55" fmla="*/ 216 h 315"/>
                  <a:gd name="T56" fmla="*/ 12 w 530"/>
                  <a:gd name="T57" fmla="*/ 187 h 315"/>
                  <a:gd name="T58" fmla="*/ 17 w 530"/>
                  <a:gd name="T59" fmla="*/ 148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30" h="315">
                    <a:moveTo>
                      <a:pt x="17" y="148"/>
                    </a:moveTo>
                    <a:lnTo>
                      <a:pt x="50" y="132"/>
                    </a:lnTo>
                    <a:lnTo>
                      <a:pt x="89" y="57"/>
                    </a:lnTo>
                    <a:lnTo>
                      <a:pt x="172" y="8"/>
                    </a:lnTo>
                    <a:lnTo>
                      <a:pt x="227" y="0"/>
                    </a:lnTo>
                    <a:lnTo>
                      <a:pt x="244" y="28"/>
                    </a:lnTo>
                    <a:lnTo>
                      <a:pt x="326" y="37"/>
                    </a:lnTo>
                    <a:lnTo>
                      <a:pt x="358" y="52"/>
                    </a:lnTo>
                    <a:lnTo>
                      <a:pt x="404" y="34"/>
                    </a:lnTo>
                    <a:lnTo>
                      <a:pt x="446" y="35"/>
                    </a:lnTo>
                    <a:lnTo>
                      <a:pt x="474" y="72"/>
                    </a:lnTo>
                    <a:lnTo>
                      <a:pt x="482" y="72"/>
                    </a:lnTo>
                    <a:lnTo>
                      <a:pt x="470" y="113"/>
                    </a:lnTo>
                    <a:lnTo>
                      <a:pt x="475" y="148"/>
                    </a:lnTo>
                    <a:lnTo>
                      <a:pt x="529" y="171"/>
                    </a:lnTo>
                    <a:lnTo>
                      <a:pt x="529" y="219"/>
                    </a:lnTo>
                    <a:lnTo>
                      <a:pt x="530" y="247"/>
                    </a:lnTo>
                    <a:lnTo>
                      <a:pt x="461" y="269"/>
                    </a:lnTo>
                    <a:lnTo>
                      <a:pt x="414" y="267"/>
                    </a:lnTo>
                    <a:lnTo>
                      <a:pt x="352" y="284"/>
                    </a:lnTo>
                    <a:lnTo>
                      <a:pt x="316" y="268"/>
                    </a:lnTo>
                    <a:lnTo>
                      <a:pt x="278" y="273"/>
                    </a:lnTo>
                    <a:lnTo>
                      <a:pt x="244" y="315"/>
                    </a:lnTo>
                    <a:lnTo>
                      <a:pt x="198" y="315"/>
                    </a:lnTo>
                    <a:lnTo>
                      <a:pt x="115" y="267"/>
                    </a:lnTo>
                    <a:lnTo>
                      <a:pt x="91" y="281"/>
                    </a:lnTo>
                    <a:lnTo>
                      <a:pt x="33" y="269"/>
                    </a:lnTo>
                    <a:lnTo>
                      <a:pt x="0" y="216"/>
                    </a:lnTo>
                    <a:lnTo>
                      <a:pt x="12" y="187"/>
                    </a:lnTo>
                    <a:lnTo>
                      <a:pt x="17" y="148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8" name="i$ḷîḑé"/>
              <p:cNvSpPr/>
              <p:nvPr/>
            </p:nvSpPr>
            <p:spPr bwMode="auto">
              <a:xfrm>
                <a:off x="2405286" y="3577564"/>
                <a:ext cx="231207" cy="122099"/>
              </a:xfrm>
              <a:custGeom>
                <a:avLst/>
                <a:gdLst>
                  <a:gd name="T0" fmla="*/ 70 w 1423"/>
                  <a:gd name="T1" fmla="*/ 0 h 750"/>
                  <a:gd name="T2" fmla="*/ 133 w 1423"/>
                  <a:gd name="T3" fmla="*/ 44 h 750"/>
                  <a:gd name="T4" fmla="*/ 185 w 1423"/>
                  <a:gd name="T5" fmla="*/ 51 h 750"/>
                  <a:gd name="T6" fmla="*/ 249 w 1423"/>
                  <a:gd name="T7" fmla="*/ 17 h 750"/>
                  <a:gd name="T8" fmla="*/ 329 w 1423"/>
                  <a:gd name="T9" fmla="*/ 57 h 750"/>
                  <a:gd name="T10" fmla="*/ 395 w 1423"/>
                  <a:gd name="T11" fmla="*/ 79 h 750"/>
                  <a:gd name="T12" fmla="*/ 485 w 1423"/>
                  <a:gd name="T13" fmla="*/ 132 h 750"/>
                  <a:gd name="T14" fmla="*/ 535 w 1423"/>
                  <a:gd name="T15" fmla="*/ 174 h 750"/>
                  <a:gd name="T16" fmla="*/ 582 w 1423"/>
                  <a:gd name="T17" fmla="*/ 247 h 750"/>
                  <a:gd name="T18" fmla="*/ 602 w 1423"/>
                  <a:gd name="T19" fmla="*/ 188 h 750"/>
                  <a:gd name="T20" fmla="*/ 634 w 1423"/>
                  <a:gd name="T21" fmla="*/ 185 h 750"/>
                  <a:gd name="T22" fmla="*/ 706 w 1423"/>
                  <a:gd name="T23" fmla="*/ 206 h 750"/>
                  <a:gd name="T24" fmla="*/ 752 w 1423"/>
                  <a:gd name="T25" fmla="*/ 291 h 750"/>
                  <a:gd name="T26" fmla="*/ 850 w 1423"/>
                  <a:gd name="T27" fmla="*/ 282 h 750"/>
                  <a:gd name="T28" fmla="*/ 860 w 1423"/>
                  <a:gd name="T29" fmla="*/ 391 h 750"/>
                  <a:gd name="T30" fmla="*/ 936 w 1423"/>
                  <a:gd name="T31" fmla="*/ 409 h 750"/>
                  <a:gd name="T32" fmla="*/ 995 w 1423"/>
                  <a:gd name="T33" fmla="*/ 379 h 750"/>
                  <a:gd name="T34" fmla="*/ 1089 w 1423"/>
                  <a:gd name="T35" fmla="*/ 352 h 750"/>
                  <a:gd name="T36" fmla="*/ 1141 w 1423"/>
                  <a:gd name="T37" fmla="*/ 414 h 750"/>
                  <a:gd name="T38" fmla="*/ 1226 w 1423"/>
                  <a:gd name="T39" fmla="*/ 481 h 750"/>
                  <a:gd name="T40" fmla="*/ 1299 w 1423"/>
                  <a:gd name="T41" fmla="*/ 470 h 750"/>
                  <a:gd name="T42" fmla="*/ 1363 w 1423"/>
                  <a:gd name="T43" fmla="*/ 462 h 750"/>
                  <a:gd name="T44" fmla="*/ 1406 w 1423"/>
                  <a:gd name="T45" fmla="*/ 501 h 750"/>
                  <a:gd name="T46" fmla="*/ 1423 w 1423"/>
                  <a:gd name="T47" fmla="*/ 649 h 750"/>
                  <a:gd name="T48" fmla="*/ 1304 w 1423"/>
                  <a:gd name="T49" fmla="*/ 750 h 750"/>
                  <a:gd name="T50" fmla="*/ 1203 w 1423"/>
                  <a:gd name="T51" fmla="*/ 736 h 750"/>
                  <a:gd name="T52" fmla="*/ 996 w 1423"/>
                  <a:gd name="T53" fmla="*/ 683 h 750"/>
                  <a:gd name="T54" fmla="*/ 873 w 1423"/>
                  <a:gd name="T55" fmla="*/ 676 h 750"/>
                  <a:gd name="T56" fmla="*/ 818 w 1423"/>
                  <a:gd name="T57" fmla="*/ 593 h 750"/>
                  <a:gd name="T58" fmla="*/ 647 w 1423"/>
                  <a:gd name="T59" fmla="*/ 597 h 750"/>
                  <a:gd name="T60" fmla="*/ 531 w 1423"/>
                  <a:gd name="T61" fmla="*/ 578 h 750"/>
                  <a:gd name="T62" fmla="*/ 428 w 1423"/>
                  <a:gd name="T63" fmla="*/ 541 h 750"/>
                  <a:gd name="T64" fmla="*/ 329 w 1423"/>
                  <a:gd name="T65" fmla="*/ 502 h 750"/>
                  <a:gd name="T66" fmla="*/ 198 w 1423"/>
                  <a:gd name="T67" fmla="*/ 387 h 750"/>
                  <a:gd name="T68" fmla="*/ 108 w 1423"/>
                  <a:gd name="T69" fmla="*/ 348 h 750"/>
                  <a:gd name="T70" fmla="*/ 47 w 1423"/>
                  <a:gd name="T71" fmla="*/ 323 h 750"/>
                  <a:gd name="T72" fmla="*/ 0 w 1423"/>
                  <a:gd name="T73" fmla="*/ 276 h 750"/>
                  <a:gd name="T74" fmla="*/ 40 w 1423"/>
                  <a:gd name="T75" fmla="*/ 160 h 750"/>
                  <a:gd name="T76" fmla="*/ 63 w 1423"/>
                  <a:gd name="T77" fmla="*/ 1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23" h="750">
                    <a:moveTo>
                      <a:pt x="63" y="10"/>
                    </a:moveTo>
                    <a:lnTo>
                      <a:pt x="70" y="0"/>
                    </a:lnTo>
                    <a:lnTo>
                      <a:pt x="120" y="26"/>
                    </a:lnTo>
                    <a:lnTo>
                      <a:pt x="133" y="44"/>
                    </a:lnTo>
                    <a:lnTo>
                      <a:pt x="167" y="43"/>
                    </a:lnTo>
                    <a:lnTo>
                      <a:pt x="185" y="51"/>
                    </a:lnTo>
                    <a:lnTo>
                      <a:pt x="207" y="20"/>
                    </a:lnTo>
                    <a:lnTo>
                      <a:pt x="249" y="17"/>
                    </a:lnTo>
                    <a:lnTo>
                      <a:pt x="311" y="40"/>
                    </a:lnTo>
                    <a:lnTo>
                      <a:pt x="329" y="57"/>
                    </a:lnTo>
                    <a:lnTo>
                      <a:pt x="369" y="60"/>
                    </a:lnTo>
                    <a:lnTo>
                      <a:pt x="395" y="79"/>
                    </a:lnTo>
                    <a:lnTo>
                      <a:pt x="446" y="131"/>
                    </a:lnTo>
                    <a:lnTo>
                      <a:pt x="485" y="132"/>
                    </a:lnTo>
                    <a:lnTo>
                      <a:pt x="522" y="151"/>
                    </a:lnTo>
                    <a:lnTo>
                      <a:pt x="535" y="174"/>
                    </a:lnTo>
                    <a:lnTo>
                      <a:pt x="566" y="210"/>
                    </a:lnTo>
                    <a:lnTo>
                      <a:pt x="582" y="247"/>
                    </a:lnTo>
                    <a:lnTo>
                      <a:pt x="598" y="239"/>
                    </a:lnTo>
                    <a:lnTo>
                      <a:pt x="602" y="188"/>
                    </a:lnTo>
                    <a:lnTo>
                      <a:pt x="622" y="169"/>
                    </a:lnTo>
                    <a:lnTo>
                      <a:pt x="634" y="185"/>
                    </a:lnTo>
                    <a:lnTo>
                      <a:pt x="670" y="185"/>
                    </a:lnTo>
                    <a:lnTo>
                      <a:pt x="706" y="206"/>
                    </a:lnTo>
                    <a:lnTo>
                      <a:pt x="711" y="254"/>
                    </a:lnTo>
                    <a:lnTo>
                      <a:pt x="752" y="291"/>
                    </a:lnTo>
                    <a:lnTo>
                      <a:pt x="807" y="276"/>
                    </a:lnTo>
                    <a:lnTo>
                      <a:pt x="850" y="282"/>
                    </a:lnTo>
                    <a:lnTo>
                      <a:pt x="841" y="352"/>
                    </a:lnTo>
                    <a:lnTo>
                      <a:pt x="860" y="391"/>
                    </a:lnTo>
                    <a:lnTo>
                      <a:pt x="888" y="385"/>
                    </a:lnTo>
                    <a:lnTo>
                      <a:pt x="936" y="409"/>
                    </a:lnTo>
                    <a:lnTo>
                      <a:pt x="958" y="390"/>
                    </a:lnTo>
                    <a:lnTo>
                      <a:pt x="995" y="379"/>
                    </a:lnTo>
                    <a:lnTo>
                      <a:pt x="1026" y="345"/>
                    </a:lnTo>
                    <a:lnTo>
                      <a:pt x="1089" y="352"/>
                    </a:lnTo>
                    <a:lnTo>
                      <a:pt x="1132" y="373"/>
                    </a:lnTo>
                    <a:lnTo>
                      <a:pt x="1141" y="414"/>
                    </a:lnTo>
                    <a:lnTo>
                      <a:pt x="1192" y="434"/>
                    </a:lnTo>
                    <a:lnTo>
                      <a:pt x="1226" y="481"/>
                    </a:lnTo>
                    <a:lnTo>
                      <a:pt x="1256" y="488"/>
                    </a:lnTo>
                    <a:lnTo>
                      <a:pt x="1299" y="470"/>
                    </a:lnTo>
                    <a:lnTo>
                      <a:pt x="1316" y="477"/>
                    </a:lnTo>
                    <a:lnTo>
                      <a:pt x="1363" y="462"/>
                    </a:lnTo>
                    <a:lnTo>
                      <a:pt x="1395" y="464"/>
                    </a:lnTo>
                    <a:lnTo>
                      <a:pt x="1406" y="501"/>
                    </a:lnTo>
                    <a:lnTo>
                      <a:pt x="1390" y="583"/>
                    </a:lnTo>
                    <a:lnTo>
                      <a:pt x="1423" y="649"/>
                    </a:lnTo>
                    <a:lnTo>
                      <a:pt x="1411" y="729"/>
                    </a:lnTo>
                    <a:lnTo>
                      <a:pt x="1304" y="750"/>
                    </a:lnTo>
                    <a:lnTo>
                      <a:pt x="1240" y="716"/>
                    </a:lnTo>
                    <a:lnTo>
                      <a:pt x="1203" y="736"/>
                    </a:lnTo>
                    <a:lnTo>
                      <a:pt x="1055" y="681"/>
                    </a:lnTo>
                    <a:lnTo>
                      <a:pt x="996" y="683"/>
                    </a:lnTo>
                    <a:lnTo>
                      <a:pt x="964" y="701"/>
                    </a:lnTo>
                    <a:lnTo>
                      <a:pt x="873" y="676"/>
                    </a:lnTo>
                    <a:lnTo>
                      <a:pt x="827" y="637"/>
                    </a:lnTo>
                    <a:lnTo>
                      <a:pt x="818" y="593"/>
                    </a:lnTo>
                    <a:lnTo>
                      <a:pt x="736" y="572"/>
                    </a:lnTo>
                    <a:lnTo>
                      <a:pt x="647" y="597"/>
                    </a:lnTo>
                    <a:lnTo>
                      <a:pt x="618" y="570"/>
                    </a:lnTo>
                    <a:lnTo>
                      <a:pt x="531" y="578"/>
                    </a:lnTo>
                    <a:lnTo>
                      <a:pt x="475" y="541"/>
                    </a:lnTo>
                    <a:lnTo>
                      <a:pt x="428" y="541"/>
                    </a:lnTo>
                    <a:lnTo>
                      <a:pt x="395" y="518"/>
                    </a:lnTo>
                    <a:lnTo>
                      <a:pt x="329" y="502"/>
                    </a:lnTo>
                    <a:lnTo>
                      <a:pt x="277" y="439"/>
                    </a:lnTo>
                    <a:lnTo>
                      <a:pt x="198" y="387"/>
                    </a:lnTo>
                    <a:lnTo>
                      <a:pt x="138" y="370"/>
                    </a:lnTo>
                    <a:lnTo>
                      <a:pt x="108" y="348"/>
                    </a:lnTo>
                    <a:lnTo>
                      <a:pt x="77" y="347"/>
                    </a:lnTo>
                    <a:lnTo>
                      <a:pt x="47" y="323"/>
                    </a:lnTo>
                    <a:lnTo>
                      <a:pt x="10" y="320"/>
                    </a:lnTo>
                    <a:lnTo>
                      <a:pt x="0" y="276"/>
                    </a:lnTo>
                    <a:lnTo>
                      <a:pt x="40" y="217"/>
                    </a:lnTo>
                    <a:lnTo>
                      <a:pt x="40" y="160"/>
                    </a:lnTo>
                    <a:lnTo>
                      <a:pt x="67" y="69"/>
                    </a:lnTo>
                    <a:lnTo>
                      <a:pt x="63" y="1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9" name="iSḷîḋè"/>
              <p:cNvSpPr/>
              <p:nvPr/>
            </p:nvSpPr>
            <p:spPr bwMode="auto">
              <a:xfrm>
                <a:off x="1875327" y="3371036"/>
                <a:ext cx="388376" cy="424747"/>
              </a:xfrm>
              <a:custGeom>
                <a:avLst/>
                <a:gdLst>
                  <a:gd name="T0" fmla="*/ 1438 w 2388"/>
                  <a:gd name="T1" fmla="*/ 2528 h 2619"/>
                  <a:gd name="T2" fmla="*/ 1625 w 2388"/>
                  <a:gd name="T3" fmla="*/ 2483 h 2619"/>
                  <a:gd name="T4" fmla="*/ 1732 w 2388"/>
                  <a:gd name="T5" fmla="*/ 2455 h 2619"/>
                  <a:gd name="T6" fmla="*/ 1805 w 2388"/>
                  <a:gd name="T7" fmla="*/ 2424 h 2619"/>
                  <a:gd name="T8" fmla="*/ 1746 w 2388"/>
                  <a:gd name="T9" fmla="*/ 2224 h 2619"/>
                  <a:gd name="T10" fmla="*/ 1627 w 2388"/>
                  <a:gd name="T11" fmla="*/ 2107 h 2619"/>
                  <a:gd name="T12" fmla="*/ 1554 w 2388"/>
                  <a:gd name="T13" fmla="*/ 2021 h 2619"/>
                  <a:gd name="T14" fmla="*/ 1512 w 2388"/>
                  <a:gd name="T15" fmla="*/ 1897 h 2619"/>
                  <a:gd name="T16" fmla="*/ 1623 w 2388"/>
                  <a:gd name="T17" fmla="*/ 1776 h 2619"/>
                  <a:gd name="T18" fmla="*/ 1715 w 2388"/>
                  <a:gd name="T19" fmla="*/ 1814 h 2619"/>
                  <a:gd name="T20" fmla="*/ 1956 w 2388"/>
                  <a:gd name="T21" fmla="*/ 1615 h 2619"/>
                  <a:gd name="T22" fmla="*/ 2101 w 2388"/>
                  <a:gd name="T23" fmla="*/ 1413 h 2619"/>
                  <a:gd name="T24" fmla="*/ 2151 w 2388"/>
                  <a:gd name="T25" fmla="*/ 1294 h 2619"/>
                  <a:gd name="T26" fmla="*/ 2241 w 2388"/>
                  <a:gd name="T27" fmla="*/ 1093 h 2619"/>
                  <a:gd name="T28" fmla="*/ 2300 w 2388"/>
                  <a:gd name="T29" fmla="*/ 953 h 2619"/>
                  <a:gd name="T30" fmla="*/ 2384 w 2388"/>
                  <a:gd name="T31" fmla="*/ 861 h 2619"/>
                  <a:gd name="T32" fmla="*/ 2226 w 2388"/>
                  <a:gd name="T33" fmla="*/ 811 h 2619"/>
                  <a:gd name="T34" fmla="*/ 2031 w 2388"/>
                  <a:gd name="T35" fmla="*/ 664 h 2619"/>
                  <a:gd name="T36" fmla="*/ 2001 w 2388"/>
                  <a:gd name="T37" fmla="*/ 432 h 2619"/>
                  <a:gd name="T38" fmla="*/ 2003 w 2388"/>
                  <a:gd name="T39" fmla="*/ 311 h 2619"/>
                  <a:gd name="T40" fmla="*/ 1867 w 2388"/>
                  <a:gd name="T41" fmla="*/ 166 h 2619"/>
                  <a:gd name="T42" fmla="*/ 1775 w 2388"/>
                  <a:gd name="T43" fmla="*/ 97 h 2619"/>
                  <a:gd name="T44" fmla="*/ 1758 w 2388"/>
                  <a:gd name="T45" fmla="*/ 0 h 2619"/>
                  <a:gd name="T46" fmla="*/ 1585 w 2388"/>
                  <a:gd name="T47" fmla="*/ 109 h 2619"/>
                  <a:gd name="T48" fmla="*/ 1550 w 2388"/>
                  <a:gd name="T49" fmla="*/ 430 h 2619"/>
                  <a:gd name="T50" fmla="*/ 1484 w 2388"/>
                  <a:gd name="T51" fmla="*/ 583 h 2619"/>
                  <a:gd name="T52" fmla="*/ 1435 w 2388"/>
                  <a:gd name="T53" fmla="*/ 650 h 2619"/>
                  <a:gd name="T54" fmla="*/ 1369 w 2388"/>
                  <a:gd name="T55" fmla="*/ 752 h 2619"/>
                  <a:gd name="T56" fmla="*/ 1337 w 2388"/>
                  <a:gd name="T57" fmla="*/ 900 h 2619"/>
                  <a:gd name="T58" fmla="*/ 1269 w 2388"/>
                  <a:gd name="T59" fmla="*/ 1003 h 2619"/>
                  <a:gd name="T60" fmla="*/ 1184 w 2388"/>
                  <a:gd name="T61" fmla="*/ 1011 h 2619"/>
                  <a:gd name="T62" fmla="*/ 1097 w 2388"/>
                  <a:gd name="T63" fmla="*/ 1095 h 2619"/>
                  <a:gd name="T64" fmla="*/ 953 w 2388"/>
                  <a:gd name="T65" fmla="*/ 1142 h 2619"/>
                  <a:gd name="T66" fmla="*/ 879 w 2388"/>
                  <a:gd name="T67" fmla="*/ 1235 h 2619"/>
                  <a:gd name="T68" fmla="*/ 905 w 2388"/>
                  <a:gd name="T69" fmla="*/ 1406 h 2619"/>
                  <a:gd name="T70" fmla="*/ 716 w 2388"/>
                  <a:gd name="T71" fmla="*/ 1473 h 2619"/>
                  <a:gd name="T72" fmla="*/ 490 w 2388"/>
                  <a:gd name="T73" fmla="*/ 1509 h 2619"/>
                  <a:gd name="T74" fmla="*/ 0 w 2388"/>
                  <a:gd name="T75" fmla="*/ 1463 h 2619"/>
                  <a:gd name="T76" fmla="*/ 196 w 2388"/>
                  <a:gd name="T77" fmla="*/ 1691 h 2619"/>
                  <a:gd name="T78" fmla="*/ 305 w 2388"/>
                  <a:gd name="T79" fmla="*/ 1745 h 2619"/>
                  <a:gd name="T80" fmla="*/ 367 w 2388"/>
                  <a:gd name="T81" fmla="*/ 1894 h 2619"/>
                  <a:gd name="T82" fmla="*/ 467 w 2388"/>
                  <a:gd name="T83" fmla="*/ 2018 h 2619"/>
                  <a:gd name="T84" fmla="*/ 299 w 2388"/>
                  <a:gd name="T85" fmla="*/ 2067 h 2619"/>
                  <a:gd name="T86" fmla="*/ 212 w 2388"/>
                  <a:gd name="T87" fmla="*/ 2188 h 2619"/>
                  <a:gd name="T88" fmla="*/ 241 w 2388"/>
                  <a:gd name="T89" fmla="*/ 2317 h 2619"/>
                  <a:gd name="T90" fmla="*/ 344 w 2388"/>
                  <a:gd name="T91" fmla="*/ 2316 h 2619"/>
                  <a:gd name="T92" fmla="*/ 422 w 2388"/>
                  <a:gd name="T93" fmla="*/ 2308 h 2619"/>
                  <a:gd name="T94" fmla="*/ 508 w 2388"/>
                  <a:gd name="T95" fmla="*/ 2308 h 2619"/>
                  <a:gd name="T96" fmla="*/ 583 w 2388"/>
                  <a:gd name="T97" fmla="*/ 2295 h 2619"/>
                  <a:gd name="T98" fmla="*/ 642 w 2388"/>
                  <a:gd name="T99" fmla="*/ 2303 h 2619"/>
                  <a:gd name="T100" fmla="*/ 777 w 2388"/>
                  <a:gd name="T101" fmla="*/ 2282 h 2619"/>
                  <a:gd name="T102" fmla="*/ 863 w 2388"/>
                  <a:gd name="T103" fmla="*/ 2261 h 2619"/>
                  <a:gd name="T104" fmla="*/ 1016 w 2388"/>
                  <a:gd name="T105" fmla="*/ 2261 h 2619"/>
                  <a:gd name="T106" fmla="*/ 1067 w 2388"/>
                  <a:gd name="T107" fmla="*/ 2361 h 2619"/>
                  <a:gd name="T108" fmla="*/ 1138 w 2388"/>
                  <a:gd name="T109" fmla="*/ 2355 h 2619"/>
                  <a:gd name="T110" fmla="*/ 1192 w 2388"/>
                  <a:gd name="T111" fmla="*/ 2500 h 2619"/>
                  <a:gd name="T112" fmla="*/ 1202 w 2388"/>
                  <a:gd name="T113" fmla="*/ 2536 h 2619"/>
                  <a:gd name="T114" fmla="*/ 1354 w 2388"/>
                  <a:gd name="T115" fmla="*/ 2599 h 2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388" h="2619">
                    <a:moveTo>
                      <a:pt x="1378" y="2602"/>
                    </a:moveTo>
                    <a:lnTo>
                      <a:pt x="1380" y="2558"/>
                    </a:lnTo>
                    <a:lnTo>
                      <a:pt x="1416" y="2534"/>
                    </a:lnTo>
                    <a:lnTo>
                      <a:pt x="1438" y="2528"/>
                    </a:lnTo>
                    <a:lnTo>
                      <a:pt x="1454" y="2485"/>
                    </a:lnTo>
                    <a:lnTo>
                      <a:pt x="1479" y="2491"/>
                    </a:lnTo>
                    <a:lnTo>
                      <a:pt x="1508" y="2475"/>
                    </a:lnTo>
                    <a:lnTo>
                      <a:pt x="1625" y="2483"/>
                    </a:lnTo>
                    <a:lnTo>
                      <a:pt x="1693" y="2458"/>
                    </a:lnTo>
                    <a:lnTo>
                      <a:pt x="1706" y="2443"/>
                    </a:lnTo>
                    <a:lnTo>
                      <a:pt x="1745" y="2430"/>
                    </a:lnTo>
                    <a:lnTo>
                      <a:pt x="1732" y="2455"/>
                    </a:lnTo>
                    <a:lnTo>
                      <a:pt x="1747" y="2474"/>
                    </a:lnTo>
                    <a:lnTo>
                      <a:pt x="1787" y="2451"/>
                    </a:lnTo>
                    <a:lnTo>
                      <a:pt x="1818" y="2441"/>
                    </a:lnTo>
                    <a:lnTo>
                      <a:pt x="1805" y="2424"/>
                    </a:lnTo>
                    <a:lnTo>
                      <a:pt x="1810" y="2399"/>
                    </a:lnTo>
                    <a:lnTo>
                      <a:pt x="1771" y="2291"/>
                    </a:lnTo>
                    <a:lnTo>
                      <a:pt x="1738" y="2246"/>
                    </a:lnTo>
                    <a:lnTo>
                      <a:pt x="1746" y="2224"/>
                    </a:lnTo>
                    <a:lnTo>
                      <a:pt x="1724" y="2203"/>
                    </a:lnTo>
                    <a:lnTo>
                      <a:pt x="1690" y="2206"/>
                    </a:lnTo>
                    <a:lnTo>
                      <a:pt x="1634" y="2170"/>
                    </a:lnTo>
                    <a:lnTo>
                      <a:pt x="1627" y="2107"/>
                    </a:lnTo>
                    <a:lnTo>
                      <a:pt x="1629" y="2065"/>
                    </a:lnTo>
                    <a:lnTo>
                      <a:pt x="1605" y="2012"/>
                    </a:lnTo>
                    <a:lnTo>
                      <a:pt x="1573" y="2011"/>
                    </a:lnTo>
                    <a:lnTo>
                      <a:pt x="1554" y="2021"/>
                    </a:lnTo>
                    <a:lnTo>
                      <a:pt x="1514" y="2008"/>
                    </a:lnTo>
                    <a:lnTo>
                      <a:pt x="1485" y="2009"/>
                    </a:lnTo>
                    <a:lnTo>
                      <a:pt x="1485" y="1966"/>
                    </a:lnTo>
                    <a:lnTo>
                      <a:pt x="1512" y="1897"/>
                    </a:lnTo>
                    <a:lnTo>
                      <a:pt x="1539" y="1887"/>
                    </a:lnTo>
                    <a:lnTo>
                      <a:pt x="1584" y="1823"/>
                    </a:lnTo>
                    <a:lnTo>
                      <a:pt x="1591" y="1793"/>
                    </a:lnTo>
                    <a:lnTo>
                      <a:pt x="1623" y="1776"/>
                    </a:lnTo>
                    <a:lnTo>
                      <a:pt x="1646" y="1761"/>
                    </a:lnTo>
                    <a:lnTo>
                      <a:pt x="1683" y="1776"/>
                    </a:lnTo>
                    <a:lnTo>
                      <a:pt x="1690" y="1810"/>
                    </a:lnTo>
                    <a:lnTo>
                      <a:pt x="1715" y="1814"/>
                    </a:lnTo>
                    <a:lnTo>
                      <a:pt x="1779" y="1782"/>
                    </a:lnTo>
                    <a:lnTo>
                      <a:pt x="1869" y="1776"/>
                    </a:lnTo>
                    <a:lnTo>
                      <a:pt x="1923" y="1716"/>
                    </a:lnTo>
                    <a:lnTo>
                      <a:pt x="1956" y="1615"/>
                    </a:lnTo>
                    <a:lnTo>
                      <a:pt x="2035" y="1560"/>
                    </a:lnTo>
                    <a:lnTo>
                      <a:pt x="2055" y="1523"/>
                    </a:lnTo>
                    <a:lnTo>
                      <a:pt x="2063" y="1467"/>
                    </a:lnTo>
                    <a:lnTo>
                      <a:pt x="2101" y="1413"/>
                    </a:lnTo>
                    <a:lnTo>
                      <a:pt x="2156" y="1386"/>
                    </a:lnTo>
                    <a:lnTo>
                      <a:pt x="2175" y="1344"/>
                    </a:lnTo>
                    <a:lnTo>
                      <a:pt x="2173" y="1312"/>
                    </a:lnTo>
                    <a:lnTo>
                      <a:pt x="2151" y="1294"/>
                    </a:lnTo>
                    <a:lnTo>
                      <a:pt x="2201" y="1240"/>
                    </a:lnTo>
                    <a:lnTo>
                      <a:pt x="2227" y="1219"/>
                    </a:lnTo>
                    <a:lnTo>
                      <a:pt x="2233" y="1178"/>
                    </a:lnTo>
                    <a:lnTo>
                      <a:pt x="2241" y="1093"/>
                    </a:lnTo>
                    <a:lnTo>
                      <a:pt x="2224" y="1030"/>
                    </a:lnTo>
                    <a:lnTo>
                      <a:pt x="2214" y="1016"/>
                    </a:lnTo>
                    <a:lnTo>
                      <a:pt x="2268" y="964"/>
                    </a:lnTo>
                    <a:lnTo>
                      <a:pt x="2300" y="953"/>
                    </a:lnTo>
                    <a:lnTo>
                      <a:pt x="2332" y="931"/>
                    </a:lnTo>
                    <a:lnTo>
                      <a:pt x="2354" y="936"/>
                    </a:lnTo>
                    <a:lnTo>
                      <a:pt x="2388" y="898"/>
                    </a:lnTo>
                    <a:lnTo>
                      <a:pt x="2384" y="861"/>
                    </a:lnTo>
                    <a:lnTo>
                      <a:pt x="2340" y="850"/>
                    </a:lnTo>
                    <a:lnTo>
                      <a:pt x="2298" y="866"/>
                    </a:lnTo>
                    <a:lnTo>
                      <a:pt x="2247" y="854"/>
                    </a:lnTo>
                    <a:lnTo>
                      <a:pt x="2226" y="811"/>
                    </a:lnTo>
                    <a:lnTo>
                      <a:pt x="2166" y="787"/>
                    </a:lnTo>
                    <a:lnTo>
                      <a:pt x="2102" y="771"/>
                    </a:lnTo>
                    <a:lnTo>
                      <a:pt x="2040" y="715"/>
                    </a:lnTo>
                    <a:lnTo>
                      <a:pt x="2031" y="664"/>
                    </a:lnTo>
                    <a:lnTo>
                      <a:pt x="2004" y="548"/>
                    </a:lnTo>
                    <a:lnTo>
                      <a:pt x="1974" y="498"/>
                    </a:lnTo>
                    <a:lnTo>
                      <a:pt x="1973" y="444"/>
                    </a:lnTo>
                    <a:lnTo>
                      <a:pt x="2001" y="432"/>
                    </a:lnTo>
                    <a:lnTo>
                      <a:pt x="2005" y="397"/>
                    </a:lnTo>
                    <a:lnTo>
                      <a:pt x="2054" y="366"/>
                    </a:lnTo>
                    <a:lnTo>
                      <a:pt x="2053" y="324"/>
                    </a:lnTo>
                    <a:lnTo>
                      <a:pt x="2003" y="311"/>
                    </a:lnTo>
                    <a:lnTo>
                      <a:pt x="1993" y="276"/>
                    </a:lnTo>
                    <a:lnTo>
                      <a:pt x="1948" y="249"/>
                    </a:lnTo>
                    <a:lnTo>
                      <a:pt x="1901" y="209"/>
                    </a:lnTo>
                    <a:lnTo>
                      <a:pt x="1867" y="166"/>
                    </a:lnTo>
                    <a:lnTo>
                      <a:pt x="1832" y="178"/>
                    </a:lnTo>
                    <a:lnTo>
                      <a:pt x="1807" y="188"/>
                    </a:lnTo>
                    <a:lnTo>
                      <a:pt x="1782" y="165"/>
                    </a:lnTo>
                    <a:lnTo>
                      <a:pt x="1775" y="97"/>
                    </a:lnTo>
                    <a:lnTo>
                      <a:pt x="1857" y="41"/>
                    </a:lnTo>
                    <a:lnTo>
                      <a:pt x="1846" y="12"/>
                    </a:lnTo>
                    <a:lnTo>
                      <a:pt x="1798" y="22"/>
                    </a:lnTo>
                    <a:lnTo>
                      <a:pt x="1758" y="0"/>
                    </a:lnTo>
                    <a:lnTo>
                      <a:pt x="1701" y="30"/>
                    </a:lnTo>
                    <a:lnTo>
                      <a:pt x="1659" y="67"/>
                    </a:lnTo>
                    <a:lnTo>
                      <a:pt x="1612" y="67"/>
                    </a:lnTo>
                    <a:lnTo>
                      <a:pt x="1585" y="109"/>
                    </a:lnTo>
                    <a:lnTo>
                      <a:pt x="1553" y="141"/>
                    </a:lnTo>
                    <a:lnTo>
                      <a:pt x="1627" y="250"/>
                    </a:lnTo>
                    <a:lnTo>
                      <a:pt x="1632" y="324"/>
                    </a:lnTo>
                    <a:lnTo>
                      <a:pt x="1550" y="430"/>
                    </a:lnTo>
                    <a:lnTo>
                      <a:pt x="1592" y="469"/>
                    </a:lnTo>
                    <a:lnTo>
                      <a:pt x="1592" y="516"/>
                    </a:lnTo>
                    <a:lnTo>
                      <a:pt x="1548" y="583"/>
                    </a:lnTo>
                    <a:lnTo>
                      <a:pt x="1484" y="583"/>
                    </a:lnTo>
                    <a:lnTo>
                      <a:pt x="1422" y="558"/>
                    </a:lnTo>
                    <a:lnTo>
                      <a:pt x="1381" y="585"/>
                    </a:lnTo>
                    <a:lnTo>
                      <a:pt x="1399" y="629"/>
                    </a:lnTo>
                    <a:lnTo>
                      <a:pt x="1435" y="650"/>
                    </a:lnTo>
                    <a:lnTo>
                      <a:pt x="1456" y="696"/>
                    </a:lnTo>
                    <a:lnTo>
                      <a:pt x="1448" y="726"/>
                    </a:lnTo>
                    <a:lnTo>
                      <a:pt x="1407" y="748"/>
                    </a:lnTo>
                    <a:lnTo>
                      <a:pt x="1369" y="752"/>
                    </a:lnTo>
                    <a:lnTo>
                      <a:pt x="1356" y="776"/>
                    </a:lnTo>
                    <a:lnTo>
                      <a:pt x="1351" y="837"/>
                    </a:lnTo>
                    <a:lnTo>
                      <a:pt x="1339" y="876"/>
                    </a:lnTo>
                    <a:lnTo>
                      <a:pt x="1337" y="900"/>
                    </a:lnTo>
                    <a:lnTo>
                      <a:pt x="1325" y="915"/>
                    </a:lnTo>
                    <a:lnTo>
                      <a:pt x="1339" y="990"/>
                    </a:lnTo>
                    <a:lnTo>
                      <a:pt x="1302" y="1045"/>
                    </a:lnTo>
                    <a:lnTo>
                      <a:pt x="1269" y="1003"/>
                    </a:lnTo>
                    <a:lnTo>
                      <a:pt x="1249" y="1003"/>
                    </a:lnTo>
                    <a:lnTo>
                      <a:pt x="1246" y="1027"/>
                    </a:lnTo>
                    <a:lnTo>
                      <a:pt x="1204" y="1024"/>
                    </a:lnTo>
                    <a:lnTo>
                      <a:pt x="1184" y="1011"/>
                    </a:lnTo>
                    <a:lnTo>
                      <a:pt x="1144" y="1015"/>
                    </a:lnTo>
                    <a:lnTo>
                      <a:pt x="1133" y="1036"/>
                    </a:lnTo>
                    <a:lnTo>
                      <a:pt x="1068" y="1086"/>
                    </a:lnTo>
                    <a:lnTo>
                      <a:pt x="1097" y="1095"/>
                    </a:lnTo>
                    <a:lnTo>
                      <a:pt x="1077" y="1120"/>
                    </a:lnTo>
                    <a:lnTo>
                      <a:pt x="1015" y="1147"/>
                    </a:lnTo>
                    <a:lnTo>
                      <a:pt x="994" y="1134"/>
                    </a:lnTo>
                    <a:lnTo>
                      <a:pt x="953" y="1142"/>
                    </a:lnTo>
                    <a:lnTo>
                      <a:pt x="941" y="1169"/>
                    </a:lnTo>
                    <a:lnTo>
                      <a:pt x="934" y="1196"/>
                    </a:lnTo>
                    <a:lnTo>
                      <a:pt x="901" y="1207"/>
                    </a:lnTo>
                    <a:lnTo>
                      <a:pt x="879" y="1235"/>
                    </a:lnTo>
                    <a:lnTo>
                      <a:pt x="881" y="1282"/>
                    </a:lnTo>
                    <a:lnTo>
                      <a:pt x="894" y="1338"/>
                    </a:lnTo>
                    <a:lnTo>
                      <a:pt x="891" y="1373"/>
                    </a:lnTo>
                    <a:lnTo>
                      <a:pt x="905" y="1406"/>
                    </a:lnTo>
                    <a:lnTo>
                      <a:pt x="898" y="1438"/>
                    </a:lnTo>
                    <a:lnTo>
                      <a:pt x="830" y="1467"/>
                    </a:lnTo>
                    <a:lnTo>
                      <a:pt x="770" y="1466"/>
                    </a:lnTo>
                    <a:lnTo>
                      <a:pt x="716" y="1473"/>
                    </a:lnTo>
                    <a:lnTo>
                      <a:pt x="624" y="1478"/>
                    </a:lnTo>
                    <a:lnTo>
                      <a:pt x="565" y="1494"/>
                    </a:lnTo>
                    <a:lnTo>
                      <a:pt x="543" y="1511"/>
                    </a:lnTo>
                    <a:lnTo>
                      <a:pt x="490" y="1509"/>
                    </a:lnTo>
                    <a:lnTo>
                      <a:pt x="432" y="1525"/>
                    </a:lnTo>
                    <a:lnTo>
                      <a:pt x="234" y="1529"/>
                    </a:lnTo>
                    <a:lnTo>
                      <a:pt x="1" y="1463"/>
                    </a:lnTo>
                    <a:lnTo>
                      <a:pt x="0" y="1463"/>
                    </a:lnTo>
                    <a:lnTo>
                      <a:pt x="89" y="1582"/>
                    </a:lnTo>
                    <a:lnTo>
                      <a:pt x="108" y="1621"/>
                    </a:lnTo>
                    <a:lnTo>
                      <a:pt x="153" y="1669"/>
                    </a:lnTo>
                    <a:lnTo>
                      <a:pt x="196" y="1691"/>
                    </a:lnTo>
                    <a:lnTo>
                      <a:pt x="210" y="1709"/>
                    </a:lnTo>
                    <a:lnTo>
                      <a:pt x="268" y="1714"/>
                    </a:lnTo>
                    <a:lnTo>
                      <a:pt x="300" y="1726"/>
                    </a:lnTo>
                    <a:lnTo>
                      <a:pt x="305" y="1745"/>
                    </a:lnTo>
                    <a:lnTo>
                      <a:pt x="351" y="1750"/>
                    </a:lnTo>
                    <a:lnTo>
                      <a:pt x="352" y="1807"/>
                    </a:lnTo>
                    <a:lnTo>
                      <a:pt x="364" y="1847"/>
                    </a:lnTo>
                    <a:lnTo>
                      <a:pt x="367" y="1894"/>
                    </a:lnTo>
                    <a:lnTo>
                      <a:pt x="376" y="1924"/>
                    </a:lnTo>
                    <a:lnTo>
                      <a:pt x="418" y="1922"/>
                    </a:lnTo>
                    <a:lnTo>
                      <a:pt x="462" y="1952"/>
                    </a:lnTo>
                    <a:lnTo>
                      <a:pt x="467" y="2018"/>
                    </a:lnTo>
                    <a:lnTo>
                      <a:pt x="442" y="2042"/>
                    </a:lnTo>
                    <a:lnTo>
                      <a:pt x="398" y="2024"/>
                    </a:lnTo>
                    <a:lnTo>
                      <a:pt x="315" y="2049"/>
                    </a:lnTo>
                    <a:lnTo>
                      <a:pt x="299" y="2067"/>
                    </a:lnTo>
                    <a:lnTo>
                      <a:pt x="246" y="2089"/>
                    </a:lnTo>
                    <a:lnTo>
                      <a:pt x="229" y="2122"/>
                    </a:lnTo>
                    <a:lnTo>
                      <a:pt x="238" y="2152"/>
                    </a:lnTo>
                    <a:lnTo>
                      <a:pt x="212" y="2188"/>
                    </a:lnTo>
                    <a:lnTo>
                      <a:pt x="228" y="2230"/>
                    </a:lnTo>
                    <a:lnTo>
                      <a:pt x="220" y="2289"/>
                    </a:lnTo>
                    <a:lnTo>
                      <a:pt x="221" y="2317"/>
                    </a:lnTo>
                    <a:lnTo>
                      <a:pt x="241" y="2317"/>
                    </a:lnTo>
                    <a:lnTo>
                      <a:pt x="240" y="2342"/>
                    </a:lnTo>
                    <a:lnTo>
                      <a:pt x="255" y="2349"/>
                    </a:lnTo>
                    <a:lnTo>
                      <a:pt x="305" y="2319"/>
                    </a:lnTo>
                    <a:lnTo>
                      <a:pt x="344" y="2316"/>
                    </a:lnTo>
                    <a:lnTo>
                      <a:pt x="346" y="2332"/>
                    </a:lnTo>
                    <a:lnTo>
                      <a:pt x="360" y="2326"/>
                    </a:lnTo>
                    <a:lnTo>
                      <a:pt x="385" y="2306"/>
                    </a:lnTo>
                    <a:lnTo>
                      <a:pt x="422" y="2308"/>
                    </a:lnTo>
                    <a:lnTo>
                      <a:pt x="439" y="2314"/>
                    </a:lnTo>
                    <a:lnTo>
                      <a:pt x="468" y="2306"/>
                    </a:lnTo>
                    <a:lnTo>
                      <a:pt x="489" y="2308"/>
                    </a:lnTo>
                    <a:lnTo>
                      <a:pt x="508" y="2308"/>
                    </a:lnTo>
                    <a:lnTo>
                      <a:pt x="511" y="2290"/>
                    </a:lnTo>
                    <a:lnTo>
                      <a:pt x="526" y="2272"/>
                    </a:lnTo>
                    <a:lnTo>
                      <a:pt x="560" y="2295"/>
                    </a:lnTo>
                    <a:lnTo>
                      <a:pt x="583" y="2295"/>
                    </a:lnTo>
                    <a:lnTo>
                      <a:pt x="586" y="2280"/>
                    </a:lnTo>
                    <a:lnTo>
                      <a:pt x="605" y="2284"/>
                    </a:lnTo>
                    <a:lnTo>
                      <a:pt x="615" y="2303"/>
                    </a:lnTo>
                    <a:lnTo>
                      <a:pt x="642" y="2303"/>
                    </a:lnTo>
                    <a:lnTo>
                      <a:pt x="665" y="2320"/>
                    </a:lnTo>
                    <a:lnTo>
                      <a:pt x="693" y="2320"/>
                    </a:lnTo>
                    <a:lnTo>
                      <a:pt x="731" y="2282"/>
                    </a:lnTo>
                    <a:lnTo>
                      <a:pt x="777" y="2282"/>
                    </a:lnTo>
                    <a:lnTo>
                      <a:pt x="804" y="2290"/>
                    </a:lnTo>
                    <a:lnTo>
                      <a:pt x="830" y="2274"/>
                    </a:lnTo>
                    <a:lnTo>
                      <a:pt x="858" y="2274"/>
                    </a:lnTo>
                    <a:lnTo>
                      <a:pt x="863" y="2261"/>
                    </a:lnTo>
                    <a:lnTo>
                      <a:pt x="875" y="2271"/>
                    </a:lnTo>
                    <a:lnTo>
                      <a:pt x="924" y="2277"/>
                    </a:lnTo>
                    <a:lnTo>
                      <a:pt x="965" y="2262"/>
                    </a:lnTo>
                    <a:lnTo>
                      <a:pt x="1016" y="2261"/>
                    </a:lnTo>
                    <a:lnTo>
                      <a:pt x="1053" y="2289"/>
                    </a:lnTo>
                    <a:lnTo>
                      <a:pt x="1067" y="2327"/>
                    </a:lnTo>
                    <a:lnTo>
                      <a:pt x="1062" y="2355"/>
                    </a:lnTo>
                    <a:lnTo>
                      <a:pt x="1067" y="2361"/>
                    </a:lnTo>
                    <a:lnTo>
                      <a:pt x="1059" y="2364"/>
                    </a:lnTo>
                    <a:lnTo>
                      <a:pt x="1059" y="2377"/>
                    </a:lnTo>
                    <a:lnTo>
                      <a:pt x="1088" y="2378"/>
                    </a:lnTo>
                    <a:lnTo>
                      <a:pt x="1138" y="2355"/>
                    </a:lnTo>
                    <a:lnTo>
                      <a:pt x="1137" y="2390"/>
                    </a:lnTo>
                    <a:lnTo>
                      <a:pt x="1175" y="2433"/>
                    </a:lnTo>
                    <a:lnTo>
                      <a:pt x="1184" y="2494"/>
                    </a:lnTo>
                    <a:lnTo>
                      <a:pt x="1192" y="2500"/>
                    </a:lnTo>
                    <a:lnTo>
                      <a:pt x="1189" y="2524"/>
                    </a:lnTo>
                    <a:lnTo>
                      <a:pt x="1177" y="2532"/>
                    </a:lnTo>
                    <a:lnTo>
                      <a:pt x="1187" y="2536"/>
                    </a:lnTo>
                    <a:lnTo>
                      <a:pt x="1202" y="2536"/>
                    </a:lnTo>
                    <a:lnTo>
                      <a:pt x="1213" y="2572"/>
                    </a:lnTo>
                    <a:lnTo>
                      <a:pt x="1244" y="2570"/>
                    </a:lnTo>
                    <a:lnTo>
                      <a:pt x="1293" y="2569"/>
                    </a:lnTo>
                    <a:lnTo>
                      <a:pt x="1354" y="2599"/>
                    </a:lnTo>
                    <a:lnTo>
                      <a:pt x="1350" y="2619"/>
                    </a:lnTo>
                    <a:lnTo>
                      <a:pt x="1378" y="260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0" name="ïṣ1ïḍé"/>
              <p:cNvSpPr/>
              <p:nvPr/>
            </p:nvSpPr>
            <p:spPr bwMode="auto">
              <a:xfrm>
                <a:off x="2163685" y="3348956"/>
                <a:ext cx="203931" cy="167560"/>
              </a:xfrm>
              <a:custGeom>
                <a:avLst/>
                <a:gdLst>
                  <a:gd name="T0" fmla="*/ 623 w 1252"/>
                  <a:gd name="T1" fmla="*/ 1018 h 1030"/>
                  <a:gd name="T2" fmla="*/ 724 w 1252"/>
                  <a:gd name="T3" fmla="*/ 889 h 1030"/>
                  <a:gd name="T4" fmla="*/ 789 w 1252"/>
                  <a:gd name="T5" fmla="*/ 846 h 1030"/>
                  <a:gd name="T6" fmla="*/ 919 w 1252"/>
                  <a:gd name="T7" fmla="*/ 908 h 1030"/>
                  <a:gd name="T8" fmla="*/ 1014 w 1252"/>
                  <a:gd name="T9" fmla="*/ 900 h 1030"/>
                  <a:gd name="T10" fmla="*/ 1075 w 1252"/>
                  <a:gd name="T11" fmla="*/ 944 h 1030"/>
                  <a:gd name="T12" fmla="*/ 1195 w 1252"/>
                  <a:gd name="T13" fmla="*/ 934 h 1030"/>
                  <a:gd name="T14" fmla="*/ 1229 w 1252"/>
                  <a:gd name="T15" fmla="*/ 968 h 1030"/>
                  <a:gd name="T16" fmla="*/ 1241 w 1252"/>
                  <a:gd name="T17" fmla="*/ 870 h 1030"/>
                  <a:gd name="T18" fmla="*/ 1177 w 1252"/>
                  <a:gd name="T19" fmla="*/ 784 h 1030"/>
                  <a:gd name="T20" fmla="*/ 1147 w 1252"/>
                  <a:gd name="T21" fmla="*/ 626 h 1030"/>
                  <a:gd name="T22" fmla="*/ 1064 w 1252"/>
                  <a:gd name="T23" fmla="*/ 555 h 1030"/>
                  <a:gd name="T24" fmla="*/ 990 w 1252"/>
                  <a:gd name="T25" fmla="*/ 419 h 1030"/>
                  <a:gd name="T26" fmla="*/ 869 w 1252"/>
                  <a:gd name="T27" fmla="*/ 367 h 1030"/>
                  <a:gd name="T28" fmla="*/ 828 w 1252"/>
                  <a:gd name="T29" fmla="*/ 319 h 1030"/>
                  <a:gd name="T30" fmla="*/ 692 w 1252"/>
                  <a:gd name="T31" fmla="*/ 311 h 1030"/>
                  <a:gd name="T32" fmla="*/ 645 w 1252"/>
                  <a:gd name="T33" fmla="*/ 267 h 1030"/>
                  <a:gd name="T34" fmla="*/ 598 w 1252"/>
                  <a:gd name="T35" fmla="*/ 191 h 1030"/>
                  <a:gd name="T36" fmla="*/ 502 w 1252"/>
                  <a:gd name="T37" fmla="*/ 25 h 1030"/>
                  <a:gd name="T38" fmla="*/ 455 w 1252"/>
                  <a:gd name="T39" fmla="*/ 0 h 1030"/>
                  <a:gd name="T40" fmla="*/ 420 w 1252"/>
                  <a:gd name="T41" fmla="*/ 30 h 1030"/>
                  <a:gd name="T42" fmla="*/ 374 w 1252"/>
                  <a:gd name="T43" fmla="*/ 41 h 1030"/>
                  <a:gd name="T44" fmla="*/ 318 w 1252"/>
                  <a:gd name="T45" fmla="*/ 18 h 1030"/>
                  <a:gd name="T46" fmla="*/ 304 w 1252"/>
                  <a:gd name="T47" fmla="*/ 28 h 1030"/>
                  <a:gd name="T48" fmla="*/ 193 w 1252"/>
                  <a:gd name="T49" fmla="*/ 120 h 1030"/>
                  <a:gd name="T50" fmla="*/ 82 w 1252"/>
                  <a:gd name="T51" fmla="*/ 173 h 1030"/>
                  <a:gd name="T52" fmla="*/ 7 w 1252"/>
                  <a:gd name="T53" fmla="*/ 297 h 1030"/>
                  <a:gd name="T54" fmla="*/ 57 w 1252"/>
                  <a:gd name="T55" fmla="*/ 310 h 1030"/>
                  <a:gd name="T56" fmla="*/ 126 w 1252"/>
                  <a:gd name="T57" fmla="*/ 341 h 1030"/>
                  <a:gd name="T58" fmla="*/ 218 w 1252"/>
                  <a:gd name="T59" fmla="*/ 408 h 1030"/>
                  <a:gd name="T60" fmla="*/ 278 w 1252"/>
                  <a:gd name="T61" fmla="*/ 456 h 1030"/>
                  <a:gd name="T62" fmla="*/ 230 w 1252"/>
                  <a:gd name="T63" fmla="*/ 529 h 1030"/>
                  <a:gd name="T64" fmla="*/ 198 w 1252"/>
                  <a:gd name="T65" fmla="*/ 576 h 1030"/>
                  <a:gd name="T66" fmla="*/ 229 w 1252"/>
                  <a:gd name="T67" fmla="*/ 680 h 1030"/>
                  <a:gd name="T68" fmla="*/ 265 w 1252"/>
                  <a:gd name="T69" fmla="*/ 847 h 1030"/>
                  <a:gd name="T70" fmla="*/ 391 w 1252"/>
                  <a:gd name="T71" fmla="*/ 919 h 1030"/>
                  <a:gd name="T72" fmla="*/ 472 w 1252"/>
                  <a:gd name="T73" fmla="*/ 986 h 1030"/>
                  <a:gd name="T74" fmla="*/ 565 w 1252"/>
                  <a:gd name="T75" fmla="*/ 982 h 1030"/>
                  <a:gd name="T76" fmla="*/ 613 w 1252"/>
                  <a:gd name="T77" fmla="*/ 1030 h 10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52" h="1030">
                    <a:moveTo>
                      <a:pt x="613" y="1030"/>
                    </a:moveTo>
                    <a:lnTo>
                      <a:pt x="623" y="1018"/>
                    </a:lnTo>
                    <a:lnTo>
                      <a:pt x="673" y="934"/>
                    </a:lnTo>
                    <a:lnTo>
                      <a:pt x="724" y="889"/>
                    </a:lnTo>
                    <a:lnTo>
                      <a:pt x="767" y="887"/>
                    </a:lnTo>
                    <a:lnTo>
                      <a:pt x="789" y="846"/>
                    </a:lnTo>
                    <a:lnTo>
                      <a:pt x="825" y="846"/>
                    </a:lnTo>
                    <a:lnTo>
                      <a:pt x="919" y="908"/>
                    </a:lnTo>
                    <a:lnTo>
                      <a:pt x="968" y="882"/>
                    </a:lnTo>
                    <a:lnTo>
                      <a:pt x="1014" y="900"/>
                    </a:lnTo>
                    <a:lnTo>
                      <a:pt x="1032" y="946"/>
                    </a:lnTo>
                    <a:lnTo>
                      <a:pt x="1075" y="944"/>
                    </a:lnTo>
                    <a:lnTo>
                      <a:pt x="1144" y="987"/>
                    </a:lnTo>
                    <a:lnTo>
                      <a:pt x="1195" y="934"/>
                    </a:lnTo>
                    <a:lnTo>
                      <a:pt x="1223" y="944"/>
                    </a:lnTo>
                    <a:lnTo>
                      <a:pt x="1229" y="968"/>
                    </a:lnTo>
                    <a:lnTo>
                      <a:pt x="1252" y="932"/>
                    </a:lnTo>
                    <a:lnTo>
                      <a:pt x="1241" y="870"/>
                    </a:lnTo>
                    <a:lnTo>
                      <a:pt x="1221" y="795"/>
                    </a:lnTo>
                    <a:lnTo>
                      <a:pt x="1177" y="784"/>
                    </a:lnTo>
                    <a:lnTo>
                      <a:pt x="1143" y="708"/>
                    </a:lnTo>
                    <a:lnTo>
                      <a:pt x="1147" y="626"/>
                    </a:lnTo>
                    <a:lnTo>
                      <a:pt x="1122" y="582"/>
                    </a:lnTo>
                    <a:lnTo>
                      <a:pt x="1064" y="555"/>
                    </a:lnTo>
                    <a:lnTo>
                      <a:pt x="1020" y="502"/>
                    </a:lnTo>
                    <a:lnTo>
                      <a:pt x="990" y="419"/>
                    </a:lnTo>
                    <a:lnTo>
                      <a:pt x="934" y="389"/>
                    </a:lnTo>
                    <a:lnTo>
                      <a:pt x="869" y="367"/>
                    </a:lnTo>
                    <a:lnTo>
                      <a:pt x="860" y="327"/>
                    </a:lnTo>
                    <a:lnTo>
                      <a:pt x="828" y="319"/>
                    </a:lnTo>
                    <a:lnTo>
                      <a:pt x="761" y="320"/>
                    </a:lnTo>
                    <a:lnTo>
                      <a:pt x="692" y="311"/>
                    </a:lnTo>
                    <a:lnTo>
                      <a:pt x="674" y="288"/>
                    </a:lnTo>
                    <a:lnTo>
                      <a:pt x="645" y="267"/>
                    </a:lnTo>
                    <a:lnTo>
                      <a:pt x="644" y="222"/>
                    </a:lnTo>
                    <a:lnTo>
                      <a:pt x="598" y="191"/>
                    </a:lnTo>
                    <a:lnTo>
                      <a:pt x="520" y="80"/>
                    </a:lnTo>
                    <a:lnTo>
                      <a:pt x="502" y="25"/>
                    </a:lnTo>
                    <a:lnTo>
                      <a:pt x="476" y="1"/>
                    </a:lnTo>
                    <a:lnTo>
                      <a:pt x="455" y="0"/>
                    </a:lnTo>
                    <a:lnTo>
                      <a:pt x="439" y="17"/>
                    </a:lnTo>
                    <a:lnTo>
                      <a:pt x="420" y="30"/>
                    </a:lnTo>
                    <a:lnTo>
                      <a:pt x="391" y="27"/>
                    </a:lnTo>
                    <a:lnTo>
                      <a:pt x="374" y="41"/>
                    </a:lnTo>
                    <a:lnTo>
                      <a:pt x="341" y="12"/>
                    </a:lnTo>
                    <a:lnTo>
                      <a:pt x="318" y="18"/>
                    </a:lnTo>
                    <a:lnTo>
                      <a:pt x="302" y="27"/>
                    </a:lnTo>
                    <a:lnTo>
                      <a:pt x="304" y="28"/>
                    </a:lnTo>
                    <a:lnTo>
                      <a:pt x="269" y="88"/>
                    </a:lnTo>
                    <a:lnTo>
                      <a:pt x="193" y="120"/>
                    </a:lnTo>
                    <a:lnTo>
                      <a:pt x="71" y="144"/>
                    </a:lnTo>
                    <a:lnTo>
                      <a:pt x="82" y="173"/>
                    </a:lnTo>
                    <a:lnTo>
                      <a:pt x="0" y="229"/>
                    </a:lnTo>
                    <a:lnTo>
                      <a:pt x="7" y="297"/>
                    </a:lnTo>
                    <a:lnTo>
                      <a:pt x="32" y="320"/>
                    </a:lnTo>
                    <a:lnTo>
                      <a:pt x="57" y="310"/>
                    </a:lnTo>
                    <a:lnTo>
                      <a:pt x="92" y="298"/>
                    </a:lnTo>
                    <a:lnTo>
                      <a:pt x="126" y="341"/>
                    </a:lnTo>
                    <a:lnTo>
                      <a:pt x="173" y="381"/>
                    </a:lnTo>
                    <a:lnTo>
                      <a:pt x="218" y="408"/>
                    </a:lnTo>
                    <a:lnTo>
                      <a:pt x="228" y="443"/>
                    </a:lnTo>
                    <a:lnTo>
                      <a:pt x="278" y="456"/>
                    </a:lnTo>
                    <a:lnTo>
                      <a:pt x="279" y="498"/>
                    </a:lnTo>
                    <a:lnTo>
                      <a:pt x="230" y="529"/>
                    </a:lnTo>
                    <a:lnTo>
                      <a:pt x="226" y="564"/>
                    </a:lnTo>
                    <a:lnTo>
                      <a:pt x="198" y="576"/>
                    </a:lnTo>
                    <a:lnTo>
                      <a:pt x="199" y="630"/>
                    </a:lnTo>
                    <a:lnTo>
                      <a:pt x="229" y="680"/>
                    </a:lnTo>
                    <a:lnTo>
                      <a:pt x="256" y="796"/>
                    </a:lnTo>
                    <a:lnTo>
                      <a:pt x="265" y="847"/>
                    </a:lnTo>
                    <a:lnTo>
                      <a:pt x="327" y="903"/>
                    </a:lnTo>
                    <a:lnTo>
                      <a:pt x="391" y="919"/>
                    </a:lnTo>
                    <a:lnTo>
                      <a:pt x="451" y="943"/>
                    </a:lnTo>
                    <a:lnTo>
                      <a:pt x="472" y="986"/>
                    </a:lnTo>
                    <a:lnTo>
                      <a:pt x="523" y="998"/>
                    </a:lnTo>
                    <a:lnTo>
                      <a:pt x="565" y="982"/>
                    </a:lnTo>
                    <a:lnTo>
                      <a:pt x="609" y="993"/>
                    </a:lnTo>
                    <a:lnTo>
                      <a:pt x="613" y="103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1" name="ïṣḻíḋê"/>
              <p:cNvSpPr/>
              <p:nvPr/>
            </p:nvSpPr>
            <p:spPr bwMode="auto">
              <a:xfrm>
                <a:off x="1848050" y="3311288"/>
                <a:ext cx="368892" cy="307843"/>
              </a:xfrm>
              <a:custGeom>
                <a:avLst/>
                <a:gdLst>
                  <a:gd name="T0" fmla="*/ 2098 w 2274"/>
                  <a:gd name="T1" fmla="*/ 177 h 1892"/>
                  <a:gd name="T2" fmla="*/ 2193 w 2274"/>
                  <a:gd name="T3" fmla="*/ 178 h 1892"/>
                  <a:gd name="T4" fmla="*/ 2222 w 2274"/>
                  <a:gd name="T5" fmla="*/ 252 h 1892"/>
                  <a:gd name="T6" fmla="*/ 2138 w 2274"/>
                  <a:gd name="T7" fmla="*/ 351 h 1892"/>
                  <a:gd name="T8" fmla="*/ 1871 w 2274"/>
                  <a:gd name="T9" fmla="*/ 393 h 1892"/>
                  <a:gd name="T10" fmla="*/ 1755 w 2274"/>
                  <a:gd name="T11" fmla="*/ 472 h 1892"/>
                  <a:gd name="T12" fmla="*/ 1802 w 2274"/>
                  <a:gd name="T13" fmla="*/ 687 h 1892"/>
                  <a:gd name="T14" fmla="*/ 1762 w 2274"/>
                  <a:gd name="T15" fmla="*/ 879 h 1892"/>
                  <a:gd name="T16" fmla="*/ 1592 w 2274"/>
                  <a:gd name="T17" fmla="*/ 921 h 1892"/>
                  <a:gd name="T18" fmla="*/ 1605 w 2274"/>
                  <a:gd name="T19" fmla="*/ 1013 h 1892"/>
                  <a:gd name="T20" fmla="*/ 1577 w 2274"/>
                  <a:gd name="T21" fmla="*/ 1111 h 1892"/>
                  <a:gd name="T22" fmla="*/ 1521 w 2274"/>
                  <a:gd name="T23" fmla="*/ 1200 h 1892"/>
                  <a:gd name="T24" fmla="*/ 1495 w 2274"/>
                  <a:gd name="T25" fmla="*/ 1278 h 1892"/>
                  <a:gd name="T26" fmla="*/ 1439 w 2274"/>
                  <a:gd name="T27" fmla="*/ 1366 h 1892"/>
                  <a:gd name="T28" fmla="*/ 1374 w 2274"/>
                  <a:gd name="T29" fmla="*/ 1387 h 1892"/>
                  <a:gd name="T30" fmla="*/ 1303 w 2274"/>
                  <a:gd name="T31" fmla="*/ 1399 h 1892"/>
                  <a:gd name="T32" fmla="*/ 1247 w 2274"/>
                  <a:gd name="T33" fmla="*/ 1483 h 1892"/>
                  <a:gd name="T34" fmla="*/ 1123 w 2274"/>
                  <a:gd name="T35" fmla="*/ 1505 h 1892"/>
                  <a:gd name="T36" fmla="*/ 1071 w 2274"/>
                  <a:gd name="T37" fmla="*/ 1570 h 1892"/>
                  <a:gd name="T38" fmla="*/ 1064 w 2274"/>
                  <a:gd name="T39" fmla="*/ 1701 h 1892"/>
                  <a:gd name="T40" fmla="*/ 1068 w 2274"/>
                  <a:gd name="T41" fmla="*/ 1801 h 1892"/>
                  <a:gd name="T42" fmla="*/ 886 w 2274"/>
                  <a:gd name="T43" fmla="*/ 1836 h 1892"/>
                  <a:gd name="T44" fmla="*/ 713 w 2274"/>
                  <a:gd name="T45" fmla="*/ 1874 h 1892"/>
                  <a:gd name="T46" fmla="*/ 404 w 2274"/>
                  <a:gd name="T47" fmla="*/ 1892 h 1892"/>
                  <a:gd name="T48" fmla="*/ 311 w 2274"/>
                  <a:gd name="T49" fmla="*/ 1631 h 1892"/>
                  <a:gd name="T50" fmla="*/ 271 w 2274"/>
                  <a:gd name="T51" fmla="*/ 1456 h 1892"/>
                  <a:gd name="T52" fmla="*/ 100 w 2274"/>
                  <a:gd name="T53" fmla="*/ 1360 h 1892"/>
                  <a:gd name="T54" fmla="*/ 41 w 2274"/>
                  <a:gd name="T55" fmla="*/ 1168 h 1892"/>
                  <a:gd name="T56" fmla="*/ 88 w 2274"/>
                  <a:gd name="T57" fmla="*/ 1058 h 1892"/>
                  <a:gd name="T58" fmla="*/ 19 w 2274"/>
                  <a:gd name="T59" fmla="*/ 949 h 1892"/>
                  <a:gd name="T60" fmla="*/ 14 w 2274"/>
                  <a:gd name="T61" fmla="*/ 874 h 1892"/>
                  <a:gd name="T62" fmla="*/ 81 w 2274"/>
                  <a:gd name="T63" fmla="*/ 811 h 1892"/>
                  <a:gd name="T64" fmla="*/ 65 w 2274"/>
                  <a:gd name="T65" fmla="*/ 751 h 1892"/>
                  <a:gd name="T66" fmla="*/ 76 w 2274"/>
                  <a:gd name="T67" fmla="*/ 653 h 1892"/>
                  <a:gd name="T68" fmla="*/ 129 w 2274"/>
                  <a:gd name="T69" fmla="*/ 653 h 1892"/>
                  <a:gd name="T70" fmla="*/ 207 w 2274"/>
                  <a:gd name="T71" fmla="*/ 653 h 1892"/>
                  <a:gd name="T72" fmla="*/ 285 w 2274"/>
                  <a:gd name="T73" fmla="*/ 706 h 1892"/>
                  <a:gd name="T74" fmla="*/ 366 w 2274"/>
                  <a:gd name="T75" fmla="*/ 694 h 1892"/>
                  <a:gd name="T76" fmla="*/ 417 w 2274"/>
                  <a:gd name="T77" fmla="*/ 624 h 1892"/>
                  <a:gd name="T78" fmla="*/ 528 w 2274"/>
                  <a:gd name="T79" fmla="*/ 558 h 1892"/>
                  <a:gd name="T80" fmla="*/ 588 w 2274"/>
                  <a:gd name="T81" fmla="*/ 514 h 1892"/>
                  <a:gd name="T82" fmla="*/ 639 w 2274"/>
                  <a:gd name="T83" fmla="*/ 384 h 1892"/>
                  <a:gd name="T84" fmla="*/ 626 w 2274"/>
                  <a:gd name="T85" fmla="*/ 314 h 1892"/>
                  <a:gd name="T86" fmla="*/ 707 w 2274"/>
                  <a:gd name="T87" fmla="*/ 281 h 1892"/>
                  <a:gd name="T88" fmla="*/ 812 w 2274"/>
                  <a:gd name="T89" fmla="*/ 232 h 1892"/>
                  <a:gd name="T90" fmla="*/ 896 w 2274"/>
                  <a:gd name="T91" fmla="*/ 256 h 1892"/>
                  <a:gd name="T92" fmla="*/ 1009 w 2274"/>
                  <a:gd name="T93" fmla="*/ 290 h 1892"/>
                  <a:gd name="T94" fmla="*/ 1090 w 2274"/>
                  <a:gd name="T95" fmla="*/ 268 h 1892"/>
                  <a:gd name="T96" fmla="*/ 1210 w 2274"/>
                  <a:gd name="T97" fmla="*/ 314 h 1892"/>
                  <a:gd name="T98" fmla="*/ 1286 w 2274"/>
                  <a:gd name="T99" fmla="*/ 262 h 1892"/>
                  <a:gd name="T100" fmla="*/ 1341 w 2274"/>
                  <a:gd name="T101" fmla="*/ 281 h 1892"/>
                  <a:gd name="T102" fmla="*/ 1383 w 2274"/>
                  <a:gd name="T103" fmla="*/ 243 h 1892"/>
                  <a:gd name="T104" fmla="*/ 1436 w 2274"/>
                  <a:gd name="T105" fmla="*/ 190 h 1892"/>
                  <a:gd name="T106" fmla="*/ 1495 w 2274"/>
                  <a:gd name="T107" fmla="*/ 206 h 1892"/>
                  <a:gd name="T108" fmla="*/ 1525 w 2274"/>
                  <a:gd name="T109" fmla="*/ 99 h 1892"/>
                  <a:gd name="T110" fmla="*/ 1569 w 2274"/>
                  <a:gd name="T111" fmla="*/ 0 h 1892"/>
                  <a:gd name="T112" fmla="*/ 1670 w 2274"/>
                  <a:gd name="T113" fmla="*/ 37 h 1892"/>
                  <a:gd name="T114" fmla="*/ 1673 w 2274"/>
                  <a:gd name="T115" fmla="*/ 135 h 1892"/>
                  <a:gd name="T116" fmla="*/ 1711 w 2274"/>
                  <a:gd name="T117" fmla="*/ 209 h 1892"/>
                  <a:gd name="T118" fmla="*/ 1744 w 2274"/>
                  <a:gd name="T119" fmla="*/ 345 h 1892"/>
                  <a:gd name="T120" fmla="*/ 1818 w 2274"/>
                  <a:gd name="T121" fmla="*/ 381 h 1892"/>
                  <a:gd name="T122" fmla="*/ 1913 w 2274"/>
                  <a:gd name="T123" fmla="*/ 314 h 1892"/>
                  <a:gd name="T124" fmla="*/ 1971 w 2274"/>
                  <a:gd name="T125" fmla="*/ 238 h 18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74" h="1892">
                    <a:moveTo>
                      <a:pt x="1971" y="238"/>
                    </a:moveTo>
                    <a:lnTo>
                      <a:pt x="2049" y="188"/>
                    </a:lnTo>
                    <a:lnTo>
                      <a:pt x="2098" y="177"/>
                    </a:lnTo>
                    <a:lnTo>
                      <a:pt x="2107" y="213"/>
                    </a:lnTo>
                    <a:lnTo>
                      <a:pt x="2171" y="206"/>
                    </a:lnTo>
                    <a:lnTo>
                      <a:pt x="2193" y="178"/>
                    </a:lnTo>
                    <a:lnTo>
                      <a:pt x="2266" y="178"/>
                    </a:lnTo>
                    <a:lnTo>
                      <a:pt x="2274" y="207"/>
                    </a:lnTo>
                    <a:lnTo>
                      <a:pt x="2222" y="252"/>
                    </a:lnTo>
                    <a:lnTo>
                      <a:pt x="2249" y="259"/>
                    </a:lnTo>
                    <a:lnTo>
                      <a:pt x="2214" y="319"/>
                    </a:lnTo>
                    <a:lnTo>
                      <a:pt x="2138" y="351"/>
                    </a:lnTo>
                    <a:lnTo>
                      <a:pt x="1968" y="385"/>
                    </a:lnTo>
                    <a:lnTo>
                      <a:pt x="1928" y="363"/>
                    </a:lnTo>
                    <a:lnTo>
                      <a:pt x="1871" y="393"/>
                    </a:lnTo>
                    <a:lnTo>
                      <a:pt x="1829" y="430"/>
                    </a:lnTo>
                    <a:lnTo>
                      <a:pt x="1782" y="430"/>
                    </a:lnTo>
                    <a:lnTo>
                      <a:pt x="1755" y="472"/>
                    </a:lnTo>
                    <a:lnTo>
                      <a:pt x="1723" y="504"/>
                    </a:lnTo>
                    <a:lnTo>
                      <a:pt x="1797" y="613"/>
                    </a:lnTo>
                    <a:lnTo>
                      <a:pt x="1802" y="687"/>
                    </a:lnTo>
                    <a:lnTo>
                      <a:pt x="1720" y="793"/>
                    </a:lnTo>
                    <a:lnTo>
                      <a:pt x="1762" y="832"/>
                    </a:lnTo>
                    <a:lnTo>
                      <a:pt x="1762" y="879"/>
                    </a:lnTo>
                    <a:lnTo>
                      <a:pt x="1718" y="946"/>
                    </a:lnTo>
                    <a:lnTo>
                      <a:pt x="1654" y="946"/>
                    </a:lnTo>
                    <a:lnTo>
                      <a:pt x="1592" y="921"/>
                    </a:lnTo>
                    <a:lnTo>
                      <a:pt x="1551" y="948"/>
                    </a:lnTo>
                    <a:lnTo>
                      <a:pt x="1569" y="992"/>
                    </a:lnTo>
                    <a:lnTo>
                      <a:pt x="1605" y="1013"/>
                    </a:lnTo>
                    <a:lnTo>
                      <a:pt x="1626" y="1059"/>
                    </a:lnTo>
                    <a:lnTo>
                      <a:pt x="1618" y="1089"/>
                    </a:lnTo>
                    <a:lnTo>
                      <a:pt x="1577" y="1111"/>
                    </a:lnTo>
                    <a:lnTo>
                      <a:pt x="1539" y="1115"/>
                    </a:lnTo>
                    <a:lnTo>
                      <a:pt x="1526" y="1139"/>
                    </a:lnTo>
                    <a:lnTo>
                      <a:pt x="1521" y="1200"/>
                    </a:lnTo>
                    <a:lnTo>
                      <a:pt x="1509" y="1239"/>
                    </a:lnTo>
                    <a:lnTo>
                      <a:pt x="1507" y="1263"/>
                    </a:lnTo>
                    <a:lnTo>
                      <a:pt x="1495" y="1278"/>
                    </a:lnTo>
                    <a:lnTo>
                      <a:pt x="1509" y="1353"/>
                    </a:lnTo>
                    <a:lnTo>
                      <a:pt x="1472" y="1408"/>
                    </a:lnTo>
                    <a:lnTo>
                      <a:pt x="1439" y="1366"/>
                    </a:lnTo>
                    <a:lnTo>
                      <a:pt x="1419" y="1366"/>
                    </a:lnTo>
                    <a:lnTo>
                      <a:pt x="1416" y="1390"/>
                    </a:lnTo>
                    <a:lnTo>
                      <a:pt x="1374" y="1387"/>
                    </a:lnTo>
                    <a:lnTo>
                      <a:pt x="1354" y="1374"/>
                    </a:lnTo>
                    <a:lnTo>
                      <a:pt x="1314" y="1378"/>
                    </a:lnTo>
                    <a:lnTo>
                      <a:pt x="1303" y="1399"/>
                    </a:lnTo>
                    <a:lnTo>
                      <a:pt x="1238" y="1449"/>
                    </a:lnTo>
                    <a:lnTo>
                      <a:pt x="1267" y="1458"/>
                    </a:lnTo>
                    <a:lnTo>
                      <a:pt x="1247" y="1483"/>
                    </a:lnTo>
                    <a:lnTo>
                      <a:pt x="1185" y="1510"/>
                    </a:lnTo>
                    <a:lnTo>
                      <a:pt x="1164" y="1497"/>
                    </a:lnTo>
                    <a:lnTo>
                      <a:pt x="1123" y="1505"/>
                    </a:lnTo>
                    <a:lnTo>
                      <a:pt x="1111" y="1532"/>
                    </a:lnTo>
                    <a:lnTo>
                      <a:pt x="1104" y="1559"/>
                    </a:lnTo>
                    <a:lnTo>
                      <a:pt x="1071" y="1570"/>
                    </a:lnTo>
                    <a:lnTo>
                      <a:pt x="1049" y="1598"/>
                    </a:lnTo>
                    <a:lnTo>
                      <a:pt x="1051" y="1645"/>
                    </a:lnTo>
                    <a:lnTo>
                      <a:pt x="1064" y="1701"/>
                    </a:lnTo>
                    <a:lnTo>
                      <a:pt x="1061" y="1736"/>
                    </a:lnTo>
                    <a:lnTo>
                      <a:pt x="1075" y="1769"/>
                    </a:lnTo>
                    <a:lnTo>
                      <a:pt x="1068" y="1801"/>
                    </a:lnTo>
                    <a:lnTo>
                      <a:pt x="1000" y="1830"/>
                    </a:lnTo>
                    <a:lnTo>
                      <a:pt x="940" y="1829"/>
                    </a:lnTo>
                    <a:lnTo>
                      <a:pt x="886" y="1836"/>
                    </a:lnTo>
                    <a:lnTo>
                      <a:pt x="794" y="1841"/>
                    </a:lnTo>
                    <a:lnTo>
                      <a:pt x="735" y="1857"/>
                    </a:lnTo>
                    <a:lnTo>
                      <a:pt x="713" y="1874"/>
                    </a:lnTo>
                    <a:lnTo>
                      <a:pt x="660" y="1872"/>
                    </a:lnTo>
                    <a:lnTo>
                      <a:pt x="602" y="1888"/>
                    </a:lnTo>
                    <a:lnTo>
                      <a:pt x="404" y="1892"/>
                    </a:lnTo>
                    <a:lnTo>
                      <a:pt x="171" y="1826"/>
                    </a:lnTo>
                    <a:lnTo>
                      <a:pt x="298" y="1651"/>
                    </a:lnTo>
                    <a:lnTo>
                      <a:pt x="311" y="1631"/>
                    </a:lnTo>
                    <a:lnTo>
                      <a:pt x="294" y="1563"/>
                    </a:lnTo>
                    <a:lnTo>
                      <a:pt x="298" y="1515"/>
                    </a:lnTo>
                    <a:lnTo>
                      <a:pt x="271" y="1456"/>
                    </a:lnTo>
                    <a:lnTo>
                      <a:pt x="121" y="1454"/>
                    </a:lnTo>
                    <a:lnTo>
                      <a:pt x="117" y="1391"/>
                    </a:lnTo>
                    <a:lnTo>
                      <a:pt x="100" y="1360"/>
                    </a:lnTo>
                    <a:lnTo>
                      <a:pt x="112" y="1337"/>
                    </a:lnTo>
                    <a:lnTo>
                      <a:pt x="87" y="1256"/>
                    </a:lnTo>
                    <a:lnTo>
                      <a:pt x="41" y="1168"/>
                    </a:lnTo>
                    <a:lnTo>
                      <a:pt x="50" y="1124"/>
                    </a:lnTo>
                    <a:lnTo>
                      <a:pt x="103" y="1058"/>
                    </a:lnTo>
                    <a:lnTo>
                      <a:pt x="88" y="1058"/>
                    </a:lnTo>
                    <a:lnTo>
                      <a:pt x="31" y="1045"/>
                    </a:lnTo>
                    <a:lnTo>
                      <a:pt x="31" y="1011"/>
                    </a:lnTo>
                    <a:lnTo>
                      <a:pt x="19" y="949"/>
                    </a:lnTo>
                    <a:lnTo>
                      <a:pt x="10" y="942"/>
                    </a:lnTo>
                    <a:lnTo>
                      <a:pt x="43" y="897"/>
                    </a:lnTo>
                    <a:lnTo>
                      <a:pt x="14" y="874"/>
                    </a:lnTo>
                    <a:lnTo>
                      <a:pt x="0" y="850"/>
                    </a:lnTo>
                    <a:lnTo>
                      <a:pt x="37" y="841"/>
                    </a:lnTo>
                    <a:lnTo>
                      <a:pt x="81" y="811"/>
                    </a:lnTo>
                    <a:lnTo>
                      <a:pt x="78" y="789"/>
                    </a:lnTo>
                    <a:lnTo>
                      <a:pt x="87" y="780"/>
                    </a:lnTo>
                    <a:lnTo>
                      <a:pt x="65" y="751"/>
                    </a:lnTo>
                    <a:lnTo>
                      <a:pt x="77" y="725"/>
                    </a:lnTo>
                    <a:lnTo>
                      <a:pt x="74" y="701"/>
                    </a:lnTo>
                    <a:lnTo>
                      <a:pt x="76" y="653"/>
                    </a:lnTo>
                    <a:lnTo>
                      <a:pt x="74" y="650"/>
                    </a:lnTo>
                    <a:lnTo>
                      <a:pt x="90" y="644"/>
                    </a:lnTo>
                    <a:lnTo>
                      <a:pt x="129" y="653"/>
                    </a:lnTo>
                    <a:lnTo>
                      <a:pt x="156" y="675"/>
                    </a:lnTo>
                    <a:lnTo>
                      <a:pt x="185" y="675"/>
                    </a:lnTo>
                    <a:lnTo>
                      <a:pt x="207" y="653"/>
                    </a:lnTo>
                    <a:lnTo>
                      <a:pt x="236" y="653"/>
                    </a:lnTo>
                    <a:lnTo>
                      <a:pt x="274" y="682"/>
                    </a:lnTo>
                    <a:lnTo>
                      <a:pt x="285" y="706"/>
                    </a:lnTo>
                    <a:lnTo>
                      <a:pt x="299" y="720"/>
                    </a:lnTo>
                    <a:lnTo>
                      <a:pt x="316" y="701"/>
                    </a:lnTo>
                    <a:lnTo>
                      <a:pt x="366" y="694"/>
                    </a:lnTo>
                    <a:lnTo>
                      <a:pt x="390" y="665"/>
                    </a:lnTo>
                    <a:lnTo>
                      <a:pt x="396" y="644"/>
                    </a:lnTo>
                    <a:lnTo>
                      <a:pt x="417" y="624"/>
                    </a:lnTo>
                    <a:lnTo>
                      <a:pt x="409" y="601"/>
                    </a:lnTo>
                    <a:lnTo>
                      <a:pt x="462" y="572"/>
                    </a:lnTo>
                    <a:lnTo>
                      <a:pt x="528" y="558"/>
                    </a:lnTo>
                    <a:lnTo>
                      <a:pt x="534" y="541"/>
                    </a:lnTo>
                    <a:lnTo>
                      <a:pt x="561" y="520"/>
                    </a:lnTo>
                    <a:lnTo>
                      <a:pt x="588" y="514"/>
                    </a:lnTo>
                    <a:lnTo>
                      <a:pt x="599" y="468"/>
                    </a:lnTo>
                    <a:lnTo>
                      <a:pt x="600" y="425"/>
                    </a:lnTo>
                    <a:lnTo>
                      <a:pt x="639" y="384"/>
                    </a:lnTo>
                    <a:lnTo>
                      <a:pt x="639" y="348"/>
                    </a:lnTo>
                    <a:lnTo>
                      <a:pt x="624" y="335"/>
                    </a:lnTo>
                    <a:lnTo>
                      <a:pt x="626" y="314"/>
                    </a:lnTo>
                    <a:lnTo>
                      <a:pt x="643" y="307"/>
                    </a:lnTo>
                    <a:lnTo>
                      <a:pt x="662" y="292"/>
                    </a:lnTo>
                    <a:lnTo>
                      <a:pt x="707" y="281"/>
                    </a:lnTo>
                    <a:lnTo>
                      <a:pt x="720" y="282"/>
                    </a:lnTo>
                    <a:lnTo>
                      <a:pt x="772" y="244"/>
                    </a:lnTo>
                    <a:lnTo>
                      <a:pt x="812" y="232"/>
                    </a:lnTo>
                    <a:lnTo>
                      <a:pt x="847" y="253"/>
                    </a:lnTo>
                    <a:lnTo>
                      <a:pt x="884" y="244"/>
                    </a:lnTo>
                    <a:lnTo>
                      <a:pt x="896" y="256"/>
                    </a:lnTo>
                    <a:lnTo>
                      <a:pt x="952" y="242"/>
                    </a:lnTo>
                    <a:lnTo>
                      <a:pt x="989" y="258"/>
                    </a:lnTo>
                    <a:lnTo>
                      <a:pt x="1009" y="290"/>
                    </a:lnTo>
                    <a:lnTo>
                      <a:pt x="1033" y="291"/>
                    </a:lnTo>
                    <a:lnTo>
                      <a:pt x="1061" y="264"/>
                    </a:lnTo>
                    <a:lnTo>
                      <a:pt x="1090" y="268"/>
                    </a:lnTo>
                    <a:lnTo>
                      <a:pt x="1127" y="316"/>
                    </a:lnTo>
                    <a:lnTo>
                      <a:pt x="1154" y="326"/>
                    </a:lnTo>
                    <a:lnTo>
                      <a:pt x="1210" y="314"/>
                    </a:lnTo>
                    <a:lnTo>
                      <a:pt x="1247" y="293"/>
                    </a:lnTo>
                    <a:lnTo>
                      <a:pt x="1266" y="267"/>
                    </a:lnTo>
                    <a:lnTo>
                      <a:pt x="1286" y="262"/>
                    </a:lnTo>
                    <a:lnTo>
                      <a:pt x="1305" y="244"/>
                    </a:lnTo>
                    <a:lnTo>
                      <a:pt x="1323" y="256"/>
                    </a:lnTo>
                    <a:lnTo>
                      <a:pt x="1341" y="281"/>
                    </a:lnTo>
                    <a:lnTo>
                      <a:pt x="1401" y="286"/>
                    </a:lnTo>
                    <a:lnTo>
                      <a:pt x="1399" y="258"/>
                    </a:lnTo>
                    <a:lnTo>
                      <a:pt x="1383" y="243"/>
                    </a:lnTo>
                    <a:lnTo>
                      <a:pt x="1385" y="219"/>
                    </a:lnTo>
                    <a:lnTo>
                      <a:pt x="1422" y="209"/>
                    </a:lnTo>
                    <a:lnTo>
                      <a:pt x="1436" y="190"/>
                    </a:lnTo>
                    <a:lnTo>
                      <a:pt x="1453" y="190"/>
                    </a:lnTo>
                    <a:lnTo>
                      <a:pt x="1458" y="209"/>
                    </a:lnTo>
                    <a:lnTo>
                      <a:pt x="1495" y="206"/>
                    </a:lnTo>
                    <a:lnTo>
                      <a:pt x="1519" y="169"/>
                    </a:lnTo>
                    <a:lnTo>
                      <a:pt x="1510" y="122"/>
                    </a:lnTo>
                    <a:lnTo>
                      <a:pt x="1525" y="99"/>
                    </a:lnTo>
                    <a:lnTo>
                      <a:pt x="1545" y="79"/>
                    </a:lnTo>
                    <a:lnTo>
                      <a:pt x="1552" y="31"/>
                    </a:lnTo>
                    <a:lnTo>
                      <a:pt x="1569" y="0"/>
                    </a:lnTo>
                    <a:lnTo>
                      <a:pt x="1610" y="0"/>
                    </a:lnTo>
                    <a:lnTo>
                      <a:pt x="1639" y="21"/>
                    </a:lnTo>
                    <a:lnTo>
                      <a:pt x="1670" y="37"/>
                    </a:lnTo>
                    <a:lnTo>
                      <a:pt x="1670" y="64"/>
                    </a:lnTo>
                    <a:lnTo>
                      <a:pt x="1663" y="103"/>
                    </a:lnTo>
                    <a:lnTo>
                      <a:pt x="1673" y="135"/>
                    </a:lnTo>
                    <a:lnTo>
                      <a:pt x="1701" y="134"/>
                    </a:lnTo>
                    <a:lnTo>
                      <a:pt x="1713" y="166"/>
                    </a:lnTo>
                    <a:lnTo>
                      <a:pt x="1711" y="209"/>
                    </a:lnTo>
                    <a:lnTo>
                      <a:pt x="1716" y="244"/>
                    </a:lnTo>
                    <a:lnTo>
                      <a:pt x="1718" y="311"/>
                    </a:lnTo>
                    <a:lnTo>
                      <a:pt x="1744" y="345"/>
                    </a:lnTo>
                    <a:lnTo>
                      <a:pt x="1744" y="368"/>
                    </a:lnTo>
                    <a:lnTo>
                      <a:pt x="1775" y="381"/>
                    </a:lnTo>
                    <a:lnTo>
                      <a:pt x="1818" y="381"/>
                    </a:lnTo>
                    <a:lnTo>
                      <a:pt x="1848" y="359"/>
                    </a:lnTo>
                    <a:lnTo>
                      <a:pt x="1854" y="342"/>
                    </a:lnTo>
                    <a:lnTo>
                      <a:pt x="1913" y="314"/>
                    </a:lnTo>
                    <a:lnTo>
                      <a:pt x="1941" y="289"/>
                    </a:lnTo>
                    <a:lnTo>
                      <a:pt x="1948" y="258"/>
                    </a:lnTo>
                    <a:lnTo>
                      <a:pt x="1971" y="238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2" name="ïṥḻîḓê"/>
              <p:cNvSpPr/>
              <p:nvPr/>
            </p:nvSpPr>
            <p:spPr bwMode="auto">
              <a:xfrm>
                <a:off x="1383039" y="3293102"/>
                <a:ext cx="568925" cy="458519"/>
              </a:xfrm>
              <a:custGeom>
                <a:avLst/>
                <a:gdLst>
                  <a:gd name="T0" fmla="*/ 148 w 3505"/>
                  <a:gd name="T1" fmla="*/ 58 h 2823"/>
                  <a:gd name="T2" fmla="*/ 315 w 3505"/>
                  <a:gd name="T3" fmla="*/ 180 h 2823"/>
                  <a:gd name="T4" fmla="*/ 435 w 3505"/>
                  <a:gd name="T5" fmla="*/ 182 h 2823"/>
                  <a:gd name="T6" fmla="*/ 529 w 3505"/>
                  <a:gd name="T7" fmla="*/ 91 h 2823"/>
                  <a:gd name="T8" fmla="*/ 646 w 3505"/>
                  <a:gd name="T9" fmla="*/ 24 h 2823"/>
                  <a:gd name="T10" fmla="*/ 682 w 3505"/>
                  <a:gd name="T11" fmla="*/ 103 h 2823"/>
                  <a:gd name="T12" fmla="*/ 760 w 3505"/>
                  <a:gd name="T13" fmla="*/ 259 h 2823"/>
                  <a:gd name="T14" fmla="*/ 839 w 3505"/>
                  <a:gd name="T15" fmla="*/ 322 h 2823"/>
                  <a:gd name="T16" fmla="*/ 907 w 3505"/>
                  <a:gd name="T17" fmla="*/ 458 h 2823"/>
                  <a:gd name="T18" fmla="*/ 1081 w 3505"/>
                  <a:gd name="T19" fmla="*/ 480 h 2823"/>
                  <a:gd name="T20" fmla="*/ 1346 w 3505"/>
                  <a:gd name="T21" fmla="*/ 617 h 2823"/>
                  <a:gd name="T22" fmla="*/ 1731 w 3505"/>
                  <a:gd name="T23" fmla="*/ 589 h 2823"/>
                  <a:gd name="T24" fmla="*/ 1821 w 3505"/>
                  <a:gd name="T25" fmla="*/ 437 h 2823"/>
                  <a:gd name="T26" fmla="*/ 2030 w 3505"/>
                  <a:gd name="T27" fmla="*/ 287 h 2823"/>
                  <a:gd name="T28" fmla="*/ 2213 w 3505"/>
                  <a:gd name="T29" fmla="*/ 263 h 2823"/>
                  <a:gd name="T30" fmla="*/ 2482 w 3505"/>
                  <a:gd name="T31" fmla="*/ 370 h 2823"/>
                  <a:gd name="T32" fmla="*/ 2648 w 3505"/>
                  <a:gd name="T33" fmla="*/ 459 h 2823"/>
                  <a:gd name="T34" fmla="*/ 2927 w 3505"/>
                  <a:gd name="T35" fmla="*/ 643 h 2823"/>
                  <a:gd name="T36" fmla="*/ 2942 w 3505"/>
                  <a:gd name="T37" fmla="*/ 815 h 2823"/>
                  <a:gd name="T38" fmla="*/ 2949 w 3505"/>
                  <a:gd name="T39" fmla="*/ 925 h 2823"/>
                  <a:gd name="T40" fmla="*/ 2878 w 3505"/>
                  <a:gd name="T41" fmla="*/ 1056 h 2823"/>
                  <a:gd name="T42" fmla="*/ 2971 w 3505"/>
                  <a:gd name="T43" fmla="*/ 1172 h 2823"/>
                  <a:gd name="T44" fmla="*/ 2968 w 3505"/>
                  <a:gd name="T45" fmla="*/ 1474 h 2823"/>
                  <a:gd name="T46" fmla="*/ 3162 w 3505"/>
                  <a:gd name="T47" fmla="*/ 1677 h 2823"/>
                  <a:gd name="T48" fmla="*/ 3146 w 3505"/>
                  <a:gd name="T49" fmla="*/ 2098 h 2823"/>
                  <a:gd name="T50" fmla="*/ 3338 w 3505"/>
                  <a:gd name="T51" fmla="*/ 2203 h 2823"/>
                  <a:gd name="T52" fmla="*/ 3405 w 3505"/>
                  <a:gd name="T53" fmla="*/ 2371 h 2823"/>
                  <a:gd name="T54" fmla="*/ 3480 w 3505"/>
                  <a:gd name="T55" fmla="*/ 2519 h 2823"/>
                  <a:gd name="T56" fmla="*/ 3267 w 3505"/>
                  <a:gd name="T57" fmla="*/ 2599 h 2823"/>
                  <a:gd name="T58" fmla="*/ 3259 w 3505"/>
                  <a:gd name="T59" fmla="*/ 2794 h 2823"/>
                  <a:gd name="T60" fmla="*/ 3116 w 3505"/>
                  <a:gd name="T61" fmla="*/ 2787 h 2823"/>
                  <a:gd name="T62" fmla="*/ 3034 w 3505"/>
                  <a:gd name="T63" fmla="*/ 2772 h 2823"/>
                  <a:gd name="T64" fmla="*/ 2766 w 3505"/>
                  <a:gd name="T65" fmla="*/ 2747 h 2823"/>
                  <a:gd name="T66" fmla="*/ 2597 w 3505"/>
                  <a:gd name="T67" fmla="*/ 2713 h 2823"/>
                  <a:gd name="T68" fmla="*/ 2445 w 3505"/>
                  <a:gd name="T69" fmla="*/ 2573 h 2823"/>
                  <a:gd name="T70" fmla="*/ 2376 w 3505"/>
                  <a:gd name="T71" fmla="*/ 2438 h 2823"/>
                  <a:gd name="T72" fmla="*/ 2199 w 3505"/>
                  <a:gd name="T73" fmla="*/ 2460 h 2823"/>
                  <a:gd name="T74" fmla="*/ 1942 w 3505"/>
                  <a:gd name="T75" fmla="*/ 2514 h 2823"/>
                  <a:gd name="T76" fmla="*/ 1768 w 3505"/>
                  <a:gd name="T77" fmla="*/ 2454 h 2823"/>
                  <a:gd name="T78" fmla="*/ 1662 w 3505"/>
                  <a:gd name="T79" fmla="*/ 2355 h 2823"/>
                  <a:gd name="T80" fmla="*/ 1476 w 3505"/>
                  <a:gd name="T81" fmla="*/ 2314 h 2823"/>
                  <a:gd name="T82" fmla="*/ 1336 w 3505"/>
                  <a:gd name="T83" fmla="*/ 2130 h 2823"/>
                  <a:gd name="T84" fmla="*/ 1323 w 3505"/>
                  <a:gd name="T85" fmla="*/ 2102 h 2823"/>
                  <a:gd name="T86" fmla="*/ 1198 w 3505"/>
                  <a:gd name="T87" fmla="*/ 1881 h 2823"/>
                  <a:gd name="T88" fmla="*/ 1078 w 3505"/>
                  <a:gd name="T89" fmla="*/ 1891 h 2823"/>
                  <a:gd name="T90" fmla="*/ 1018 w 3505"/>
                  <a:gd name="T91" fmla="*/ 1845 h 2823"/>
                  <a:gd name="T92" fmla="*/ 982 w 3505"/>
                  <a:gd name="T93" fmla="*/ 1914 h 2823"/>
                  <a:gd name="T94" fmla="*/ 893 w 3505"/>
                  <a:gd name="T95" fmla="*/ 1852 h 2823"/>
                  <a:gd name="T96" fmla="*/ 786 w 3505"/>
                  <a:gd name="T97" fmla="*/ 1628 h 2823"/>
                  <a:gd name="T98" fmla="*/ 702 w 3505"/>
                  <a:gd name="T99" fmla="*/ 1427 h 2823"/>
                  <a:gd name="T100" fmla="*/ 474 w 3505"/>
                  <a:gd name="T101" fmla="*/ 1339 h 2823"/>
                  <a:gd name="T102" fmla="*/ 440 w 3505"/>
                  <a:gd name="T103" fmla="*/ 1213 h 2823"/>
                  <a:gd name="T104" fmla="*/ 375 w 3505"/>
                  <a:gd name="T105" fmla="*/ 1137 h 2823"/>
                  <a:gd name="T106" fmla="*/ 400 w 3505"/>
                  <a:gd name="T107" fmla="*/ 964 h 2823"/>
                  <a:gd name="T108" fmla="*/ 425 w 3505"/>
                  <a:gd name="T109" fmla="*/ 843 h 2823"/>
                  <a:gd name="T110" fmla="*/ 451 w 3505"/>
                  <a:gd name="T111" fmla="*/ 798 h 2823"/>
                  <a:gd name="T112" fmla="*/ 274 w 3505"/>
                  <a:gd name="T113" fmla="*/ 741 h 2823"/>
                  <a:gd name="T114" fmla="*/ 200 w 3505"/>
                  <a:gd name="T115" fmla="*/ 604 h 2823"/>
                  <a:gd name="T116" fmla="*/ 142 w 3505"/>
                  <a:gd name="T117" fmla="*/ 489 h 2823"/>
                  <a:gd name="T118" fmla="*/ 82 w 3505"/>
                  <a:gd name="T119" fmla="*/ 285 h 2823"/>
                  <a:gd name="T120" fmla="*/ 19 w 3505"/>
                  <a:gd name="T121" fmla="*/ 116 h 2823"/>
                  <a:gd name="T122" fmla="*/ 83 w 3505"/>
                  <a:gd name="T123" fmla="*/ 0 h 2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505" h="2823">
                    <a:moveTo>
                      <a:pt x="83" y="0"/>
                    </a:moveTo>
                    <a:lnTo>
                      <a:pt x="90" y="0"/>
                    </a:lnTo>
                    <a:lnTo>
                      <a:pt x="115" y="29"/>
                    </a:lnTo>
                    <a:lnTo>
                      <a:pt x="137" y="27"/>
                    </a:lnTo>
                    <a:lnTo>
                      <a:pt x="148" y="58"/>
                    </a:lnTo>
                    <a:lnTo>
                      <a:pt x="146" y="82"/>
                    </a:lnTo>
                    <a:lnTo>
                      <a:pt x="221" y="124"/>
                    </a:lnTo>
                    <a:lnTo>
                      <a:pt x="226" y="156"/>
                    </a:lnTo>
                    <a:lnTo>
                      <a:pt x="270" y="179"/>
                    </a:lnTo>
                    <a:lnTo>
                      <a:pt x="315" y="180"/>
                    </a:lnTo>
                    <a:lnTo>
                      <a:pt x="364" y="208"/>
                    </a:lnTo>
                    <a:lnTo>
                      <a:pt x="373" y="180"/>
                    </a:lnTo>
                    <a:lnTo>
                      <a:pt x="373" y="180"/>
                    </a:lnTo>
                    <a:lnTo>
                      <a:pt x="411" y="174"/>
                    </a:lnTo>
                    <a:lnTo>
                      <a:pt x="435" y="182"/>
                    </a:lnTo>
                    <a:lnTo>
                      <a:pt x="465" y="169"/>
                    </a:lnTo>
                    <a:lnTo>
                      <a:pt x="471" y="148"/>
                    </a:lnTo>
                    <a:lnTo>
                      <a:pt x="483" y="132"/>
                    </a:lnTo>
                    <a:lnTo>
                      <a:pt x="500" y="131"/>
                    </a:lnTo>
                    <a:lnTo>
                      <a:pt x="529" y="91"/>
                    </a:lnTo>
                    <a:lnTo>
                      <a:pt x="550" y="81"/>
                    </a:lnTo>
                    <a:lnTo>
                      <a:pt x="571" y="53"/>
                    </a:lnTo>
                    <a:lnTo>
                      <a:pt x="596" y="47"/>
                    </a:lnTo>
                    <a:lnTo>
                      <a:pt x="628" y="24"/>
                    </a:lnTo>
                    <a:lnTo>
                      <a:pt x="646" y="24"/>
                    </a:lnTo>
                    <a:lnTo>
                      <a:pt x="649" y="34"/>
                    </a:lnTo>
                    <a:lnTo>
                      <a:pt x="665" y="38"/>
                    </a:lnTo>
                    <a:lnTo>
                      <a:pt x="680" y="63"/>
                    </a:lnTo>
                    <a:lnTo>
                      <a:pt x="703" y="87"/>
                    </a:lnTo>
                    <a:lnTo>
                      <a:pt x="682" y="103"/>
                    </a:lnTo>
                    <a:lnTo>
                      <a:pt x="691" y="120"/>
                    </a:lnTo>
                    <a:lnTo>
                      <a:pt x="731" y="145"/>
                    </a:lnTo>
                    <a:lnTo>
                      <a:pt x="675" y="183"/>
                    </a:lnTo>
                    <a:lnTo>
                      <a:pt x="733" y="246"/>
                    </a:lnTo>
                    <a:lnTo>
                      <a:pt x="760" y="259"/>
                    </a:lnTo>
                    <a:lnTo>
                      <a:pt x="772" y="279"/>
                    </a:lnTo>
                    <a:lnTo>
                      <a:pt x="800" y="285"/>
                    </a:lnTo>
                    <a:lnTo>
                      <a:pt x="815" y="276"/>
                    </a:lnTo>
                    <a:lnTo>
                      <a:pt x="815" y="286"/>
                    </a:lnTo>
                    <a:lnTo>
                      <a:pt x="839" y="322"/>
                    </a:lnTo>
                    <a:lnTo>
                      <a:pt x="844" y="363"/>
                    </a:lnTo>
                    <a:lnTo>
                      <a:pt x="836" y="402"/>
                    </a:lnTo>
                    <a:lnTo>
                      <a:pt x="848" y="419"/>
                    </a:lnTo>
                    <a:lnTo>
                      <a:pt x="873" y="422"/>
                    </a:lnTo>
                    <a:lnTo>
                      <a:pt x="907" y="458"/>
                    </a:lnTo>
                    <a:lnTo>
                      <a:pt x="947" y="458"/>
                    </a:lnTo>
                    <a:lnTo>
                      <a:pt x="976" y="468"/>
                    </a:lnTo>
                    <a:lnTo>
                      <a:pt x="1016" y="452"/>
                    </a:lnTo>
                    <a:lnTo>
                      <a:pt x="1056" y="478"/>
                    </a:lnTo>
                    <a:lnTo>
                      <a:pt x="1081" y="480"/>
                    </a:lnTo>
                    <a:lnTo>
                      <a:pt x="1092" y="517"/>
                    </a:lnTo>
                    <a:lnTo>
                      <a:pt x="1118" y="549"/>
                    </a:lnTo>
                    <a:lnTo>
                      <a:pt x="1204" y="583"/>
                    </a:lnTo>
                    <a:lnTo>
                      <a:pt x="1242" y="587"/>
                    </a:lnTo>
                    <a:lnTo>
                      <a:pt x="1346" y="617"/>
                    </a:lnTo>
                    <a:lnTo>
                      <a:pt x="1396" y="617"/>
                    </a:lnTo>
                    <a:lnTo>
                      <a:pt x="1509" y="585"/>
                    </a:lnTo>
                    <a:lnTo>
                      <a:pt x="1595" y="574"/>
                    </a:lnTo>
                    <a:lnTo>
                      <a:pt x="1693" y="582"/>
                    </a:lnTo>
                    <a:lnTo>
                      <a:pt x="1731" y="589"/>
                    </a:lnTo>
                    <a:lnTo>
                      <a:pt x="1744" y="545"/>
                    </a:lnTo>
                    <a:lnTo>
                      <a:pt x="1718" y="507"/>
                    </a:lnTo>
                    <a:lnTo>
                      <a:pt x="1702" y="462"/>
                    </a:lnTo>
                    <a:lnTo>
                      <a:pt x="1737" y="442"/>
                    </a:lnTo>
                    <a:lnTo>
                      <a:pt x="1821" y="437"/>
                    </a:lnTo>
                    <a:lnTo>
                      <a:pt x="1835" y="391"/>
                    </a:lnTo>
                    <a:lnTo>
                      <a:pt x="1858" y="363"/>
                    </a:lnTo>
                    <a:lnTo>
                      <a:pt x="1887" y="361"/>
                    </a:lnTo>
                    <a:lnTo>
                      <a:pt x="1958" y="300"/>
                    </a:lnTo>
                    <a:lnTo>
                      <a:pt x="2030" y="287"/>
                    </a:lnTo>
                    <a:lnTo>
                      <a:pt x="2094" y="300"/>
                    </a:lnTo>
                    <a:lnTo>
                      <a:pt x="2107" y="259"/>
                    </a:lnTo>
                    <a:lnTo>
                      <a:pt x="2141" y="251"/>
                    </a:lnTo>
                    <a:lnTo>
                      <a:pt x="2174" y="264"/>
                    </a:lnTo>
                    <a:lnTo>
                      <a:pt x="2213" y="263"/>
                    </a:lnTo>
                    <a:lnTo>
                      <a:pt x="2275" y="313"/>
                    </a:lnTo>
                    <a:lnTo>
                      <a:pt x="2327" y="327"/>
                    </a:lnTo>
                    <a:lnTo>
                      <a:pt x="2427" y="390"/>
                    </a:lnTo>
                    <a:lnTo>
                      <a:pt x="2455" y="389"/>
                    </a:lnTo>
                    <a:lnTo>
                      <a:pt x="2482" y="370"/>
                    </a:lnTo>
                    <a:lnTo>
                      <a:pt x="2550" y="399"/>
                    </a:lnTo>
                    <a:lnTo>
                      <a:pt x="2586" y="405"/>
                    </a:lnTo>
                    <a:lnTo>
                      <a:pt x="2597" y="456"/>
                    </a:lnTo>
                    <a:lnTo>
                      <a:pt x="2612" y="468"/>
                    </a:lnTo>
                    <a:lnTo>
                      <a:pt x="2648" y="459"/>
                    </a:lnTo>
                    <a:lnTo>
                      <a:pt x="2712" y="474"/>
                    </a:lnTo>
                    <a:lnTo>
                      <a:pt x="2782" y="570"/>
                    </a:lnTo>
                    <a:lnTo>
                      <a:pt x="2857" y="576"/>
                    </a:lnTo>
                    <a:lnTo>
                      <a:pt x="2900" y="594"/>
                    </a:lnTo>
                    <a:lnTo>
                      <a:pt x="2927" y="643"/>
                    </a:lnTo>
                    <a:lnTo>
                      <a:pt x="2914" y="668"/>
                    </a:lnTo>
                    <a:lnTo>
                      <a:pt x="2930" y="710"/>
                    </a:lnTo>
                    <a:lnTo>
                      <a:pt x="2928" y="736"/>
                    </a:lnTo>
                    <a:lnTo>
                      <a:pt x="2944" y="767"/>
                    </a:lnTo>
                    <a:lnTo>
                      <a:pt x="2942" y="815"/>
                    </a:lnTo>
                    <a:lnTo>
                      <a:pt x="2945" y="839"/>
                    </a:lnTo>
                    <a:lnTo>
                      <a:pt x="2933" y="865"/>
                    </a:lnTo>
                    <a:lnTo>
                      <a:pt x="2955" y="894"/>
                    </a:lnTo>
                    <a:lnTo>
                      <a:pt x="2946" y="903"/>
                    </a:lnTo>
                    <a:lnTo>
                      <a:pt x="2949" y="925"/>
                    </a:lnTo>
                    <a:lnTo>
                      <a:pt x="2905" y="955"/>
                    </a:lnTo>
                    <a:lnTo>
                      <a:pt x="2868" y="964"/>
                    </a:lnTo>
                    <a:lnTo>
                      <a:pt x="2882" y="988"/>
                    </a:lnTo>
                    <a:lnTo>
                      <a:pt x="2911" y="1011"/>
                    </a:lnTo>
                    <a:lnTo>
                      <a:pt x="2878" y="1056"/>
                    </a:lnTo>
                    <a:lnTo>
                      <a:pt x="2887" y="1063"/>
                    </a:lnTo>
                    <a:lnTo>
                      <a:pt x="2899" y="1125"/>
                    </a:lnTo>
                    <a:lnTo>
                      <a:pt x="2899" y="1159"/>
                    </a:lnTo>
                    <a:lnTo>
                      <a:pt x="2956" y="1172"/>
                    </a:lnTo>
                    <a:lnTo>
                      <a:pt x="2971" y="1172"/>
                    </a:lnTo>
                    <a:lnTo>
                      <a:pt x="2918" y="1238"/>
                    </a:lnTo>
                    <a:lnTo>
                      <a:pt x="2909" y="1282"/>
                    </a:lnTo>
                    <a:lnTo>
                      <a:pt x="2955" y="1370"/>
                    </a:lnTo>
                    <a:lnTo>
                      <a:pt x="2980" y="1451"/>
                    </a:lnTo>
                    <a:lnTo>
                      <a:pt x="2968" y="1474"/>
                    </a:lnTo>
                    <a:lnTo>
                      <a:pt x="2985" y="1505"/>
                    </a:lnTo>
                    <a:lnTo>
                      <a:pt x="2989" y="1568"/>
                    </a:lnTo>
                    <a:lnTo>
                      <a:pt x="3139" y="1570"/>
                    </a:lnTo>
                    <a:lnTo>
                      <a:pt x="3166" y="1629"/>
                    </a:lnTo>
                    <a:lnTo>
                      <a:pt x="3162" y="1677"/>
                    </a:lnTo>
                    <a:lnTo>
                      <a:pt x="3179" y="1745"/>
                    </a:lnTo>
                    <a:lnTo>
                      <a:pt x="3166" y="1765"/>
                    </a:lnTo>
                    <a:lnTo>
                      <a:pt x="3038" y="1940"/>
                    </a:lnTo>
                    <a:lnTo>
                      <a:pt x="3127" y="2059"/>
                    </a:lnTo>
                    <a:lnTo>
                      <a:pt x="3146" y="2098"/>
                    </a:lnTo>
                    <a:lnTo>
                      <a:pt x="3191" y="2146"/>
                    </a:lnTo>
                    <a:lnTo>
                      <a:pt x="3234" y="2168"/>
                    </a:lnTo>
                    <a:lnTo>
                      <a:pt x="3248" y="2186"/>
                    </a:lnTo>
                    <a:lnTo>
                      <a:pt x="3306" y="2191"/>
                    </a:lnTo>
                    <a:lnTo>
                      <a:pt x="3338" y="2203"/>
                    </a:lnTo>
                    <a:lnTo>
                      <a:pt x="3343" y="2222"/>
                    </a:lnTo>
                    <a:lnTo>
                      <a:pt x="3389" y="2227"/>
                    </a:lnTo>
                    <a:lnTo>
                      <a:pt x="3390" y="2284"/>
                    </a:lnTo>
                    <a:lnTo>
                      <a:pt x="3402" y="2324"/>
                    </a:lnTo>
                    <a:lnTo>
                      <a:pt x="3405" y="2371"/>
                    </a:lnTo>
                    <a:lnTo>
                      <a:pt x="3414" y="2401"/>
                    </a:lnTo>
                    <a:lnTo>
                      <a:pt x="3456" y="2399"/>
                    </a:lnTo>
                    <a:lnTo>
                      <a:pt x="3500" y="2429"/>
                    </a:lnTo>
                    <a:lnTo>
                      <a:pt x="3505" y="2495"/>
                    </a:lnTo>
                    <a:lnTo>
                      <a:pt x="3480" y="2519"/>
                    </a:lnTo>
                    <a:lnTo>
                      <a:pt x="3436" y="2501"/>
                    </a:lnTo>
                    <a:lnTo>
                      <a:pt x="3353" y="2526"/>
                    </a:lnTo>
                    <a:lnTo>
                      <a:pt x="3337" y="2544"/>
                    </a:lnTo>
                    <a:lnTo>
                      <a:pt x="3284" y="2566"/>
                    </a:lnTo>
                    <a:lnTo>
                      <a:pt x="3267" y="2599"/>
                    </a:lnTo>
                    <a:lnTo>
                      <a:pt x="3276" y="2629"/>
                    </a:lnTo>
                    <a:lnTo>
                      <a:pt x="3250" y="2665"/>
                    </a:lnTo>
                    <a:lnTo>
                      <a:pt x="3266" y="2707"/>
                    </a:lnTo>
                    <a:lnTo>
                      <a:pt x="3258" y="2766"/>
                    </a:lnTo>
                    <a:lnTo>
                      <a:pt x="3259" y="2794"/>
                    </a:lnTo>
                    <a:lnTo>
                      <a:pt x="3249" y="2794"/>
                    </a:lnTo>
                    <a:lnTo>
                      <a:pt x="3242" y="2809"/>
                    </a:lnTo>
                    <a:lnTo>
                      <a:pt x="3215" y="2823"/>
                    </a:lnTo>
                    <a:lnTo>
                      <a:pt x="3159" y="2802"/>
                    </a:lnTo>
                    <a:lnTo>
                      <a:pt x="3116" y="2787"/>
                    </a:lnTo>
                    <a:lnTo>
                      <a:pt x="3099" y="2757"/>
                    </a:lnTo>
                    <a:lnTo>
                      <a:pt x="3078" y="2761"/>
                    </a:lnTo>
                    <a:lnTo>
                      <a:pt x="3069" y="2791"/>
                    </a:lnTo>
                    <a:lnTo>
                      <a:pt x="3059" y="2792"/>
                    </a:lnTo>
                    <a:lnTo>
                      <a:pt x="3034" y="2772"/>
                    </a:lnTo>
                    <a:lnTo>
                      <a:pt x="3019" y="2777"/>
                    </a:lnTo>
                    <a:lnTo>
                      <a:pt x="2989" y="2766"/>
                    </a:lnTo>
                    <a:lnTo>
                      <a:pt x="2914" y="2763"/>
                    </a:lnTo>
                    <a:lnTo>
                      <a:pt x="2861" y="2740"/>
                    </a:lnTo>
                    <a:lnTo>
                      <a:pt x="2766" y="2747"/>
                    </a:lnTo>
                    <a:lnTo>
                      <a:pt x="2721" y="2704"/>
                    </a:lnTo>
                    <a:lnTo>
                      <a:pt x="2708" y="2703"/>
                    </a:lnTo>
                    <a:lnTo>
                      <a:pt x="2667" y="2737"/>
                    </a:lnTo>
                    <a:lnTo>
                      <a:pt x="2635" y="2712"/>
                    </a:lnTo>
                    <a:lnTo>
                      <a:pt x="2597" y="2713"/>
                    </a:lnTo>
                    <a:lnTo>
                      <a:pt x="2506" y="2714"/>
                    </a:lnTo>
                    <a:lnTo>
                      <a:pt x="2500" y="2697"/>
                    </a:lnTo>
                    <a:lnTo>
                      <a:pt x="2481" y="2683"/>
                    </a:lnTo>
                    <a:lnTo>
                      <a:pt x="2479" y="2638"/>
                    </a:lnTo>
                    <a:lnTo>
                      <a:pt x="2445" y="2573"/>
                    </a:lnTo>
                    <a:lnTo>
                      <a:pt x="2426" y="2511"/>
                    </a:lnTo>
                    <a:lnTo>
                      <a:pt x="2395" y="2467"/>
                    </a:lnTo>
                    <a:lnTo>
                      <a:pt x="2391" y="2449"/>
                    </a:lnTo>
                    <a:lnTo>
                      <a:pt x="2376" y="2450"/>
                    </a:lnTo>
                    <a:lnTo>
                      <a:pt x="2376" y="2438"/>
                    </a:lnTo>
                    <a:lnTo>
                      <a:pt x="2317" y="2430"/>
                    </a:lnTo>
                    <a:lnTo>
                      <a:pt x="2282" y="2442"/>
                    </a:lnTo>
                    <a:lnTo>
                      <a:pt x="2237" y="2474"/>
                    </a:lnTo>
                    <a:lnTo>
                      <a:pt x="2202" y="2475"/>
                    </a:lnTo>
                    <a:lnTo>
                      <a:pt x="2199" y="2460"/>
                    </a:lnTo>
                    <a:lnTo>
                      <a:pt x="2197" y="2480"/>
                    </a:lnTo>
                    <a:lnTo>
                      <a:pt x="2126" y="2524"/>
                    </a:lnTo>
                    <a:lnTo>
                      <a:pt x="2066" y="2573"/>
                    </a:lnTo>
                    <a:lnTo>
                      <a:pt x="2000" y="2528"/>
                    </a:lnTo>
                    <a:lnTo>
                      <a:pt x="1942" y="2514"/>
                    </a:lnTo>
                    <a:lnTo>
                      <a:pt x="1901" y="2520"/>
                    </a:lnTo>
                    <a:lnTo>
                      <a:pt x="1885" y="2529"/>
                    </a:lnTo>
                    <a:lnTo>
                      <a:pt x="1825" y="2475"/>
                    </a:lnTo>
                    <a:lnTo>
                      <a:pt x="1796" y="2472"/>
                    </a:lnTo>
                    <a:lnTo>
                      <a:pt x="1768" y="2454"/>
                    </a:lnTo>
                    <a:lnTo>
                      <a:pt x="1728" y="2445"/>
                    </a:lnTo>
                    <a:lnTo>
                      <a:pt x="1678" y="2392"/>
                    </a:lnTo>
                    <a:lnTo>
                      <a:pt x="1699" y="2374"/>
                    </a:lnTo>
                    <a:lnTo>
                      <a:pt x="1693" y="2358"/>
                    </a:lnTo>
                    <a:lnTo>
                      <a:pt x="1662" y="2355"/>
                    </a:lnTo>
                    <a:lnTo>
                      <a:pt x="1653" y="2344"/>
                    </a:lnTo>
                    <a:lnTo>
                      <a:pt x="1599" y="2342"/>
                    </a:lnTo>
                    <a:lnTo>
                      <a:pt x="1581" y="2322"/>
                    </a:lnTo>
                    <a:lnTo>
                      <a:pt x="1537" y="2308"/>
                    </a:lnTo>
                    <a:lnTo>
                      <a:pt x="1476" y="2314"/>
                    </a:lnTo>
                    <a:lnTo>
                      <a:pt x="1441" y="2294"/>
                    </a:lnTo>
                    <a:lnTo>
                      <a:pt x="1388" y="2178"/>
                    </a:lnTo>
                    <a:lnTo>
                      <a:pt x="1382" y="2151"/>
                    </a:lnTo>
                    <a:lnTo>
                      <a:pt x="1367" y="2156"/>
                    </a:lnTo>
                    <a:lnTo>
                      <a:pt x="1336" y="2130"/>
                    </a:lnTo>
                    <a:lnTo>
                      <a:pt x="1343" y="2121"/>
                    </a:lnTo>
                    <a:lnTo>
                      <a:pt x="1354" y="2129"/>
                    </a:lnTo>
                    <a:lnTo>
                      <a:pt x="1368" y="2129"/>
                    </a:lnTo>
                    <a:lnTo>
                      <a:pt x="1349" y="2098"/>
                    </a:lnTo>
                    <a:lnTo>
                      <a:pt x="1323" y="2102"/>
                    </a:lnTo>
                    <a:lnTo>
                      <a:pt x="1306" y="2090"/>
                    </a:lnTo>
                    <a:lnTo>
                      <a:pt x="1301" y="2038"/>
                    </a:lnTo>
                    <a:lnTo>
                      <a:pt x="1238" y="1963"/>
                    </a:lnTo>
                    <a:lnTo>
                      <a:pt x="1234" y="1930"/>
                    </a:lnTo>
                    <a:lnTo>
                      <a:pt x="1198" y="1881"/>
                    </a:lnTo>
                    <a:lnTo>
                      <a:pt x="1180" y="1873"/>
                    </a:lnTo>
                    <a:lnTo>
                      <a:pt x="1127" y="1916"/>
                    </a:lnTo>
                    <a:lnTo>
                      <a:pt x="1110" y="1915"/>
                    </a:lnTo>
                    <a:lnTo>
                      <a:pt x="1093" y="1884"/>
                    </a:lnTo>
                    <a:lnTo>
                      <a:pt x="1078" y="1891"/>
                    </a:lnTo>
                    <a:lnTo>
                      <a:pt x="1039" y="1873"/>
                    </a:lnTo>
                    <a:lnTo>
                      <a:pt x="1044" y="1854"/>
                    </a:lnTo>
                    <a:lnTo>
                      <a:pt x="1051" y="1834"/>
                    </a:lnTo>
                    <a:lnTo>
                      <a:pt x="1042" y="1844"/>
                    </a:lnTo>
                    <a:lnTo>
                      <a:pt x="1018" y="1845"/>
                    </a:lnTo>
                    <a:lnTo>
                      <a:pt x="998" y="1843"/>
                    </a:lnTo>
                    <a:lnTo>
                      <a:pt x="1023" y="1864"/>
                    </a:lnTo>
                    <a:lnTo>
                      <a:pt x="1022" y="1896"/>
                    </a:lnTo>
                    <a:lnTo>
                      <a:pt x="1003" y="1913"/>
                    </a:lnTo>
                    <a:lnTo>
                      <a:pt x="982" y="1914"/>
                    </a:lnTo>
                    <a:lnTo>
                      <a:pt x="957" y="1880"/>
                    </a:lnTo>
                    <a:lnTo>
                      <a:pt x="958" y="1870"/>
                    </a:lnTo>
                    <a:lnTo>
                      <a:pt x="942" y="1877"/>
                    </a:lnTo>
                    <a:lnTo>
                      <a:pt x="929" y="1866"/>
                    </a:lnTo>
                    <a:lnTo>
                      <a:pt x="893" y="1852"/>
                    </a:lnTo>
                    <a:lnTo>
                      <a:pt x="863" y="1831"/>
                    </a:lnTo>
                    <a:lnTo>
                      <a:pt x="852" y="1724"/>
                    </a:lnTo>
                    <a:lnTo>
                      <a:pt x="797" y="1724"/>
                    </a:lnTo>
                    <a:lnTo>
                      <a:pt x="784" y="1679"/>
                    </a:lnTo>
                    <a:lnTo>
                      <a:pt x="786" y="1628"/>
                    </a:lnTo>
                    <a:lnTo>
                      <a:pt x="822" y="1597"/>
                    </a:lnTo>
                    <a:lnTo>
                      <a:pt x="786" y="1519"/>
                    </a:lnTo>
                    <a:lnTo>
                      <a:pt x="754" y="1503"/>
                    </a:lnTo>
                    <a:lnTo>
                      <a:pt x="722" y="1442"/>
                    </a:lnTo>
                    <a:lnTo>
                      <a:pt x="702" y="1427"/>
                    </a:lnTo>
                    <a:lnTo>
                      <a:pt x="683" y="1434"/>
                    </a:lnTo>
                    <a:lnTo>
                      <a:pt x="556" y="1351"/>
                    </a:lnTo>
                    <a:lnTo>
                      <a:pt x="526" y="1353"/>
                    </a:lnTo>
                    <a:lnTo>
                      <a:pt x="509" y="1365"/>
                    </a:lnTo>
                    <a:lnTo>
                      <a:pt x="474" y="1339"/>
                    </a:lnTo>
                    <a:lnTo>
                      <a:pt x="480" y="1318"/>
                    </a:lnTo>
                    <a:lnTo>
                      <a:pt x="470" y="1306"/>
                    </a:lnTo>
                    <a:lnTo>
                      <a:pt x="486" y="1270"/>
                    </a:lnTo>
                    <a:lnTo>
                      <a:pt x="447" y="1238"/>
                    </a:lnTo>
                    <a:lnTo>
                      <a:pt x="440" y="1213"/>
                    </a:lnTo>
                    <a:lnTo>
                      <a:pt x="403" y="1205"/>
                    </a:lnTo>
                    <a:lnTo>
                      <a:pt x="384" y="1182"/>
                    </a:lnTo>
                    <a:lnTo>
                      <a:pt x="361" y="1179"/>
                    </a:lnTo>
                    <a:lnTo>
                      <a:pt x="361" y="1156"/>
                    </a:lnTo>
                    <a:lnTo>
                      <a:pt x="375" y="1137"/>
                    </a:lnTo>
                    <a:lnTo>
                      <a:pt x="364" y="1121"/>
                    </a:lnTo>
                    <a:lnTo>
                      <a:pt x="373" y="1097"/>
                    </a:lnTo>
                    <a:lnTo>
                      <a:pt x="375" y="1034"/>
                    </a:lnTo>
                    <a:lnTo>
                      <a:pt x="393" y="1018"/>
                    </a:lnTo>
                    <a:lnTo>
                      <a:pt x="400" y="964"/>
                    </a:lnTo>
                    <a:lnTo>
                      <a:pt x="421" y="970"/>
                    </a:lnTo>
                    <a:lnTo>
                      <a:pt x="443" y="956"/>
                    </a:lnTo>
                    <a:lnTo>
                      <a:pt x="443" y="896"/>
                    </a:lnTo>
                    <a:lnTo>
                      <a:pt x="428" y="887"/>
                    </a:lnTo>
                    <a:lnTo>
                      <a:pt x="425" y="843"/>
                    </a:lnTo>
                    <a:lnTo>
                      <a:pt x="446" y="839"/>
                    </a:lnTo>
                    <a:lnTo>
                      <a:pt x="479" y="828"/>
                    </a:lnTo>
                    <a:lnTo>
                      <a:pt x="489" y="820"/>
                    </a:lnTo>
                    <a:lnTo>
                      <a:pt x="475" y="810"/>
                    </a:lnTo>
                    <a:lnTo>
                      <a:pt x="451" y="798"/>
                    </a:lnTo>
                    <a:lnTo>
                      <a:pt x="414" y="802"/>
                    </a:lnTo>
                    <a:lnTo>
                      <a:pt x="388" y="796"/>
                    </a:lnTo>
                    <a:lnTo>
                      <a:pt x="331" y="763"/>
                    </a:lnTo>
                    <a:lnTo>
                      <a:pt x="305" y="759"/>
                    </a:lnTo>
                    <a:lnTo>
                      <a:pt x="274" y="741"/>
                    </a:lnTo>
                    <a:lnTo>
                      <a:pt x="259" y="702"/>
                    </a:lnTo>
                    <a:lnTo>
                      <a:pt x="241" y="673"/>
                    </a:lnTo>
                    <a:lnTo>
                      <a:pt x="216" y="667"/>
                    </a:lnTo>
                    <a:lnTo>
                      <a:pt x="199" y="634"/>
                    </a:lnTo>
                    <a:lnTo>
                      <a:pt x="200" y="604"/>
                    </a:lnTo>
                    <a:lnTo>
                      <a:pt x="185" y="560"/>
                    </a:lnTo>
                    <a:lnTo>
                      <a:pt x="153" y="557"/>
                    </a:lnTo>
                    <a:lnTo>
                      <a:pt x="149" y="559"/>
                    </a:lnTo>
                    <a:lnTo>
                      <a:pt x="157" y="530"/>
                    </a:lnTo>
                    <a:lnTo>
                      <a:pt x="142" y="489"/>
                    </a:lnTo>
                    <a:lnTo>
                      <a:pt x="105" y="424"/>
                    </a:lnTo>
                    <a:lnTo>
                      <a:pt x="58" y="406"/>
                    </a:lnTo>
                    <a:lnTo>
                      <a:pt x="63" y="387"/>
                    </a:lnTo>
                    <a:lnTo>
                      <a:pt x="61" y="337"/>
                    </a:lnTo>
                    <a:lnTo>
                      <a:pt x="82" y="285"/>
                    </a:lnTo>
                    <a:lnTo>
                      <a:pt x="71" y="264"/>
                    </a:lnTo>
                    <a:lnTo>
                      <a:pt x="32" y="259"/>
                    </a:lnTo>
                    <a:lnTo>
                      <a:pt x="31" y="213"/>
                    </a:lnTo>
                    <a:lnTo>
                      <a:pt x="36" y="180"/>
                    </a:lnTo>
                    <a:lnTo>
                      <a:pt x="19" y="116"/>
                    </a:lnTo>
                    <a:lnTo>
                      <a:pt x="1" y="82"/>
                    </a:lnTo>
                    <a:lnTo>
                      <a:pt x="0" y="66"/>
                    </a:lnTo>
                    <a:lnTo>
                      <a:pt x="48" y="62"/>
                    </a:lnTo>
                    <a:lnTo>
                      <a:pt x="65" y="17"/>
                    </a:lnTo>
                    <a:lnTo>
                      <a:pt x="83" y="0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3" name="íṥlídê"/>
              <p:cNvSpPr/>
              <p:nvPr/>
            </p:nvSpPr>
            <p:spPr bwMode="auto">
              <a:xfrm>
                <a:off x="1264838" y="3374935"/>
                <a:ext cx="270175" cy="258485"/>
              </a:xfrm>
              <a:custGeom>
                <a:avLst/>
                <a:gdLst>
                  <a:gd name="T0" fmla="*/ 1651 w 1664"/>
                  <a:gd name="T1" fmla="*/ 1360 h 1592"/>
                  <a:gd name="T2" fmla="*/ 1585 w 1664"/>
                  <a:gd name="T3" fmla="*/ 1325 h 1592"/>
                  <a:gd name="T4" fmla="*/ 1519 w 1664"/>
                  <a:gd name="T5" fmla="*/ 1218 h 1592"/>
                  <a:gd name="T6" fmla="*/ 1508 w 1664"/>
                  <a:gd name="T7" fmla="*/ 1122 h 1592"/>
                  <a:gd name="T8" fmla="*/ 1508 w 1664"/>
                  <a:gd name="T9" fmla="*/ 1013 h 1592"/>
                  <a:gd name="T10" fmla="*/ 1444 w 1664"/>
                  <a:gd name="T11" fmla="*/ 936 h 1592"/>
                  <a:gd name="T12" fmla="*/ 1405 w 1664"/>
                  <a:gd name="T13" fmla="*/ 928 h 1592"/>
                  <a:gd name="T14" fmla="*/ 1248 w 1664"/>
                  <a:gd name="T15" fmla="*/ 847 h 1592"/>
                  <a:gd name="T16" fmla="*/ 1196 w 1664"/>
                  <a:gd name="T17" fmla="*/ 833 h 1592"/>
                  <a:gd name="T18" fmla="*/ 1192 w 1664"/>
                  <a:gd name="T19" fmla="*/ 800 h 1592"/>
                  <a:gd name="T20" fmla="*/ 1169 w 1664"/>
                  <a:gd name="T21" fmla="*/ 732 h 1592"/>
                  <a:gd name="T22" fmla="*/ 1125 w 1664"/>
                  <a:gd name="T23" fmla="*/ 699 h 1592"/>
                  <a:gd name="T24" fmla="*/ 1083 w 1664"/>
                  <a:gd name="T25" fmla="*/ 673 h 1592"/>
                  <a:gd name="T26" fmla="*/ 1097 w 1664"/>
                  <a:gd name="T27" fmla="*/ 631 h 1592"/>
                  <a:gd name="T28" fmla="*/ 1095 w 1664"/>
                  <a:gd name="T29" fmla="*/ 591 h 1592"/>
                  <a:gd name="T30" fmla="*/ 1115 w 1664"/>
                  <a:gd name="T31" fmla="*/ 512 h 1592"/>
                  <a:gd name="T32" fmla="*/ 1143 w 1664"/>
                  <a:gd name="T33" fmla="*/ 464 h 1592"/>
                  <a:gd name="T34" fmla="*/ 1165 w 1664"/>
                  <a:gd name="T35" fmla="*/ 390 h 1592"/>
                  <a:gd name="T36" fmla="*/ 1147 w 1664"/>
                  <a:gd name="T37" fmla="*/ 337 h 1592"/>
                  <a:gd name="T38" fmla="*/ 1201 w 1664"/>
                  <a:gd name="T39" fmla="*/ 322 h 1592"/>
                  <a:gd name="T40" fmla="*/ 1197 w 1664"/>
                  <a:gd name="T41" fmla="*/ 304 h 1592"/>
                  <a:gd name="T42" fmla="*/ 1136 w 1664"/>
                  <a:gd name="T43" fmla="*/ 296 h 1592"/>
                  <a:gd name="T44" fmla="*/ 1053 w 1664"/>
                  <a:gd name="T45" fmla="*/ 257 h 1592"/>
                  <a:gd name="T46" fmla="*/ 996 w 1664"/>
                  <a:gd name="T47" fmla="*/ 235 h 1592"/>
                  <a:gd name="T48" fmla="*/ 963 w 1664"/>
                  <a:gd name="T49" fmla="*/ 167 h 1592"/>
                  <a:gd name="T50" fmla="*/ 921 w 1664"/>
                  <a:gd name="T51" fmla="*/ 128 h 1592"/>
                  <a:gd name="T52" fmla="*/ 907 w 1664"/>
                  <a:gd name="T53" fmla="*/ 54 h 1592"/>
                  <a:gd name="T54" fmla="*/ 833 w 1664"/>
                  <a:gd name="T55" fmla="*/ 64 h 1592"/>
                  <a:gd name="T56" fmla="*/ 805 w 1664"/>
                  <a:gd name="T57" fmla="*/ 17 h 1592"/>
                  <a:gd name="T58" fmla="*/ 737 w 1664"/>
                  <a:gd name="T59" fmla="*/ 14 h 1592"/>
                  <a:gd name="T60" fmla="*/ 608 w 1664"/>
                  <a:gd name="T61" fmla="*/ 0 h 1592"/>
                  <a:gd name="T62" fmla="*/ 550 w 1664"/>
                  <a:gd name="T63" fmla="*/ 13 h 1592"/>
                  <a:gd name="T64" fmla="*/ 511 w 1664"/>
                  <a:gd name="T65" fmla="*/ 57 h 1592"/>
                  <a:gd name="T66" fmla="*/ 473 w 1664"/>
                  <a:gd name="T67" fmla="*/ 94 h 1592"/>
                  <a:gd name="T68" fmla="*/ 370 w 1664"/>
                  <a:gd name="T69" fmla="*/ 140 h 1592"/>
                  <a:gd name="T70" fmla="*/ 336 w 1664"/>
                  <a:gd name="T71" fmla="*/ 252 h 1592"/>
                  <a:gd name="T72" fmla="*/ 369 w 1664"/>
                  <a:gd name="T73" fmla="*/ 370 h 1592"/>
                  <a:gd name="T74" fmla="*/ 348 w 1664"/>
                  <a:gd name="T75" fmla="*/ 457 h 1592"/>
                  <a:gd name="T76" fmla="*/ 320 w 1664"/>
                  <a:gd name="T77" fmla="*/ 544 h 1592"/>
                  <a:gd name="T78" fmla="*/ 0 w 1664"/>
                  <a:gd name="T79" fmla="*/ 786 h 1592"/>
                  <a:gd name="T80" fmla="*/ 0 w 1664"/>
                  <a:gd name="T81" fmla="*/ 788 h 1592"/>
                  <a:gd name="T82" fmla="*/ 238 w 1664"/>
                  <a:gd name="T83" fmla="*/ 1031 h 1592"/>
                  <a:gd name="T84" fmla="*/ 1361 w 1664"/>
                  <a:gd name="T85" fmla="*/ 1592 h 1592"/>
                  <a:gd name="T86" fmla="*/ 1436 w 1664"/>
                  <a:gd name="T87" fmla="*/ 1436 h 1592"/>
                  <a:gd name="T88" fmla="*/ 1572 w 1664"/>
                  <a:gd name="T89" fmla="*/ 1424 h 1592"/>
                  <a:gd name="T90" fmla="*/ 1628 w 1664"/>
                  <a:gd name="T91" fmla="*/ 1419 h 1592"/>
                  <a:gd name="T92" fmla="*/ 1664 w 1664"/>
                  <a:gd name="T93" fmla="*/ 1371 h 1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64" h="1592">
                    <a:moveTo>
                      <a:pt x="1664" y="1371"/>
                    </a:moveTo>
                    <a:lnTo>
                      <a:pt x="1651" y="1360"/>
                    </a:lnTo>
                    <a:lnTo>
                      <a:pt x="1615" y="1346"/>
                    </a:lnTo>
                    <a:lnTo>
                      <a:pt x="1585" y="1325"/>
                    </a:lnTo>
                    <a:lnTo>
                      <a:pt x="1574" y="1218"/>
                    </a:lnTo>
                    <a:lnTo>
                      <a:pt x="1519" y="1218"/>
                    </a:lnTo>
                    <a:lnTo>
                      <a:pt x="1506" y="1173"/>
                    </a:lnTo>
                    <a:lnTo>
                      <a:pt x="1508" y="1122"/>
                    </a:lnTo>
                    <a:lnTo>
                      <a:pt x="1544" y="1091"/>
                    </a:lnTo>
                    <a:lnTo>
                      <a:pt x="1508" y="1013"/>
                    </a:lnTo>
                    <a:lnTo>
                      <a:pt x="1476" y="997"/>
                    </a:lnTo>
                    <a:lnTo>
                      <a:pt x="1444" y="936"/>
                    </a:lnTo>
                    <a:lnTo>
                      <a:pt x="1424" y="921"/>
                    </a:lnTo>
                    <a:lnTo>
                      <a:pt x="1405" y="928"/>
                    </a:lnTo>
                    <a:lnTo>
                      <a:pt x="1278" y="845"/>
                    </a:lnTo>
                    <a:lnTo>
                      <a:pt x="1248" y="847"/>
                    </a:lnTo>
                    <a:lnTo>
                      <a:pt x="1231" y="859"/>
                    </a:lnTo>
                    <a:lnTo>
                      <a:pt x="1196" y="833"/>
                    </a:lnTo>
                    <a:lnTo>
                      <a:pt x="1202" y="812"/>
                    </a:lnTo>
                    <a:lnTo>
                      <a:pt x="1192" y="800"/>
                    </a:lnTo>
                    <a:lnTo>
                      <a:pt x="1208" y="764"/>
                    </a:lnTo>
                    <a:lnTo>
                      <a:pt x="1169" y="732"/>
                    </a:lnTo>
                    <a:lnTo>
                      <a:pt x="1162" y="707"/>
                    </a:lnTo>
                    <a:lnTo>
                      <a:pt x="1125" y="699"/>
                    </a:lnTo>
                    <a:lnTo>
                      <a:pt x="1106" y="676"/>
                    </a:lnTo>
                    <a:lnTo>
                      <a:pt x="1083" y="673"/>
                    </a:lnTo>
                    <a:lnTo>
                      <a:pt x="1083" y="650"/>
                    </a:lnTo>
                    <a:lnTo>
                      <a:pt x="1097" y="631"/>
                    </a:lnTo>
                    <a:lnTo>
                      <a:pt x="1086" y="615"/>
                    </a:lnTo>
                    <a:lnTo>
                      <a:pt x="1095" y="591"/>
                    </a:lnTo>
                    <a:lnTo>
                      <a:pt x="1097" y="528"/>
                    </a:lnTo>
                    <a:lnTo>
                      <a:pt x="1115" y="512"/>
                    </a:lnTo>
                    <a:lnTo>
                      <a:pt x="1122" y="458"/>
                    </a:lnTo>
                    <a:lnTo>
                      <a:pt x="1143" y="464"/>
                    </a:lnTo>
                    <a:lnTo>
                      <a:pt x="1165" y="450"/>
                    </a:lnTo>
                    <a:lnTo>
                      <a:pt x="1165" y="390"/>
                    </a:lnTo>
                    <a:lnTo>
                      <a:pt x="1150" y="381"/>
                    </a:lnTo>
                    <a:lnTo>
                      <a:pt x="1147" y="337"/>
                    </a:lnTo>
                    <a:lnTo>
                      <a:pt x="1168" y="333"/>
                    </a:lnTo>
                    <a:lnTo>
                      <a:pt x="1201" y="322"/>
                    </a:lnTo>
                    <a:lnTo>
                      <a:pt x="1211" y="314"/>
                    </a:lnTo>
                    <a:lnTo>
                      <a:pt x="1197" y="304"/>
                    </a:lnTo>
                    <a:lnTo>
                      <a:pt x="1173" y="292"/>
                    </a:lnTo>
                    <a:lnTo>
                      <a:pt x="1136" y="296"/>
                    </a:lnTo>
                    <a:lnTo>
                      <a:pt x="1110" y="290"/>
                    </a:lnTo>
                    <a:lnTo>
                      <a:pt x="1053" y="257"/>
                    </a:lnTo>
                    <a:lnTo>
                      <a:pt x="1027" y="253"/>
                    </a:lnTo>
                    <a:lnTo>
                      <a:pt x="996" y="235"/>
                    </a:lnTo>
                    <a:lnTo>
                      <a:pt x="981" y="196"/>
                    </a:lnTo>
                    <a:lnTo>
                      <a:pt x="963" y="167"/>
                    </a:lnTo>
                    <a:lnTo>
                      <a:pt x="938" y="161"/>
                    </a:lnTo>
                    <a:lnTo>
                      <a:pt x="921" y="128"/>
                    </a:lnTo>
                    <a:lnTo>
                      <a:pt x="922" y="98"/>
                    </a:lnTo>
                    <a:lnTo>
                      <a:pt x="907" y="54"/>
                    </a:lnTo>
                    <a:lnTo>
                      <a:pt x="875" y="51"/>
                    </a:lnTo>
                    <a:lnTo>
                      <a:pt x="833" y="64"/>
                    </a:lnTo>
                    <a:lnTo>
                      <a:pt x="804" y="50"/>
                    </a:lnTo>
                    <a:lnTo>
                      <a:pt x="805" y="17"/>
                    </a:lnTo>
                    <a:lnTo>
                      <a:pt x="783" y="2"/>
                    </a:lnTo>
                    <a:lnTo>
                      <a:pt x="737" y="14"/>
                    </a:lnTo>
                    <a:lnTo>
                      <a:pt x="679" y="0"/>
                    </a:lnTo>
                    <a:lnTo>
                      <a:pt x="608" y="0"/>
                    </a:lnTo>
                    <a:lnTo>
                      <a:pt x="591" y="13"/>
                    </a:lnTo>
                    <a:lnTo>
                      <a:pt x="550" y="13"/>
                    </a:lnTo>
                    <a:lnTo>
                      <a:pt x="504" y="52"/>
                    </a:lnTo>
                    <a:lnTo>
                      <a:pt x="511" y="57"/>
                    </a:lnTo>
                    <a:lnTo>
                      <a:pt x="489" y="94"/>
                    </a:lnTo>
                    <a:lnTo>
                      <a:pt x="473" y="94"/>
                    </a:lnTo>
                    <a:lnTo>
                      <a:pt x="437" y="125"/>
                    </a:lnTo>
                    <a:lnTo>
                      <a:pt x="370" y="140"/>
                    </a:lnTo>
                    <a:lnTo>
                      <a:pt x="340" y="196"/>
                    </a:lnTo>
                    <a:lnTo>
                      <a:pt x="336" y="252"/>
                    </a:lnTo>
                    <a:lnTo>
                      <a:pt x="367" y="316"/>
                    </a:lnTo>
                    <a:lnTo>
                      <a:pt x="369" y="370"/>
                    </a:lnTo>
                    <a:lnTo>
                      <a:pt x="340" y="431"/>
                    </a:lnTo>
                    <a:lnTo>
                      <a:pt x="348" y="457"/>
                    </a:lnTo>
                    <a:lnTo>
                      <a:pt x="347" y="505"/>
                    </a:lnTo>
                    <a:lnTo>
                      <a:pt x="320" y="544"/>
                    </a:lnTo>
                    <a:lnTo>
                      <a:pt x="304" y="569"/>
                    </a:lnTo>
                    <a:lnTo>
                      <a:pt x="0" y="786"/>
                    </a:lnTo>
                    <a:lnTo>
                      <a:pt x="0" y="788"/>
                    </a:lnTo>
                    <a:lnTo>
                      <a:pt x="0" y="788"/>
                    </a:lnTo>
                    <a:lnTo>
                      <a:pt x="87" y="1012"/>
                    </a:lnTo>
                    <a:lnTo>
                      <a:pt x="238" y="1031"/>
                    </a:lnTo>
                    <a:lnTo>
                      <a:pt x="1038" y="1586"/>
                    </a:lnTo>
                    <a:lnTo>
                      <a:pt x="1361" y="1592"/>
                    </a:lnTo>
                    <a:lnTo>
                      <a:pt x="1399" y="1520"/>
                    </a:lnTo>
                    <a:lnTo>
                      <a:pt x="1436" y="1436"/>
                    </a:lnTo>
                    <a:lnTo>
                      <a:pt x="1512" y="1401"/>
                    </a:lnTo>
                    <a:lnTo>
                      <a:pt x="1572" y="1424"/>
                    </a:lnTo>
                    <a:lnTo>
                      <a:pt x="1611" y="1411"/>
                    </a:lnTo>
                    <a:lnTo>
                      <a:pt x="1628" y="1419"/>
                    </a:lnTo>
                    <a:lnTo>
                      <a:pt x="1646" y="1378"/>
                    </a:lnTo>
                    <a:lnTo>
                      <a:pt x="1664" y="1371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4" name="íśľiḋè"/>
              <p:cNvSpPr/>
              <p:nvPr/>
            </p:nvSpPr>
            <p:spPr bwMode="auto">
              <a:xfrm>
                <a:off x="1486953" y="3602245"/>
                <a:ext cx="46761" cy="49359"/>
              </a:xfrm>
              <a:custGeom>
                <a:avLst/>
                <a:gdLst>
                  <a:gd name="T0" fmla="*/ 0 w 294"/>
                  <a:gd name="T1" fmla="*/ 191 h 302"/>
                  <a:gd name="T2" fmla="*/ 38 w 294"/>
                  <a:gd name="T3" fmla="*/ 119 h 302"/>
                  <a:gd name="T4" fmla="*/ 75 w 294"/>
                  <a:gd name="T5" fmla="*/ 35 h 302"/>
                  <a:gd name="T6" fmla="*/ 151 w 294"/>
                  <a:gd name="T7" fmla="*/ 0 h 302"/>
                  <a:gd name="T8" fmla="*/ 211 w 294"/>
                  <a:gd name="T9" fmla="*/ 23 h 302"/>
                  <a:gd name="T10" fmla="*/ 250 w 294"/>
                  <a:gd name="T11" fmla="*/ 10 h 302"/>
                  <a:gd name="T12" fmla="*/ 267 w 294"/>
                  <a:gd name="T13" fmla="*/ 18 h 302"/>
                  <a:gd name="T14" fmla="*/ 263 w 294"/>
                  <a:gd name="T15" fmla="*/ 27 h 302"/>
                  <a:gd name="T16" fmla="*/ 280 w 294"/>
                  <a:gd name="T17" fmla="*/ 103 h 302"/>
                  <a:gd name="T18" fmla="*/ 181 w 294"/>
                  <a:gd name="T19" fmla="*/ 122 h 302"/>
                  <a:gd name="T20" fmla="*/ 249 w 294"/>
                  <a:gd name="T21" fmla="*/ 167 h 302"/>
                  <a:gd name="T22" fmla="*/ 256 w 294"/>
                  <a:gd name="T23" fmla="*/ 151 h 302"/>
                  <a:gd name="T24" fmla="*/ 268 w 294"/>
                  <a:gd name="T25" fmla="*/ 177 h 302"/>
                  <a:gd name="T26" fmla="*/ 269 w 294"/>
                  <a:gd name="T27" fmla="*/ 206 h 302"/>
                  <a:gd name="T28" fmla="*/ 289 w 294"/>
                  <a:gd name="T29" fmla="*/ 227 h 302"/>
                  <a:gd name="T30" fmla="*/ 283 w 294"/>
                  <a:gd name="T31" fmla="*/ 227 h 302"/>
                  <a:gd name="T32" fmla="*/ 275 w 294"/>
                  <a:gd name="T33" fmla="*/ 231 h 302"/>
                  <a:gd name="T34" fmla="*/ 294 w 294"/>
                  <a:gd name="T35" fmla="*/ 254 h 302"/>
                  <a:gd name="T36" fmla="*/ 189 w 294"/>
                  <a:gd name="T37" fmla="*/ 302 h 302"/>
                  <a:gd name="T38" fmla="*/ 180 w 294"/>
                  <a:gd name="T39" fmla="*/ 240 h 302"/>
                  <a:gd name="T40" fmla="*/ 23 w 294"/>
                  <a:gd name="T41" fmla="*/ 191 h 302"/>
                  <a:gd name="T42" fmla="*/ 0 w 294"/>
                  <a:gd name="T43" fmla="*/ 191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94" h="302">
                    <a:moveTo>
                      <a:pt x="0" y="191"/>
                    </a:moveTo>
                    <a:lnTo>
                      <a:pt x="38" y="119"/>
                    </a:lnTo>
                    <a:lnTo>
                      <a:pt x="75" y="35"/>
                    </a:lnTo>
                    <a:lnTo>
                      <a:pt x="151" y="0"/>
                    </a:lnTo>
                    <a:lnTo>
                      <a:pt x="211" y="23"/>
                    </a:lnTo>
                    <a:lnTo>
                      <a:pt x="250" y="10"/>
                    </a:lnTo>
                    <a:lnTo>
                      <a:pt x="267" y="18"/>
                    </a:lnTo>
                    <a:lnTo>
                      <a:pt x="263" y="27"/>
                    </a:lnTo>
                    <a:lnTo>
                      <a:pt x="280" y="103"/>
                    </a:lnTo>
                    <a:lnTo>
                      <a:pt x="181" y="122"/>
                    </a:lnTo>
                    <a:lnTo>
                      <a:pt x="249" y="167"/>
                    </a:lnTo>
                    <a:lnTo>
                      <a:pt x="256" y="151"/>
                    </a:lnTo>
                    <a:lnTo>
                      <a:pt x="268" y="177"/>
                    </a:lnTo>
                    <a:lnTo>
                      <a:pt x="269" y="206"/>
                    </a:lnTo>
                    <a:lnTo>
                      <a:pt x="289" y="227"/>
                    </a:lnTo>
                    <a:lnTo>
                      <a:pt x="283" y="227"/>
                    </a:lnTo>
                    <a:lnTo>
                      <a:pt x="275" y="231"/>
                    </a:lnTo>
                    <a:lnTo>
                      <a:pt x="294" y="254"/>
                    </a:lnTo>
                    <a:lnTo>
                      <a:pt x="189" y="302"/>
                    </a:lnTo>
                    <a:lnTo>
                      <a:pt x="180" y="240"/>
                    </a:lnTo>
                    <a:lnTo>
                      <a:pt x="23" y="191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5" name="išḻîḋé"/>
              <p:cNvSpPr/>
              <p:nvPr/>
            </p:nvSpPr>
            <p:spPr bwMode="auto">
              <a:xfrm>
                <a:off x="1173914" y="3381429"/>
                <a:ext cx="174055" cy="155871"/>
              </a:xfrm>
              <a:custGeom>
                <a:avLst/>
                <a:gdLst>
                  <a:gd name="T0" fmla="*/ 865 w 1072"/>
                  <a:gd name="T1" fmla="*/ 528 h 959"/>
                  <a:gd name="T2" fmla="*/ 908 w 1072"/>
                  <a:gd name="T3" fmla="*/ 464 h 959"/>
                  <a:gd name="T4" fmla="*/ 901 w 1072"/>
                  <a:gd name="T5" fmla="*/ 390 h 959"/>
                  <a:gd name="T6" fmla="*/ 928 w 1072"/>
                  <a:gd name="T7" fmla="*/ 275 h 959"/>
                  <a:gd name="T8" fmla="*/ 901 w 1072"/>
                  <a:gd name="T9" fmla="*/ 155 h 959"/>
                  <a:gd name="T10" fmla="*/ 998 w 1072"/>
                  <a:gd name="T11" fmla="*/ 84 h 959"/>
                  <a:gd name="T12" fmla="*/ 1050 w 1072"/>
                  <a:gd name="T13" fmla="*/ 53 h 959"/>
                  <a:gd name="T14" fmla="*/ 1051 w 1072"/>
                  <a:gd name="T15" fmla="*/ 0 h 959"/>
                  <a:gd name="T16" fmla="*/ 936 w 1072"/>
                  <a:gd name="T17" fmla="*/ 25 h 959"/>
                  <a:gd name="T18" fmla="*/ 815 w 1072"/>
                  <a:gd name="T19" fmla="*/ 26 h 959"/>
                  <a:gd name="T20" fmla="*/ 712 w 1072"/>
                  <a:gd name="T21" fmla="*/ 44 h 959"/>
                  <a:gd name="T22" fmla="*/ 642 w 1072"/>
                  <a:gd name="T23" fmla="*/ 86 h 959"/>
                  <a:gd name="T24" fmla="*/ 556 w 1072"/>
                  <a:gd name="T25" fmla="*/ 99 h 959"/>
                  <a:gd name="T26" fmla="*/ 483 w 1072"/>
                  <a:gd name="T27" fmla="*/ 71 h 959"/>
                  <a:gd name="T28" fmla="*/ 363 w 1072"/>
                  <a:gd name="T29" fmla="*/ 71 h 959"/>
                  <a:gd name="T30" fmla="*/ 319 w 1072"/>
                  <a:gd name="T31" fmla="*/ 88 h 959"/>
                  <a:gd name="T32" fmla="*/ 206 w 1072"/>
                  <a:gd name="T33" fmla="*/ 113 h 959"/>
                  <a:gd name="T34" fmla="*/ 147 w 1072"/>
                  <a:gd name="T35" fmla="*/ 128 h 959"/>
                  <a:gd name="T36" fmla="*/ 124 w 1072"/>
                  <a:gd name="T37" fmla="*/ 206 h 959"/>
                  <a:gd name="T38" fmla="*/ 94 w 1072"/>
                  <a:gd name="T39" fmla="*/ 256 h 959"/>
                  <a:gd name="T40" fmla="*/ 25 w 1072"/>
                  <a:gd name="T41" fmla="*/ 256 h 959"/>
                  <a:gd name="T42" fmla="*/ 0 w 1072"/>
                  <a:gd name="T43" fmla="*/ 268 h 959"/>
                  <a:gd name="T44" fmla="*/ 36 w 1072"/>
                  <a:gd name="T45" fmla="*/ 377 h 959"/>
                  <a:gd name="T46" fmla="*/ 41 w 1072"/>
                  <a:gd name="T47" fmla="*/ 459 h 959"/>
                  <a:gd name="T48" fmla="*/ 107 w 1072"/>
                  <a:gd name="T49" fmla="*/ 527 h 959"/>
                  <a:gd name="T50" fmla="*/ 154 w 1072"/>
                  <a:gd name="T51" fmla="*/ 580 h 959"/>
                  <a:gd name="T52" fmla="*/ 163 w 1072"/>
                  <a:gd name="T53" fmla="*/ 652 h 959"/>
                  <a:gd name="T54" fmla="*/ 128 w 1072"/>
                  <a:gd name="T55" fmla="*/ 663 h 959"/>
                  <a:gd name="T56" fmla="*/ 81 w 1072"/>
                  <a:gd name="T57" fmla="*/ 728 h 959"/>
                  <a:gd name="T58" fmla="*/ 52 w 1072"/>
                  <a:gd name="T59" fmla="*/ 767 h 959"/>
                  <a:gd name="T60" fmla="*/ 85 w 1072"/>
                  <a:gd name="T61" fmla="*/ 803 h 959"/>
                  <a:gd name="T62" fmla="*/ 80 w 1072"/>
                  <a:gd name="T63" fmla="*/ 891 h 959"/>
                  <a:gd name="T64" fmla="*/ 153 w 1072"/>
                  <a:gd name="T65" fmla="*/ 917 h 959"/>
                  <a:gd name="T66" fmla="*/ 199 w 1072"/>
                  <a:gd name="T67" fmla="*/ 945 h 959"/>
                  <a:gd name="T68" fmla="*/ 561 w 1072"/>
                  <a:gd name="T69" fmla="*/ 747 h 9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72" h="959">
                    <a:moveTo>
                      <a:pt x="561" y="745"/>
                    </a:moveTo>
                    <a:lnTo>
                      <a:pt x="865" y="528"/>
                    </a:lnTo>
                    <a:lnTo>
                      <a:pt x="881" y="503"/>
                    </a:lnTo>
                    <a:lnTo>
                      <a:pt x="908" y="464"/>
                    </a:lnTo>
                    <a:lnTo>
                      <a:pt x="909" y="416"/>
                    </a:lnTo>
                    <a:lnTo>
                      <a:pt x="901" y="390"/>
                    </a:lnTo>
                    <a:lnTo>
                      <a:pt x="930" y="329"/>
                    </a:lnTo>
                    <a:lnTo>
                      <a:pt x="928" y="275"/>
                    </a:lnTo>
                    <a:lnTo>
                      <a:pt x="897" y="211"/>
                    </a:lnTo>
                    <a:lnTo>
                      <a:pt x="901" y="155"/>
                    </a:lnTo>
                    <a:lnTo>
                      <a:pt x="931" y="99"/>
                    </a:lnTo>
                    <a:lnTo>
                      <a:pt x="998" y="84"/>
                    </a:lnTo>
                    <a:lnTo>
                      <a:pt x="1034" y="53"/>
                    </a:lnTo>
                    <a:lnTo>
                      <a:pt x="1050" y="53"/>
                    </a:lnTo>
                    <a:lnTo>
                      <a:pt x="1072" y="16"/>
                    </a:lnTo>
                    <a:lnTo>
                      <a:pt x="1051" y="0"/>
                    </a:lnTo>
                    <a:lnTo>
                      <a:pt x="1003" y="1"/>
                    </a:lnTo>
                    <a:lnTo>
                      <a:pt x="936" y="25"/>
                    </a:lnTo>
                    <a:lnTo>
                      <a:pt x="848" y="20"/>
                    </a:lnTo>
                    <a:lnTo>
                      <a:pt x="815" y="26"/>
                    </a:lnTo>
                    <a:lnTo>
                      <a:pt x="772" y="26"/>
                    </a:lnTo>
                    <a:lnTo>
                      <a:pt x="712" y="44"/>
                    </a:lnTo>
                    <a:lnTo>
                      <a:pt x="686" y="72"/>
                    </a:lnTo>
                    <a:lnTo>
                      <a:pt x="642" y="86"/>
                    </a:lnTo>
                    <a:lnTo>
                      <a:pt x="634" y="101"/>
                    </a:lnTo>
                    <a:lnTo>
                      <a:pt x="556" y="99"/>
                    </a:lnTo>
                    <a:lnTo>
                      <a:pt x="501" y="87"/>
                    </a:lnTo>
                    <a:lnTo>
                      <a:pt x="483" y="71"/>
                    </a:lnTo>
                    <a:lnTo>
                      <a:pt x="452" y="63"/>
                    </a:lnTo>
                    <a:lnTo>
                      <a:pt x="363" y="71"/>
                    </a:lnTo>
                    <a:lnTo>
                      <a:pt x="339" y="86"/>
                    </a:lnTo>
                    <a:lnTo>
                      <a:pt x="319" y="88"/>
                    </a:lnTo>
                    <a:lnTo>
                      <a:pt x="236" y="120"/>
                    </a:lnTo>
                    <a:lnTo>
                      <a:pt x="206" y="113"/>
                    </a:lnTo>
                    <a:lnTo>
                      <a:pt x="157" y="101"/>
                    </a:lnTo>
                    <a:lnTo>
                      <a:pt x="147" y="128"/>
                    </a:lnTo>
                    <a:lnTo>
                      <a:pt x="146" y="192"/>
                    </a:lnTo>
                    <a:lnTo>
                      <a:pt x="124" y="206"/>
                    </a:lnTo>
                    <a:lnTo>
                      <a:pt x="128" y="244"/>
                    </a:lnTo>
                    <a:lnTo>
                      <a:pt x="94" y="256"/>
                    </a:lnTo>
                    <a:lnTo>
                      <a:pt x="59" y="262"/>
                    </a:lnTo>
                    <a:lnTo>
                      <a:pt x="25" y="256"/>
                    </a:lnTo>
                    <a:lnTo>
                      <a:pt x="24" y="259"/>
                    </a:lnTo>
                    <a:lnTo>
                      <a:pt x="0" y="268"/>
                    </a:lnTo>
                    <a:lnTo>
                      <a:pt x="9" y="321"/>
                    </a:lnTo>
                    <a:lnTo>
                      <a:pt x="36" y="377"/>
                    </a:lnTo>
                    <a:lnTo>
                      <a:pt x="48" y="422"/>
                    </a:lnTo>
                    <a:lnTo>
                      <a:pt x="41" y="459"/>
                    </a:lnTo>
                    <a:lnTo>
                      <a:pt x="35" y="524"/>
                    </a:lnTo>
                    <a:lnTo>
                      <a:pt x="107" y="527"/>
                    </a:lnTo>
                    <a:lnTo>
                      <a:pt x="124" y="564"/>
                    </a:lnTo>
                    <a:lnTo>
                      <a:pt x="154" y="580"/>
                    </a:lnTo>
                    <a:lnTo>
                      <a:pt x="150" y="626"/>
                    </a:lnTo>
                    <a:lnTo>
                      <a:pt x="163" y="652"/>
                    </a:lnTo>
                    <a:lnTo>
                      <a:pt x="146" y="663"/>
                    </a:lnTo>
                    <a:lnTo>
                      <a:pt x="128" y="663"/>
                    </a:lnTo>
                    <a:lnTo>
                      <a:pt x="94" y="681"/>
                    </a:lnTo>
                    <a:lnTo>
                      <a:pt x="81" y="728"/>
                    </a:lnTo>
                    <a:lnTo>
                      <a:pt x="56" y="767"/>
                    </a:lnTo>
                    <a:lnTo>
                      <a:pt x="52" y="767"/>
                    </a:lnTo>
                    <a:lnTo>
                      <a:pt x="60" y="779"/>
                    </a:lnTo>
                    <a:lnTo>
                      <a:pt x="85" y="803"/>
                    </a:lnTo>
                    <a:lnTo>
                      <a:pt x="89" y="865"/>
                    </a:lnTo>
                    <a:lnTo>
                      <a:pt x="80" y="891"/>
                    </a:lnTo>
                    <a:lnTo>
                      <a:pt x="95" y="892"/>
                    </a:lnTo>
                    <a:lnTo>
                      <a:pt x="153" y="917"/>
                    </a:lnTo>
                    <a:lnTo>
                      <a:pt x="186" y="945"/>
                    </a:lnTo>
                    <a:lnTo>
                      <a:pt x="199" y="945"/>
                    </a:lnTo>
                    <a:lnTo>
                      <a:pt x="222" y="959"/>
                    </a:lnTo>
                    <a:lnTo>
                      <a:pt x="561" y="747"/>
                    </a:lnTo>
                    <a:lnTo>
                      <a:pt x="561" y="745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6" name="ïślïḑé"/>
              <p:cNvSpPr/>
              <p:nvPr/>
            </p:nvSpPr>
            <p:spPr bwMode="auto">
              <a:xfrm>
                <a:off x="1140142" y="3506124"/>
                <a:ext cx="41565" cy="122099"/>
              </a:xfrm>
              <a:custGeom>
                <a:avLst/>
                <a:gdLst>
                  <a:gd name="T0" fmla="*/ 163 w 262"/>
                  <a:gd name="T1" fmla="*/ 752 h 752"/>
                  <a:gd name="T2" fmla="*/ 183 w 262"/>
                  <a:gd name="T3" fmla="*/ 722 h 752"/>
                  <a:gd name="T4" fmla="*/ 185 w 262"/>
                  <a:gd name="T5" fmla="*/ 716 h 752"/>
                  <a:gd name="T6" fmla="*/ 183 w 262"/>
                  <a:gd name="T7" fmla="*/ 694 h 752"/>
                  <a:gd name="T8" fmla="*/ 199 w 262"/>
                  <a:gd name="T9" fmla="*/ 677 h 752"/>
                  <a:gd name="T10" fmla="*/ 199 w 262"/>
                  <a:gd name="T11" fmla="*/ 638 h 752"/>
                  <a:gd name="T12" fmla="*/ 212 w 262"/>
                  <a:gd name="T13" fmla="*/ 595 h 752"/>
                  <a:gd name="T14" fmla="*/ 210 w 262"/>
                  <a:gd name="T15" fmla="*/ 545 h 752"/>
                  <a:gd name="T16" fmla="*/ 222 w 262"/>
                  <a:gd name="T17" fmla="*/ 539 h 752"/>
                  <a:gd name="T18" fmla="*/ 222 w 262"/>
                  <a:gd name="T19" fmla="*/ 502 h 752"/>
                  <a:gd name="T20" fmla="*/ 230 w 262"/>
                  <a:gd name="T21" fmla="*/ 462 h 752"/>
                  <a:gd name="T22" fmla="*/ 229 w 262"/>
                  <a:gd name="T23" fmla="*/ 437 h 752"/>
                  <a:gd name="T24" fmla="*/ 235 w 262"/>
                  <a:gd name="T25" fmla="*/ 362 h 752"/>
                  <a:gd name="T26" fmla="*/ 223 w 262"/>
                  <a:gd name="T27" fmla="*/ 366 h 752"/>
                  <a:gd name="T28" fmla="*/ 201 w 262"/>
                  <a:gd name="T29" fmla="*/ 366 h 752"/>
                  <a:gd name="T30" fmla="*/ 173 w 262"/>
                  <a:gd name="T31" fmla="*/ 381 h 752"/>
                  <a:gd name="T32" fmla="*/ 157 w 262"/>
                  <a:gd name="T33" fmla="*/ 365 h 752"/>
                  <a:gd name="T34" fmla="*/ 164 w 262"/>
                  <a:gd name="T35" fmla="*/ 312 h 752"/>
                  <a:gd name="T36" fmla="*/ 164 w 262"/>
                  <a:gd name="T37" fmla="*/ 231 h 752"/>
                  <a:gd name="T38" fmla="*/ 155 w 262"/>
                  <a:gd name="T39" fmla="*/ 215 h 752"/>
                  <a:gd name="T40" fmla="*/ 163 w 262"/>
                  <a:gd name="T41" fmla="*/ 167 h 752"/>
                  <a:gd name="T42" fmla="*/ 204 w 262"/>
                  <a:gd name="T43" fmla="*/ 167 h 752"/>
                  <a:gd name="T44" fmla="*/ 207 w 262"/>
                  <a:gd name="T45" fmla="*/ 194 h 752"/>
                  <a:gd name="T46" fmla="*/ 225 w 262"/>
                  <a:gd name="T47" fmla="*/ 197 h 752"/>
                  <a:gd name="T48" fmla="*/ 245 w 262"/>
                  <a:gd name="T49" fmla="*/ 179 h 752"/>
                  <a:gd name="T50" fmla="*/ 244 w 262"/>
                  <a:gd name="T51" fmla="*/ 159 h 752"/>
                  <a:gd name="T52" fmla="*/ 248 w 262"/>
                  <a:gd name="T53" fmla="*/ 159 h 752"/>
                  <a:gd name="T54" fmla="*/ 241 w 262"/>
                  <a:gd name="T55" fmla="*/ 144 h 752"/>
                  <a:gd name="T56" fmla="*/ 234 w 262"/>
                  <a:gd name="T57" fmla="*/ 114 h 752"/>
                  <a:gd name="T58" fmla="*/ 244 w 262"/>
                  <a:gd name="T59" fmla="*/ 64 h 752"/>
                  <a:gd name="T60" fmla="*/ 253 w 262"/>
                  <a:gd name="T61" fmla="*/ 20 h 752"/>
                  <a:gd name="T62" fmla="*/ 262 w 262"/>
                  <a:gd name="T63" fmla="*/ 0 h 752"/>
                  <a:gd name="T64" fmla="*/ 244 w 262"/>
                  <a:gd name="T65" fmla="*/ 1 h 752"/>
                  <a:gd name="T66" fmla="*/ 226 w 262"/>
                  <a:gd name="T67" fmla="*/ 37 h 752"/>
                  <a:gd name="T68" fmla="*/ 171 w 262"/>
                  <a:gd name="T69" fmla="*/ 38 h 752"/>
                  <a:gd name="T70" fmla="*/ 151 w 262"/>
                  <a:gd name="T71" fmla="*/ 34 h 752"/>
                  <a:gd name="T72" fmla="*/ 115 w 262"/>
                  <a:gd name="T73" fmla="*/ 75 h 752"/>
                  <a:gd name="T74" fmla="*/ 101 w 262"/>
                  <a:gd name="T75" fmla="*/ 199 h 752"/>
                  <a:gd name="T76" fmla="*/ 52 w 262"/>
                  <a:gd name="T77" fmla="*/ 298 h 752"/>
                  <a:gd name="T78" fmla="*/ 0 w 262"/>
                  <a:gd name="T79" fmla="*/ 369 h 752"/>
                  <a:gd name="T80" fmla="*/ 18 w 262"/>
                  <a:gd name="T81" fmla="*/ 378 h 752"/>
                  <a:gd name="T82" fmla="*/ 52 w 262"/>
                  <a:gd name="T83" fmla="*/ 428 h 752"/>
                  <a:gd name="T84" fmla="*/ 70 w 262"/>
                  <a:gd name="T85" fmla="*/ 491 h 752"/>
                  <a:gd name="T86" fmla="*/ 118 w 262"/>
                  <a:gd name="T87" fmla="*/ 564 h 752"/>
                  <a:gd name="T88" fmla="*/ 156 w 262"/>
                  <a:gd name="T89" fmla="*/ 653 h 752"/>
                  <a:gd name="T90" fmla="*/ 141 w 262"/>
                  <a:gd name="T91" fmla="*/ 695 h 752"/>
                  <a:gd name="T92" fmla="*/ 163 w 262"/>
                  <a:gd name="T93" fmla="*/ 752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62" h="752">
                    <a:moveTo>
                      <a:pt x="163" y="752"/>
                    </a:moveTo>
                    <a:lnTo>
                      <a:pt x="183" y="722"/>
                    </a:lnTo>
                    <a:lnTo>
                      <a:pt x="185" y="716"/>
                    </a:lnTo>
                    <a:lnTo>
                      <a:pt x="183" y="694"/>
                    </a:lnTo>
                    <a:lnTo>
                      <a:pt x="199" y="677"/>
                    </a:lnTo>
                    <a:lnTo>
                      <a:pt x="199" y="638"/>
                    </a:lnTo>
                    <a:lnTo>
                      <a:pt x="212" y="595"/>
                    </a:lnTo>
                    <a:lnTo>
                      <a:pt x="210" y="545"/>
                    </a:lnTo>
                    <a:lnTo>
                      <a:pt x="222" y="539"/>
                    </a:lnTo>
                    <a:lnTo>
                      <a:pt x="222" y="502"/>
                    </a:lnTo>
                    <a:lnTo>
                      <a:pt x="230" y="462"/>
                    </a:lnTo>
                    <a:lnTo>
                      <a:pt x="229" y="437"/>
                    </a:lnTo>
                    <a:lnTo>
                      <a:pt x="235" y="362"/>
                    </a:lnTo>
                    <a:lnTo>
                      <a:pt x="223" y="366"/>
                    </a:lnTo>
                    <a:lnTo>
                      <a:pt x="201" y="366"/>
                    </a:lnTo>
                    <a:lnTo>
                      <a:pt x="173" y="381"/>
                    </a:lnTo>
                    <a:lnTo>
                      <a:pt x="157" y="365"/>
                    </a:lnTo>
                    <a:lnTo>
                      <a:pt x="164" y="312"/>
                    </a:lnTo>
                    <a:lnTo>
                      <a:pt x="164" y="231"/>
                    </a:lnTo>
                    <a:lnTo>
                      <a:pt x="155" y="215"/>
                    </a:lnTo>
                    <a:lnTo>
                      <a:pt x="163" y="167"/>
                    </a:lnTo>
                    <a:lnTo>
                      <a:pt x="204" y="167"/>
                    </a:lnTo>
                    <a:lnTo>
                      <a:pt x="207" y="194"/>
                    </a:lnTo>
                    <a:lnTo>
                      <a:pt x="225" y="197"/>
                    </a:lnTo>
                    <a:lnTo>
                      <a:pt x="245" y="179"/>
                    </a:lnTo>
                    <a:lnTo>
                      <a:pt x="244" y="159"/>
                    </a:lnTo>
                    <a:lnTo>
                      <a:pt x="248" y="159"/>
                    </a:lnTo>
                    <a:lnTo>
                      <a:pt x="241" y="144"/>
                    </a:lnTo>
                    <a:lnTo>
                      <a:pt x="234" y="114"/>
                    </a:lnTo>
                    <a:lnTo>
                      <a:pt x="244" y="64"/>
                    </a:lnTo>
                    <a:lnTo>
                      <a:pt x="253" y="20"/>
                    </a:lnTo>
                    <a:lnTo>
                      <a:pt x="262" y="0"/>
                    </a:lnTo>
                    <a:lnTo>
                      <a:pt x="244" y="1"/>
                    </a:lnTo>
                    <a:lnTo>
                      <a:pt x="226" y="37"/>
                    </a:lnTo>
                    <a:lnTo>
                      <a:pt x="171" y="38"/>
                    </a:lnTo>
                    <a:lnTo>
                      <a:pt x="151" y="34"/>
                    </a:lnTo>
                    <a:lnTo>
                      <a:pt x="115" y="75"/>
                    </a:lnTo>
                    <a:lnTo>
                      <a:pt x="101" y="199"/>
                    </a:lnTo>
                    <a:lnTo>
                      <a:pt x="52" y="298"/>
                    </a:lnTo>
                    <a:lnTo>
                      <a:pt x="0" y="369"/>
                    </a:lnTo>
                    <a:lnTo>
                      <a:pt x="18" y="378"/>
                    </a:lnTo>
                    <a:lnTo>
                      <a:pt x="52" y="428"/>
                    </a:lnTo>
                    <a:lnTo>
                      <a:pt x="70" y="491"/>
                    </a:lnTo>
                    <a:lnTo>
                      <a:pt x="118" y="564"/>
                    </a:lnTo>
                    <a:lnTo>
                      <a:pt x="156" y="653"/>
                    </a:lnTo>
                    <a:lnTo>
                      <a:pt x="141" y="695"/>
                    </a:lnTo>
                    <a:lnTo>
                      <a:pt x="163" y="75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7" name="işḻiďe"/>
              <p:cNvSpPr/>
              <p:nvPr/>
            </p:nvSpPr>
            <p:spPr bwMode="auto">
              <a:xfrm>
                <a:off x="1177810" y="3506124"/>
                <a:ext cx="10391" cy="25979"/>
              </a:xfrm>
              <a:custGeom>
                <a:avLst/>
                <a:gdLst>
                  <a:gd name="T0" fmla="*/ 14 w 67"/>
                  <a:gd name="T1" fmla="*/ 159 h 160"/>
                  <a:gd name="T2" fmla="*/ 7 w 67"/>
                  <a:gd name="T3" fmla="*/ 144 h 160"/>
                  <a:gd name="T4" fmla="*/ 0 w 67"/>
                  <a:gd name="T5" fmla="*/ 114 h 160"/>
                  <a:gd name="T6" fmla="*/ 10 w 67"/>
                  <a:gd name="T7" fmla="*/ 64 h 160"/>
                  <a:gd name="T8" fmla="*/ 19 w 67"/>
                  <a:gd name="T9" fmla="*/ 20 h 160"/>
                  <a:gd name="T10" fmla="*/ 28 w 67"/>
                  <a:gd name="T11" fmla="*/ 0 h 160"/>
                  <a:gd name="T12" fmla="*/ 30 w 67"/>
                  <a:gd name="T13" fmla="*/ 0 h 160"/>
                  <a:gd name="T14" fmla="*/ 38 w 67"/>
                  <a:gd name="T15" fmla="*/ 12 h 160"/>
                  <a:gd name="T16" fmla="*/ 63 w 67"/>
                  <a:gd name="T17" fmla="*/ 36 h 160"/>
                  <a:gd name="T18" fmla="*/ 67 w 67"/>
                  <a:gd name="T19" fmla="*/ 98 h 160"/>
                  <a:gd name="T20" fmla="*/ 58 w 67"/>
                  <a:gd name="T21" fmla="*/ 124 h 160"/>
                  <a:gd name="T22" fmla="*/ 57 w 67"/>
                  <a:gd name="T23" fmla="*/ 124 h 160"/>
                  <a:gd name="T24" fmla="*/ 35 w 67"/>
                  <a:gd name="T25" fmla="*/ 143 h 160"/>
                  <a:gd name="T26" fmla="*/ 24 w 67"/>
                  <a:gd name="T27" fmla="*/ 160 h 160"/>
                  <a:gd name="T28" fmla="*/ 14 w 67"/>
                  <a:gd name="T29" fmla="*/ 159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7" h="160">
                    <a:moveTo>
                      <a:pt x="14" y="159"/>
                    </a:moveTo>
                    <a:lnTo>
                      <a:pt x="7" y="144"/>
                    </a:lnTo>
                    <a:lnTo>
                      <a:pt x="0" y="114"/>
                    </a:lnTo>
                    <a:lnTo>
                      <a:pt x="10" y="64"/>
                    </a:lnTo>
                    <a:lnTo>
                      <a:pt x="19" y="2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8" y="12"/>
                    </a:lnTo>
                    <a:lnTo>
                      <a:pt x="63" y="36"/>
                    </a:lnTo>
                    <a:lnTo>
                      <a:pt x="67" y="98"/>
                    </a:lnTo>
                    <a:lnTo>
                      <a:pt x="58" y="124"/>
                    </a:lnTo>
                    <a:lnTo>
                      <a:pt x="57" y="124"/>
                    </a:lnTo>
                    <a:lnTo>
                      <a:pt x="35" y="143"/>
                    </a:lnTo>
                    <a:lnTo>
                      <a:pt x="24" y="160"/>
                    </a:lnTo>
                    <a:lnTo>
                      <a:pt x="14" y="15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8" name="îṩlïdé"/>
              <p:cNvSpPr/>
              <p:nvPr/>
            </p:nvSpPr>
            <p:spPr bwMode="auto">
              <a:xfrm>
                <a:off x="1164821" y="3533404"/>
                <a:ext cx="15587" cy="35071"/>
              </a:xfrm>
              <a:custGeom>
                <a:avLst/>
                <a:gdLst>
                  <a:gd name="T0" fmla="*/ 68 w 94"/>
                  <a:gd name="T1" fmla="*/ 199 h 214"/>
                  <a:gd name="T2" fmla="*/ 46 w 94"/>
                  <a:gd name="T3" fmla="*/ 199 h 214"/>
                  <a:gd name="T4" fmla="*/ 18 w 94"/>
                  <a:gd name="T5" fmla="*/ 214 h 214"/>
                  <a:gd name="T6" fmla="*/ 2 w 94"/>
                  <a:gd name="T7" fmla="*/ 198 h 214"/>
                  <a:gd name="T8" fmla="*/ 9 w 94"/>
                  <a:gd name="T9" fmla="*/ 145 h 214"/>
                  <a:gd name="T10" fmla="*/ 9 w 94"/>
                  <a:gd name="T11" fmla="*/ 64 h 214"/>
                  <a:gd name="T12" fmla="*/ 0 w 94"/>
                  <a:gd name="T13" fmla="*/ 48 h 214"/>
                  <a:gd name="T14" fmla="*/ 8 w 94"/>
                  <a:gd name="T15" fmla="*/ 0 h 214"/>
                  <a:gd name="T16" fmla="*/ 49 w 94"/>
                  <a:gd name="T17" fmla="*/ 0 h 214"/>
                  <a:gd name="T18" fmla="*/ 52 w 94"/>
                  <a:gd name="T19" fmla="*/ 27 h 214"/>
                  <a:gd name="T20" fmla="*/ 70 w 94"/>
                  <a:gd name="T21" fmla="*/ 30 h 214"/>
                  <a:gd name="T22" fmla="*/ 90 w 94"/>
                  <a:gd name="T23" fmla="*/ 12 h 214"/>
                  <a:gd name="T24" fmla="*/ 90 w 94"/>
                  <a:gd name="T25" fmla="*/ 23 h 214"/>
                  <a:gd name="T26" fmla="*/ 94 w 94"/>
                  <a:gd name="T27" fmla="*/ 44 h 214"/>
                  <a:gd name="T28" fmla="*/ 88 w 94"/>
                  <a:gd name="T29" fmla="*/ 60 h 214"/>
                  <a:gd name="T30" fmla="*/ 84 w 94"/>
                  <a:gd name="T31" fmla="*/ 105 h 214"/>
                  <a:gd name="T32" fmla="*/ 86 w 94"/>
                  <a:gd name="T33" fmla="*/ 131 h 214"/>
                  <a:gd name="T34" fmla="*/ 80 w 94"/>
                  <a:gd name="T35" fmla="*/ 195 h 214"/>
                  <a:gd name="T36" fmla="*/ 68 w 94"/>
                  <a:gd name="T37" fmla="*/ 199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4" h="214">
                    <a:moveTo>
                      <a:pt x="68" y="199"/>
                    </a:moveTo>
                    <a:lnTo>
                      <a:pt x="46" y="199"/>
                    </a:lnTo>
                    <a:lnTo>
                      <a:pt x="18" y="214"/>
                    </a:lnTo>
                    <a:lnTo>
                      <a:pt x="2" y="198"/>
                    </a:lnTo>
                    <a:lnTo>
                      <a:pt x="9" y="145"/>
                    </a:lnTo>
                    <a:lnTo>
                      <a:pt x="9" y="64"/>
                    </a:lnTo>
                    <a:lnTo>
                      <a:pt x="0" y="48"/>
                    </a:lnTo>
                    <a:lnTo>
                      <a:pt x="8" y="0"/>
                    </a:lnTo>
                    <a:lnTo>
                      <a:pt x="49" y="0"/>
                    </a:lnTo>
                    <a:lnTo>
                      <a:pt x="52" y="27"/>
                    </a:lnTo>
                    <a:lnTo>
                      <a:pt x="70" y="30"/>
                    </a:lnTo>
                    <a:lnTo>
                      <a:pt x="90" y="12"/>
                    </a:lnTo>
                    <a:lnTo>
                      <a:pt x="90" y="23"/>
                    </a:lnTo>
                    <a:lnTo>
                      <a:pt x="94" y="44"/>
                    </a:lnTo>
                    <a:lnTo>
                      <a:pt x="88" y="60"/>
                    </a:lnTo>
                    <a:lnTo>
                      <a:pt x="84" y="105"/>
                    </a:lnTo>
                    <a:lnTo>
                      <a:pt x="86" y="131"/>
                    </a:lnTo>
                    <a:lnTo>
                      <a:pt x="80" y="195"/>
                    </a:lnTo>
                    <a:lnTo>
                      <a:pt x="68" y="19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9" name="iṥļíḑe"/>
              <p:cNvSpPr/>
              <p:nvPr/>
            </p:nvSpPr>
            <p:spPr bwMode="auto">
              <a:xfrm>
                <a:off x="1164820" y="3467157"/>
                <a:ext cx="36371" cy="45463"/>
              </a:xfrm>
              <a:custGeom>
                <a:avLst/>
                <a:gdLst>
                  <a:gd name="T0" fmla="*/ 0 w 224"/>
                  <a:gd name="T1" fmla="*/ 277 h 281"/>
                  <a:gd name="T2" fmla="*/ 20 w 224"/>
                  <a:gd name="T3" fmla="*/ 281 h 281"/>
                  <a:gd name="T4" fmla="*/ 75 w 224"/>
                  <a:gd name="T5" fmla="*/ 280 h 281"/>
                  <a:gd name="T6" fmla="*/ 93 w 224"/>
                  <a:gd name="T7" fmla="*/ 244 h 281"/>
                  <a:gd name="T8" fmla="*/ 117 w 224"/>
                  <a:gd name="T9" fmla="*/ 243 h 281"/>
                  <a:gd name="T10" fmla="*/ 142 w 224"/>
                  <a:gd name="T11" fmla="*/ 204 h 281"/>
                  <a:gd name="T12" fmla="*/ 155 w 224"/>
                  <a:gd name="T13" fmla="*/ 157 h 281"/>
                  <a:gd name="T14" fmla="*/ 189 w 224"/>
                  <a:gd name="T15" fmla="*/ 139 h 281"/>
                  <a:gd name="T16" fmla="*/ 207 w 224"/>
                  <a:gd name="T17" fmla="*/ 139 h 281"/>
                  <a:gd name="T18" fmla="*/ 224 w 224"/>
                  <a:gd name="T19" fmla="*/ 128 h 281"/>
                  <a:gd name="T20" fmla="*/ 211 w 224"/>
                  <a:gd name="T21" fmla="*/ 102 h 281"/>
                  <a:gd name="T22" fmla="*/ 215 w 224"/>
                  <a:gd name="T23" fmla="*/ 56 h 281"/>
                  <a:gd name="T24" fmla="*/ 185 w 224"/>
                  <a:gd name="T25" fmla="*/ 40 h 281"/>
                  <a:gd name="T26" fmla="*/ 168 w 224"/>
                  <a:gd name="T27" fmla="*/ 3 h 281"/>
                  <a:gd name="T28" fmla="*/ 96 w 224"/>
                  <a:gd name="T29" fmla="*/ 0 h 281"/>
                  <a:gd name="T30" fmla="*/ 96 w 224"/>
                  <a:gd name="T31" fmla="*/ 10 h 281"/>
                  <a:gd name="T32" fmla="*/ 73 w 224"/>
                  <a:gd name="T33" fmla="*/ 15 h 281"/>
                  <a:gd name="T34" fmla="*/ 65 w 224"/>
                  <a:gd name="T35" fmla="*/ 137 h 281"/>
                  <a:gd name="T36" fmla="*/ 36 w 224"/>
                  <a:gd name="T37" fmla="*/ 180 h 281"/>
                  <a:gd name="T38" fmla="*/ 5 w 224"/>
                  <a:gd name="T39" fmla="*/ 224 h 281"/>
                  <a:gd name="T40" fmla="*/ 5 w 224"/>
                  <a:gd name="T41" fmla="*/ 272 h 281"/>
                  <a:gd name="T42" fmla="*/ 0 w 224"/>
                  <a:gd name="T43" fmla="*/ 277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4" h="281">
                    <a:moveTo>
                      <a:pt x="0" y="277"/>
                    </a:moveTo>
                    <a:lnTo>
                      <a:pt x="20" y="281"/>
                    </a:lnTo>
                    <a:lnTo>
                      <a:pt x="75" y="280"/>
                    </a:lnTo>
                    <a:lnTo>
                      <a:pt x="93" y="244"/>
                    </a:lnTo>
                    <a:lnTo>
                      <a:pt x="117" y="243"/>
                    </a:lnTo>
                    <a:lnTo>
                      <a:pt x="142" y="204"/>
                    </a:lnTo>
                    <a:lnTo>
                      <a:pt x="155" y="157"/>
                    </a:lnTo>
                    <a:lnTo>
                      <a:pt x="189" y="139"/>
                    </a:lnTo>
                    <a:lnTo>
                      <a:pt x="207" y="139"/>
                    </a:lnTo>
                    <a:lnTo>
                      <a:pt x="224" y="128"/>
                    </a:lnTo>
                    <a:lnTo>
                      <a:pt x="211" y="102"/>
                    </a:lnTo>
                    <a:lnTo>
                      <a:pt x="215" y="56"/>
                    </a:lnTo>
                    <a:lnTo>
                      <a:pt x="185" y="40"/>
                    </a:lnTo>
                    <a:lnTo>
                      <a:pt x="168" y="3"/>
                    </a:lnTo>
                    <a:lnTo>
                      <a:pt x="96" y="0"/>
                    </a:lnTo>
                    <a:lnTo>
                      <a:pt x="96" y="10"/>
                    </a:lnTo>
                    <a:lnTo>
                      <a:pt x="73" y="15"/>
                    </a:lnTo>
                    <a:lnTo>
                      <a:pt x="65" y="137"/>
                    </a:lnTo>
                    <a:lnTo>
                      <a:pt x="36" y="180"/>
                    </a:lnTo>
                    <a:lnTo>
                      <a:pt x="5" y="224"/>
                    </a:lnTo>
                    <a:lnTo>
                      <a:pt x="5" y="272"/>
                    </a:lnTo>
                    <a:lnTo>
                      <a:pt x="0" y="277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0" name="iŝľîdè"/>
              <p:cNvSpPr/>
              <p:nvPr/>
            </p:nvSpPr>
            <p:spPr bwMode="auto">
              <a:xfrm>
                <a:off x="1167419" y="3503527"/>
                <a:ext cx="111707" cy="137685"/>
              </a:xfrm>
              <a:custGeom>
                <a:avLst/>
                <a:gdLst>
                  <a:gd name="T0" fmla="*/ 13 w 690"/>
                  <a:gd name="T1" fmla="*/ 742 h 853"/>
                  <a:gd name="T2" fmla="*/ 15 w 690"/>
                  <a:gd name="T3" fmla="*/ 736 h 853"/>
                  <a:gd name="T4" fmla="*/ 13 w 690"/>
                  <a:gd name="T5" fmla="*/ 714 h 853"/>
                  <a:gd name="T6" fmla="*/ 29 w 690"/>
                  <a:gd name="T7" fmla="*/ 697 h 853"/>
                  <a:gd name="T8" fmla="*/ 29 w 690"/>
                  <a:gd name="T9" fmla="*/ 658 h 853"/>
                  <a:gd name="T10" fmla="*/ 42 w 690"/>
                  <a:gd name="T11" fmla="*/ 615 h 853"/>
                  <a:gd name="T12" fmla="*/ 40 w 690"/>
                  <a:gd name="T13" fmla="*/ 565 h 853"/>
                  <a:gd name="T14" fmla="*/ 52 w 690"/>
                  <a:gd name="T15" fmla="*/ 559 h 853"/>
                  <a:gd name="T16" fmla="*/ 52 w 690"/>
                  <a:gd name="T17" fmla="*/ 522 h 853"/>
                  <a:gd name="T18" fmla="*/ 60 w 690"/>
                  <a:gd name="T19" fmla="*/ 482 h 853"/>
                  <a:gd name="T20" fmla="*/ 59 w 690"/>
                  <a:gd name="T21" fmla="*/ 457 h 853"/>
                  <a:gd name="T22" fmla="*/ 71 w 690"/>
                  <a:gd name="T23" fmla="*/ 318 h 853"/>
                  <a:gd name="T24" fmla="*/ 69 w 690"/>
                  <a:gd name="T25" fmla="*/ 292 h 853"/>
                  <a:gd name="T26" fmla="*/ 73 w 690"/>
                  <a:gd name="T27" fmla="*/ 247 h 853"/>
                  <a:gd name="T28" fmla="*/ 79 w 690"/>
                  <a:gd name="T29" fmla="*/ 231 h 853"/>
                  <a:gd name="T30" fmla="*/ 75 w 690"/>
                  <a:gd name="T31" fmla="*/ 210 h 853"/>
                  <a:gd name="T32" fmla="*/ 74 w 690"/>
                  <a:gd name="T33" fmla="*/ 179 h 853"/>
                  <a:gd name="T34" fmla="*/ 88 w 690"/>
                  <a:gd name="T35" fmla="*/ 180 h 853"/>
                  <a:gd name="T36" fmla="*/ 99 w 690"/>
                  <a:gd name="T37" fmla="*/ 163 h 853"/>
                  <a:gd name="T38" fmla="*/ 121 w 690"/>
                  <a:gd name="T39" fmla="*/ 144 h 853"/>
                  <a:gd name="T40" fmla="*/ 137 w 690"/>
                  <a:gd name="T41" fmla="*/ 145 h 853"/>
                  <a:gd name="T42" fmla="*/ 195 w 690"/>
                  <a:gd name="T43" fmla="*/ 170 h 853"/>
                  <a:gd name="T44" fmla="*/ 228 w 690"/>
                  <a:gd name="T45" fmla="*/ 198 h 853"/>
                  <a:gd name="T46" fmla="*/ 241 w 690"/>
                  <a:gd name="T47" fmla="*/ 198 h 853"/>
                  <a:gd name="T48" fmla="*/ 264 w 690"/>
                  <a:gd name="T49" fmla="*/ 212 h 853"/>
                  <a:gd name="T50" fmla="*/ 603 w 690"/>
                  <a:gd name="T51" fmla="*/ 0 h 853"/>
                  <a:gd name="T52" fmla="*/ 690 w 690"/>
                  <a:gd name="T53" fmla="*/ 224 h 853"/>
                  <a:gd name="T54" fmla="*/ 681 w 690"/>
                  <a:gd name="T55" fmla="*/ 223 h 853"/>
                  <a:gd name="T56" fmla="*/ 619 w 690"/>
                  <a:gd name="T57" fmla="*/ 287 h 853"/>
                  <a:gd name="T58" fmla="*/ 365 w 690"/>
                  <a:gd name="T59" fmla="*/ 366 h 853"/>
                  <a:gd name="T60" fmla="*/ 557 w 690"/>
                  <a:gd name="T61" fmla="*/ 576 h 853"/>
                  <a:gd name="T62" fmla="*/ 485 w 690"/>
                  <a:gd name="T63" fmla="*/ 662 h 853"/>
                  <a:gd name="T64" fmla="*/ 480 w 690"/>
                  <a:gd name="T65" fmla="*/ 712 h 853"/>
                  <a:gd name="T66" fmla="*/ 350 w 690"/>
                  <a:gd name="T67" fmla="*/ 732 h 853"/>
                  <a:gd name="T68" fmla="*/ 226 w 690"/>
                  <a:gd name="T69" fmla="*/ 853 h 853"/>
                  <a:gd name="T70" fmla="*/ 54 w 690"/>
                  <a:gd name="T71" fmla="*/ 803 h 853"/>
                  <a:gd name="T72" fmla="*/ 0 w 690"/>
                  <a:gd name="T73" fmla="*/ 805 h 853"/>
                  <a:gd name="T74" fmla="*/ 1 w 690"/>
                  <a:gd name="T75" fmla="*/ 799 h 853"/>
                  <a:gd name="T76" fmla="*/ 16 w 690"/>
                  <a:gd name="T77" fmla="*/ 756 h 853"/>
                  <a:gd name="T78" fmla="*/ 15 w 690"/>
                  <a:gd name="T79" fmla="*/ 739 h 853"/>
                  <a:gd name="T80" fmla="*/ 13 w 690"/>
                  <a:gd name="T81" fmla="*/ 742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90" h="853">
                    <a:moveTo>
                      <a:pt x="13" y="742"/>
                    </a:moveTo>
                    <a:lnTo>
                      <a:pt x="15" y="736"/>
                    </a:lnTo>
                    <a:lnTo>
                      <a:pt x="13" y="714"/>
                    </a:lnTo>
                    <a:lnTo>
                      <a:pt x="29" y="697"/>
                    </a:lnTo>
                    <a:lnTo>
                      <a:pt x="29" y="658"/>
                    </a:lnTo>
                    <a:lnTo>
                      <a:pt x="42" y="615"/>
                    </a:lnTo>
                    <a:lnTo>
                      <a:pt x="40" y="565"/>
                    </a:lnTo>
                    <a:lnTo>
                      <a:pt x="52" y="559"/>
                    </a:lnTo>
                    <a:lnTo>
                      <a:pt x="52" y="522"/>
                    </a:lnTo>
                    <a:lnTo>
                      <a:pt x="60" y="482"/>
                    </a:lnTo>
                    <a:lnTo>
                      <a:pt x="59" y="457"/>
                    </a:lnTo>
                    <a:lnTo>
                      <a:pt x="71" y="318"/>
                    </a:lnTo>
                    <a:lnTo>
                      <a:pt x="69" y="292"/>
                    </a:lnTo>
                    <a:lnTo>
                      <a:pt x="73" y="247"/>
                    </a:lnTo>
                    <a:lnTo>
                      <a:pt x="79" y="231"/>
                    </a:lnTo>
                    <a:lnTo>
                      <a:pt x="75" y="210"/>
                    </a:lnTo>
                    <a:lnTo>
                      <a:pt x="74" y="179"/>
                    </a:lnTo>
                    <a:lnTo>
                      <a:pt x="88" y="180"/>
                    </a:lnTo>
                    <a:lnTo>
                      <a:pt x="99" y="163"/>
                    </a:lnTo>
                    <a:lnTo>
                      <a:pt x="121" y="144"/>
                    </a:lnTo>
                    <a:lnTo>
                      <a:pt x="137" y="145"/>
                    </a:lnTo>
                    <a:lnTo>
                      <a:pt x="195" y="170"/>
                    </a:lnTo>
                    <a:lnTo>
                      <a:pt x="228" y="198"/>
                    </a:lnTo>
                    <a:lnTo>
                      <a:pt x="241" y="198"/>
                    </a:lnTo>
                    <a:lnTo>
                      <a:pt x="264" y="212"/>
                    </a:lnTo>
                    <a:lnTo>
                      <a:pt x="603" y="0"/>
                    </a:lnTo>
                    <a:lnTo>
                      <a:pt x="690" y="224"/>
                    </a:lnTo>
                    <a:lnTo>
                      <a:pt x="681" y="223"/>
                    </a:lnTo>
                    <a:lnTo>
                      <a:pt x="619" y="287"/>
                    </a:lnTo>
                    <a:lnTo>
                      <a:pt x="365" y="366"/>
                    </a:lnTo>
                    <a:lnTo>
                      <a:pt x="557" y="576"/>
                    </a:lnTo>
                    <a:lnTo>
                      <a:pt x="485" y="662"/>
                    </a:lnTo>
                    <a:lnTo>
                      <a:pt x="480" y="712"/>
                    </a:lnTo>
                    <a:lnTo>
                      <a:pt x="350" y="732"/>
                    </a:lnTo>
                    <a:lnTo>
                      <a:pt x="226" y="853"/>
                    </a:lnTo>
                    <a:lnTo>
                      <a:pt x="54" y="803"/>
                    </a:lnTo>
                    <a:lnTo>
                      <a:pt x="0" y="805"/>
                    </a:lnTo>
                    <a:lnTo>
                      <a:pt x="1" y="799"/>
                    </a:lnTo>
                    <a:lnTo>
                      <a:pt x="16" y="756"/>
                    </a:lnTo>
                    <a:lnTo>
                      <a:pt x="15" y="739"/>
                    </a:lnTo>
                    <a:lnTo>
                      <a:pt x="13" y="74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1" name="ïsľíḓè"/>
              <p:cNvSpPr/>
              <p:nvPr/>
            </p:nvSpPr>
            <p:spPr bwMode="auto">
              <a:xfrm>
                <a:off x="1163522" y="3539897"/>
                <a:ext cx="579316" cy="487095"/>
              </a:xfrm>
              <a:custGeom>
                <a:avLst/>
                <a:gdLst>
                  <a:gd name="T0" fmla="*/ 2164 w 3560"/>
                  <a:gd name="T1" fmla="*/ 630 h 3002"/>
                  <a:gd name="T2" fmla="*/ 861 w 3560"/>
                  <a:gd name="T3" fmla="*/ 20 h 3002"/>
                  <a:gd name="T4" fmla="*/ 385 w 3560"/>
                  <a:gd name="T5" fmla="*/ 143 h 3002"/>
                  <a:gd name="T6" fmla="*/ 500 w 3560"/>
                  <a:gd name="T7" fmla="*/ 489 h 3002"/>
                  <a:gd name="T8" fmla="*/ 74 w 3560"/>
                  <a:gd name="T9" fmla="*/ 580 h 3002"/>
                  <a:gd name="T10" fmla="*/ 18 w 3560"/>
                  <a:gd name="T11" fmla="*/ 718 h 3002"/>
                  <a:gd name="T12" fmla="*/ 29 w 3560"/>
                  <a:gd name="T13" fmla="*/ 777 h 3002"/>
                  <a:gd name="T14" fmla="*/ 97 w 3560"/>
                  <a:gd name="T15" fmla="*/ 796 h 3002"/>
                  <a:gd name="T16" fmla="*/ 169 w 3560"/>
                  <a:gd name="T17" fmla="*/ 923 h 3002"/>
                  <a:gd name="T18" fmla="*/ 231 w 3560"/>
                  <a:gd name="T19" fmla="*/ 1000 h 3002"/>
                  <a:gd name="T20" fmla="*/ 299 w 3560"/>
                  <a:gd name="T21" fmla="*/ 1112 h 3002"/>
                  <a:gd name="T22" fmla="*/ 347 w 3560"/>
                  <a:gd name="T23" fmla="*/ 1190 h 3002"/>
                  <a:gd name="T24" fmla="*/ 433 w 3560"/>
                  <a:gd name="T25" fmla="*/ 1311 h 3002"/>
                  <a:gd name="T26" fmla="*/ 458 w 3560"/>
                  <a:gd name="T27" fmla="*/ 1402 h 3002"/>
                  <a:gd name="T28" fmla="*/ 496 w 3560"/>
                  <a:gd name="T29" fmla="*/ 1481 h 3002"/>
                  <a:gd name="T30" fmla="*/ 581 w 3560"/>
                  <a:gd name="T31" fmla="*/ 1499 h 3002"/>
                  <a:gd name="T32" fmla="*/ 691 w 3560"/>
                  <a:gd name="T33" fmla="*/ 1605 h 3002"/>
                  <a:gd name="T34" fmla="*/ 726 w 3560"/>
                  <a:gd name="T35" fmla="*/ 1665 h 3002"/>
                  <a:gd name="T36" fmla="*/ 785 w 3560"/>
                  <a:gd name="T37" fmla="*/ 1813 h 3002"/>
                  <a:gd name="T38" fmla="*/ 769 w 3560"/>
                  <a:gd name="T39" fmla="*/ 1899 h 3002"/>
                  <a:gd name="T40" fmla="*/ 806 w 3560"/>
                  <a:gd name="T41" fmla="*/ 2053 h 3002"/>
                  <a:gd name="T42" fmla="*/ 929 w 3560"/>
                  <a:gd name="T43" fmla="*/ 2197 h 3002"/>
                  <a:gd name="T44" fmla="*/ 1016 w 3560"/>
                  <a:gd name="T45" fmla="*/ 2245 h 3002"/>
                  <a:gd name="T46" fmla="*/ 1085 w 3560"/>
                  <a:gd name="T47" fmla="*/ 2314 h 3002"/>
                  <a:gd name="T48" fmla="*/ 1145 w 3560"/>
                  <a:gd name="T49" fmla="*/ 2355 h 3002"/>
                  <a:gd name="T50" fmla="*/ 1224 w 3560"/>
                  <a:gd name="T51" fmla="*/ 2569 h 3002"/>
                  <a:gd name="T52" fmla="*/ 1384 w 3560"/>
                  <a:gd name="T53" fmla="*/ 2774 h 3002"/>
                  <a:gd name="T54" fmla="*/ 1499 w 3560"/>
                  <a:gd name="T55" fmla="*/ 2880 h 3002"/>
                  <a:gd name="T56" fmla="*/ 1588 w 3560"/>
                  <a:gd name="T57" fmla="*/ 2827 h 3002"/>
                  <a:gd name="T58" fmla="*/ 1625 w 3560"/>
                  <a:gd name="T59" fmla="*/ 2668 h 3002"/>
                  <a:gd name="T60" fmla="*/ 1932 w 3560"/>
                  <a:gd name="T61" fmla="*/ 2773 h 3002"/>
                  <a:gd name="T62" fmla="*/ 2402 w 3560"/>
                  <a:gd name="T63" fmla="*/ 2582 h 3002"/>
                  <a:gd name="T64" fmla="*/ 3521 w 3560"/>
                  <a:gd name="T65" fmla="*/ 1732 h 3002"/>
                  <a:gd name="T66" fmla="*/ 2962 w 3560"/>
                  <a:gd name="T67" fmla="*/ 1707 h 3002"/>
                  <a:gd name="T68" fmla="*/ 2885 w 3560"/>
                  <a:gd name="T69" fmla="*/ 1466 h 3002"/>
                  <a:gd name="T70" fmla="*/ 2861 w 3560"/>
                  <a:gd name="T71" fmla="*/ 1442 h 3002"/>
                  <a:gd name="T72" fmla="*/ 2848 w 3560"/>
                  <a:gd name="T73" fmla="*/ 1409 h 3002"/>
                  <a:gd name="T74" fmla="*/ 2760 w 3560"/>
                  <a:gd name="T75" fmla="*/ 1371 h 3002"/>
                  <a:gd name="T76" fmla="*/ 2716 w 3560"/>
                  <a:gd name="T77" fmla="*/ 1320 h 3002"/>
                  <a:gd name="T78" fmla="*/ 2599 w 3560"/>
                  <a:gd name="T79" fmla="*/ 1126 h 3002"/>
                  <a:gd name="T80" fmla="*/ 2587 w 3560"/>
                  <a:gd name="T81" fmla="*/ 1029 h 3002"/>
                  <a:gd name="T82" fmla="*/ 2549 w 3560"/>
                  <a:gd name="T83" fmla="*/ 976 h 3002"/>
                  <a:gd name="T84" fmla="*/ 2449 w 3560"/>
                  <a:gd name="T85" fmla="*/ 867 h 3002"/>
                  <a:gd name="T86" fmla="*/ 2476 w 3560"/>
                  <a:gd name="T87" fmla="*/ 862 h 3002"/>
                  <a:gd name="T88" fmla="*/ 2375 w 3560"/>
                  <a:gd name="T89" fmla="*/ 822 h 3002"/>
                  <a:gd name="T90" fmla="*/ 2303 w 3560"/>
                  <a:gd name="T91" fmla="*/ 682 h 3002"/>
                  <a:gd name="T92" fmla="*/ 2278 w 3560"/>
                  <a:gd name="T93" fmla="*/ 644 h 30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60" h="3002">
                    <a:moveTo>
                      <a:pt x="2278" y="644"/>
                    </a:moveTo>
                    <a:lnTo>
                      <a:pt x="2173" y="692"/>
                    </a:lnTo>
                    <a:lnTo>
                      <a:pt x="2164" y="630"/>
                    </a:lnTo>
                    <a:lnTo>
                      <a:pt x="2007" y="581"/>
                    </a:lnTo>
                    <a:lnTo>
                      <a:pt x="1661" y="575"/>
                    </a:lnTo>
                    <a:lnTo>
                      <a:pt x="861" y="20"/>
                    </a:lnTo>
                    <a:lnTo>
                      <a:pt x="701" y="0"/>
                    </a:lnTo>
                    <a:lnTo>
                      <a:pt x="639" y="64"/>
                    </a:lnTo>
                    <a:lnTo>
                      <a:pt x="385" y="143"/>
                    </a:lnTo>
                    <a:lnTo>
                      <a:pt x="577" y="353"/>
                    </a:lnTo>
                    <a:lnTo>
                      <a:pt x="505" y="439"/>
                    </a:lnTo>
                    <a:lnTo>
                      <a:pt x="500" y="489"/>
                    </a:lnTo>
                    <a:lnTo>
                      <a:pt x="370" y="509"/>
                    </a:lnTo>
                    <a:lnTo>
                      <a:pt x="246" y="630"/>
                    </a:lnTo>
                    <a:lnTo>
                      <a:pt x="74" y="580"/>
                    </a:lnTo>
                    <a:lnTo>
                      <a:pt x="20" y="582"/>
                    </a:lnTo>
                    <a:lnTo>
                      <a:pt x="15" y="646"/>
                    </a:lnTo>
                    <a:lnTo>
                      <a:pt x="18" y="718"/>
                    </a:lnTo>
                    <a:lnTo>
                      <a:pt x="0" y="767"/>
                    </a:lnTo>
                    <a:lnTo>
                      <a:pt x="4" y="786"/>
                    </a:lnTo>
                    <a:lnTo>
                      <a:pt x="29" y="777"/>
                    </a:lnTo>
                    <a:lnTo>
                      <a:pt x="37" y="790"/>
                    </a:lnTo>
                    <a:lnTo>
                      <a:pt x="58" y="773"/>
                    </a:lnTo>
                    <a:lnTo>
                      <a:pt x="97" y="796"/>
                    </a:lnTo>
                    <a:lnTo>
                      <a:pt x="87" y="802"/>
                    </a:lnTo>
                    <a:lnTo>
                      <a:pt x="162" y="887"/>
                    </a:lnTo>
                    <a:lnTo>
                      <a:pt x="169" y="923"/>
                    </a:lnTo>
                    <a:lnTo>
                      <a:pt x="187" y="931"/>
                    </a:lnTo>
                    <a:lnTo>
                      <a:pt x="193" y="966"/>
                    </a:lnTo>
                    <a:lnTo>
                      <a:pt x="231" y="1000"/>
                    </a:lnTo>
                    <a:lnTo>
                      <a:pt x="248" y="1001"/>
                    </a:lnTo>
                    <a:lnTo>
                      <a:pt x="298" y="1085"/>
                    </a:lnTo>
                    <a:lnTo>
                      <a:pt x="299" y="1112"/>
                    </a:lnTo>
                    <a:lnTo>
                      <a:pt x="312" y="1141"/>
                    </a:lnTo>
                    <a:lnTo>
                      <a:pt x="339" y="1147"/>
                    </a:lnTo>
                    <a:lnTo>
                      <a:pt x="347" y="1190"/>
                    </a:lnTo>
                    <a:lnTo>
                      <a:pt x="364" y="1212"/>
                    </a:lnTo>
                    <a:lnTo>
                      <a:pt x="403" y="1230"/>
                    </a:lnTo>
                    <a:lnTo>
                      <a:pt x="433" y="1311"/>
                    </a:lnTo>
                    <a:lnTo>
                      <a:pt x="458" y="1328"/>
                    </a:lnTo>
                    <a:lnTo>
                      <a:pt x="468" y="1380"/>
                    </a:lnTo>
                    <a:lnTo>
                      <a:pt x="458" y="1402"/>
                    </a:lnTo>
                    <a:lnTo>
                      <a:pt x="458" y="1426"/>
                    </a:lnTo>
                    <a:lnTo>
                      <a:pt x="494" y="1452"/>
                    </a:lnTo>
                    <a:lnTo>
                      <a:pt x="496" y="1481"/>
                    </a:lnTo>
                    <a:lnTo>
                      <a:pt x="519" y="1495"/>
                    </a:lnTo>
                    <a:lnTo>
                      <a:pt x="545" y="1469"/>
                    </a:lnTo>
                    <a:lnTo>
                      <a:pt x="581" y="1499"/>
                    </a:lnTo>
                    <a:lnTo>
                      <a:pt x="636" y="1524"/>
                    </a:lnTo>
                    <a:lnTo>
                      <a:pt x="678" y="1567"/>
                    </a:lnTo>
                    <a:lnTo>
                      <a:pt x="691" y="1605"/>
                    </a:lnTo>
                    <a:lnTo>
                      <a:pt x="705" y="1607"/>
                    </a:lnTo>
                    <a:lnTo>
                      <a:pt x="709" y="1650"/>
                    </a:lnTo>
                    <a:lnTo>
                      <a:pt x="726" y="1665"/>
                    </a:lnTo>
                    <a:lnTo>
                      <a:pt x="741" y="1723"/>
                    </a:lnTo>
                    <a:lnTo>
                      <a:pt x="774" y="1753"/>
                    </a:lnTo>
                    <a:lnTo>
                      <a:pt x="785" y="1813"/>
                    </a:lnTo>
                    <a:lnTo>
                      <a:pt x="795" y="1831"/>
                    </a:lnTo>
                    <a:lnTo>
                      <a:pt x="782" y="1888"/>
                    </a:lnTo>
                    <a:lnTo>
                      <a:pt x="769" y="1899"/>
                    </a:lnTo>
                    <a:lnTo>
                      <a:pt x="782" y="1926"/>
                    </a:lnTo>
                    <a:lnTo>
                      <a:pt x="799" y="1989"/>
                    </a:lnTo>
                    <a:lnTo>
                      <a:pt x="806" y="2053"/>
                    </a:lnTo>
                    <a:lnTo>
                      <a:pt x="837" y="2080"/>
                    </a:lnTo>
                    <a:lnTo>
                      <a:pt x="842" y="2105"/>
                    </a:lnTo>
                    <a:lnTo>
                      <a:pt x="929" y="2197"/>
                    </a:lnTo>
                    <a:lnTo>
                      <a:pt x="959" y="2210"/>
                    </a:lnTo>
                    <a:lnTo>
                      <a:pt x="992" y="2213"/>
                    </a:lnTo>
                    <a:lnTo>
                      <a:pt x="1016" y="2245"/>
                    </a:lnTo>
                    <a:lnTo>
                      <a:pt x="1033" y="2245"/>
                    </a:lnTo>
                    <a:lnTo>
                      <a:pt x="1083" y="2289"/>
                    </a:lnTo>
                    <a:lnTo>
                      <a:pt x="1085" y="2314"/>
                    </a:lnTo>
                    <a:lnTo>
                      <a:pt x="1127" y="2323"/>
                    </a:lnTo>
                    <a:lnTo>
                      <a:pt x="1122" y="2347"/>
                    </a:lnTo>
                    <a:lnTo>
                      <a:pt x="1145" y="2355"/>
                    </a:lnTo>
                    <a:lnTo>
                      <a:pt x="1185" y="2504"/>
                    </a:lnTo>
                    <a:lnTo>
                      <a:pt x="1221" y="2525"/>
                    </a:lnTo>
                    <a:lnTo>
                      <a:pt x="1224" y="2569"/>
                    </a:lnTo>
                    <a:lnTo>
                      <a:pt x="1352" y="2700"/>
                    </a:lnTo>
                    <a:lnTo>
                      <a:pt x="1372" y="2700"/>
                    </a:lnTo>
                    <a:lnTo>
                      <a:pt x="1384" y="2774"/>
                    </a:lnTo>
                    <a:lnTo>
                      <a:pt x="1438" y="2789"/>
                    </a:lnTo>
                    <a:lnTo>
                      <a:pt x="1468" y="2877"/>
                    </a:lnTo>
                    <a:lnTo>
                      <a:pt x="1499" y="2880"/>
                    </a:lnTo>
                    <a:lnTo>
                      <a:pt x="1525" y="2891"/>
                    </a:lnTo>
                    <a:lnTo>
                      <a:pt x="1543" y="2857"/>
                    </a:lnTo>
                    <a:lnTo>
                      <a:pt x="1588" y="2827"/>
                    </a:lnTo>
                    <a:lnTo>
                      <a:pt x="1558" y="2770"/>
                    </a:lnTo>
                    <a:lnTo>
                      <a:pt x="1580" y="2688"/>
                    </a:lnTo>
                    <a:lnTo>
                      <a:pt x="1625" y="2668"/>
                    </a:lnTo>
                    <a:lnTo>
                      <a:pt x="1678" y="2710"/>
                    </a:lnTo>
                    <a:lnTo>
                      <a:pt x="1785" y="2713"/>
                    </a:lnTo>
                    <a:lnTo>
                      <a:pt x="1932" y="2773"/>
                    </a:lnTo>
                    <a:lnTo>
                      <a:pt x="2085" y="2847"/>
                    </a:lnTo>
                    <a:lnTo>
                      <a:pt x="2092" y="3002"/>
                    </a:lnTo>
                    <a:lnTo>
                      <a:pt x="2402" y="2582"/>
                    </a:lnTo>
                    <a:lnTo>
                      <a:pt x="3536" y="2243"/>
                    </a:lnTo>
                    <a:lnTo>
                      <a:pt x="3560" y="1870"/>
                    </a:lnTo>
                    <a:lnTo>
                      <a:pt x="3521" y="1732"/>
                    </a:lnTo>
                    <a:lnTo>
                      <a:pt x="3521" y="1729"/>
                    </a:lnTo>
                    <a:lnTo>
                      <a:pt x="3464" y="1784"/>
                    </a:lnTo>
                    <a:lnTo>
                      <a:pt x="2962" y="1707"/>
                    </a:lnTo>
                    <a:lnTo>
                      <a:pt x="2925" y="1573"/>
                    </a:lnTo>
                    <a:lnTo>
                      <a:pt x="2884" y="1525"/>
                    </a:lnTo>
                    <a:lnTo>
                      <a:pt x="2885" y="1466"/>
                    </a:lnTo>
                    <a:lnTo>
                      <a:pt x="2885" y="1465"/>
                    </a:lnTo>
                    <a:lnTo>
                      <a:pt x="2876" y="1469"/>
                    </a:lnTo>
                    <a:lnTo>
                      <a:pt x="2861" y="1442"/>
                    </a:lnTo>
                    <a:lnTo>
                      <a:pt x="2862" y="1425"/>
                    </a:lnTo>
                    <a:lnTo>
                      <a:pt x="2877" y="1406"/>
                    </a:lnTo>
                    <a:lnTo>
                      <a:pt x="2848" y="1409"/>
                    </a:lnTo>
                    <a:lnTo>
                      <a:pt x="2844" y="1401"/>
                    </a:lnTo>
                    <a:lnTo>
                      <a:pt x="2815" y="1401"/>
                    </a:lnTo>
                    <a:lnTo>
                      <a:pt x="2760" y="1371"/>
                    </a:lnTo>
                    <a:lnTo>
                      <a:pt x="2753" y="1354"/>
                    </a:lnTo>
                    <a:lnTo>
                      <a:pt x="2743" y="1360"/>
                    </a:lnTo>
                    <a:lnTo>
                      <a:pt x="2716" y="1320"/>
                    </a:lnTo>
                    <a:lnTo>
                      <a:pt x="2708" y="1276"/>
                    </a:lnTo>
                    <a:lnTo>
                      <a:pt x="2621" y="1167"/>
                    </a:lnTo>
                    <a:lnTo>
                      <a:pt x="2599" y="1126"/>
                    </a:lnTo>
                    <a:lnTo>
                      <a:pt x="2618" y="1131"/>
                    </a:lnTo>
                    <a:lnTo>
                      <a:pt x="2618" y="1112"/>
                    </a:lnTo>
                    <a:lnTo>
                      <a:pt x="2587" y="1029"/>
                    </a:lnTo>
                    <a:lnTo>
                      <a:pt x="2587" y="1010"/>
                    </a:lnTo>
                    <a:lnTo>
                      <a:pt x="2565" y="976"/>
                    </a:lnTo>
                    <a:lnTo>
                      <a:pt x="2549" y="976"/>
                    </a:lnTo>
                    <a:lnTo>
                      <a:pt x="2494" y="896"/>
                    </a:lnTo>
                    <a:lnTo>
                      <a:pt x="2473" y="895"/>
                    </a:lnTo>
                    <a:lnTo>
                      <a:pt x="2449" y="867"/>
                    </a:lnTo>
                    <a:lnTo>
                      <a:pt x="2452" y="856"/>
                    </a:lnTo>
                    <a:lnTo>
                      <a:pt x="2462" y="853"/>
                    </a:lnTo>
                    <a:lnTo>
                      <a:pt x="2476" y="862"/>
                    </a:lnTo>
                    <a:lnTo>
                      <a:pt x="2462" y="841"/>
                    </a:lnTo>
                    <a:lnTo>
                      <a:pt x="2433" y="836"/>
                    </a:lnTo>
                    <a:lnTo>
                      <a:pt x="2375" y="822"/>
                    </a:lnTo>
                    <a:lnTo>
                      <a:pt x="2343" y="735"/>
                    </a:lnTo>
                    <a:lnTo>
                      <a:pt x="2324" y="693"/>
                    </a:lnTo>
                    <a:lnTo>
                      <a:pt x="2303" y="682"/>
                    </a:lnTo>
                    <a:lnTo>
                      <a:pt x="2303" y="653"/>
                    </a:lnTo>
                    <a:lnTo>
                      <a:pt x="2290" y="660"/>
                    </a:lnTo>
                    <a:lnTo>
                      <a:pt x="2278" y="644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2" name="îṣḻîde"/>
              <p:cNvSpPr/>
              <p:nvPr/>
            </p:nvSpPr>
            <p:spPr bwMode="auto">
              <a:xfrm>
                <a:off x="1609049" y="3719146"/>
                <a:ext cx="22083" cy="48060"/>
              </a:xfrm>
              <a:custGeom>
                <a:avLst/>
                <a:gdLst>
                  <a:gd name="T0" fmla="*/ 102 w 134"/>
                  <a:gd name="T1" fmla="*/ 290 h 290"/>
                  <a:gd name="T2" fmla="*/ 73 w 134"/>
                  <a:gd name="T3" fmla="*/ 290 h 290"/>
                  <a:gd name="T4" fmla="*/ 18 w 134"/>
                  <a:gd name="T5" fmla="*/ 260 h 290"/>
                  <a:gd name="T6" fmla="*/ 11 w 134"/>
                  <a:gd name="T7" fmla="*/ 243 h 290"/>
                  <a:gd name="T8" fmla="*/ 20 w 134"/>
                  <a:gd name="T9" fmla="*/ 238 h 290"/>
                  <a:gd name="T10" fmla="*/ 20 w 134"/>
                  <a:gd name="T11" fmla="*/ 203 h 290"/>
                  <a:gd name="T12" fmla="*/ 9 w 134"/>
                  <a:gd name="T13" fmla="*/ 189 h 290"/>
                  <a:gd name="T14" fmla="*/ 0 w 134"/>
                  <a:gd name="T15" fmla="*/ 164 h 290"/>
                  <a:gd name="T16" fmla="*/ 6 w 134"/>
                  <a:gd name="T17" fmla="*/ 112 h 290"/>
                  <a:gd name="T18" fmla="*/ 20 w 134"/>
                  <a:gd name="T19" fmla="*/ 112 h 290"/>
                  <a:gd name="T20" fmla="*/ 29 w 134"/>
                  <a:gd name="T21" fmla="*/ 119 h 290"/>
                  <a:gd name="T22" fmla="*/ 20 w 134"/>
                  <a:gd name="T23" fmla="*/ 66 h 290"/>
                  <a:gd name="T24" fmla="*/ 27 w 134"/>
                  <a:gd name="T25" fmla="*/ 66 h 290"/>
                  <a:gd name="T26" fmla="*/ 21 w 134"/>
                  <a:gd name="T27" fmla="*/ 40 h 290"/>
                  <a:gd name="T28" fmla="*/ 33 w 134"/>
                  <a:gd name="T29" fmla="*/ 30 h 290"/>
                  <a:gd name="T30" fmla="*/ 33 w 134"/>
                  <a:gd name="T31" fmla="*/ 16 h 290"/>
                  <a:gd name="T32" fmla="*/ 46 w 134"/>
                  <a:gd name="T33" fmla="*/ 15 h 290"/>
                  <a:gd name="T34" fmla="*/ 51 w 134"/>
                  <a:gd name="T35" fmla="*/ 0 h 290"/>
                  <a:gd name="T36" fmla="*/ 64 w 134"/>
                  <a:gd name="T37" fmla="*/ 0 h 290"/>
                  <a:gd name="T38" fmla="*/ 94 w 134"/>
                  <a:gd name="T39" fmla="*/ 23 h 290"/>
                  <a:gd name="T40" fmla="*/ 96 w 134"/>
                  <a:gd name="T41" fmla="*/ 41 h 290"/>
                  <a:gd name="T42" fmla="*/ 110 w 134"/>
                  <a:gd name="T43" fmla="*/ 41 h 290"/>
                  <a:gd name="T44" fmla="*/ 117 w 134"/>
                  <a:gd name="T45" fmla="*/ 53 h 290"/>
                  <a:gd name="T46" fmla="*/ 105 w 134"/>
                  <a:gd name="T47" fmla="*/ 109 h 290"/>
                  <a:gd name="T48" fmla="*/ 98 w 134"/>
                  <a:gd name="T49" fmla="*/ 109 h 290"/>
                  <a:gd name="T50" fmla="*/ 104 w 134"/>
                  <a:gd name="T51" fmla="*/ 166 h 290"/>
                  <a:gd name="T52" fmla="*/ 116 w 134"/>
                  <a:gd name="T53" fmla="*/ 166 h 290"/>
                  <a:gd name="T54" fmla="*/ 134 w 134"/>
                  <a:gd name="T55" fmla="*/ 200 h 290"/>
                  <a:gd name="T56" fmla="*/ 121 w 134"/>
                  <a:gd name="T57" fmla="*/ 284 h 290"/>
                  <a:gd name="T58" fmla="*/ 101 w 134"/>
                  <a:gd name="T59" fmla="*/ 288 h 290"/>
                  <a:gd name="T60" fmla="*/ 102 w 134"/>
                  <a:gd name="T61" fmla="*/ 290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34" h="290">
                    <a:moveTo>
                      <a:pt x="102" y="290"/>
                    </a:moveTo>
                    <a:lnTo>
                      <a:pt x="73" y="290"/>
                    </a:lnTo>
                    <a:lnTo>
                      <a:pt x="18" y="260"/>
                    </a:lnTo>
                    <a:lnTo>
                      <a:pt x="11" y="243"/>
                    </a:lnTo>
                    <a:lnTo>
                      <a:pt x="20" y="238"/>
                    </a:lnTo>
                    <a:lnTo>
                      <a:pt x="20" y="203"/>
                    </a:lnTo>
                    <a:lnTo>
                      <a:pt x="9" y="189"/>
                    </a:lnTo>
                    <a:lnTo>
                      <a:pt x="0" y="164"/>
                    </a:lnTo>
                    <a:lnTo>
                      <a:pt x="6" y="112"/>
                    </a:lnTo>
                    <a:lnTo>
                      <a:pt x="20" y="112"/>
                    </a:lnTo>
                    <a:lnTo>
                      <a:pt x="29" y="119"/>
                    </a:lnTo>
                    <a:lnTo>
                      <a:pt x="20" y="66"/>
                    </a:lnTo>
                    <a:lnTo>
                      <a:pt x="27" y="66"/>
                    </a:lnTo>
                    <a:lnTo>
                      <a:pt x="21" y="40"/>
                    </a:lnTo>
                    <a:lnTo>
                      <a:pt x="33" y="30"/>
                    </a:lnTo>
                    <a:lnTo>
                      <a:pt x="33" y="16"/>
                    </a:lnTo>
                    <a:lnTo>
                      <a:pt x="46" y="15"/>
                    </a:lnTo>
                    <a:lnTo>
                      <a:pt x="51" y="0"/>
                    </a:lnTo>
                    <a:lnTo>
                      <a:pt x="64" y="0"/>
                    </a:lnTo>
                    <a:lnTo>
                      <a:pt x="94" y="23"/>
                    </a:lnTo>
                    <a:lnTo>
                      <a:pt x="96" y="41"/>
                    </a:lnTo>
                    <a:lnTo>
                      <a:pt x="110" y="41"/>
                    </a:lnTo>
                    <a:lnTo>
                      <a:pt x="117" y="53"/>
                    </a:lnTo>
                    <a:lnTo>
                      <a:pt x="105" y="109"/>
                    </a:lnTo>
                    <a:lnTo>
                      <a:pt x="98" y="109"/>
                    </a:lnTo>
                    <a:lnTo>
                      <a:pt x="104" y="166"/>
                    </a:lnTo>
                    <a:lnTo>
                      <a:pt x="116" y="166"/>
                    </a:lnTo>
                    <a:lnTo>
                      <a:pt x="134" y="200"/>
                    </a:lnTo>
                    <a:lnTo>
                      <a:pt x="121" y="284"/>
                    </a:lnTo>
                    <a:lnTo>
                      <a:pt x="101" y="288"/>
                    </a:lnTo>
                    <a:lnTo>
                      <a:pt x="102" y="29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3" name="ïśľíḍê"/>
              <p:cNvSpPr/>
              <p:nvPr/>
            </p:nvSpPr>
            <p:spPr bwMode="auto">
              <a:xfrm>
                <a:off x="1632430" y="3723045"/>
                <a:ext cx="132489" cy="106511"/>
              </a:xfrm>
              <a:custGeom>
                <a:avLst/>
                <a:gdLst>
                  <a:gd name="T0" fmla="*/ 1 w 816"/>
                  <a:gd name="T1" fmla="*/ 333 h 651"/>
                  <a:gd name="T2" fmla="*/ 0 w 816"/>
                  <a:gd name="T3" fmla="*/ 392 h 651"/>
                  <a:gd name="T4" fmla="*/ 41 w 816"/>
                  <a:gd name="T5" fmla="*/ 440 h 651"/>
                  <a:gd name="T6" fmla="*/ 78 w 816"/>
                  <a:gd name="T7" fmla="*/ 574 h 651"/>
                  <a:gd name="T8" fmla="*/ 580 w 816"/>
                  <a:gd name="T9" fmla="*/ 651 h 651"/>
                  <a:gd name="T10" fmla="*/ 637 w 816"/>
                  <a:gd name="T11" fmla="*/ 596 h 651"/>
                  <a:gd name="T12" fmla="*/ 782 w 816"/>
                  <a:gd name="T13" fmla="*/ 146 h 651"/>
                  <a:gd name="T14" fmla="*/ 816 w 816"/>
                  <a:gd name="T15" fmla="*/ 142 h 651"/>
                  <a:gd name="T16" fmla="*/ 812 w 816"/>
                  <a:gd name="T17" fmla="*/ 99 h 651"/>
                  <a:gd name="T18" fmla="*/ 807 w 816"/>
                  <a:gd name="T19" fmla="*/ 76 h 651"/>
                  <a:gd name="T20" fmla="*/ 792 w 816"/>
                  <a:gd name="T21" fmla="*/ 81 h 651"/>
                  <a:gd name="T22" fmla="*/ 782 w 816"/>
                  <a:gd name="T23" fmla="*/ 73 h 651"/>
                  <a:gd name="T24" fmla="*/ 782 w 816"/>
                  <a:gd name="T25" fmla="*/ 68 h 651"/>
                  <a:gd name="T26" fmla="*/ 767 w 816"/>
                  <a:gd name="T27" fmla="*/ 67 h 651"/>
                  <a:gd name="T28" fmla="*/ 763 w 816"/>
                  <a:gd name="T29" fmla="*/ 6 h 651"/>
                  <a:gd name="T30" fmla="*/ 741 w 816"/>
                  <a:gd name="T31" fmla="*/ 0 h 651"/>
                  <a:gd name="T32" fmla="*/ 740 w 816"/>
                  <a:gd name="T33" fmla="*/ 25 h 651"/>
                  <a:gd name="T34" fmla="*/ 731 w 816"/>
                  <a:gd name="T35" fmla="*/ 41 h 651"/>
                  <a:gd name="T36" fmla="*/ 625 w 816"/>
                  <a:gd name="T37" fmla="*/ 106 h 651"/>
                  <a:gd name="T38" fmla="*/ 625 w 816"/>
                  <a:gd name="T39" fmla="*/ 152 h 651"/>
                  <a:gd name="T40" fmla="*/ 526 w 816"/>
                  <a:gd name="T41" fmla="*/ 237 h 651"/>
                  <a:gd name="T42" fmla="*/ 511 w 816"/>
                  <a:gd name="T43" fmla="*/ 261 h 651"/>
                  <a:gd name="T44" fmla="*/ 525 w 816"/>
                  <a:gd name="T45" fmla="*/ 266 h 651"/>
                  <a:gd name="T46" fmla="*/ 534 w 816"/>
                  <a:gd name="T47" fmla="*/ 287 h 651"/>
                  <a:gd name="T48" fmla="*/ 490 w 816"/>
                  <a:gd name="T49" fmla="*/ 333 h 651"/>
                  <a:gd name="T50" fmla="*/ 475 w 816"/>
                  <a:gd name="T51" fmla="*/ 312 h 651"/>
                  <a:gd name="T52" fmla="*/ 461 w 816"/>
                  <a:gd name="T53" fmla="*/ 322 h 651"/>
                  <a:gd name="T54" fmla="*/ 438 w 816"/>
                  <a:gd name="T55" fmla="*/ 322 h 651"/>
                  <a:gd name="T56" fmla="*/ 441 w 816"/>
                  <a:gd name="T57" fmla="*/ 349 h 651"/>
                  <a:gd name="T58" fmla="*/ 431 w 816"/>
                  <a:gd name="T59" fmla="*/ 352 h 651"/>
                  <a:gd name="T60" fmla="*/ 423 w 816"/>
                  <a:gd name="T61" fmla="*/ 367 h 651"/>
                  <a:gd name="T62" fmla="*/ 372 w 816"/>
                  <a:gd name="T63" fmla="*/ 376 h 651"/>
                  <a:gd name="T64" fmla="*/ 336 w 816"/>
                  <a:gd name="T65" fmla="*/ 381 h 651"/>
                  <a:gd name="T66" fmla="*/ 321 w 816"/>
                  <a:gd name="T67" fmla="*/ 361 h 651"/>
                  <a:gd name="T68" fmla="*/ 287 w 816"/>
                  <a:gd name="T69" fmla="*/ 363 h 651"/>
                  <a:gd name="T70" fmla="*/ 273 w 816"/>
                  <a:gd name="T71" fmla="*/ 356 h 651"/>
                  <a:gd name="T72" fmla="*/ 248 w 816"/>
                  <a:gd name="T73" fmla="*/ 361 h 651"/>
                  <a:gd name="T74" fmla="*/ 189 w 816"/>
                  <a:gd name="T75" fmla="*/ 348 h 651"/>
                  <a:gd name="T76" fmla="*/ 119 w 816"/>
                  <a:gd name="T77" fmla="*/ 402 h 651"/>
                  <a:gd name="T78" fmla="*/ 93 w 816"/>
                  <a:gd name="T79" fmla="*/ 394 h 651"/>
                  <a:gd name="T80" fmla="*/ 67 w 816"/>
                  <a:gd name="T81" fmla="*/ 392 h 651"/>
                  <a:gd name="T82" fmla="*/ 39 w 816"/>
                  <a:gd name="T83" fmla="*/ 403 h 651"/>
                  <a:gd name="T84" fmla="*/ 29 w 816"/>
                  <a:gd name="T85" fmla="*/ 326 h 651"/>
                  <a:gd name="T86" fmla="*/ 15 w 816"/>
                  <a:gd name="T87" fmla="*/ 342 h 651"/>
                  <a:gd name="T88" fmla="*/ 1 w 816"/>
                  <a:gd name="T89" fmla="*/ 333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16" h="651">
                    <a:moveTo>
                      <a:pt x="1" y="333"/>
                    </a:moveTo>
                    <a:lnTo>
                      <a:pt x="0" y="392"/>
                    </a:lnTo>
                    <a:lnTo>
                      <a:pt x="41" y="440"/>
                    </a:lnTo>
                    <a:lnTo>
                      <a:pt x="78" y="574"/>
                    </a:lnTo>
                    <a:lnTo>
                      <a:pt x="580" y="651"/>
                    </a:lnTo>
                    <a:lnTo>
                      <a:pt x="637" y="596"/>
                    </a:lnTo>
                    <a:lnTo>
                      <a:pt x="782" y="146"/>
                    </a:lnTo>
                    <a:lnTo>
                      <a:pt x="816" y="142"/>
                    </a:lnTo>
                    <a:lnTo>
                      <a:pt x="812" y="99"/>
                    </a:lnTo>
                    <a:lnTo>
                      <a:pt x="807" y="76"/>
                    </a:lnTo>
                    <a:lnTo>
                      <a:pt x="792" y="81"/>
                    </a:lnTo>
                    <a:lnTo>
                      <a:pt x="782" y="73"/>
                    </a:lnTo>
                    <a:lnTo>
                      <a:pt x="782" y="68"/>
                    </a:lnTo>
                    <a:lnTo>
                      <a:pt x="767" y="67"/>
                    </a:lnTo>
                    <a:lnTo>
                      <a:pt x="763" y="6"/>
                    </a:lnTo>
                    <a:lnTo>
                      <a:pt x="741" y="0"/>
                    </a:lnTo>
                    <a:lnTo>
                      <a:pt x="740" y="25"/>
                    </a:lnTo>
                    <a:lnTo>
                      <a:pt x="731" y="41"/>
                    </a:lnTo>
                    <a:lnTo>
                      <a:pt x="625" y="106"/>
                    </a:lnTo>
                    <a:lnTo>
                      <a:pt x="625" y="152"/>
                    </a:lnTo>
                    <a:lnTo>
                      <a:pt x="526" y="237"/>
                    </a:lnTo>
                    <a:lnTo>
                      <a:pt x="511" y="261"/>
                    </a:lnTo>
                    <a:lnTo>
                      <a:pt x="525" y="266"/>
                    </a:lnTo>
                    <a:lnTo>
                      <a:pt x="534" y="287"/>
                    </a:lnTo>
                    <a:lnTo>
                      <a:pt x="490" y="333"/>
                    </a:lnTo>
                    <a:lnTo>
                      <a:pt x="475" y="312"/>
                    </a:lnTo>
                    <a:lnTo>
                      <a:pt x="461" y="322"/>
                    </a:lnTo>
                    <a:lnTo>
                      <a:pt x="438" y="322"/>
                    </a:lnTo>
                    <a:lnTo>
                      <a:pt x="441" y="349"/>
                    </a:lnTo>
                    <a:lnTo>
                      <a:pt x="431" y="352"/>
                    </a:lnTo>
                    <a:lnTo>
                      <a:pt x="423" y="367"/>
                    </a:lnTo>
                    <a:lnTo>
                      <a:pt x="372" y="376"/>
                    </a:lnTo>
                    <a:lnTo>
                      <a:pt x="336" y="381"/>
                    </a:lnTo>
                    <a:lnTo>
                      <a:pt x="321" y="361"/>
                    </a:lnTo>
                    <a:lnTo>
                      <a:pt x="287" y="363"/>
                    </a:lnTo>
                    <a:lnTo>
                      <a:pt x="273" y="356"/>
                    </a:lnTo>
                    <a:lnTo>
                      <a:pt x="248" y="361"/>
                    </a:lnTo>
                    <a:lnTo>
                      <a:pt x="189" y="348"/>
                    </a:lnTo>
                    <a:lnTo>
                      <a:pt x="119" y="402"/>
                    </a:lnTo>
                    <a:lnTo>
                      <a:pt x="93" y="394"/>
                    </a:lnTo>
                    <a:lnTo>
                      <a:pt x="67" y="392"/>
                    </a:lnTo>
                    <a:lnTo>
                      <a:pt x="39" y="403"/>
                    </a:lnTo>
                    <a:lnTo>
                      <a:pt x="29" y="326"/>
                    </a:lnTo>
                    <a:lnTo>
                      <a:pt x="15" y="342"/>
                    </a:lnTo>
                    <a:lnTo>
                      <a:pt x="1" y="333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4" name="i$ḷiḍé"/>
              <p:cNvSpPr/>
              <p:nvPr/>
            </p:nvSpPr>
            <p:spPr bwMode="auto">
              <a:xfrm>
                <a:off x="1657109" y="3710055"/>
                <a:ext cx="207827" cy="293555"/>
              </a:xfrm>
              <a:custGeom>
                <a:avLst/>
                <a:gdLst>
                  <a:gd name="T0" fmla="*/ 497 w 1279"/>
                  <a:gd name="T1" fmla="*/ 1190 h 1809"/>
                  <a:gd name="T2" fmla="*/ 482 w 1279"/>
                  <a:gd name="T3" fmla="*/ 679 h 1809"/>
                  <a:gd name="T4" fmla="*/ 661 w 1279"/>
                  <a:gd name="T5" fmla="*/ 222 h 1809"/>
                  <a:gd name="T6" fmla="*/ 727 w 1279"/>
                  <a:gd name="T7" fmla="*/ 394 h 1809"/>
                  <a:gd name="T8" fmla="*/ 828 w 1279"/>
                  <a:gd name="T9" fmla="*/ 498 h 1809"/>
                  <a:gd name="T10" fmla="*/ 892 w 1279"/>
                  <a:gd name="T11" fmla="*/ 499 h 1809"/>
                  <a:gd name="T12" fmla="*/ 1001 w 1279"/>
                  <a:gd name="T13" fmla="*/ 512 h 1809"/>
                  <a:gd name="T14" fmla="*/ 1067 w 1279"/>
                  <a:gd name="T15" fmla="*/ 504 h 1809"/>
                  <a:gd name="T16" fmla="*/ 1129 w 1279"/>
                  <a:gd name="T17" fmla="*/ 612 h 1809"/>
                  <a:gd name="T18" fmla="*/ 1174 w 1279"/>
                  <a:gd name="T19" fmla="*/ 670 h 1809"/>
                  <a:gd name="T20" fmla="*/ 1269 w 1279"/>
                  <a:gd name="T21" fmla="*/ 727 h 1809"/>
                  <a:gd name="T22" fmla="*/ 1277 w 1279"/>
                  <a:gd name="T23" fmla="*/ 772 h 1809"/>
                  <a:gd name="T24" fmla="*/ 1259 w 1279"/>
                  <a:gd name="T25" fmla="*/ 832 h 1809"/>
                  <a:gd name="T26" fmla="*/ 1190 w 1279"/>
                  <a:gd name="T27" fmla="*/ 958 h 1809"/>
                  <a:gd name="T28" fmla="*/ 1130 w 1279"/>
                  <a:gd name="T29" fmla="*/ 1035 h 1809"/>
                  <a:gd name="T30" fmla="*/ 1091 w 1279"/>
                  <a:gd name="T31" fmla="*/ 1118 h 1809"/>
                  <a:gd name="T32" fmla="*/ 1053 w 1279"/>
                  <a:gd name="T33" fmla="*/ 1107 h 1809"/>
                  <a:gd name="T34" fmla="*/ 1064 w 1279"/>
                  <a:gd name="T35" fmla="*/ 1071 h 1809"/>
                  <a:gd name="T36" fmla="*/ 1032 w 1279"/>
                  <a:gd name="T37" fmla="*/ 1079 h 1809"/>
                  <a:gd name="T38" fmla="*/ 1003 w 1279"/>
                  <a:gd name="T39" fmla="*/ 1118 h 1809"/>
                  <a:gd name="T40" fmla="*/ 996 w 1279"/>
                  <a:gd name="T41" fmla="*/ 1145 h 1809"/>
                  <a:gd name="T42" fmla="*/ 966 w 1279"/>
                  <a:gd name="T43" fmla="*/ 1231 h 1809"/>
                  <a:gd name="T44" fmla="*/ 963 w 1279"/>
                  <a:gd name="T45" fmla="*/ 1259 h 1809"/>
                  <a:gd name="T46" fmla="*/ 969 w 1279"/>
                  <a:gd name="T47" fmla="*/ 1292 h 1809"/>
                  <a:gd name="T48" fmla="*/ 1004 w 1279"/>
                  <a:gd name="T49" fmla="*/ 1367 h 1809"/>
                  <a:gd name="T50" fmla="*/ 913 w 1279"/>
                  <a:gd name="T51" fmla="*/ 1391 h 1809"/>
                  <a:gd name="T52" fmla="*/ 872 w 1279"/>
                  <a:gd name="T53" fmla="*/ 1391 h 1809"/>
                  <a:gd name="T54" fmla="*/ 771 w 1279"/>
                  <a:gd name="T55" fmla="*/ 1478 h 1809"/>
                  <a:gd name="T56" fmla="*/ 755 w 1279"/>
                  <a:gd name="T57" fmla="*/ 1545 h 1809"/>
                  <a:gd name="T58" fmla="*/ 702 w 1279"/>
                  <a:gd name="T59" fmla="*/ 1570 h 1809"/>
                  <a:gd name="T60" fmla="*/ 601 w 1279"/>
                  <a:gd name="T61" fmla="*/ 1575 h 1809"/>
                  <a:gd name="T62" fmla="*/ 560 w 1279"/>
                  <a:gd name="T63" fmla="*/ 1615 h 1809"/>
                  <a:gd name="T64" fmla="*/ 563 w 1279"/>
                  <a:gd name="T65" fmla="*/ 1653 h 1809"/>
                  <a:gd name="T66" fmla="*/ 576 w 1279"/>
                  <a:gd name="T67" fmla="*/ 1683 h 1809"/>
                  <a:gd name="T68" fmla="*/ 570 w 1279"/>
                  <a:gd name="T69" fmla="*/ 1692 h 1809"/>
                  <a:gd name="T70" fmla="*/ 508 w 1279"/>
                  <a:gd name="T71" fmla="*/ 1755 h 1809"/>
                  <a:gd name="T72" fmla="*/ 452 w 1279"/>
                  <a:gd name="T73" fmla="*/ 1743 h 1809"/>
                  <a:gd name="T74" fmla="*/ 357 w 1279"/>
                  <a:gd name="T75" fmla="*/ 1774 h 1809"/>
                  <a:gd name="T76" fmla="*/ 297 w 1279"/>
                  <a:gd name="T77" fmla="*/ 1809 h 1809"/>
                  <a:gd name="T78" fmla="*/ 255 w 1279"/>
                  <a:gd name="T79" fmla="*/ 1802 h 1809"/>
                  <a:gd name="T80" fmla="*/ 134 w 1279"/>
                  <a:gd name="T81" fmla="*/ 1691 h 1809"/>
                  <a:gd name="T82" fmla="*/ 0 w 1279"/>
                  <a:gd name="T83" fmla="*/ 1420 h 1809"/>
                  <a:gd name="T84" fmla="*/ 11 w 1279"/>
                  <a:gd name="T85" fmla="*/ 1335 h 1809"/>
                  <a:gd name="T86" fmla="*/ 628 w 1279"/>
                  <a:gd name="T87" fmla="*/ 128 h 1809"/>
                  <a:gd name="T88" fmla="*/ 648 w 1279"/>
                  <a:gd name="T89" fmla="*/ 52 h 1809"/>
                  <a:gd name="T90" fmla="*/ 646 w 1279"/>
                  <a:gd name="T91" fmla="*/ 28 h 1809"/>
                  <a:gd name="T92" fmla="*/ 645 w 1279"/>
                  <a:gd name="T93" fmla="*/ 12 h 1809"/>
                  <a:gd name="T94" fmla="*/ 644 w 1279"/>
                  <a:gd name="T95" fmla="*/ 0 h 1809"/>
                  <a:gd name="T96" fmla="*/ 618 w 1279"/>
                  <a:gd name="T97" fmla="*/ 2 h 1809"/>
                  <a:gd name="T98" fmla="*/ 601 w 1279"/>
                  <a:gd name="T99" fmla="*/ 60 h 1809"/>
                  <a:gd name="T100" fmla="*/ 586 w 1279"/>
                  <a:gd name="T101" fmla="*/ 65 h 1809"/>
                  <a:gd name="T102" fmla="*/ 608 w 1279"/>
                  <a:gd name="T103" fmla="*/ 86 h 1809"/>
                  <a:gd name="T104" fmla="*/ 627 w 1279"/>
                  <a:gd name="T105" fmla="*/ 148 h 18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79" h="1809">
                    <a:moveTo>
                      <a:pt x="11" y="1335"/>
                    </a:moveTo>
                    <a:lnTo>
                      <a:pt x="497" y="1190"/>
                    </a:lnTo>
                    <a:lnTo>
                      <a:pt x="521" y="817"/>
                    </a:lnTo>
                    <a:lnTo>
                      <a:pt x="482" y="679"/>
                    </a:lnTo>
                    <a:lnTo>
                      <a:pt x="627" y="226"/>
                    </a:lnTo>
                    <a:lnTo>
                      <a:pt x="661" y="222"/>
                    </a:lnTo>
                    <a:lnTo>
                      <a:pt x="670" y="324"/>
                    </a:lnTo>
                    <a:lnTo>
                      <a:pt x="727" y="394"/>
                    </a:lnTo>
                    <a:lnTo>
                      <a:pt x="732" y="417"/>
                    </a:lnTo>
                    <a:lnTo>
                      <a:pt x="828" y="498"/>
                    </a:lnTo>
                    <a:lnTo>
                      <a:pt x="871" y="509"/>
                    </a:lnTo>
                    <a:lnTo>
                      <a:pt x="892" y="499"/>
                    </a:lnTo>
                    <a:lnTo>
                      <a:pt x="925" y="498"/>
                    </a:lnTo>
                    <a:lnTo>
                      <a:pt x="1001" y="512"/>
                    </a:lnTo>
                    <a:lnTo>
                      <a:pt x="1044" y="503"/>
                    </a:lnTo>
                    <a:lnTo>
                      <a:pt x="1067" y="504"/>
                    </a:lnTo>
                    <a:lnTo>
                      <a:pt x="1115" y="567"/>
                    </a:lnTo>
                    <a:lnTo>
                      <a:pt x="1129" y="612"/>
                    </a:lnTo>
                    <a:lnTo>
                      <a:pt x="1159" y="638"/>
                    </a:lnTo>
                    <a:lnTo>
                      <a:pt x="1174" y="670"/>
                    </a:lnTo>
                    <a:lnTo>
                      <a:pt x="1237" y="722"/>
                    </a:lnTo>
                    <a:lnTo>
                      <a:pt x="1269" y="727"/>
                    </a:lnTo>
                    <a:lnTo>
                      <a:pt x="1279" y="739"/>
                    </a:lnTo>
                    <a:lnTo>
                      <a:pt x="1277" y="772"/>
                    </a:lnTo>
                    <a:lnTo>
                      <a:pt x="1256" y="810"/>
                    </a:lnTo>
                    <a:lnTo>
                      <a:pt x="1259" y="832"/>
                    </a:lnTo>
                    <a:lnTo>
                      <a:pt x="1254" y="857"/>
                    </a:lnTo>
                    <a:lnTo>
                      <a:pt x="1190" y="958"/>
                    </a:lnTo>
                    <a:lnTo>
                      <a:pt x="1149" y="996"/>
                    </a:lnTo>
                    <a:lnTo>
                      <a:pt x="1130" y="1035"/>
                    </a:lnTo>
                    <a:lnTo>
                      <a:pt x="1110" y="1053"/>
                    </a:lnTo>
                    <a:lnTo>
                      <a:pt x="1091" y="1118"/>
                    </a:lnTo>
                    <a:lnTo>
                      <a:pt x="1070" y="1116"/>
                    </a:lnTo>
                    <a:lnTo>
                      <a:pt x="1053" y="1107"/>
                    </a:lnTo>
                    <a:lnTo>
                      <a:pt x="1056" y="1088"/>
                    </a:lnTo>
                    <a:lnTo>
                      <a:pt x="1064" y="1071"/>
                    </a:lnTo>
                    <a:lnTo>
                      <a:pt x="1049" y="1065"/>
                    </a:lnTo>
                    <a:lnTo>
                      <a:pt x="1032" y="1079"/>
                    </a:lnTo>
                    <a:lnTo>
                      <a:pt x="1012" y="1116"/>
                    </a:lnTo>
                    <a:lnTo>
                      <a:pt x="1003" y="1118"/>
                    </a:lnTo>
                    <a:lnTo>
                      <a:pt x="1016" y="1140"/>
                    </a:lnTo>
                    <a:lnTo>
                      <a:pt x="996" y="1145"/>
                    </a:lnTo>
                    <a:lnTo>
                      <a:pt x="966" y="1201"/>
                    </a:lnTo>
                    <a:lnTo>
                      <a:pt x="966" y="1231"/>
                    </a:lnTo>
                    <a:lnTo>
                      <a:pt x="956" y="1258"/>
                    </a:lnTo>
                    <a:lnTo>
                      <a:pt x="963" y="1259"/>
                    </a:lnTo>
                    <a:lnTo>
                      <a:pt x="979" y="1290"/>
                    </a:lnTo>
                    <a:lnTo>
                      <a:pt x="969" y="1292"/>
                    </a:lnTo>
                    <a:lnTo>
                      <a:pt x="991" y="1354"/>
                    </a:lnTo>
                    <a:lnTo>
                      <a:pt x="1004" y="1367"/>
                    </a:lnTo>
                    <a:lnTo>
                      <a:pt x="998" y="1384"/>
                    </a:lnTo>
                    <a:lnTo>
                      <a:pt x="913" y="1391"/>
                    </a:lnTo>
                    <a:lnTo>
                      <a:pt x="895" y="1403"/>
                    </a:lnTo>
                    <a:lnTo>
                      <a:pt x="872" y="1391"/>
                    </a:lnTo>
                    <a:lnTo>
                      <a:pt x="833" y="1402"/>
                    </a:lnTo>
                    <a:lnTo>
                      <a:pt x="771" y="1478"/>
                    </a:lnTo>
                    <a:lnTo>
                      <a:pt x="771" y="1531"/>
                    </a:lnTo>
                    <a:lnTo>
                      <a:pt x="755" y="1545"/>
                    </a:lnTo>
                    <a:lnTo>
                      <a:pt x="723" y="1578"/>
                    </a:lnTo>
                    <a:lnTo>
                      <a:pt x="702" y="1570"/>
                    </a:lnTo>
                    <a:lnTo>
                      <a:pt x="659" y="1577"/>
                    </a:lnTo>
                    <a:lnTo>
                      <a:pt x="601" y="1575"/>
                    </a:lnTo>
                    <a:lnTo>
                      <a:pt x="585" y="1591"/>
                    </a:lnTo>
                    <a:lnTo>
                      <a:pt x="560" y="1615"/>
                    </a:lnTo>
                    <a:lnTo>
                      <a:pt x="566" y="1632"/>
                    </a:lnTo>
                    <a:lnTo>
                      <a:pt x="563" y="1653"/>
                    </a:lnTo>
                    <a:lnTo>
                      <a:pt x="578" y="1662"/>
                    </a:lnTo>
                    <a:lnTo>
                      <a:pt x="576" y="1683"/>
                    </a:lnTo>
                    <a:lnTo>
                      <a:pt x="568" y="1685"/>
                    </a:lnTo>
                    <a:lnTo>
                      <a:pt x="570" y="1692"/>
                    </a:lnTo>
                    <a:lnTo>
                      <a:pt x="529" y="1753"/>
                    </a:lnTo>
                    <a:lnTo>
                      <a:pt x="508" y="1755"/>
                    </a:lnTo>
                    <a:lnTo>
                      <a:pt x="481" y="1738"/>
                    </a:lnTo>
                    <a:lnTo>
                      <a:pt x="452" y="1743"/>
                    </a:lnTo>
                    <a:lnTo>
                      <a:pt x="418" y="1741"/>
                    </a:lnTo>
                    <a:lnTo>
                      <a:pt x="357" y="1774"/>
                    </a:lnTo>
                    <a:lnTo>
                      <a:pt x="320" y="1773"/>
                    </a:lnTo>
                    <a:lnTo>
                      <a:pt x="297" y="1809"/>
                    </a:lnTo>
                    <a:lnTo>
                      <a:pt x="264" y="1809"/>
                    </a:lnTo>
                    <a:lnTo>
                      <a:pt x="255" y="1802"/>
                    </a:lnTo>
                    <a:lnTo>
                      <a:pt x="232" y="1808"/>
                    </a:lnTo>
                    <a:lnTo>
                      <a:pt x="134" y="1691"/>
                    </a:lnTo>
                    <a:lnTo>
                      <a:pt x="156" y="1617"/>
                    </a:lnTo>
                    <a:lnTo>
                      <a:pt x="0" y="1420"/>
                    </a:lnTo>
                    <a:lnTo>
                      <a:pt x="11" y="1335"/>
                    </a:lnTo>
                    <a:lnTo>
                      <a:pt x="11" y="1335"/>
                    </a:lnTo>
                    <a:close/>
                    <a:moveTo>
                      <a:pt x="627" y="148"/>
                    </a:moveTo>
                    <a:lnTo>
                      <a:pt x="628" y="128"/>
                    </a:lnTo>
                    <a:lnTo>
                      <a:pt x="643" y="100"/>
                    </a:lnTo>
                    <a:lnTo>
                      <a:pt x="648" y="52"/>
                    </a:lnTo>
                    <a:lnTo>
                      <a:pt x="640" y="47"/>
                    </a:lnTo>
                    <a:lnTo>
                      <a:pt x="646" y="28"/>
                    </a:lnTo>
                    <a:lnTo>
                      <a:pt x="638" y="18"/>
                    </a:lnTo>
                    <a:lnTo>
                      <a:pt x="645" y="12"/>
                    </a:lnTo>
                    <a:lnTo>
                      <a:pt x="652" y="13"/>
                    </a:lnTo>
                    <a:lnTo>
                      <a:pt x="644" y="0"/>
                    </a:lnTo>
                    <a:lnTo>
                      <a:pt x="632" y="3"/>
                    </a:lnTo>
                    <a:lnTo>
                      <a:pt x="618" y="2"/>
                    </a:lnTo>
                    <a:lnTo>
                      <a:pt x="610" y="48"/>
                    </a:lnTo>
                    <a:lnTo>
                      <a:pt x="601" y="60"/>
                    </a:lnTo>
                    <a:lnTo>
                      <a:pt x="592" y="48"/>
                    </a:lnTo>
                    <a:lnTo>
                      <a:pt x="586" y="65"/>
                    </a:lnTo>
                    <a:lnTo>
                      <a:pt x="586" y="80"/>
                    </a:lnTo>
                    <a:lnTo>
                      <a:pt x="608" y="86"/>
                    </a:lnTo>
                    <a:lnTo>
                      <a:pt x="612" y="147"/>
                    </a:lnTo>
                    <a:lnTo>
                      <a:pt x="627" y="148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5" name="ïṣḷiḑê"/>
              <p:cNvSpPr/>
              <p:nvPr/>
            </p:nvSpPr>
            <p:spPr bwMode="auto">
              <a:xfrm>
                <a:off x="1398626" y="3926972"/>
                <a:ext cx="337719" cy="207827"/>
              </a:xfrm>
              <a:custGeom>
                <a:avLst/>
                <a:gdLst>
                  <a:gd name="T0" fmla="*/ 53 w 2082"/>
                  <a:gd name="T1" fmla="*/ 492 h 1281"/>
                  <a:gd name="T2" fmla="*/ 97 w 2082"/>
                  <a:gd name="T3" fmla="*/ 469 h 1281"/>
                  <a:gd name="T4" fmla="*/ 112 w 2082"/>
                  <a:gd name="T5" fmla="*/ 382 h 1281"/>
                  <a:gd name="T6" fmla="*/ 179 w 2082"/>
                  <a:gd name="T7" fmla="*/ 280 h 1281"/>
                  <a:gd name="T8" fmla="*/ 339 w 2082"/>
                  <a:gd name="T9" fmla="*/ 325 h 1281"/>
                  <a:gd name="T10" fmla="*/ 639 w 2082"/>
                  <a:gd name="T11" fmla="*/ 459 h 1281"/>
                  <a:gd name="T12" fmla="*/ 956 w 2082"/>
                  <a:gd name="T13" fmla="*/ 194 h 1281"/>
                  <a:gd name="T14" fmla="*/ 1593 w 2082"/>
                  <a:gd name="T15" fmla="*/ 85 h 1281"/>
                  <a:gd name="T16" fmla="*/ 1727 w 2082"/>
                  <a:gd name="T17" fmla="*/ 356 h 1281"/>
                  <a:gd name="T18" fmla="*/ 1787 w 2082"/>
                  <a:gd name="T19" fmla="*/ 484 h 1281"/>
                  <a:gd name="T20" fmla="*/ 1662 w 2082"/>
                  <a:gd name="T21" fmla="*/ 569 h 1281"/>
                  <a:gd name="T22" fmla="*/ 1672 w 2082"/>
                  <a:gd name="T23" fmla="*/ 625 h 1281"/>
                  <a:gd name="T24" fmla="*/ 1674 w 2082"/>
                  <a:gd name="T25" fmla="*/ 655 h 1281"/>
                  <a:gd name="T26" fmla="*/ 1566 w 2082"/>
                  <a:gd name="T27" fmla="*/ 701 h 1281"/>
                  <a:gd name="T28" fmla="*/ 1392 w 2082"/>
                  <a:gd name="T29" fmla="*/ 755 h 1281"/>
                  <a:gd name="T30" fmla="*/ 1187 w 2082"/>
                  <a:gd name="T31" fmla="*/ 829 h 1281"/>
                  <a:gd name="T32" fmla="*/ 1137 w 2082"/>
                  <a:gd name="T33" fmla="*/ 842 h 1281"/>
                  <a:gd name="T34" fmla="*/ 1052 w 2082"/>
                  <a:gd name="T35" fmla="*/ 942 h 1281"/>
                  <a:gd name="T36" fmla="*/ 1018 w 2082"/>
                  <a:gd name="T37" fmla="*/ 933 h 1281"/>
                  <a:gd name="T38" fmla="*/ 977 w 2082"/>
                  <a:gd name="T39" fmla="*/ 953 h 1281"/>
                  <a:gd name="T40" fmla="*/ 930 w 2082"/>
                  <a:gd name="T41" fmla="*/ 935 h 1281"/>
                  <a:gd name="T42" fmla="*/ 864 w 2082"/>
                  <a:gd name="T43" fmla="*/ 1004 h 1281"/>
                  <a:gd name="T44" fmla="*/ 778 w 2082"/>
                  <a:gd name="T45" fmla="*/ 1028 h 1281"/>
                  <a:gd name="T46" fmla="*/ 663 w 2082"/>
                  <a:gd name="T47" fmla="*/ 1051 h 1281"/>
                  <a:gd name="T48" fmla="*/ 604 w 2082"/>
                  <a:gd name="T49" fmla="*/ 1041 h 1281"/>
                  <a:gd name="T50" fmla="*/ 571 w 2082"/>
                  <a:gd name="T51" fmla="*/ 1029 h 1281"/>
                  <a:gd name="T52" fmla="*/ 506 w 2082"/>
                  <a:gd name="T53" fmla="*/ 1063 h 1281"/>
                  <a:gd name="T54" fmla="*/ 469 w 2082"/>
                  <a:gd name="T55" fmla="*/ 1111 h 1281"/>
                  <a:gd name="T56" fmla="*/ 404 w 2082"/>
                  <a:gd name="T57" fmla="*/ 1169 h 1281"/>
                  <a:gd name="T58" fmla="*/ 353 w 2082"/>
                  <a:gd name="T59" fmla="*/ 1152 h 1281"/>
                  <a:gd name="T60" fmla="*/ 289 w 2082"/>
                  <a:gd name="T61" fmla="*/ 1188 h 1281"/>
                  <a:gd name="T62" fmla="*/ 233 w 2082"/>
                  <a:gd name="T63" fmla="*/ 1184 h 1281"/>
                  <a:gd name="T64" fmla="*/ 184 w 2082"/>
                  <a:gd name="T65" fmla="*/ 1160 h 1281"/>
                  <a:gd name="T66" fmla="*/ 140 w 2082"/>
                  <a:gd name="T67" fmla="*/ 1079 h 1281"/>
                  <a:gd name="T68" fmla="*/ 140 w 2082"/>
                  <a:gd name="T69" fmla="*/ 1020 h 1281"/>
                  <a:gd name="T70" fmla="*/ 94 w 2082"/>
                  <a:gd name="T71" fmla="*/ 933 h 1281"/>
                  <a:gd name="T72" fmla="*/ 30 w 2082"/>
                  <a:gd name="T73" fmla="*/ 720 h 1281"/>
                  <a:gd name="T74" fmla="*/ 11 w 2082"/>
                  <a:gd name="T75" fmla="*/ 694 h 1281"/>
                  <a:gd name="T76" fmla="*/ 27 w 2082"/>
                  <a:gd name="T77" fmla="*/ 678 h 1281"/>
                  <a:gd name="T78" fmla="*/ 46 w 2082"/>
                  <a:gd name="T79" fmla="*/ 659 h 1281"/>
                  <a:gd name="T80" fmla="*/ 34 w 2082"/>
                  <a:gd name="T81" fmla="*/ 521 h 1281"/>
                  <a:gd name="T82" fmla="*/ 22 w 2082"/>
                  <a:gd name="T83" fmla="*/ 489 h 1281"/>
                  <a:gd name="T84" fmla="*/ 1698 w 2082"/>
                  <a:gd name="T85" fmla="*/ 1263 h 1281"/>
                  <a:gd name="T86" fmla="*/ 1708 w 2082"/>
                  <a:gd name="T87" fmla="*/ 1281 h 1281"/>
                  <a:gd name="T88" fmla="*/ 1662 w 2082"/>
                  <a:gd name="T89" fmla="*/ 1274 h 1281"/>
                  <a:gd name="T90" fmla="*/ 1896 w 2082"/>
                  <a:gd name="T91" fmla="*/ 1209 h 1281"/>
                  <a:gd name="T92" fmla="*/ 1918 w 2082"/>
                  <a:gd name="T93" fmla="*/ 1166 h 1281"/>
                  <a:gd name="T94" fmla="*/ 1949 w 2082"/>
                  <a:gd name="T95" fmla="*/ 1186 h 1281"/>
                  <a:gd name="T96" fmla="*/ 1995 w 2082"/>
                  <a:gd name="T97" fmla="*/ 1185 h 1281"/>
                  <a:gd name="T98" fmla="*/ 2052 w 2082"/>
                  <a:gd name="T99" fmla="*/ 1189 h 1281"/>
                  <a:gd name="T100" fmla="*/ 2082 w 2082"/>
                  <a:gd name="T101" fmla="*/ 1207 h 1281"/>
                  <a:gd name="T102" fmla="*/ 2043 w 2082"/>
                  <a:gd name="T103" fmla="*/ 1225 h 1281"/>
                  <a:gd name="T104" fmla="*/ 1954 w 2082"/>
                  <a:gd name="T105" fmla="*/ 1257 h 1281"/>
                  <a:gd name="T106" fmla="*/ 1897 w 2082"/>
                  <a:gd name="T107" fmla="*/ 1233 h 1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82" h="1281">
                    <a:moveTo>
                      <a:pt x="22" y="489"/>
                    </a:moveTo>
                    <a:lnTo>
                      <a:pt x="53" y="492"/>
                    </a:lnTo>
                    <a:lnTo>
                      <a:pt x="79" y="503"/>
                    </a:lnTo>
                    <a:lnTo>
                      <a:pt x="97" y="469"/>
                    </a:lnTo>
                    <a:lnTo>
                      <a:pt x="142" y="439"/>
                    </a:lnTo>
                    <a:lnTo>
                      <a:pt x="112" y="382"/>
                    </a:lnTo>
                    <a:lnTo>
                      <a:pt x="134" y="300"/>
                    </a:lnTo>
                    <a:lnTo>
                      <a:pt x="179" y="280"/>
                    </a:lnTo>
                    <a:lnTo>
                      <a:pt x="232" y="322"/>
                    </a:lnTo>
                    <a:lnTo>
                      <a:pt x="339" y="325"/>
                    </a:lnTo>
                    <a:lnTo>
                      <a:pt x="486" y="385"/>
                    </a:lnTo>
                    <a:lnTo>
                      <a:pt x="639" y="459"/>
                    </a:lnTo>
                    <a:lnTo>
                      <a:pt x="646" y="614"/>
                    </a:lnTo>
                    <a:lnTo>
                      <a:pt x="956" y="194"/>
                    </a:lnTo>
                    <a:lnTo>
                      <a:pt x="1604" y="0"/>
                    </a:lnTo>
                    <a:lnTo>
                      <a:pt x="1593" y="85"/>
                    </a:lnTo>
                    <a:lnTo>
                      <a:pt x="1749" y="282"/>
                    </a:lnTo>
                    <a:lnTo>
                      <a:pt x="1727" y="356"/>
                    </a:lnTo>
                    <a:lnTo>
                      <a:pt x="1825" y="473"/>
                    </a:lnTo>
                    <a:lnTo>
                      <a:pt x="1787" y="484"/>
                    </a:lnTo>
                    <a:lnTo>
                      <a:pt x="1721" y="497"/>
                    </a:lnTo>
                    <a:lnTo>
                      <a:pt x="1662" y="569"/>
                    </a:lnTo>
                    <a:lnTo>
                      <a:pt x="1657" y="611"/>
                    </a:lnTo>
                    <a:lnTo>
                      <a:pt x="1672" y="625"/>
                    </a:lnTo>
                    <a:lnTo>
                      <a:pt x="1666" y="636"/>
                    </a:lnTo>
                    <a:lnTo>
                      <a:pt x="1674" y="655"/>
                    </a:lnTo>
                    <a:lnTo>
                      <a:pt x="1600" y="671"/>
                    </a:lnTo>
                    <a:lnTo>
                      <a:pt x="1566" y="701"/>
                    </a:lnTo>
                    <a:lnTo>
                      <a:pt x="1498" y="735"/>
                    </a:lnTo>
                    <a:lnTo>
                      <a:pt x="1392" y="755"/>
                    </a:lnTo>
                    <a:lnTo>
                      <a:pt x="1376" y="773"/>
                    </a:lnTo>
                    <a:lnTo>
                      <a:pt x="1187" y="829"/>
                    </a:lnTo>
                    <a:lnTo>
                      <a:pt x="1169" y="827"/>
                    </a:lnTo>
                    <a:lnTo>
                      <a:pt x="1137" y="842"/>
                    </a:lnTo>
                    <a:lnTo>
                      <a:pt x="1101" y="901"/>
                    </a:lnTo>
                    <a:lnTo>
                      <a:pt x="1052" y="942"/>
                    </a:lnTo>
                    <a:lnTo>
                      <a:pt x="1028" y="942"/>
                    </a:lnTo>
                    <a:lnTo>
                      <a:pt x="1018" y="933"/>
                    </a:lnTo>
                    <a:lnTo>
                      <a:pt x="1002" y="948"/>
                    </a:lnTo>
                    <a:lnTo>
                      <a:pt x="977" y="953"/>
                    </a:lnTo>
                    <a:lnTo>
                      <a:pt x="955" y="936"/>
                    </a:lnTo>
                    <a:lnTo>
                      <a:pt x="930" y="935"/>
                    </a:lnTo>
                    <a:lnTo>
                      <a:pt x="868" y="983"/>
                    </a:lnTo>
                    <a:lnTo>
                      <a:pt x="864" y="1004"/>
                    </a:lnTo>
                    <a:lnTo>
                      <a:pt x="842" y="1022"/>
                    </a:lnTo>
                    <a:lnTo>
                      <a:pt x="778" y="1028"/>
                    </a:lnTo>
                    <a:lnTo>
                      <a:pt x="697" y="1059"/>
                    </a:lnTo>
                    <a:lnTo>
                      <a:pt x="663" y="1051"/>
                    </a:lnTo>
                    <a:lnTo>
                      <a:pt x="653" y="1039"/>
                    </a:lnTo>
                    <a:lnTo>
                      <a:pt x="604" y="1041"/>
                    </a:lnTo>
                    <a:lnTo>
                      <a:pt x="598" y="1030"/>
                    </a:lnTo>
                    <a:lnTo>
                      <a:pt x="571" y="1029"/>
                    </a:lnTo>
                    <a:lnTo>
                      <a:pt x="548" y="1036"/>
                    </a:lnTo>
                    <a:lnTo>
                      <a:pt x="506" y="1063"/>
                    </a:lnTo>
                    <a:lnTo>
                      <a:pt x="487" y="1109"/>
                    </a:lnTo>
                    <a:lnTo>
                      <a:pt x="469" y="1111"/>
                    </a:lnTo>
                    <a:lnTo>
                      <a:pt x="437" y="1156"/>
                    </a:lnTo>
                    <a:lnTo>
                      <a:pt x="404" y="1169"/>
                    </a:lnTo>
                    <a:lnTo>
                      <a:pt x="387" y="1152"/>
                    </a:lnTo>
                    <a:lnTo>
                      <a:pt x="353" y="1152"/>
                    </a:lnTo>
                    <a:lnTo>
                      <a:pt x="318" y="1180"/>
                    </a:lnTo>
                    <a:lnTo>
                      <a:pt x="289" y="1188"/>
                    </a:lnTo>
                    <a:lnTo>
                      <a:pt x="242" y="1172"/>
                    </a:lnTo>
                    <a:lnTo>
                      <a:pt x="233" y="1184"/>
                    </a:lnTo>
                    <a:lnTo>
                      <a:pt x="198" y="1189"/>
                    </a:lnTo>
                    <a:lnTo>
                      <a:pt x="184" y="1160"/>
                    </a:lnTo>
                    <a:lnTo>
                      <a:pt x="177" y="1118"/>
                    </a:lnTo>
                    <a:lnTo>
                      <a:pt x="140" y="1079"/>
                    </a:lnTo>
                    <a:lnTo>
                      <a:pt x="123" y="1032"/>
                    </a:lnTo>
                    <a:lnTo>
                      <a:pt x="140" y="1020"/>
                    </a:lnTo>
                    <a:lnTo>
                      <a:pt x="138" y="973"/>
                    </a:lnTo>
                    <a:lnTo>
                      <a:pt x="94" y="933"/>
                    </a:lnTo>
                    <a:lnTo>
                      <a:pt x="73" y="773"/>
                    </a:lnTo>
                    <a:lnTo>
                      <a:pt x="30" y="720"/>
                    </a:lnTo>
                    <a:lnTo>
                      <a:pt x="29" y="694"/>
                    </a:lnTo>
                    <a:lnTo>
                      <a:pt x="11" y="694"/>
                    </a:lnTo>
                    <a:lnTo>
                      <a:pt x="0" y="670"/>
                    </a:lnTo>
                    <a:lnTo>
                      <a:pt x="27" y="678"/>
                    </a:lnTo>
                    <a:lnTo>
                      <a:pt x="27" y="659"/>
                    </a:lnTo>
                    <a:lnTo>
                      <a:pt x="46" y="659"/>
                    </a:lnTo>
                    <a:lnTo>
                      <a:pt x="49" y="608"/>
                    </a:lnTo>
                    <a:lnTo>
                      <a:pt x="34" y="521"/>
                    </a:lnTo>
                    <a:lnTo>
                      <a:pt x="22" y="489"/>
                    </a:lnTo>
                    <a:lnTo>
                      <a:pt x="22" y="489"/>
                    </a:lnTo>
                    <a:close/>
                    <a:moveTo>
                      <a:pt x="1662" y="1274"/>
                    </a:moveTo>
                    <a:lnTo>
                      <a:pt x="1698" y="1263"/>
                    </a:lnTo>
                    <a:lnTo>
                      <a:pt x="1744" y="1276"/>
                    </a:lnTo>
                    <a:lnTo>
                      <a:pt x="1708" y="1281"/>
                    </a:lnTo>
                    <a:lnTo>
                      <a:pt x="1662" y="1274"/>
                    </a:lnTo>
                    <a:lnTo>
                      <a:pt x="1662" y="1274"/>
                    </a:lnTo>
                    <a:close/>
                    <a:moveTo>
                      <a:pt x="1875" y="1220"/>
                    </a:moveTo>
                    <a:lnTo>
                      <a:pt x="1896" y="1209"/>
                    </a:lnTo>
                    <a:lnTo>
                      <a:pt x="1899" y="1183"/>
                    </a:lnTo>
                    <a:lnTo>
                      <a:pt x="1918" y="1166"/>
                    </a:lnTo>
                    <a:lnTo>
                      <a:pt x="1940" y="1169"/>
                    </a:lnTo>
                    <a:lnTo>
                      <a:pt x="1949" y="1186"/>
                    </a:lnTo>
                    <a:lnTo>
                      <a:pt x="1972" y="1191"/>
                    </a:lnTo>
                    <a:lnTo>
                      <a:pt x="1995" y="1185"/>
                    </a:lnTo>
                    <a:lnTo>
                      <a:pt x="2029" y="1176"/>
                    </a:lnTo>
                    <a:lnTo>
                      <a:pt x="2052" y="1189"/>
                    </a:lnTo>
                    <a:lnTo>
                      <a:pt x="2080" y="1194"/>
                    </a:lnTo>
                    <a:lnTo>
                      <a:pt x="2082" y="1207"/>
                    </a:lnTo>
                    <a:lnTo>
                      <a:pt x="2068" y="1223"/>
                    </a:lnTo>
                    <a:lnTo>
                      <a:pt x="2043" y="1225"/>
                    </a:lnTo>
                    <a:lnTo>
                      <a:pt x="2006" y="1248"/>
                    </a:lnTo>
                    <a:lnTo>
                      <a:pt x="1954" y="1257"/>
                    </a:lnTo>
                    <a:lnTo>
                      <a:pt x="1918" y="1249"/>
                    </a:lnTo>
                    <a:lnTo>
                      <a:pt x="1897" y="1233"/>
                    </a:lnTo>
                    <a:lnTo>
                      <a:pt x="1875" y="122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6" name="íṥḷîdê"/>
              <p:cNvSpPr/>
              <p:nvPr/>
            </p:nvSpPr>
            <p:spPr bwMode="auto">
              <a:xfrm>
                <a:off x="1598660" y="3708757"/>
                <a:ext cx="3897" cy="10391"/>
              </a:xfrm>
              <a:custGeom>
                <a:avLst/>
                <a:gdLst>
                  <a:gd name="T0" fmla="*/ 4 w 20"/>
                  <a:gd name="T1" fmla="*/ 70 h 70"/>
                  <a:gd name="T2" fmla="*/ 0 w 20"/>
                  <a:gd name="T3" fmla="*/ 37 h 70"/>
                  <a:gd name="T4" fmla="*/ 20 w 20"/>
                  <a:gd name="T5" fmla="*/ 0 h 70"/>
                  <a:gd name="T6" fmla="*/ 17 w 20"/>
                  <a:gd name="T7" fmla="*/ 33 h 70"/>
                  <a:gd name="T8" fmla="*/ 4 w 20"/>
                  <a:gd name="T9" fmla="*/ 70 h 70"/>
                  <a:gd name="T10" fmla="*/ 4 w 20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70">
                    <a:moveTo>
                      <a:pt x="4" y="70"/>
                    </a:moveTo>
                    <a:lnTo>
                      <a:pt x="0" y="37"/>
                    </a:lnTo>
                    <a:lnTo>
                      <a:pt x="20" y="0"/>
                    </a:lnTo>
                    <a:lnTo>
                      <a:pt x="17" y="33"/>
                    </a:lnTo>
                    <a:lnTo>
                      <a:pt x="4" y="70"/>
                    </a:lnTo>
                    <a:lnTo>
                      <a:pt x="4" y="7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7" name="îśḷïḍè"/>
              <p:cNvSpPr/>
              <p:nvPr/>
            </p:nvSpPr>
            <p:spPr bwMode="auto">
              <a:xfrm>
                <a:off x="3127482" y="4447839"/>
                <a:ext cx="7793" cy="9093"/>
              </a:xfrm>
              <a:custGeom>
                <a:avLst/>
                <a:gdLst>
                  <a:gd name="T0" fmla="*/ 0 w 53"/>
                  <a:gd name="T1" fmla="*/ 46 h 57"/>
                  <a:gd name="T2" fmla="*/ 37 w 53"/>
                  <a:gd name="T3" fmla="*/ 57 h 57"/>
                  <a:gd name="T4" fmla="*/ 53 w 53"/>
                  <a:gd name="T5" fmla="*/ 23 h 57"/>
                  <a:gd name="T6" fmla="*/ 46 w 53"/>
                  <a:gd name="T7" fmla="*/ 0 h 57"/>
                  <a:gd name="T8" fmla="*/ 0 w 53"/>
                  <a:gd name="T9" fmla="*/ 46 h 57"/>
                  <a:gd name="T10" fmla="*/ 0 w 53"/>
                  <a:gd name="T11" fmla="*/ 4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" h="57">
                    <a:moveTo>
                      <a:pt x="0" y="46"/>
                    </a:moveTo>
                    <a:lnTo>
                      <a:pt x="37" y="57"/>
                    </a:lnTo>
                    <a:lnTo>
                      <a:pt x="53" y="23"/>
                    </a:lnTo>
                    <a:lnTo>
                      <a:pt x="46" y="0"/>
                    </a:lnTo>
                    <a:lnTo>
                      <a:pt x="0" y="46"/>
                    </a:lnTo>
                    <a:lnTo>
                      <a:pt x="0" y="46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8" name="ïṣľíḍè"/>
              <p:cNvSpPr/>
              <p:nvPr/>
            </p:nvSpPr>
            <p:spPr bwMode="auto">
              <a:xfrm>
                <a:off x="3137874" y="4446540"/>
                <a:ext cx="12989" cy="16887"/>
              </a:xfrm>
              <a:custGeom>
                <a:avLst/>
                <a:gdLst>
                  <a:gd name="T0" fmla="*/ 16 w 80"/>
                  <a:gd name="T1" fmla="*/ 18 h 105"/>
                  <a:gd name="T2" fmla="*/ 0 w 80"/>
                  <a:gd name="T3" fmla="*/ 53 h 105"/>
                  <a:gd name="T4" fmla="*/ 36 w 80"/>
                  <a:gd name="T5" fmla="*/ 63 h 105"/>
                  <a:gd name="T6" fmla="*/ 48 w 80"/>
                  <a:gd name="T7" fmla="*/ 105 h 105"/>
                  <a:gd name="T8" fmla="*/ 69 w 80"/>
                  <a:gd name="T9" fmla="*/ 97 h 105"/>
                  <a:gd name="T10" fmla="*/ 80 w 80"/>
                  <a:gd name="T11" fmla="*/ 46 h 105"/>
                  <a:gd name="T12" fmla="*/ 63 w 80"/>
                  <a:gd name="T13" fmla="*/ 27 h 105"/>
                  <a:gd name="T14" fmla="*/ 76 w 80"/>
                  <a:gd name="T15" fmla="*/ 0 h 105"/>
                  <a:gd name="T16" fmla="*/ 58 w 80"/>
                  <a:gd name="T17" fmla="*/ 6 h 105"/>
                  <a:gd name="T18" fmla="*/ 43 w 80"/>
                  <a:gd name="T19" fmla="*/ 20 h 105"/>
                  <a:gd name="T20" fmla="*/ 16 w 80"/>
                  <a:gd name="T21" fmla="*/ 18 h 105"/>
                  <a:gd name="T22" fmla="*/ 16 w 80"/>
                  <a:gd name="T23" fmla="*/ 18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0" h="105">
                    <a:moveTo>
                      <a:pt x="16" y="18"/>
                    </a:moveTo>
                    <a:lnTo>
                      <a:pt x="0" y="53"/>
                    </a:lnTo>
                    <a:lnTo>
                      <a:pt x="36" y="63"/>
                    </a:lnTo>
                    <a:lnTo>
                      <a:pt x="48" y="105"/>
                    </a:lnTo>
                    <a:lnTo>
                      <a:pt x="69" y="97"/>
                    </a:lnTo>
                    <a:lnTo>
                      <a:pt x="80" y="46"/>
                    </a:lnTo>
                    <a:lnTo>
                      <a:pt x="63" y="27"/>
                    </a:lnTo>
                    <a:lnTo>
                      <a:pt x="76" y="0"/>
                    </a:lnTo>
                    <a:lnTo>
                      <a:pt x="58" y="6"/>
                    </a:lnTo>
                    <a:lnTo>
                      <a:pt x="43" y="20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9" name="ïşlîḑê"/>
              <p:cNvSpPr/>
              <p:nvPr/>
            </p:nvSpPr>
            <p:spPr bwMode="auto">
              <a:xfrm>
                <a:off x="975180" y="1271990"/>
                <a:ext cx="71441" cy="53256"/>
              </a:xfrm>
              <a:custGeom>
                <a:avLst/>
                <a:gdLst>
                  <a:gd name="T0" fmla="*/ 246 w 440"/>
                  <a:gd name="T1" fmla="*/ 302 h 325"/>
                  <a:gd name="T2" fmla="*/ 224 w 440"/>
                  <a:gd name="T3" fmla="*/ 265 h 325"/>
                  <a:gd name="T4" fmla="*/ 219 w 440"/>
                  <a:gd name="T5" fmla="*/ 215 h 325"/>
                  <a:gd name="T6" fmla="*/ 201 w 440"/>
                  <a:gd name="T7" fmla="*/ 194 h 325"/>
                  <a:gd name="T8" fmla="*/ 181 w 440"/>
                  <a:gd name="T9" fmla="*/ 187 h 325"/>
                  <a:gd name="T10" fmla="*/ 166 w 440"/>
                  <a:gd name="T11" fmla="*/ 153 h 325"/>
                  <a:gd name="T12" fmla="*/ 202 w 440"/>
                  <a:gd name="T13" fmla="*/ 121 h 325"/>
                  <a:gd name="T14" fmla="*/ 229 w 440"/>
                  <a:gd name="T15" fmla="*/ 86 h 325"/>
                  <a:gd name="T16" fmla="*/ 278 w 440"/>
                  <a:gd name="T17" fmla="*/ 82 h 325"/>
                  <a:gd name="T18" fmla="*/ 298 w 440"/>
                  <a:gd name="T19" fmla="*/ 61 h 325"/>
                  <a:gd name="T20" fmla="*/ 320 w 440"/>
                  <a:gd name="T21" fmla="*/ 72 h 325"/>
                  <a:gd name="T22" fmla="*/ 338 w 440"/>
                  <a:gd name="T23" fmla="*/ 107 h 325"/>
                  <a:gd name="T24" fmla="*/ 377 w 440"/>
                  <a:gd name="T25" fmla="*/ 125 h 325"/>
                  <a:gd name="T26" fmla="*/ 416 w 440"/>
                  <a:gd name="T27" fmla="*/ 120 h 325"/>
                  <a:gd name="T28" fmla="*/ 422 w 440"/>
                  <a:gd name="T29" fmla="*/ 107 h 325"/>
                  <a:gd name="T30" fmla="*/ 440 w 440"/>
                  <a:gd name="T31" fmla="*/ 97 h 325"/>
                  <a:gd name="T32" fmla="*/ 419 w 440"/>
                  <a:gd name="T33" fmla="*/ 74 h 325"/>
                  <a:gd name="T34" fmla="*/ 380 w 440"/>
                  <a:gd name="T35" fmla="*/ 65 h 325"/>
                  <a:gd name="T36" fmla="*/ 292 w 440"/>
                  <a:gd name="T37" fmla="*/ 12 h 325"/>
                  <a:gd name="T38" fmla="*/ 216 w 440"/>
                  <a:gd name="T39" fmla="*/ 0 h 325"/>
                  <a:gd name="T40" fmla="*/ 169 w 440"/>
                  <a:gd name="T41" fmla="*/ 4 h 325"/>
                  <a:gd name="T42" fmla="*/ 104 w 440"/>
                  <a:gd name="T43" fmla="*/ 60 h 325"/>
                  <a:gd name="T44" fmla="*/ 81 w 440"/>
                  <a:gd name="T45" fmla="*/ 109 h 325"/>
                  <a:gd name="T46" fmla="*/ 43 w 440"/>
                  <a:gd name="T47" fmla="*/ 120 h 325"/>
                  <a:gd name="T48" fmla="*/ 0 w 440"/>
                  <a:gd name="T49" fmla="*/ 157 h 325"/>
                  <a:gd name="T50" fmla="*/ 3 w 440"/>
                  <a:gd name="T51" fmla="*/ 245 h 325"/>
                  <a:gd name="T52" fmla="*/ 29 w 440"/>
                  <a:gd name="T53" fmla="*/ 264 h 325"/>
                  <a:gd name="T54" fmla="*/ 71 w 440"/>
                  <a:gd name="T55" fmla="*/ 239 h 325"/>
                  <a:gd name="T56" fmla="*/ 102 w 440"/>
                  <a:gd name="T57" fmla="*/ 263 h 325"/>
                  <a:gd name="T58" fmla="*/ 118 w 440"/>
                  <a:gd name="T59" fmla="*/ 285 h 325"/>
                  <a:gd name="T60" fmla="*/ 138 w 440"/>
                  <a:gd name="T61" fmla="*/ 296 h 325"/>
                  <a:gd name="T62" fmla="*/ 152 w 440"/>
                  <a:gd name="T63" fmla="*/ 270 h 325"/>
                  <a:gd name="T64" fmla="*/ 152 w 440"/>
                  <a:gd name="T65" fmla="*/ 251 h 325"/>
                  <a:gd name="T66" fmla="*/ 172 w 440"/>
                  <a:gd name="T67" fmla="*/ 233 h 325"/>
                  <a:gd name="T68" fmla="*/ 195 w 440"/>
                  <a:gd name="T69" fmla="*/ 257 h 325"/>
                  <a:gd name="T70" fmla="*/ 212 w 440"/>
                  <a:gd name="T71" fmla="*/ 307 h 325"/>
                  <a:gd name="T72" fmla="*/ 240 w 440"/>
                  <a:gd name="T73" fmla="*/ 325 h 325"/>
                  <a:gd name="T74" fmla="*/ 246 w 440"/>
                  <a:gd name="T75" fmla="*/ 302 h 325"/>
                  <a:gd name="T76" fmla="*/ 246 w 440"/>
                  <a:gd name="T77" fmla="*/ 302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40" h="325">
                    <a:moveTo>
                      <a:pt x="246" y="302"/>
                    </a:moveTo>
                    <a:lnTo>
                      <a:pt x="224" y="265"/>
                    </a:lnTo>
                    <a:lnTo>
                      <a:pt x="219" y="215"/>
                    </a:lnTo>
                    <a:lnTo>
                      <a:pt x="201" y="194"/>
                    </a:lnTo>
                    <a:lnTo>
                      <a:pt x="181" y="187"/>
                    </a:lnTo>
                    <a:lnTo>
                      <a:pt x="166" y="153"/>
                    </a:lnTo>
                    <a:lnTo>
                      <a:pt x="202" y="121"/>
                    </a:lnTo>
                    <a:lnTo>
                      <a:pt x="229" y="86"/>
                    </a:lnTo>
                    <a:lnTo>
                      <a:pt x="278" y="82"/>
                    </a:lnTo>
                    <a:lnTo>
                      <a:pt x="298" y="61"/>
                    </a:lnTo>
                    <a:lnTo>
                      <a:pt x="320" y="72"/>
                    </a:lnTo>
                    <a:lnTo>
                      <a:pt x="338" y="107"/>
                    </a:lnTo>
                    <a:lnTo>
                      <a:pt x="377" y="125"/>
                    </a:lnTo>
                    <a:lnTo>
                      <a:pt x="416" y="120"/>
                    </a:lnTo>
                    <a:lnTo>
                      <a:pt x="422" y="107"/>
                    </a:lnTo>
                    <a:lnTo>
                      <a:pt x="440" y="97"/>
                    </a:lnTo>
                    <a:lnTo>
                      <a:pt x="419" y="74"/>
                    </a:lnTo>
                    <a:lnTo>
                      <a:pt x="380" y="65"/>
                    </a:lnTo>
                    <a:lnTo>
                      <a:pt x="292" y="12"/>
                    </a:lnTo>
                    <a:lnTo>
                      <a:pt x="216" y="0"/>
                    </a:lnTo>
                    <a:lnTo>
                      <a:pt x="169" y="4"/>
                    </a:lnTo>
                    <a:lnTo>
                      <a:pt x="104" y="60"/>
                    </a:lnTo>
                    <a:lnTo>
                      <a:pt x="81" y="109"/>
                    </a:lnTo>
                    <a:lnTo>
                      <a:pt x="43" y="120"/>
                    </a:lnTo>
                    <a:lnTo>
                      <a:pt x="0" y="157"/>
                    </a:lnTo>
                    <a:lnTo>
                      <a:pt x="3" y="245"/>
                    </a:lnTo>
                    <a:lnTo>
                      <a:pt x="29" y="264"/>
                    </a:lnTo>
                    <a:lnTo>
                      <a:pt x="71" y="239"/>
                    </a:lnTo>
                    <a:lnTo>
                      <a:pt x="102" y="263"/>
                    </a:lnTo>
                    <a:lnTo>
                      <a:pt x="118" y="285"/>
                    </a:lnTo>
                    <a:lnTo>
                      <a:pt x="138" y="296"/>
                    </a:lnTo>
                    <a:lnTo>
                      <a:pt x="152" y="270"/>
                    </a:lnTo>
                    <a:lnTo>
                      <a:pt x="152" y="251"/>
                    </a:lnTo>
                    <a:lnTo>
                      <a:pt x="172" y="233"/>
                    </a:lnTo>
                    <a:lnTo>
                      <a:pt x="195" y="257"/>
                    </a:lnTo>
                    <a:lnTo>
                      <a:pt x="212" y="307"/>
                    </a:lnTo>
                    <a:lnTo>
                      <a:pt x="240" y="325"/>
                    </a:lnTo>
                    <a:lnTo>
                      <a:pt x="246" y="302"/>
                    </a:lnTo>
                    <a:lnTo>
                      <a:pt x="246" y="30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0" name="îṧḷîḍe"/>
              <p:cNvSpPr/>
              <p:nvPr/>
            </p:nvSpPr>
            <p:spPr bwMode="auto">
              <a:xfrm>
                <a:off x="1058310" y="1229127"/>
                <a:ext cx="10391" cy="11691"/>
              </a:xfrm>
              <a:custGeom>
                <a:avLst/>
                <a:gdLst>
                  <a:gd name="T0" fmla="*/ 0 w 62"/>
                  <a:gd name="T1" fmla="*/ 66 h 75"/>
                  <a:gd name="T2" fmla="*/ 6 w 62"/>
                  <a:gd name="T3" fmla="*/ 29 h 75"/>
                  <a:gd name="T4" fmla="*/ 29 w 62"/>
                  <a:gd name="T5" fmla="*/ 0 h 75"/>
                  <a:gd name="T6" fmla="*/ 43 w 62"/>
                  <a:gd name="T7" fmla="*/ 0 h 75"/>
                  <a:gd name="T8" fmla="*/ 47 w 62"/>
                  <a:gd name="T9" fmla="*/ 32 h 75"/>
                  <a:gd name="T10" fmla="*/ 62 w 62"/>
                  <a:gd name="T11" fmla="*/ 51 h 75"/>
                  <a:gd name="T12" fmla="*/ 56 w 62"/>
                  <a:gd name="T13" fmla="*/ 75 h 75"/>
                  <a:gd name="T14" fmla="*/ 12 w 62"/>
                  <a:gd name="T15" fmla="*/ 75 h 75"/>
                  <a:gd name="T16" fmla="*/ 12 w 62"/>
                  <a:gd name="T17" fmla="*/ 75 h 75"/>
                  <a:gd name="T18" fmla="*/ 5 w 62"/>
                  <a:gd name="T19" fmla="*/ 71 h 75"/>
                  <a:gd name="T20" fmla="*/ 1 w 62"/>
                  <a:gd name="T21" fmla="*/ 68 h 75"/>
                  <a:gd name="T22" fmla="*/ 0 w 62"/>
                  <a:gd name="T23" fmla="*/ 66 h 75"/>
                  <a:gd name="T24" fmla="*/ 0 w 62"/>
                  <a:gd name="T25" fmla="*/ 6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2" h="75">
                    <a:moveTo>
                      <a:pt x="0" y="66"/>
                    </a:moveTo>
                    <a:lnTo>
                      <a:pt x="6" y="29"/>
                    </a:lnTo>
                    <a:lnTo>
                      <a:pt x="29" y="0"/>
                    </a:lnTo>
                    <a:lnTo>
                      <a:pt x="43" y="0"/>
                    </a:lnTo>
                    <a:lnTo>
                      <a:pt x="47" y="32"/>
                    </a:lnTo>
                    <a:lnTo>
                      <a:pt x="62" y="51"/>
                    </a:lnTo>
                    <a:lnTo>
                      <a:pt x="56" y="75"/>
                    </a:lnTo>
                    <a:lnTo>
                      <a:pt x="12" y="75"/>
                    </a:lnTo>
                    <a:lnTo>
                      <a:pt x="12" y="75"/>
                    </a:lnTo>
                    <a:lnTo>
                      <a:pt x="5" y="71"/>
                    </a:lnTo>
                    <a:lnTo>
                      <a:pt x="1" y="68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1" name="ïṩ1iḍé"/>
              <p:cNvSpPr/>
              <p:nvPr/>
            </p:nvSpPr>
            <p:spPr bwMode="auto">
              <a:xfrm>
                <a:off x="1016745" y="1251208"/>
                <a:ext cx="75337" cy="98719"/>
              </a:xfrm>
              <a:custGeom>
                <a:avLst/>
                <a:gdLst>
                  <a:gd name="T0" fmla="*/ 198 w 462"/>
                  <a:gd name="T1" fmla="*/ 614 h 614"/>
                  <a:gd name="T2" fmla="*/ 234 w 462"/>
                  <a:gd name="T3" fmla="*/ 573 h 614"/>
                  <a:gd name="T4" fmla="*/ 238 w 462"/>
                  <a:gd name="T5" fmla="*/ 533 h 614"/>
                  <a:gd name="T6" fmla="*/ 277 w 462"/>
                  <a:gd name="T7" fmla="*/ 529 h 614"/>
                  <a:gd name="T8" fmla="*/ 278 w 462"/>
                  <a:gd name="T9" fmla="*/ 437 h 614"/>
                  <a:gd name="T10" fmla="*/ 246 w 462"/>
                  <a:gd name="T11" fmla="*/ 396 h 614"/>
                  <a:gd name="T12" fmla="*/ 310 w 462"/>
                  <a:gd name="T13" fmla="*/ 381 h 614"/>
                  <a:gd name="T14" fmla="*/ 374 w 462"/>
                  <a:gd name="T15" fmla="*/ 362 h 614"/>
                  <a:gd name="T16" fmla="*/ 364 w 462"/>
                  <a:gd name="T17" fmla="*/ 338 h 614"/>
                  <a:gd name="T18" fmla="*/ 332 w 462"/>
                  <a:gd name="T19" fmla="*/ 315 h 614"/>
                  <a:gd name="T20" fmla="*/ 327 w 462"/>
                  <a:gd name="T21" fmla="*/ 269 h 614"/>
                  <a:gd name="T22" fmla="*/ 359 w 462"/>
                  <a:gd name="T23" fmla="*/ 260 h 614"/>
                  <a:gd name="T24" fmla="*/ 384 w 462"/>
                  <a:gd name="T25" fmla="*/ 278 h 614"/>
                  <a:gd name="T26" fmla="*/ 436 w 462"/>
                  <a:gd name="T27" fmla="*/ 236 h 614"/>
                  <a:gd name="T28" fmla="*/ 462 w 462"/>
                  <a:gd name="T29" fmla="*/ 208 h 614"/>
                  <a:gd name="T30" fmla="*/ 441 w 462"/>
                  <a:gd name="T31" fmla="*/ 157 h 614"/>
                  <a:gd name="T32" fmla="*/ 400 w 462"/>
                  <a:gd name="T33" fmla="*/ 105 h 614"/>
                  <a:gd name="T34" fmla="*/ 348 w 462"/>
                  <a:gd name="T35" fmla="*/ 121 h 614"/>
                  <a:gd name="T36" fmla="*/ 308 w 462"/>
                  <a:gd name="T37" fmla="*/ 167 h 614"/>
                  <a:gd name="T38" fmla="*/ 314 w 462"/>
                  <a:gd name="T39" fmla="*/ 117 h 614"/>
                  <a:gd name="T40" fmla="*/ 353 w 462"/>
                  <a:gd name="T41" fmla="*/ 55 h 614"/>
                  <a:gd name="T42" fmla="*/ 352 w 462"/>
                  <a:gd name="T43" fmla="*/ 0 h 614"/>
                  <a:gd name="T44" fmla="*/ 293 w 462"/>
                  <a:gd name="T45" fmla="*/ 89 h 614"/>
                  <a:gd name="T46" fmla="*/ 279 w 462"/>
                  <a:gd name="T47" fmla="*/ 77 h 614"/>
                  <a:gd name="T48" fmla="*/ 277 w 462"/>
                  <a:gd name="T49" fmla="*/ 27 h 614"/>
                  <a:gd name="T50" fmla="*/ 249 w 462"/>
                  <a:gd name="T51" fmla="*/ 81 h 614"/>
                  <a:gd name="T52" fmla="*/ 222 w 462"/>
                  <a:gd name="T53" fmla="*/ 123 h 614"/>
                  <a:gd name="T54" fmla="*/ 259 w 462"/>
                  <a:gd name="T55" fmla="*/ 128 h 614"/>
                  <a:gd name="T56" fmla="*/ 275 w 462"/>
                  <a:gd name="T57" fmla="*/ 155 h 614"/>
                  <a:gd name="T58" fmla="*/ 224 w 462"/>
                  <a:gd name="T59" fmla="*/ 188 h 614"/>
                  <a:gd name="T60" fmla="*/ 217 w 462"/>
                  <a:gd name="T61" fmla="*/ 249 h 614"/>
                  <a:gd name="T62" fmla="*/ 168 w 462"/>
                  <a:gd name="T63" fmla="*/ 291 h 614"/>
                  <a:gd name="T64" fmla="*/ 107 w 462"/>
                  <a:gd name="T65" fmla="*/ 292 h 614"/>
                  <a:gd name="T66" fmla="*/ 45 w 462"/>
                  <a:gd name="T67" fmla="*/ 281 h 614"/>
                  <a:gd name="T68" fmla="*/ 10 w 462"/>
                  <a:gd name="T69" fmla="*/ 276 h 614"/>
                  <a:gd name="T70" fmla="*/ 1 w 462"/>
                  <a:gd name="T71" fmla="*/ 317 h 614"/>
                  <a:gd name="T72" fmla="*/ 28 w 462"/>
                  <a:gd name="T73" fmla="*/ 351 h 614"/>
                  <a:gd name="T74" fmla="*/ 79 w 462"/>
                  <a:gd name="T75" fmla="*/ 348 h 614"/>
                  <a:gd name="T76" fmla="*/ 114 w 462"/>
                  <a:gd name="T77" fmla="*/ 392 h 614"/>
                  <a:gd name="T78" fmla="*/ 106 w 462"/>
                  <a:gd name="T79" fmla="*/ 415 h 614"/>
                  <a:gd name="T80" fmla="*/ 37 w 462"/>
                  <a:gd name="T81" fmla="*/ 440 h 614"/>
                  <a:gd name="T82" fmla="*/ 65 w 462"/>
                  <a:gd name="T83" fmla="*/ 550 h 614"/>
                  <a:gd name="T84" fmla="*/ 66 w 462"/>
                  <a:gd name="T85" fmla="*/ 589 h 614"/>
                  <a:gd name="T86" fmla="*/ 119 w 462"/>
                  <a:gd name="T87" fmla="*/ 579 h 614"/>
                  <a:gd name="T88" fmla="*/ 136 w 462"/>
                  <a:gd name="T89" fmla="*/ 519 h 614"/>
                  <a:gd name="T90" fmla="*/ 180 w 462"/>
                  <a:gd name="T91" fmla="*/ 548 h 614"/>
                  <a:gd name="T92" fmla="*/ 182 w 462"/>
                  <a:gd name="T93" fmla="*/ 613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2" h="614">
                    <a:moveTo>
                      <a:pt x="182" y="613"/>
                    </a:moveTo>
                    <a:lnTo>
                      <a:pt x="198" y="614"/>
                    </a:lnTo>
                    <a:lnTo>
                      <a:pt x="217" y="600"/>
                    </a:lnTo>
                    <a:lnTo>
                      <a:pt x="234" y="573"/>
                    </a:lnTo>
                    <a:lnTo>
                      <a:pt x="232" y="548"/>
                    </a:lnTo>
                    <a:lnTo>
                      <a:pt x="238" y="533"/>
                    </a:lnTo>
                    <a:lnTo>
                      <a:pt x="252" y="543"/>
                    </a:lnTo>
                    <a:lnTo>
                      <a:pt x="277" y="529"/>
                    </a:lnTo>
                    <a:lnTo>
                      <a:pt x="284" y="483"/>
                    </a:lnTo>
                    <a:lnTo>
                      <a:pt x="278" y="437"/>
                    </a:lnTo>
                    <a:lnTo>
                      <a:pt x="250" y="410"/>
                    </a:lnTo>
                    <a:lnTo>
                      <a:pt x="246" y="396"/>
                    </a:lnTo>
                    <a:lnTo>
                      <a:pt x="281" y="380"/>
                    </a:lnTo>
                    <a:lnTo>
                      <a:pt x="310" y="381"/>
                    </a:lnTo>
                    <a:lnTo>
                      <a:pt x="361" y="370"/>
                    </a:lnTo>
                    <a:lnTo>
                      <a:pt x="374" y="362"/>
                    </a:lnTo>
                    <a:lnTo>
                      <a:pt x="374" y="349"/>
                    </a:lnTo>
                    <a:lnTo>
                      <a:pt x="364" y="338"/>
                    </a:lnTo>
                    <a:lnTo>
                      <a:pt x="353" y="317"/>
                    </a:lnTo>
                    <a:lnTo>
                      <a:pt x="332" y="315"/>
                    </a:lnTo>
                    <a:lnTo>
                      <a:pt x="326" y="305"/>
                    </a:lnTo>
                    <a:lnTo>
                      <a:pt x="327" y="269"/>
                    </a:lnTo>
                    <a:lnTo>
                      <a:pt x="341" y="257"/>
                    </a:lnTo>
                    <a:lnTo>
                      <a:pt x="359" y="260"/>
                    </a:lnTo>
                    <a:lnTo>
                      <a:pt x="364" y="272"/>
                    </a:lnTo>
                    <a:lnTo>
                      <a:pt x="384" y="278"/>
                    </a:lnTo>
                    <a:lnTo>
                      <a:pt x="404" y="270"/>
                    </a:lnTo>
                    <a:lnTo>
                      <a:pt x="436" y="236"/>
                    </a:lnTo>
                    <a:lnTo>
                      <a:pt x="459" y="221"/>
                    </a:lnTo>
                    <a:lnTo>
                      <a:pt x="462" y="208"/>
                    </a:lnTo>
                    <a:lnTo>
                      <a:pt x="443" y="174"/>
                    </a:lnTo>
                    <a:lnTo>
                      <a:pt x="441" y="157"/>
                    </a:lnTo>
                    <a:lnTo>
                      <a:pt x="407" y="135"/>
                    </a:lnTo>
                    <a:lnTo>
                      <a:pt x="400" y="105"/>
                    </a:lnTo>
                    <a:lnTo>
                      <a:pt x="385" y="102"/>
                    </a:lnTo>
                    <a:lnTo>
                      <a:pt x="348" y="121"/>
                    </a:lnTo>
                    <a:lnTo>
                      <a:pt x="325" y="156"/>
                    </a:lnTo>
                    <a:lnTo>
                      <a:pt x="308" y="167"/>
                    </a:lnTo>
                    <a:lnTo>
                      <a:pt x="306" y="149"/>
                    </a:lnTo>
                    <a:lnTo>
                      <a:pt x="314" y="117"/>
                    </a:lnTo>
                    <a:lnTo>
                      <a:pt x="337" y="96"/>
                    </a:lnTo>
                    <a:lnTo>
                      <a:pt x="353" y="55"/>
                    </a:lnTo>
                    <a:lnTo>
                      <a:pt x="357" y="13"/>
                    </a:lnTo>
                    <a:lnTo>
                      <a:pt x="352" y="0"/>
                    </a:lnTo>
                    <a:lnTo>
                      <a:pt x="314" y="42"/>
                    </a:lnTo>
                    <a:lnTo>
                      <a:pt x="293" y="89"/>
                    </a:lnTo>
                    <a:lnTo>
                      <a:pt x="282" y="94"/>
                    </a:lnTo>
                    <a:lnTo>
                      <a:pt x="279" y="77"/>
                    </a:lnTo>
                    <a:lnTo>
                      <a:pt x="286" y="44"/>
                    </a:lnTo>
                    <a:lnTo>
                      <a:pt x="277" y="27"/>
                    </a:lnTo>
                    <a:lnTo>
                      <a:pt x="266" y="40"/>
                    </a:lnTo>
                    <a:lnTo>
                      <a:pt x="249" y="81"/>
                    </a:lnTo>
                    <a:lnTo>
                      <a:pt x="222" y="93"/>
                    </a:lnTo>
                    <a:lnTo>
                      <a:pt x="222" y="123"/>
                    </a:lnTo>
                    <a:lnTo>
                      <a:pt x="234" y="133"/>
                    </a:lnTo>
                    <a:lnTo>
                      <a:pt x="259" y="128"/>
                    </a:lnTo>
                    <a:lnTo>
                      <a:pt x="276" y="134"/>
                    </a:lnTo>
                    <a:lnTo>
                      <a:pt x="275" y="155"/>
                    </a:lnTo>
                    <a:lnTo>
                      <a:pt x="249" y="165"/>
                    </a:lnTo>
                    <a:lnTo>
                      <a:pt x="224" y="188"/>
                    </a:lnTo>
                    <a:lnTo>
                      <a:pt x="230" y="225"/>
                    </a:lnTo>
                    <a:lnTo>
                      <a:pt x="217" y="249"/>
                    </a:lnTo>
                    <a:lnTo>
                      <a:pt x="193" y="255"/>
                    </a:lnTo>
                    <a:lnTo>
                      <a:pt x="168" y="291"/>
                    </a:lnTo>
                    <a:lnTo>
                      <a:pt x="139" y="307"/>
                    </a:lnTo>
                    <a:lnTo>
                      <a:pt x="107" y="292"/>
                    </a:lnTo>
                    <a:lnTo>
                      <a:pt x="81" y="297"/>
                    </a:lnTo>
                    <a:lnTo>
                      <a:pt x="45" y="281"/>
                    </a:lnTo>
                    <a:lnTo>
                      <a:pt x="27" y="261"/>
                    </a:lnTo>
                    <a:lnTo>
                      <a:pt x="10" y="276"/>
                    </a:lnTo>
                    <a:lnTo>
                      <a:pt x="9" y="299"/>
                    </a:lnTo>
                    <a:lnTo>
                      <a:pt x="1" y="317"/>
                    </a:lnTo>
                    <a:lnTo>
                      <a:pt x="0" y="344"/>
                    </a:lnTo>
                    <a:lnTo>
                      <a:pt x="28" y="351"/>
                    </a:lnTo>
                    <a:lnTo>
                      <a:pt x="52" y="329"/>
                    </a:lnTo>
                    <a:lnTo>
                      <a:pt x="79" y="348"/>
                    </a:lnTo>
                    <a:lnTo>
                      <a:pt x="87" y="387"/>
                    </a:lnTo>
                    <a:lnTo>
                      <a:pt x="114" y="392"/>
                    </a:lnTo>
                    <a:lnTo>
                      <a:pt x="128" y="404"/>
                    </a:lnTo>
                    <a:lnTo>
                      <a:pt x="106" y="415"/>
                    </a:lnTo>
                    <a:lnTo>
                      <a:pt x="66" y="415"/>
                    </a:lnTo>
                    <a:lnTo>
                      <a:pt x="37" y="440"/>
                    </a:lnTo>
                    <a:lnTo>
                      <a:pt x="50" y="522"/>
                    </a:lnTo>
                    <a:lnTo>
                      <a:pt x="65" y="550"/>
                    </a:lnTo>
                    <a:lnTo>
                      <a:pt x="58" y="570"/>
                    </a:lnTo>
                    <a:lnTo>
                      <a:pt x="66" y="589"/>
                    </a:lnTo>
                    <a:lnTo>
                      <a:pt x="90" y="578"/>
                    </a:lnTo>
                    <a:lnTo>
                      <a:pt x="119" y="579"/>
                    </a:lnTo>
                    <a:lnTo>
                      <a:pt x="133" y="554"/>
                    </a:lnTo>
                    <a:lnTo>
                      <a:pt x="136" y="519"/>
                    </a:lnTo>
                    <a:lnTo>
                      <a:pt x="155" y="519"/>
                    </a:lnTo>
                    <a:lnTo>
                      <a:pt x="180" y="548"/>
                    </a:lnTo>
                    <a:lnTo>
                      <a:pt x="182" y="613"/>
                    </a:lnTo>
                    <a:lnTo>
                      <a:pt x="182" y="613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2" name="íṡlîḑe"/>
              <p:cNvSpPr/>
              <p:nvPr/>
            </p:nvSpPr>
            <p:spPr bwMode="auto">
              <a:xfrm>
                <a:off x="1072597" y="1320052"/>
                <a:ext cx="14288" cy="20783"/>
              </a:xfrm>
              <a:custGeom>
                <a:avLst/>
                <a:gdLst>
                  <a:gd name="T0" fmla="*/ 59 w 83"/>
                  <a:gd name="T1" fmla="*/ 120 h 120"/>
                  <a:gd name="T2" fmla="*/ 68 w 83"/>
                  <a:gd name="T3" fmla="*/ 90 h 120"/>
                  <a:gd name="T4" fmla="*/ 83 w 83"/>
                  <a:gd name="T5" fmla="*/ 61 h 120"/>
                  <a:gd name="T6" fmla="*/ 82 w 83"/>
                  <a:gd name="T7" fmla="*/ 30 h 120"/>
                  <a:gd name="T8" fmla="*/ 44 w 83"/>
                  <a:gd name="T9" fmla="*/ 17 h 120"/>
                  <a:gd name="T10" fmla="*/ 14 w 83"/>
                  <a:gd name="T11" fmla="*/ 0 h 120"/>
                  <a:gd name="T12" fmla="*/ 7 w 83"/>
                  <a:gd name="T13" fmla="*/ 43 h 120"/>
                  <a:gd name="T14" fmla="*/ 0 w 83"/>
                  <a:gd name="T15" fmla="*/ 62 h 120"/>
                  <a:gd name="T16" fmla="*/ 10 w 83"/>
                  <a:gd name="T17" fmla="*/ 92 h 120"/>
                  <a:gd name="T18" fmla="*/ 59 w 83"/>
                  <a:gd name="T19" fmla="*/ 120 h 120"/>
                  <a:gd name="T20" fmla="*/ 59 w 83"/>
                  <a:gd name="T21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3" h="120">
                    <a:moveTo>
                      <a:pt x="59" y="120"/>
                    </a:moveTo>
                    <a:lnTo>
                      <a:pt x="68" y="90"/>
                    </a:lnTo>
                    <a:lnTo>
                      <a:pt x="83" y="61"/>
                    </a:lnTo>
                    <a:lnTo>
                      <a:pt x="82" y="30"/>
                    </a:lnTo>
                    <a:lnTo>
                      <a:pt x="44" y="17"/>
                    </a:lnTo>
                    <a:lnTo>
                      <a:pt x="14" y="0"/>
                    </a:lnTo>
                    <a:lnTo>
                      <a:pt x="7" y="43"/>
                    </a:lnTo>
                    <a:lnTo>
                      <a:pt x="0" y="62"/>
                    </a:lnTo>
                    <a:lnTo>
                      <a:pt x="10" y="92"/>
                    </a:lnTo>
                    <a:lnTo>
                      <a:pt x="59" y="120"/>
                    </a:lnTo>
                    <a:lnTo>
                      <a:pt x="59" y="12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3" name="iśḷíḍê"/>
              <p:cNvSpPr/>
              <p:nvPr/>
            </p:nvSpPr>
            <p:spPr bwMode="auto">
              <a:xfrm>
                <a:off x="1084287" y="1329142"/>
                <a:ext cx="25979" cy="25979"/>
              </a:xfrm>
              <a:custGeom>
                <a:avLst/>
                <a:gdLst>
                  <a:gd name="T0" fmla="*/ 42 w 161"/>
                  <a:gd name="T1" fmla="*/ 159 h 159"/>
                  <a:gd name="T2" fmla="*/ 42 w 161"/>
                  <a:gd name="T3" fmla="*/ 159 h 159"/>
                  <a:gd name="T4" fmla="*/ 70 w 161"/>
                  <a:gd name="T5" fmla="*/ 156 h 159"/>
                  <a:gd name="T6" fmla="*/ 97 w 161"/>
                  <a:gd name="T7" fmla="*/ 140 h 159"/>
                  <a:gd name="T8" fmla="*/ 148 w 161"/>
                  <a:gd name="T9" fmla="*/ 141 h 159"/>
                  <a:gd name="T10" fmla="*/ 161 w 161"/>
                  <a:gd name="T11" fmla="*/ 121 h 159"/>
                  <a:gd name="T12" fmla="*/ 153 w 161"/>
                  <a:gd name="T13" fmla="*/ 97 h 159"/>
                  <a:gd name="T14" fmla="*/ 114 w 161"/>
                  <a:gd name="T15" fmla="*/ 91 h 159"/>
                  <a:gd name="T16" fmla="*/ 111 w 161"/>
                  <a:gd name="T17" fmla="*/ 56 h 159"/>
                  <a:gd name="T18" fmla="*/ 74 w 161"/>
                  <a:gd name="T19" fmla="*/ 0 h 159"/>
                  <a:gd name="T20" fmla="*/ 64 w 161"/>
                  <a:gd name="T21" fmla="*/ 17 h 159"/>
                  <a:gd name="T22" fmla="*/ 63 w 161"/>
                  <a:gd name="T23" fmla="*/ 73 h 159"/>
                  <a:gd name="T24" fmla="*/ 52 w 161"/>
                  <a:gd name="T25" fmla="*/ 95 h 159"/>
                  <a:gd name="T26" fmla="*/ 12 w 161"/>
                  <a:gd name="T27" fmla="*/ 95 h 159"/>
                  <a:gd name="T28" fmla="*/ 0 w 161"/>
                  <a:gd name="T29" fmla="*/ 104 h 159"/>
                  <a:gd name="T30" fmla="*/ 33 w 161"/>
                  <a:gd name="T31" fmla="*/ 130 h 159"/>
                  <a:gd name="T32" fmla="*/ 42 w 161"/>
                  <a:gd name="T33" fmla="*/ 159 h 159"/>
                  <a:gd name="T34" fmla="*/ 42 w 161"/>
                  <a:gd name="T35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1" h="159">
                    <a:moveTo>
                      <a:pt x="42" y="159"/>
                    </a:moveTo>
                    <a:lnTo>
                      <a:pt x="42" y="159"/>
                    </a:lnTo>
                    <a:lnTo>
                      <a:pt x="70" y="156"/>
                    </a:lnTo>
                    <a:lnTo>
                      <a:pt x="97" y="140"/>
                    </a:lnTo>
                    <a:lnTo>
                      <a:pt x="148" y="141"/>
                    </a:lnTo>
                    <a:lnTo>
                      <a:pt x="161" y="121"/>
                    </a:lnTo>
                    <a:lnTo>
                      <a:pt x="153" y="97"/>
                    </a:lnTo>
                    <a:lnTo>
                      <a:pt x="114" y="91"/>
                    </a:lnTo>
                    <a:lnTo>
                      <a:pt x="111" y="56"/>
                    </a:lnTo>
                    <a:lnTo>
                      <a:pt x="74" y="0"/>
                    </a:lnTo>
                    <a:lnTo>
                      <a:pt x="64" y="17"/>
                    </a:lnTo>
                    <a:lnTo>
                      <a:pt x="63" y="73"/>
                    </a:lnTo>
                    <a:lnTo>
                      <a:pt x="52" y="95"/>
                    </a:lnTo>
                    <a:lnTo>
                      <a:pt x="12" y="95"/>
                    </a:lnTo>
                    <a:lnTo>
                      <a:pt x="0" y="104"/>
                    </a:lnTo>
                    <a:lnTo>
                      <a:pt x="33" y="130"/>
                    </a:lnTo>
                    <a:lnTo>
                      <a:pt x="42" y="159"/>
                    </a:lnTo>
                    <a:lnTo>
                      <a:pt x="42" y="15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4" name="iṥ1íḋé"/>
              <p:cNvSpPr/>
              <p:nvPr/>
            </p:nvSpPr>
            <p:spPr bwMode="auto">
              <a:xfrm>
                <a:off x="1154429" y="1138202"/>
                <a:ext cx="22083" cy="19484"/>
              </a:xfrm>
              <a:custGeom>
                <a:avLst/>
                <a:gdLst>
                  <a:gd name="T0" fmla="*/ 49 w 136"/>
                  <a:gd name="T1" fmla="*/ 120 h 120"/>
                  <a:gd name="T2" fmla="*/ 81 w 136"/>
                  <a:gd name="T3" fmla="*/ 94 h 120"/>
                  <a:gd name="T4" fmla="*/ 112 w 136"/>
                  <a:gd name="T5" fmla="*/ 94 h 120"/>
                  <a:gd name="T6" fmla="*/ 124 w 136"/>
                  <a:gd name="T7" fmla="*/ 80 h 120"/>
                  <a:gd name="T8" fmla="*/ 136 w 136"/>
                  <a:gd name="T9" fmla="*/ 70 h 120"/>
                  <a:gd name="T10" fmla="*/ 126 w 136"/>
                  <a:gd name="T11" fmla="*/ 53 h 120"/>
                  <a:gd name="T12" fmla="*/ 117 w 136"/>
                  <a:gd name="T13" fmla="*/ 14 h 120"/>
                  <a:gd name="T14" fmla="*/ 96 w 136"/>
                  <a:gd name="T15" fmla="*/ 0 h 120"/>
                  <a:gd name="T16" fmla="*/ 73 w 136"/>
                  <a:gd name="T17" fmla="*/ 16 h 120"/>
                  <a:gd name="T18" fmla="*/ 30 w 136"/>
                  <a:gd name="T19" fmla="*/ 27 h 120"/>
                  <a:gd name="T20" fmla="*/ 0 w 136"/>
                  <a:gd name="T21" fmla="*/ 43 h 120"/>
                  <a:gd name="T22" fmla="*/ 0 w 136"/>
                  <a:gd name="T23" fmla="*/ 56 h 120"/>
                  <a:gd name="T24" fmla="*/ 18 w 136"/>
                  <a:gd name="T25" fmla="*/ 71 h 120"/>
                  <a:gd name="T26" fmla="*/ 30 w 136"/>
                  <a:gd name="T27" fmla="*/ 99 h 120"/>
                  <a:gd name="T28" fmla="*/ 30 w 136"/>
                  <a:gd name="T29" fmla="*/ 99 h 120"/>
                  <a:gd name="T30" fmla="*/ 38 w 136"/>
                  <a:gd name="T31" fmla="*/ 110 h 120"/>
                  <a:gd name="T32" fmla="*/ 45 w 136"/>
                  <a:gd name="T33" fmla="*/ 117 h 120"/>
                  <a:gd name="T34" fmla="*/ 48 w 136"/>
                  <a:gd name="T35" fmla="*/ 120 h 120"/>
                  <a:gd name="T36" fmla="*/ 49 w 136"/>
                  <a:gd name="T37" fmla="*/ 120 h 120"/>
                  <a:gd name="T38" fmla="*/ 49 w 136"/>
                  <a:gd name="T3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6" h="120">
                    <a:moveTo>
                      <a:pt x="49" y="120"/>
                    </a:moveTo>
                    <a:lnTo>
                      <a:pt x="81" y="94"/>
                    </a:lnTo>
                    <a:lnTo>
                      <a:pt x="112" y="94"/>
                    </a:lnTo>
                    <a:lnTo>
                      <a:pt x="124" y="80"/>
                    </a:lnTo>
                    <a:lnTo>
                      <a:pt x="136" y="70"/>
                    </a:lnTo>
                    <a:lnTo>
                      <a:pt x="126" y="53"/>
                    </a:lnTo>
                    <a:lnTo>
                      <a:pt x="117" y="14"/>
                    </a:lnTo>
                    <a:lnTo>
                      <a:pt x="96" y="0"/>
                    </a:lnTo>
                    <a:lnTo>
                      <a:pt x="73" y="16"/>
                    </a:lnTo>
                    <a:lnTo>
                      <a:pt x="30" y="27"/>
                    </a:lnTo>
                    <a:lnTo>
                      <a:pt x="0" y="43"/>
                    </a:lnTo>
                    <a:lnTo>
                      <a:pt x="0" y="56"/>
                    </a:lnTo>
                    <a:lnTo>
                      <a:pt x="18" y="71"/>
                    </a:lnTo>
                    <a:lnTo>
                      <a:pt x="30" y="99"/>
                    </a:lnTo>
                    <a:lnTo>
                      <a:pt x="30" y="99"/>
                    </a:lnTo>
                    <a:lnTo>
                      <a:pt x="38" y="110"/>
                    </a:lnTo>
                    <a:lnTo>
                      <a:pt x="45" y="117"/>
                    </a:lnTo>
                    <a:lnTo>
                      <a:pt x="48" y="120"/>
                    </a:lnTo>
                    <a:lnTo>
                      <a:pt x="49" y="120"/>
                    </a:lnTo>
                    <a:lnTo>
                      <a:pt x="49" y="12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5" name="îŝ1ïďè"/>
              <p:cNvSpPr/>
              <p:nvPr/>
            </p:nvSpPr>
            <p:spPr bwMode="auto">
              <a:xfrm>
                <a:off x="1167420" y="1161584"/>
                <a:ext cx="3897" cy="6495"/>
              </a:xfrm>
              <a:custGeom>
                <a:avLst/>
                <a:gdLst>
                  <a:gd name="T0" fmla="*/ 4 w 22"/>
                  <a:gd name="T1" fmla="*/ 37 h 37"/>
                  <a:gd name="T2" fmla="*/ 0 w 22"/>
                  <a:gd name="T3" fmla="*/ 13 h 37"/>
                  <a:gd name="T4" fmla="*/ 15 w 22"/>
                  <a:gd name="T5" fmla="*/ 0 h 37"/>
                  <a:gd name="T6" fmla="*/ 22 w 22"/>
                  <a:gd name="T7" fmla="*/ 22 h 37"/>
                  <a:gd name="T8" fmla="*/ 4 w 22"/>
                  <a:gd name="T9" fmla="*/ 37 h 37"/>
                  <a:gd name="T10" fmla="*/ 4 w 22"/>
                  <a:gd name="T11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37">
                    <a:moveTo>
                      <a:pt x="4" y="37"/>
                    </a:moveTo>
                    <a:lnTo>
                      <a:pt x="0" y="13"/>
                    </a:lnTo>
                    <a:lnTo>
                      <a:pt x="15" y="0"/>
                    </a:lnTo>
                    <a:lnTo>
                      <a:pt x="22" y="22"/>
                    </a:lnTo>
                    <a:lnTo>
                      <a:pt x="4" y="37"/>
                    </a:lnTo>
                    <a:lnTo>
                      <a:pt x="4" y="37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6" name="işḻîďe"/>
              <p:cNvSpPr/>
              <p:nvPr/>
            </p:nvSpPr>
            <p:spPr bwMode="auto">
              <a:xfrm>
                <a:off x="1149234" y="1171975"/>
                <a:ext cx="27279" cy="15587"/>
              </a:xfrm>
              <a:custGeom>
                <a:avLst/>
                <a:gdLst>
                  <a:gd name="T0" fmla="*/ 130 w 174"/>
                  <a:gd name="T1" fmla="*/ 85 h 103"/>
                  <a:gd name="T2" fmla="*/ 146 w 174"/>
                  <a:gd name="T3" fmla="*/ 57 h 103"/>
                  <a:gd name="T4" fmla="*/ 164 w 174"/>
                  <a:gd name="T5" fmla="*/ 46 h 103"/>
                  <a:gd name="T6" fmla="*/ 174 w 174"/>
                  <a:gd name="T7" fmla="*/ 26 h 103"/>
                  <a:gd name="T8" fmla="*/ 158 w 174"/>
                  <a:gd name="T9" fmla="*/ 15 h 103"/>
                  <a:gd name="T10" fmla="*/ 143 w 174"/>
                  <a:gd name="T11" fmla="*/ 19 h 103"/>
                  <a:gd name="T12" fmla="*/ 110 w 174"/>
                  <a:gd name="T13" fmla="*/ 19 h 103"/>
                  <a:gd name="T14" fmla="*/ 90 w 174"/>
                  <a:gd name="T15" fmla="*/ 3 h 103"/>
                  <a:gd name="T16" fmla="*/ 65 w 174"/>
                  <a:gd name="T17" fmla="*/ 0 h 103"/>
                  <a:gd name="T18" fmla="*/ 36 w 174"/>
                  <a:gd name="T19" fmla="*/ 18 h 103"/>
                  <a:gd name="T20" fmla="*/ 3 w 174"/>
                  <a:gd name="T21" fmla="*/ 46 h 103"/>
                  <a:gd name="T22" fmla="*/ 0 w 174"/>
                  <a:gd name="T23" fmla="*/ 66 h 103"/>
                  <a:gd name="T24" fmla="*/ 11 w 174"/>
                  <a:gd name="T25" fmla="*/ 85 h 103"/>
                  <a:gd name="T26" fmla="*/ 40 w 174"/>
                  <a:gd name="T27" fmla="*/ 97 h 103"/>
                  <a:gd name="T28" fmla="*/ 73 w 174"/>
                  <a:gd name="T29" fmla="*/ 80 h 103"/>
                  <a:gd name="T30" fmla="*/ 90 w 174"/>
                  <a:gd name="T31" fmla="*/ 99 h 103"/>
                  <a:gd name="T32" fmla="*/ 110 w 174"/>
                  <a:gd name="T33" fmla="*/ 103 h 103"/>
                  <a:gd name="T34" fmla="*/ 130 w 174"/>
                  <a:gd name="T35" fmla="*/ 85 h 103"/>
                  <a:gd name="T36" fmla="*/ 130 w 174"/>
                  <a:gd name="T37" fmla="*/ 8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4" h="103">
                    <a:moveTo>
                      <a:pt x="130" y="85"/>
                    </a:moveTo>
                    <a:lnTo>
                      <a:pt x="146" y="57"/>
                    </a:lnTo>
                    <a:lnTo>
                      <a:pt x="164" y="46"/>
                    </a:lnTo>
                    <a:lnTo>
                      <a:pt x="174" y="26"/>
                    </a:lnTo>
                    <a:lnTo>
                      <a:pt x="158" y="15"/>
                    </a:lnTo>
                    <a:lnTo>
                      <a:pt x="143" y="19"/>
                    </a:lnTo>
                    <a:lnTo>
                      <a:pt x="110" y="19"/>
                    </a:lnTo>
                    <a:lnTo>
                      <a:pt x="90" y="3"/>
                    </a:lnTo>
                    <a:lnTo>
                      <a:pt x="65" y="0"/>
                    </a:lnTo>
                    <a:lnTo>
                      <a:pt x="36" y="18"/>
                    </a:lnTo>
                    <a:lnTo>
                      <a:pt x="3" y="46"/>
                    </a:lnTo>
                    <a:lnTo>
                      <a:pt x="0" y="66"/>
                    </a:lnTo>
                    <a:lnTo>
                      <a:pt x="11" y="85"/>
                    </a:lnTo>
                    <a:lnTo>
                      <a:pt x="40" y="97"/>
                    </a:lnTo>
                    <a:lnTo>
                      <a:pt x="73" y="80"/>
                    </a:lnTo>
                    <a:lnTo>
                      <a:pt x="90" y="99"/>
                    </a:lnTo>
                    <a:lnTo>
                      <a:pt x="110" y="103"/>
                    </a:lnTo>
                    <a:lnTo>
                      <a:pt x="130" y="85"/>
                    </a:lnTo>
                    <a:lnTo>
                      <a:pt x="130" y="85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7" name="íŝlïde"/>
              <p:cNvSpPr/>
              <p:nvPr/>
            </p:nvSpPr>
            <p:spPr bwMode="auto">
              <a:xfrm>
                <a:off x="1181707" y="1175871"/>
                <a:ext cx="10391" cy="11691"/>
              </a:xfrm>
              <a:custGeom>
                <a:avLst/>
                <a:gdLst>
                  <a:gd name="T0" fmla="*/ 6 w 62"/>
                  <a:gd name="T1" fmla="*/ 63 h 71"/>
                  <a:gd name="T2" fmla="*/ 0 w 62"/>
                  <a:gd name="T3" fmla="*/ 24 h 71"/>
                  <a:gd name="T4" fmla="*/ 15 w 62"/>
                  <a:gd name="T5" fmla="*/ 3 h 71"/>
                  <a:gd name="T6" fmla="*/ 34 w 62"/>
                  <a:gd name="T7" fmla="*/ 0 h 71"/>
                  <a:gd name="T8" fmla="*/ 54 w 62"/>
                  <a:gd name="T9" fmla="*/ 14 h 71"/>
                  <a:gd name="T10" fmla="*/ 62 w 62"/>
                  <a:gd name="T11" fmla="*/ 37 h 71"/>
                  <a:gd name="T12" fmla="*/ 56 w 62"/>
                  <a:gd name="T13" fmla="*/ 59 h 71"/>
                  <a:gd name="T14" fmla="*/ 32 w 62"/>
                  <a:gd name="T15" fmla="*/ 71 h 71"/>
                  <a:gd name="T16" fmla="*/ 6 w 62"/>
                  <a:gd name="T17" fmla="*/ 63 h 71"/>
                  <a:gd name="T18" fmla="*/ 6 w 62"/>
                  <a:gd name="T19" fmla="*/ 6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71">
                    <a:moveTo>
                      <a:pt x="6" y="63"/>
                    </a:moveTo>
                    <a:lnTo>
                      <a:pt x="0" y="24"/>
                    </a:lnTo>
                    <a:lnTo>
                      <a:pt x="15" y="3"/>
                    </a:lnTo>
                    <a:lnTo>
                      <a:pt x="34" y="0"/>
                    </a:lnTo>
                    <a:lnTo>
                      <a:pt x="54" y="14"/>
                    </a:lnTo>
                    <a:lnTo>
                      <a:pt x="62" y="37"/>
                    </a:lnTo>
                    <a:lnTo>
                      <a:pt x="56" y="59"/>
                    </a:lnTo>
                    <a:lnTo>
                      <a:pt x="32" y="71"/>
                    </a:lnTo>
                    <a:lnTo>
                      <a:pt x="6" y="63"/>
                    </a:lnTo>
                    <a:lnTo>
                      <a:pt x="6" y="63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8" name="iśľiḍe"/>
              <p:cNvSpPr/>
              <p:nvPr/>
            </p:nvSpPr>
            <p:spPr bwMode="auto">
              <a:xfrm>
                <a:off x="1138843" y="1191457"/>
                <a:ext cx="35071" cy="31175"/>
              </a:xfrm>
              <a:custGeom>
                <a:avLst/>
                <a:gdLst>
                  <a:gd name="T0" fmla="*/ 129 w 213"/>
                  <a:gd name="T1" fmla="*/ 149 h 190"/>
                  <a:gd name="T2" fmla="*/ 163 w 213"/>
                  <a:gd name="T3" fmla="*/ 98 h 190"/>
                  <a:gd name="T4" fmla="*/ 185 w 213"/>
                  <a:gd name="T5" fmla="*/ 54 h 190"/>
                  <a:gd name="T6" fmla="*/ 213 w 213"/>
                  <a:gd name="T7" fmla="*/ 27 h 190"/>
                  <a:gd name="T8" fmla="*/ 212 w 213"/>
                  <a:gd name="T9" fmla="*/ 13 h 190"/>
                  <a:gd name="T10" fmla="*/ 187 w 213"/>
                  <a:gd name="T11" fmla="*/ 0 h 190"/>
                  <a:gd name="T12" fmla="*/ 148 w 213"/>
                  <a:gd name="T13" fmla="*/ 25 h 190"/>
                  <a:gd name="T14" fmla="*/ 114 w 213"/>
                  <a:gd name="T15" fmla="*/ 8 h 190"/>
                  <a:gd name="T16" fmla="*/ 74 w 213"/>
                  <a:gd name="T17" fmla="*/ 5 h 190"/>
                  <a:gd name="T18" fmla="*/ 64 w 213"/>
                  <a:gd name="T19" fmla="*/ 33 h 190"/>
                  <a:gd name="T20" fmla="*/ 49 w 213"/>
                  <a:gd name="T21" fmla="*/ 60 h 190"/>
                  <a:gd name="T22" fmla="*/ 59 w 213"/>
                  <a:gd name="T23" fmla="*/ 67 h 190"/>
                  <a:gd name="T24" fmla="*/ 86 w 213"/>
                  <a:gd name="T25" fmla="*/ 63 h 190"/>
                  <a:gd name="T26" fmla="*/ 98 w 213"/>
                  <a:gd name="T27" fmla="*/ 105 h 190"/>
                  <a:gd name="T28" fmla="*/ 107 w 213"/>
                  <a:gd name="T29" fmla="*/ 117 h 190"/>
                  <a:gd name="T30" fmla="*/ 66 w 213"/>
                  <a:gd name="T31" fmla="*/ 123 h 190"/>
                  <a:gd name="T32" fmla="*/ 9 w 213"/>
                  <a:gd name="T33" fmla="*/ 146 h 190"/>
                  <a:gd name="T34" fmla="*/ 0 w 213"/>
                  <a:gd name="T35" fmla="*/ 164 h 190"/>
                  <a:gd name="T36" fmla="*/ 12 w 213"/>
                  <a:gd name="T37" fmla="*/ 184 h 190"/>
                  <a:gd name="T38" fmla="*/ 49 w 213"/>
                  <a:gd name="T39" fmla="*/ 190 h 190"/>
                  <a:gd name="T40" fmla="*/ 83 w 213"/>
                  <a:gd name="T41" fmla="*/ 160 h 190"/>
                  <a:gd name="T42" fmla="*/ 83 w 213"/>
                  <a:gd name="T43" fmla="*/ 160 h 190"/>
                  <a:gd name="T44" fmla="*/ 106 w 213"/>
                  <a:gd name="T45" fmla="*/ 155 h 190"/>
                  <a:gd name="T46" fmla="*/ 121 w 213"/>
                  <a:gd name="T47" fmla="*/ 152 h 190"/>
                  <a:gd name="T48" fmla="*/ 126 w 213"/>
                  <a:gd name="T49" fmla="*/ 150 h 190"/>
                  <a:gd name="T50" fmla="*/ 129 w 213"/>
                  <a:gd name="T51" fmla="*/ 149 h 190"/>
                  <a:gd name="T52" fmla="*/ 129 w 213"/>
                  <a:gd name="T53" fmla="*/ 14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13" h="190">
                    <a:moveTo>
                      <a:pt x="129" y="149"/>
                    </a:moveTo>
                    <a:lnTo>
                      <a:pt x="163" y="98"/>
                    </a:lnTo>
                    <a:lnTo>
                      <a:pt x="185" y="54"/>
                    </a:lnTo>
                    <a:lnTo>
                      <a:pt x="213" y="27"/>
                    </a:lnTo>
                    <a:lnTo>
                      <a:pt x="212" y="13"/>
                    </a:lnTo>
                    <a:lnTo>
                      <a:pt x="187" y="0"/>
                    </a:lnTo>
                    <a:lnTo>
                      <a:pt x="148" y="25"/>
                    </a:lnTo>
                    <a:lnTo>
                      <a:pt x="114" y="8"/>
                    </a:lnTo>
                    <a:lnTo>
                      <a:pt x="74" y="5"/>
                    </a:lnTo>
                    <a:lnTo>
                      <a:pt x="64" y="33"/>
                    </a:lnTo>
                    <a:lnTo>
                      <a:pt x="49" y="60"/>
                    </a:lnTo>
                    <a:lnTo>
                      <a:pt x="59" y="67"/>
                    </a:lnTo>
                    <a:lnTo>
                      <a:pt x="86" y="63"/>
                    </a:lnTo>
                    <a:lnTo>
                      <a:pt x="98" y="105"/>
                    </a:lnTo>
                    <a:lnTo>
                      <a:pt x="107" y="117"/>
                    </a:lnTo>
                    <a:lnTo>
                      <a:pt x="66" y="123"/>
                    </a:lnTo>
                    <a:lnTo>
                      <a:pt x="9" y="146"/>
                    </a:lnTo>
                    <a:lnTo>
                      <a:pt x="0" y="164"/>
                    </a:lnTo>
                    <a:lnTo>
                      <a:pt x="12" y="184"/>
                    </a:lnTo>
                    <a:lnTo>
                      <a:pt x="49" y="190"/>
                    </a:lnTo>
                    <a:lnTo>
                      <a:pt x="83" y="160"/>
                    </a:lnTo>
                    <a:lnTo>
                      <a:pt x="83" y="160"/>
                    </a:lnTo>
                    <a:lnTo>
                      <a:pt x="106" y="155"/>
                    </a:lnTo>
                    <a:lnTo>
                      <a:pt x="121" y="152"/>
                    </a:lnTo>
                    <a:lnTo>
                      <a:pt x="126" y="150"/>
                    </a:lnTo>
                    <a:lnTo>
                      <a:pt x="129" y="149"/>
                    </a:lnTo>
                    <a:lnTo>
                      <a:pt x="129" y="14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9" name="íśľïḑê"/>
              <p:cNvSpPr/>
              <p:nvPr/>
            </p:nvSpPr>
            <p:spPr bwMode="auto">
              <a:xfrm>
                <a:off x="1163521" y="1203148"/>
                <a:ext cx="14288" cy="14288"/>
              </a:xfrm>
              <a:custGeom>
                <a:avLst/>
                <a:gdLst>
                  <a:gd name="T0" fmla="*/ 74 w 87"/>
                  <a:gd name="T1" fmla="*/ 77 h 88"/>
                  <a:gd name="T2" fmla="*/ 40 w 87"/>
                  <a:gd name="T3" fmla="*/ 74 h 88"/>
                  <a:gd name="T4" fmla="*/ 22 w 87"/>
                  <a:gd name="T5" fmla="*/ 88 h 88"/>
                  <a:gd name="T6" fmla="*/ 0 w 87"/>
                  <a:gd name="T7" fmla="*/ 76 h 88"/>
                  <a:gd name="T8" fmla="*/ 18 w 87"/>
                  <a:gd name="T9" fmla="*/ 46 h 88"/>
                  <a:gd name="T10" fmla="*/ 50 w 87"/>
                  <a:gd name="T11" fmla="*/ 24 h 88"/>
                  <a:gd name="T12" fmla="*/ 58 w 87"/>
                  <a:gd name="T13" fmla="*/ 0 h 88"/>
                  <a:gd name="T14" fmla="*/ 87 w 87"/>
                  <a:gd name="T15" fmla="*/ 30 h 88"/>
                  <a:gd name="T16" fmla="*/ 78 w 87"/>
                  <a:gd name="T17" fmla="*/ 47 h 88"/>
                  <a:gd name="T18" fmla="*/ 74 w 87"/>
                  <a:gd name="T19" fmla="*/ 77 h 88"/>
                  <a:gd name="T20" fmla="*/ 74 w 87"/>
                  <a:gd name="T21" fmla="*/ 7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7" h="88">
                    <a:moveTo>
                      <a:pt x="74" y="77"/>
                    </a:moveTo>
                    <a:lnTo>
                      <a:pt x="40" y="74"/>
                    </a:lnTo>
                    <a:lnTo>
                      <a:pt x="22" y="88"/>
                    </a:lnTo>
                    <a:lnTo>
                      <a:pt x="0" y="76"/>
                    </a:lnTo>
                    <a:lnTo>
                      <a:pt x="18" y="46"/>
                    </a:lnTo>
                    <a:lnTo>
                      <a:pt x="50" y="24"/>
                    </a:lnTo>
                    <a:lnTo>
                      <a:pt x="58" y="0"/>
                    </a:lnTo>
                    <a:lnTo>
                      <a:pt x="87" y="30"/>
                    </a:lnTo>
                    <a:lnTo>
                      <a:pt x="78" y="47"/>
                    </a:lnTo>
                    <a:lnTo>
                      <a:pt x="74" y="77"/>
                    </a:lnTo>
                    <a:lnTo>
                      <a:pt x="74" y="77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60" name="ïṡlíḍé"/>
              <p:cNvSpPr/>
              <p:nvPr/>
            </p:nvSpPr>
            <p:spPr bwMode="auto">
              <a:xfrm>
                <a:off x="1181706" y="1212240"/>
                <a:ext cx="16887" cy="14288"/>
              </a:xfrm>
              <a:custGeom>
                <a:avLst/>
                <a:gdLst>
                  <a:gd name="T0" fmla="*/ 64 w 101"/>
                  <a:gd name="T1" fmla="*/ 86 h 86"/>
                  <a:gd name="T2" fmla="*/ 12 w 101"/>
                  <a:gd name="T3" fmla="*/ 54 h 86"/>
                  <a:gd name="T4" fmla="*/ 0 w 101"/>
                  <a:gd name="T5" fmla="*/ 22 h 86"/>
                  <a:gd name="T6" fmla="*/ 12 w 101"/>
                  <a:gd name="T7" fmla="*/ 0 h 86"/>
                  <a:gd name="T8" fmla="*/ 26 w 101"/>
                  <a:gd name="T9" fmla="*/ 0 h 86"/>
                  <a:gd name="T10" fmla="*/ 39 w 101"/>
                  <a:gd name="T11" fmla="*/ 24 h 86"/>
                  <a:gd name="T12" fmla="*/ 77 w 101"/>
                  <a:gd name="T13" fmla="*/ 23 h 86"/>
                  <a:gd name="T14" fmla="*/ 101 w 101"/>
                  <a:gd name="T15" fmla="*/ 45 h 86"/>
                  <a:gd name="T16" fmla="*/ 97 w 101"/>
                  <a:gd name="T17" fmla="*/ 77 h 86"/>
                  <a:gd name="T18" fmla="*/ 64 w 101"/>
                  <a:gd name="T19" fmla="*/ 86 h 86"/>
                  <a:gd name="T20" fmla="*/ 64 w 101"/>
                  <a:gd name="T21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1" h="86">
                    <a:moveTo>
                      <a:pt x="64" y="86"/>
                    </a:moveTo>
                    <a:lnTo>
                      <a:pt x="12" y="54"/>
                    </a:lnTo>
                    <a:lnTo>
                      <a:pt x="0" y="22"/>
                    </a:lnTo>
                    <a:lnTo>
                      <a:pt x="12" y="0"/>
                    </a:lnTo>
                    <a:lnTo>
                      <a:pt x="26" y="0"/>
                    </a:lnTo>
                    <a:lnTo>
                      <a:pt x="39" y="24"/>
                    </a:lnTo>
                    <a:lnTo>
                      <a:pt x="77" y="23"/>
                    </a:lnTo>
                    <a:lnTo>
                      <a:pt x="101" y="45"/>
                    </a:lnTo>
                    <a:lnTo>
                      <a:pt x="97" y="77"/>
                    </a:lnTo>
                    <a:lnTo>
                      <a:pt x="64" y="86"/>
                    </a:lnTo>
                    <a:lnTo>
                      <a:pt x="64" y="86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61" name="íṣľïḍé"/>
              <p:cNvSpPr/>
              <p:nvPr/>
            </p:nvSpPr>
            <p:spPr bwMode="auto">
              <a:xfrm>
                <a:off x="1151832" y="1220034"/>
                <a:ext cx="40267" cy="23380"/>
              </a:xfrm>
              <a:custGeom>
                <a:avLst/>
                <a:gdLst>
                  <a:gd name="T0" fmla="*/ 200 w 242"/>
                  <a:gd name="T1" fmla="*/ 143 h 143"/>
                  <a:gd name="T2" fmla="*/ 174 w 242"/>
                  <a:gd name="T3" fmla="*/ 107 h 143"/>
                  <a:gd name="T4" fmla="*/ 108 w 242"/>
                  <a:gd name="T5" fmla="*/ 58 h 143"/>
                  <a:gd name="T6" fmla="*/ 52 w 242"/>
                  <a:gd name="T7" fmla="*/ 37 h 143"/>
                  <a:gd name="T8" fmla="*/ 19 w 242"/>
                  <a:gd name="T9" fmla="*/ 37 h 143"/>
                  <a:gd name="T10" fmla="*/ 0 w 242"/>
                  <a:gd name="T11" fmla="*/ 22 h 143"/>
                  <a:gd name="T12" fmla="*/ 8 w 242"/>
                  <a:gd name="T13" fmla="*/ 10 h 143"/>
                  <a:gd name="T14" fmla="*/ 41 w 242"/>
                  <a:gd name="T15" fmla="*/ 0 h 143"/>
                  <a:gd name="T16" fmla="*/ 87 w 242"/>
                  <a:gd name="T17" fmla="*/ 2 h 143"/>
                  <a:gd name="T18" fmla="*/ 143 w 242"/>
                  <a:gd name="T19" fmla="*/ 28 h 143"/>
                  <a:gd name="T20" fmla="*/ 193 w 242"/>
                  <a:gd name="T21" fmla="*/ 73 h 143"/>
                  <a:gd name="T22" fmla="*/ 212 w 242"/>
                  <a:gd name="T23" fmla="*/ 73 h 143"/>
                  <a:gd name="T24" fmla="*/ 233 w 242"/>
                  <a:gd name="T25" fmla="*/ 55 h 143"/>
                  <a:gd name="T26" fmla="*/ 242 w 242"/>
                  <a:gd name="T27" fmla="*/ 66 h 143"/>
                  <a:gd name="T28" fmla="*/ 235 w 242"/>
                  <a:gd name="T29" fmla="*/ 90 h 143"/>
                  <a:gd name="T30" fmla="*/ 225 w 242"/>
                  <a:gd name="T31" fmla="*/ 130 h 143"/>
                  <a:gd name="T32" fmla="*/ 200 w 242"/>
                  <a:gd name="T33" fmla="*/ 143 h 143"/>
                  <a:gd name="T34" fmla="*/ 200 w 242"/>
                  <a:gd name="T35" fmla="*/ 14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2" h="143">
                    <a:moveTo>
                      <a:pt x="200" y="143"/>
                    </a:moveTo>
                    <a:lnTo>
                      <a:pt x="174" y="107"/>
                    </a:lnTo>
                    <a:lnTo>
                      <a:pt x="108" y="58"/>
                    </a:lnTo>
                    <a:lnTo>
                      <a:pt x="52" y="37"/>
                    </a:lnTo>
                    <a:lnTo>
                      <a:pt x="19" y="37"/>
                    </a:lnTo>
                    <a:lnTo>
                      <a:pt x="0" y="22"/>
                    </a:lnTo>
                    <a:lnTo>
                      <a:pt x="8" y="10"/>
                    </a:lnTo>
                    <a:lnTo>
                      <a:pt x="41" y="0"/>
                    </a:lnTo>
                    <a:lnTo>
                      <a:pt x="87" y="2"/>
                    </a:lnTo>
                    <a:lnTo>
                      <a:pt x="143" y="28"/>
                    </a:lnTo>
                    <a:lnTo>
                      <a:pt x="193" y="73"/>
                    </a:lnTo>
                    <a:lnTo>
                      <a:pt x="212" y="73"/>
                    </a:lnTo>
                    <a:lnTo>
                      <a:pt x="233" y="55"/>
                    </a:lnTo>
                    <a:lnTo>
                      <a:pt x="242" y="66"/>
                    </a:lnTo>
                    <a:lnTo>
                      <a:pt x="235" y="90"/>
                    </a:lnTo>
                    <a:lnTo>
                      <a:pt x="225" y="130"/>
                    </a:lnTo>
                    <a:lnTo>
                      <a:pt x="200" y="143"/>
                    </a:lnTo>
                    <a:lnTo>
                      <a:pt x="200" y="143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62" name="íṡľîďé"/>
              <p:cNvSpPr/>
              <p:nvPr/>
            </p:nvSpPr>
            <p:spPr bwMode="auto">
              <a:xfrm>
                <a:off x="1127153" y="1230424"/>
                <a:ext cx="62348" cy="28576"/>
              </a:xfrm>
              <a:custGeom>
                <a:avLst/>
                <a:gdLst>
                  <a:gd name="T0" fmla="*/ 378 w 385"/>
                  <a:gd name="T1" fmla="*/ 169 h 178"/>
                  <a:gd name="T2" fmla="*/ 385 w 385"/>
                  <a:gd name="T3" fmla="*/ 121 h 178"/>
                  <a:gd name="T4" fmla="*/ 361 w 385"/>
                  <a:gd name="T5" fmla="*/ 88 h 178"/>
                  <a:gd name="T6" fmla="*/ 333 w 385"/>
                  <a:gd name="T7" fmla="*/ 88 h 178"/>
                  <a:gd name="T8" fmla="*/ 279 w 385"/>
                  <a:gd name="T9" fmla="*/ 71 h 178"/>
                  <a:gd name="T10" fmla="*/ 227 w 385"/>
                  <a:gd name="T11" fmla="*/ 31 h 178"/>
                  <a:gd name="T12" fmla="*/ 209 w 385"/>
                  <a:gd name="T13" fmla="*/ 30 h 178"/>
                  <a:gd name="T14" fmla="*/ 188 w 385"/>
                  <a:gd name="T15" fmla="*/ 14 h 178"/>
                  <a:gd name="T16" fmla="*/ 145 w 385"/>
                  <a:gd name="T17" fmla="*/ 15 h 178"/>
                  <a:gd name="T18" fmla="*/ 117 w 385"/>
                  <a:gd name="T19" fmla="*/ 1 h 178"/>
                  <a:gd name="T20" fmla="*/ 37 w 385"/>
                  <a:gd name="T21" fmla="*/ 0 h 178"/>
                  <a:gd name="T22" fmla="*/ 0 w 385"/>
                  <a:gd name="T23" fmla="*/ 10 h 178"/>
                  <a:gd name="T24" fmla="*/ 7 w 385"/>
                  <a:gd name="T25" fmla="*/ 40 h 178"/>
                  <a:gd name="T26" fmla="*/ 3 w 385"/>
                  <a:gd name="T27" fmla="*/ 55 h 178"/>
                  <a:gd name="T28" fmla="*/ 25 w 385"/>
                  <a:gd name="T29" fmla="*/ 68 h 178"/>
                  <a:gd name="T30" fmla="*/ 74 w 385"/>
                  <a:gd name="T31" fmla="*/ 86 h 178"/>
                  <a:gd name="T32" fmla="*/ 92 w 385"/>
                  <a:gd name="T33" fmla="*/ 62 h 178"/>
                  <a:gd name="T34" fmla="*/ 108 w 385"/>
                  <a:gd name="T35" fmla="*/ 60 h 178"/>
                  <a:gd name="T36" fmla="*/ 135 w 385"/>
                  <a:gd name="T37" fmla="*/ 84 h 178"/>
                  <a:gd name="T38" fmla="*/ 149 w 385"/>
                  <a:gd name="T39" fmla="*/ 114 h 178"/>
                  <a:gd name="T40" fmla="*/ 167 w 385"/>
                  <a:gd name="T41" fmla="*/ 115 h 178"/>
                  <a:gd name="T42" fmla="*/ 186 w 385"/>
                  <a:gd name="T43" fmla="*/ 108 h 178"/>
                  <a:gd name="T44" fmla="*/ 204 w 385"/>
                  <a:gd name="T45" fmla="*/ 145 h 178"/>
                  <a:gd name="T46" fmla="*/ 245 w 385"/>
                  <a:gd name="T47" fmla="*/ 155 h 178"/>
                  <a:gd name="T48" fmla="*/ 284 w 385"/>
                  <a:gd name="T49" fmla="*/ 148 h 178"/>
                  <a:gd name="T50" fmla="*/ 329 w 385"/>
                  <a:gd name="T51" fmla="*/ 167 h 178"/>
                  <a:gd name="T52" fmla="*/ 361 w 385"/>
                  <a:gd name="T53" fmla="*/ 178 h 178"/>
                  <a:gd name="T54" fmla="*/ 378 w 385"/>
                  <a:gd name="T55" fmla="*/ 169 h 178"/>
                  <a:gd name="T56" fmla="*/ 378 w 385"/>
                  <a:gd name="T57" fmla="*/ 169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85" h="178">
                    <a:moveTo>
                      <a:pt x="378" y="169"/>
                    </a:moveTo>
                    <a:lnTo>
                      <a:pt x="385" y="121"/>
                    </a:lnTo>
                    <a:lnTo>
                      <a:pt x="361" y="88"/>
                    </a:lnTo>
                    <a:lnTo>
                      <a:pt x="333" y="88"/>
                    </a:lnTo>
                    <a:lnTo>
                      <a:pt x="279" y="71"/>
                    </a:lnTo>
                    <a:lnTo>
                      <a:pt x="227" y="31"/>
                    </a:lnTo>
                    <a:lnTo>
                      <a:pt x="209" y="30"/>
                    </a:lnTo>
                    <a:lnTo>
                      <a:pt x="188" y="14"/>
                    </a:lnTo>
                    <a:lnTo>
                      <a:pt x="145" y="15"/>
                    </a:lnTo>
                    <a:lnTo>
                      <a:pt x="117" y="1"/>
                    </a:lnTo>
                    <a:lnTo>
                      <a:pt x="37" y="0"/>
                    </a:lnTo>
                    <a:lnTo>
                      <a:pt x="0" y="10"/>
                    </a:lnTo>
                    <a:lnTo>
                      <a:pt x="7" y="40"/>
                    </a:lnTo>
                    <a:lnTo>
                      <a:pt x="3" y="55"/>
                    </a:lnTo>
                    <a:lnTo>
                      <a:pt x="25" y="68"/>
                    </a:lnTo>
                    <a:lnTo>
                      <a:pt x="74" y="86"/>
                    </a:lnTo>
                    <a:lnTo>
                      <a:pt x="92" y="62"/>
                    </a:lnTo>
                    <a:lnTo>
                      <a:pt x="108" y="60"/>
                    </a:lnTo>
                    <a:lnTo>
                      <a:pt x="135" y="84"/>
                    </a:lnTo>
                    <a:lnTo>
                      <a:pt x="149" y="114"/>
                    </a:lnTo>
                    <a:lnTo>
                      <a:pt x="167" y="115"/>
                    </a:lnTo>
                    <a:lnTo>
                      <a:pt x="186" y="108"/>
                    </a:lnTo>
                    <a:lnTo>
                      <a:pt x="204" y="145"/>
                    </a:lnTo>
                    <a:lnTo>
                      <a:pt x="245" y="155"/>
                    </a:lnTo>
                    <a:lnTo>
                      <a:pt x="284" y="148"/>
                    </a:lnTo>
                    <a:lnTo>
                      <a:pt x="329" y="167"/>
                    </a:lnTo>
                    <a:lnTo>
                      <a:pt x="361" y="178"/>
                    </a:lnTo>
                    <a:lnTo>
                      <a:pt x="378" y="169"/>
                    </a:lnTo>
                    <a:lnTo>
                      <a:pt x="378" y="16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63" name="îśľiḍê"/>
              <p:cNvSpPr/>
              <p:nvPr/>
            </p:nvSpPr>
            <p:spPr bwMode="auto">
              <a:xfrm>
                <a:off x="1131049" y="1252506"/>
                <a:ext cx="29875" cy="14288"/>
              </a:xfrm>
              <a:custGeom>
                <a:avLst/>
                <a:gdLst>
                  <a:gd name="T0" fmla="*/ 103 w 182"/>
                  <a:gd name="T1" fmla="*/ 93 h 93"/>
                  <a:gd name="T2" fmla="*/ 103 w 182"/>
                  <a:gd name="T3" fmla="*/ 93 h 93"/>
                  <a:gd name="T4" fmla="*/ 99 w 182"/>
                  <a:gd name="T5" fmla="*/ 92 h 93"/>
                  <a:gd name="T6" fmla="*/ 92 w 182"/>
                  <a:gd name="T7" fmla="*/ 88 h 93"/>
                  <a:gd name="T8" fmla="*/ 83 w 182"/>
                  <a:gd name="T9" fmla="*/ 82 h 93"/>
                  <a:gd name="T10" fmla="*/ 62 w 182"/>
                  <a:gd name="T11" fmla="*/ 68 h 93"/>
                  <a:gd name="T12" fmla="*/ 26 w 182"/>
                  <a:gd name="T13" fmla="*/ 71 h 93"/>
                  <a:gd name="T14" fmla="*/ 4 w 182"/>
                  <a:gd name="T15" fmla="*/ 44 h 93"/>
                  <a:gd name="T16" fmla="*/ 0 w 182"/>
                  <a:gd name="T17" fmla="*/ 28 h 93"/>
                  <a:gd name="T18" fmla="*/ 20 w 182"/>
                  <a:gd name="T19" fmla="*/ 16 h 93"/>
                  <a:gd name="T20" fmla="*/ 56 w 182"/>
                  <a:gd name="T21" fmla="*/ 5 h 93"/>
                  <a:gd name="T22" fmla="*/ 95 w 182"/>
                  <a:gd name="T23" fmla="*/ 11 h 93"/>
                  <a:gd name="T24" fmla="*/ 109 w 182"/>
                  <a:gd name="T25" fmla="*/ 0 h 93"/>
                  <a:gd name="T26" fmla="*/ 126 w 182"/>
                  <a:gd name="T27" fmla="*/ 32 h 93"/>
                  <a:gd name="T28" fmla="*/ 147 w 182"/>
                  <a:gd name="T29" fmla="*/ 33 h 93"/>
                  <a:gd name="T30" fmla="*/ 156 w 182"/>
                  <a:gd name="T31" fmla="*/ 24 h 93"/>
                  <a:gd name="T32" fmla="*/ 174 w 182"/>
                  <a:gd name="T33" fmla="*/ 29 h 93"/>
                  <a:gd name="T34" fmla="*/ 182 w 182"/>
                  <a:gd name="T35" fmla="*/ 48 h 93"/>
                  <a:gd name="T36" fmla="*/ 174 w 182"/>
                  <a:gd name="T37" fmla="*/ 63 h 93"/>
                  <a:gd name="T38" fmla="*/ 103 w 182"/>
                  <a:gd name="T39" fmla="*/ 93 h 93"/>
                  <a:gd name="T40" fmla="*/ 103 w 182"/>
                  <a:gd name="T41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2" h="93">
                    <a:moveTo>
                      <a:pt x="103" y="93"/>
                    </a:moveTo>
                    <a:lnTo>
                      <a:pt x="103" y="93"/>
                    </a:lnTo>
                    <a:lnTo>
                      <a:pt x="99" y="92"/>
                    </a:lnTo>
                    <a:lnTo>
                      <a:pt x="92" y="88"/>
                    </a:lnTo>
                    <a:lnTo>
                      <a:pt x="83" y="82"/>
                    </a:lnTo>
                    <a:lnTo>
                      <a:pt x="62" y="68"/>
                    </a:lnTo>
                    <a:lnTo>
                      <a:pt x="26" y="71"/>
                    </a:lnTo>
                    <a:lnTo>
                      <a:pt x="4" y="44"/>
                    </a:lnTo>
                    <a:lnTo>
                      <a:pt x="0" y="28"/>
                    </a:lnTo>
                    <a:lnTo>
                      <a:pt x="20" y="16"/>
                    </a:lnTo>
                    <a:lnTo>
                      <a:pt x="56" y="5"/>
                    </a:lnTo>
                    <a:lnTo>
                      <a:pt x="95" y="11"/>
                    </a:lnTo>
                    <a:lnTo>
                      <a:pt x="109" y="0"/>
                    </a:lnTo>
                    <a:lnTo>
                      <a:pt x="126" y="32"/>
                    </a:lnTo>
                    <a:lnTo>
                      <a:pt x="147" y="33"/>
                    </a:lnTo>
                    <a:lnTo>
                      <a:pt x="156" y="24"/>
                    </a:lnTo>
                    <a:lnTo>
                      <a:pt x="174" y="29"/>
                    </a:lnTo>
                    <a:lnTo>
                      <a:pt x="182" y="48"/>
                    </a:lnTo>
                    <a:lnTo>
                      <a:pt x="174" y="63"/>
                    </a:lnTo>
                    <a:lnTo>
                      <a:pt x="103" y="93"/>
                    </a:lnTo>
                    <a:lnTo>
                      <a:pt x="103" y="93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64" name="íṩlïḍé"/>
              <p:cNvSpPr/>
              <p:nvPr/>
            </p:nvSpPr>
            <p:spPr bwMode="auto">
              <a:xfrm>
                <a:off x="1125854" y="1283680"/>
                <a:ext cx="10391" cy="15587"/>
              </a:xfrm>
              <a:custGeom>
                <a:avLst/>
                <a:gdLst>
                  <a:gd name="T0" fmla="*/ 58 w 58"/>
                  <a:gd name="T1" fmla="*/ 85 h 96"/>
                  <a:gd name="T2" fmla="*/ 39 w 58"/>
                  <a:gd name="T3" fmla="*/ 56 h 96"/>
                  <a:gd name="T4" fmla="*/ 37 w 58"/>
                  <a:gd name="T5" fmla="*/ 8 h 96"/>
                  <a:gd name="T6" fmla="*/ 18 w 58"/>
                  <a:gd name="T7" fmla="*/ 0 h 96"/>
                  <a:gd name="T8" fmla="*/ 11 w 58"/>
                  <a:gd name="T9" fmla="*/ 51 h 96"/>
                  <a:gd name="T10" fmla="*/ 0 w 58"/>
                  <a:gd name="T11" fmla="*/ 62 h 96"/>
                  <a:gd name="T12" fmla="*/ 13 w 58"/>
                  <a:gd name="T13" fmla="*/ 83 h 96"/>
                  <a:gd name="T14" fmla="*/ 44 w 58"/>
                  <a:gd name="T15" fmla="*/ 96 h 96"/>
                  <a:gd name="T16" fmla="*/ 58 w 58"/>
                  <a:gd name="T17" fmla="*/ 85 h 96"/>
                  <a:gd name="T18" fmla="*/ 58 w 58"/>
                  <a:gd name="T19" fmla="*/ 85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96">
                    <a:moveTo>
                      <a:pt x="58" y="85"/>
                    </a:moveTo>
                    <a:lnTo>
                      <a:pt x="39" y="56"/>
                    </a:lnTo>
                    <a:lnTo>
                      <a:pt x="37" y="8"/>
                    </a:lnTo>
                    <a:lnTo>
                      <a:pt x="18" y="0"/>
                    </a:lnTo>
                    <a:lnTo>
                      <a:pt x="11" y="51"/>
                    </a:lnTo>
                    <a:lnTo>
                      <a:pt x="0" y="62"/>
                    </a:lnTo>
                    <a:lnTo>
                      <a:pt x="13" y="83"/>
                    </a:lnTo>
                    <a:lnTo>
                      <a:pt x="44" y="96"/>
                    </a:lnTo>
                    <a:lnTo>
                      <a:pt x="58" y="85"/>
                    </a:lnTo>
                    <a:lnTo>
                      <a:pt x="58" y="85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65" name="ï$ľiḓé"/>
              <p:cNvSpPr/>
              <p:nvPr/>
            </p:nvSpPr>
            <p:spPr bwMode="auto">
              <a:xfrm>
                <a:off x="1136244" y="1281083"/>
                <a:ext cx="9093" cy="14288"/>
              </a:xfrm>
              <a:custGeom>
                <a:avLst/>
                <a:gdLst>
                  <a:gd name="T0" fmla="*/ 31 w 56"/>
                  <a:gd name="T1" fmla="*/ 83 h 87"/>
                  <a:gd name="T2" fmla="*/ 47 w 56"/>
                  <a:gd name="T3" fmla="*/ 87 h 87"/>
                  <a:gd name="T4" fmla="*/ 56 w 56"/>
                  <a:gd name="T5" fmla="*/ 67 h 87"/>
                  <a:gd name="T6" fmla="*/ 43 w 56"/>
                  <a:gd name="T7" fmla="*/ 36 h 87"/>
                  <a:gd name="T8" fmla="*/ 19 w 56"/>
                  <a:gd name="T9" fmla="*/ 0 h 87"/>
                  <a:gd name="T10" fmla="*/ 0 w 56"/>
                  <a:gd name="T11" fmla="*/ 3 h 87"/>
                  <a:gd name="T12" fmla="*/ 0 w 56"/>
                  <a:gd name="T13" fmla="*/ 36 h 87"/>
                  <a:gd name="T14" fmla="*/ 31 w 56"/>
                  <a:gd name="T15" fmla="*/ 83 h 87"/>
                  <a:gd name="T16" fmla="*/ 31 w 56"/>
                  <a:gd name="T17" fmla="*/ 83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87">
                    <a:moveTo>
                      <a:pt x="31" y="83"/>
                    </a:moveTo>
                    <a:lnTo>
                      <a:pt x="47" y="87"/>
                    </a:lnTo>
                    <a:lnTo>
                      <a:pt x="56" y="67"/>
                    </a:lnTo>
                    <a:lnTo>
                      <a:pt x="43" y="36"/>
                    </a:lnTo>
                    <a:lnTo>
                      <a:pt x="19" y="0"/>
                    </a:lnTo>
                    <a:lnTo>
                      <a:pt x="0" y="3"/>
                    </a:lnTo>
                    <a:lnTo>
                      <a:pt x="0" y="36"/>
                    </a:lnTo>
                    <a:lnTo>
                      <a:pt x="31" y="83"/>
                    </a:lnTo>
                    <a:lnTo>
                      <a:pt x="31" y="83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66" name="ïşlîḍè"/>
              <p:cNvSpPr/>
              <p:nvPr/>
            </p:nvSpPr>
            <p:spPr bwMode="auto">
              <a:xfrm>
                <a:off x="1147935" y="1282383"/>
                <a:ext cx="10391" cy="7793"/>
              </a:xfrm>
              <a:custGeom>
                <a:avLst/>
                <a:gdLst>
                  <a:gd name="T0" fmla="*/ 26 w 62"/>
                  <a:gd name="T1" fmla="*/ 41 h 51"/>
                  <a:gd name="T2" fmla="*/ 26 w 62"/>
                  <a:gd name="T3" fmla="*/ 41 h 51"/>
                  <a:gd name="T4" fmla="*/ 29 w 62"/>
                  <a:gd name="T5" fmla="*/ 43 h 51"/>
                  <a:gd name="T6" fmla="*/ 40 w 62"/>
                  <a:gd name="T7" fmla="*/ 47 h 51"/>
                  <a:gd name="T8" fmla="*/ 58 w 62"/>
                  <a:gd name="T9" fmla="*/ 51 h 51"/>
                  <a:gd name="T10" fmla="*/ 62 w 62"/>
                  <a:gd name="T11" fmla="*/ 35 h 51"/>
                  <a:gd name="T12" fmla="*/ 39 w 62"/>
                  <a:gd name="T13" fmla="*/ 7 h 51"/>
                  <a:gd name="T14" fmla="*/ 11 w 62"/>
                  <a:gd name="T15" fmla="*/ 0 h 51"/>
                  <a:gd name="T16" fmla="*/ 0 w 62"/>
                  <a:gd name="T17" fmla="*/ 12 h 51"/>
                  <a:gd name="T18" fmla="*/ 26 w 62"/>
                  <a:gd name="T19" fmla="*/ 41 h 51"/>
                  <a:gd name="T20" fmla="*/ 26 w 62"/>
                  <a:gd name="T21" fmla="*/ 4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51">
                    <a:moveTo>
                      <a:pt x="26" y="41"/>
                    </a:moveTo>
                    <a:lnTo>
                      <a:pt x="26" y="41"/>
                    </a:lnTo>
                    <a:lnTo>
                      <a:pt x="29" y="43"/>
                    </a:lnTo>
                    <a:lnTo>
                      <a:pt x="40" y="47"/>
                    </a:lnTo>
                    <a:lnTo>
                      <a:pt x="58" y="51"/>
                    </a:lnTo>
                    <a:lnTo>
                      <a:pt x="62" y="35"/>
                    </a:lnTo>
                    <a:lnTo>
                      <a:pt x="39" y="7"/>
                    </a:lnTo>
                    <a:lnTo>
                      <a:pt x="11" y="0"/>
                    </a:lnTo>
                    <a:lnTo>
                      <a:pt x="0" y="12"/>
                    </a:lnTo>
                    <a:lnTo>
                      <a:pt x="26" y="41"/>
                    </a:lnTo>
                    <a:lnTo>
                      <a:pt x="26" y="41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67" name="îSḻîďe"/>
              <p:cNvSpPr/>
              <p:nvPr/>
            </p:nvSpPr>
            <p:spPr bwMode="auto">
              <a:xfrm>
                <a:off x="1147935" y="1290175"/>
                <a:ext cx="6495" cy="12989"/>
              </a:xfrm>
              <a:custGeom>
                <a:avLst/>
                <a:gdLst>
                  <a:gd name="T0" fmla="*/ 21 w 44"/>
                  <a:gd name="T1" fmla="*/ 77 h 77"/>
                  <a:gd name="T2" fmla="*/ 35 w 44"/>
                  <a:gd name="T3" fmla="*/ 67 h 77"/>
                  <a:gd name="T4" fmla="*/ 44 w 44"/>
                  <a:gd name="T5" fmla="*/ 31 h 77"/>
                  <a:gd name="T6" fmla="*/ 42 w 44"/>
                  <a:gd name="T7" fmla="*/ 11 h 77"/>
                  <a:gd name="T8" fmla="*/ 14 w 44"/>
                  <a:gd name="T9" fmla="*/ 0 h 77"/>
                  <a:gd name="T10" fmla="*/ 7 w 44"/>
                  <a:gd name="T11" fmla="*/ 15 h 77"/>
                  <a:gd name="T12" fmla="*/ 9 w 44"/>
                  <a:gd name="T13" fmla="*/ 34 h 77"/>
                  <a:gd name="T14" fmla="*/ 0 w 44"/>
                  <a:gd name="T15" fmla="*/ 56 h 77"/>
                  <a:gd name="T16" fmla="*/ 21 w 44"/>
                  <a:gd name="T17" fmla="*/ 77 h 77"/>
                  <a:gd name="T18" fmla="*/ 21 w 44"/>
                  <a:gd name="T19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77">
                    <a:moveTo>
                      <a:pt x="21" y="77"/>
                    </a:moveTo>
                    <a:lnTo>
                      <a:pt x="35" y="67"/>
                    </a:lnTo>
                    <a:lnTo>
                      <a:pt x="44" y="31"/>
                    </a:lnTo>
                    <a:lnTo>
                      <a:pt x="42" y="11"/>
                    </a:lnTo>
                    <a:lnTo>
                      <a:pt x="14" y="0"/>
                    </a:lnTo>
                    <a:lnTo>
                      <a:pt x="7" y="15"/>
                    </a:lnTo>
                    <a:lnTo>
                      <a:pt x="9" y="34"/>
                    </a:lnTo>
                    <a:lnTo>
                      <a:pt x="0" y="56"/>
                    </a:lnTo>
                    <a:lnTo>
                      <a:pt x="21" y="77"/>
                    </a:lnTo>
                    <a:lnTo>
                      <a:pt x="21" y="77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68" name="ïṣlîḋe"/>
              <p:cNvSpPr/>
              <p:nvPr/>
            </p:nvSpPr>
            <p:spPr bwMode="auto">
              <a:xfrm>
                <a:off x="1124555" y="1307062"/>
                <a:ext cx="19484" cy="20783"/>
              </a:xfrm>
              <a:custGeom>
                <a:avLst/>
                <a:gdLst>
                  <a:gd name="T0" fmla="*/ 115 w 115"/>
                  <a:gd name="T1" fmla="*/ 59 h 123"/>
                  <a:gd name="T2" fmla="*/ 108 w 115"/>
                  <a:gd name="T3" fmla="*/ 29 h 123"/>
                  <a:gd name="T4" fmla="*/ 84 w 115"/>
                  <a:gd name="T5" fmla="*/ 30 h 123"/>
                  <a:gd name="T6" fmla="*/ 57 w 115"/>
                  <a:gd name="T7" fmla="*/ 0 h 123"/>
                  <a:gd name="T8" fmla="*/ 37 w 115"/>
                  <a:gd name="T9" fmla="*/ 1 h 123"/>
                  <a:gd name="T10" fmla="*/ 13 w 115"/>
                  <a:gd name="T11" fmla="*/ 17 h 123"/>
                  <a:gd name="T12" fmla="*/ 29 w 115"/>
                  <a:gd name="T13" fmla="*/ 44 h 123"/>
                  <a:gd name="T14" fmla="*/ 29 w 115"/>
                  <a:gd name="T15" fmla="*/ 68 h 123"/>
                  <a:gd name="T16" fmla="*/ 0 w 115"/>
                  <a:gd name="T17" fmla="*/ 91 h 123"/>
                  <a:gd name="T18" fmla="*/ 15 w 115"/>
                  <a:gd name="T19" fmla="*/ 111 h 123"/>
                  <a:gd name="T20" fmla="*/ 65 w 115"/>
                  <a:gd name="T21" fmla="*/ 123 h 123"/>
                  <a:gd name="T22" fmla="*/ 100 w 115"/>
                  <a:gd name="T23" fmla="*/ 98 h 123"/>
                  <a:gd name="T24" fmla="*/ 115 w 115"/>
                  <a:gd name="T25" fmla="*/ 59 h 123"/>
                  <a:gd name="T26" fmla="*/ 115 w 115"/>
                  <a:gd name="T27" fmla="*/ 59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23">
                    <a:moveTo>
                      <a:pt x="115" y="59"/>
                    </a:moveTo>
                    <a:lnTo>
                      <a:pt x="108" y="29"/>
                    </a:lnTo>
                    <a:lnTo>
                      <a:pt x="84" y="30"/>
                    </a:lnTo>
                    <a:lnTo>
                      <a:pt x="57" y="0"/>
                    </a:lnTo>
                    <a:lnTo>
                      <a:pt x="37" y="1"/>
                    </a:lnTo>
                    <a:lnTo>
                      <a:pt x="13" y="17"/>
                    </a:lnTo>
                    <a:lnTo>
                      <a:pt x="29" y="44"/>
                    </a:lnTo>
                    <a:lnTo>
                      <a:pt x="29" y="68"/>
                    </a:lnTo>
                    <a:lnTo>
                      <a:pt x="0" y="91"/>
                    </a:lnTo>
                    <a:lnTo>
                      <a:pt x="15" y="111"/>
                    </a:lnTo>
                    <a:lnTo>
                      <a:pt x="65" y="123"/>
                    </a:lnTo>
                    <a:lnTo>
                      <a:pt x="100" y="98"/>
                    </a:lnTo>
                    <a:lnTo>
                      <a:pt x="115" y="59"/>
                    </a:lnTo>
                    <a:lnTo>
                      <a:pt x="115" y="5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69" name="íşḻídê"/>
              <p:cNvSpPr/>
              <p:nvPr/>
            </p:nvSpPr>
            <p:spPr bwMode="auto">
              <a:xfrm>
                <a:off x="1147935" y="1308361"/>
                <a:ext cx="5196" cy="10391"/>
              </a:xfrm>
              <a:custGeom>
                <a:avLst/>
                <a:gdLst>
                  <a:gd name="T0" fmla="*/ 0 w 35"/>
                  <a:gd name="T1" fmla="*/ 0 h 65"/>
                  <a:gd name="T2" fmla="*/ 2 w 35"/>
                  <a:gd name="T3" fmla="*/ 27 h 65"/>
                  <a:gd name="T4" fmla="*/ 13 w 35"/>
                  <a:gd name="T5" fmla="*/ 57 h 65"/>
                  <a:gd name="T6" fmla="*/ 34 w 35"/>
                  <a:gd name="T7" fmla="*/ 65 h 65"/>
                  <a:gd name="T8" fmla="*/ 35 w 35"/>
                  <a:gd name="T9" fmla="*/ 33 h 65"/>
                  <a:gd name="T10" fmla="*/ 21 w 35"/>
                  <a:gd name="T11" fmla="*/ 7 h 65"/>
                  <a:gd name="T12" fmla="*/ 0 w 35"/>
                  <a:gd name="T13" fmla="*/ 0 h 65"/>
                  <a:gd name="T14" fmla="*/ 0 w 35"/>
                  <a:gd name="T15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65">
                    <a:moveTo>
                      <a:pt x="0" y="0"/>
                    </a:moveTo>
                    <a:lnTo>
                      <a:pt x="2" y="27"/>
                    </a:lnTo>
                    <a:lnTo>
                      <a:pt x="13" y="57"/>
                    </a:lnTo>
                    <a:lnTo>
                      <a:pt x="34" y="65"/>
                    </a:lnTo>
                    <a:lnTo>
                      <a:pt x="35" y="33"/>
                    </a:lnTo>
                    <a:lnTo>
                      <a:pt x="21" y="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70" name="íŝ1ïde"/>
              <p:cNvSpPr/>
              <p:nvPr/>
            </p:nvSpPr>
            <p:spPr bwMode="auto">
              <a:xfrm>
                <a:off x="1192098" y="1231724"/>
                <a:ext cx="12989" cy="15587"/>
              </a:xfrm>
              <a:custGeom>
                <a:avLst/>
                <a:gdLst>
                  <a:gd name="T0" fmla="*/ 0 w 80"/>
                  <a:gd name="T1" fmla="*/ 89 h 100"/>
                  <a:gd name="T2" fmla="*/ 1 w 80"/>
                  <a:gd name="T3" fmla="*/ 66 h 100"/>
                  <a:gd name="T4" fmla="*/ 14 w 80"/>
                  <a:gd name="T5" fmla="*/ 52 h 100"/>
                  <a:gd name="T6" fmla="*/ 26 w 80"/>
                  <a:gd name="T7" fmla="*/ 14 h 100"/>
                  <a:gd name="T8" fmla="*/ 43 w 80"/>
                  <a:gd name="T9" fmla="*/ 0 h 100"/>
                  <a:gd name="T10" fmla="*/ 57 w 80"/>
                  <a:gd name="T11" fmla="*/ 2 h 100"/>
                  <a:gd name="T12" fmla="*/ 75 w 80"/>
                  <a:gd name="T13" fmla="*/ 31 h 100"/>
                  <a:gd name="T14" fmla="*/ 80 w 80"/>
                  <a:gd name="T15" fmla="*/ 54 h 100"/>
                  <a:gd name="T16" fmla="*/ 66 w 80"/>
                  <a:gd name="T17" fmla="*/ 64 h 100"/>
                  <a:gd name="T18" fmla="*/ 62 w 80"/>
                  <a:gd name="T19" fmla="*/ 86 h 100"/>
                  <a:gd name="T20" fmla="*/ 45 w 80"/>
                  <a:gd name="T21" fmla="*/ 100 h 100"/>
                  <a:gd name="T22" fmla="*/ 14 w 80"/>
                  <a:gd name="T23" fmla="*/ 100 h 100"/>
                  <a:gd name="T24" fmla="*/ 0 w 80"/>
                  <a:gd name="T25" fmla="*/ 89 h 100"/>
                  <a:gd name="T26" fmla="*/ 0 w 80"/>
                  <a:gd name="T27" fmla="*/ 89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0" h="100">
                    <a:moveTo>
                      <a:pt x="0" y="89"/>
                    </a:moveTo>
                    <a:lnTo>
                      <a:pt x="1" y="66"/>
                    </a:lnTo>
                    <a:lnTo>
                      <a:pt x="14" y="52"/>
                    </a:lnTo>
                    <a:lnTo>
                      <a:pt x="26" y="14"/>
                    </a:lnTo>
                    <a:lnTo>
                      <a:pt x="43" y="0"/>
                    </a:lnTo>
                    <a:lnTo>
                      <a:pt x="57" y="2"/>
                    </a:lnTo>
                    <a:lnTo>
                      <a:pt x="75" y="31"/>
                    </a:lnTo>
                    <a:lnTo>
                      <a:pt x="80" y="54"/>
                    </a:lnTo>
                    <a:lnTo>
                      <a:pt x="66" y="64"/>
                    </a:lnTo>
                    <a:lnTo>
                      <a:pt x="62" y="86"/>
                    </a:lnTo>
                    <a:lnTo>
                      <a:pt x="45" y="100"/>
                    </a:lnTo>
                    <a:lnTo>
                      <a:pt x="14" y="100"/>
                    </a:lnTo>
                    <a:lnTo>
                      <a:pt x="0" y="89"/>
                    </a:lnTo>
                    <a:lnTo>
                      <a:pt x="0" y="8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71" name="iśḷîďe"/>
              <p:cNvSpPr/>
              <p:nvPr/>
            </p:nvSpPr>
            <p:spPr bwMode="auto">
              <a:xfrm>
                <a:off x="1159624" y="1300567"/>
                <a:ext cx="12989" cy="11691"/>
              </a:xfrm>
              <a:custGeom>
                <a:avLst/>
                <a:gdLst>
                  <a:gd name="T0" fmla="*/ 0 w 80"/>
                  <a:gd name="T1" fmla="*/ 39 h 71"/>
                  <a:gd name="T2" fmla="*/ 9 w 80"/>
                  <a:gd name="T3" fmla="*/ 61 h 71"/>
                  <a:gd name="T4" fmla="*/ 44 w 80"/>
                  <a:gd name="T5" fmla="*/ 71 h 71"/>
                  <a:gd name="T6" fmla="*/ 70 w 80"/>
                  <a:gd name="T7" fmla="*/ 66 h 71"/>
                  <a:gd name="T8" fmla="*/ 80 w 80"/>
                  <a:gd name="T9" fmla="*/ 47 h 71"/>
                  <a:gd name="T10" fmla="*/ 75 w 80"/>
                  <a:gd name="T11" fmla="*/ 20 h 71"/>
                  <a:gd name="T12" fmla="*/ 61 w 80"/>
                  <a:gd name="T13" fmla="*/ 0 h 71"/>
                  <a:gd name="T14" fmla="*/ 43 w 80"/>
                  <a:gd name="T15" fmla="*/ 6 h 71"/>
                  <a:gd name="T16" fmla="*/ 24 w 80"/>
                  <a:gd name="T17" fmla="*/ 32 h 71"/>
                  <a:gd name="T18" fmla="*/ 0 w 80"/>
                  <a:gd name="T19" fmla="*/ 39 h 71"/>
                  <a:gd name="T20" fmla="*/ 0 w 80"/>
                  <a:gd name="T21" fmla="*/ 3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0" h="71">
                    <a:moveTo>
                      <a:pt x="0" y="39"/>
                    </a:moveTo>
                    <a:lnTo>
                      <a:pt x="9" y="61"/>
                    </a:lnTo>
                    <a:lnTo>
                      <a:pt x="44" y="71"/>
                    </a:lnTo>
                    <a:lnTo>
                      <a:pt x="70" y="66"/>
                    </a:lnTo>
                    <a:lnTo>
                      <a:pt x="80" y="47"/>
                    </a:lnTo>
                    <a:lnTo>
                      <a:pt x="75" y="20"/>
                    </a:lnTo>
                    <a:lnTo>
                      <a:pt x="61" y="0"/>
                    </a:lnTo>
                    <a:lnTo>
                      <a:pt x="43" y="6"/>
                    </a:lnTo>
                    <a:lnTo>
                      <a:pt x="24" y="32"/>
                    </a:lnTo>
                    <a:lnTo>
                      <a:pt x="0" y="39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72" name="íSḻiḍè"/>
              <p:cNvSpPr/>
              <p:nvPr/>
            </p:nvSpPr>
            <p:spPr bwMode="auto">
              <a:xfrm>
                <a:off x="1162224" y="1288877"/>
                <a:ext cx="3897" cy="7793"/>
              </a:xfrm>
              <a:custGeom>
                <a:avLst/>
                <a:gdLst>
                  <a:gd name="T0" fmla="*/ 0 w 28"/>
                  <a:gd name="T1" fmla="*/ 47 h 47"/>
                  <a:gd name="T2" fmla="*/ 14 w 28"/>
                  <a:gd name="T3" fmla="*/ 43 h 47"/>
                  <a:gd name="T4" fmla="*/ 26 w 28"/>
                  <a:gd name="T5" fmla="*/ 23 h 47"/>
                  <a:gd name="T6" fmla="*/ 28 w 28"/>
                  <a:gd name="T7" fmla="*/ 0 h 47"/>
                  <a:gd name="T8" fmla="*/ 8 w 28"/>
                  <a:gd name="T9" fmla="*/ 12 h 47"/>
                  <a:gd name="T10" fmla="*/ 0 w 28"/>
                  <a:gd name="T11" fmla="*/ 47 h 47"/>
                  <a:gd name="T12" fmla="*/ 0 w 28"/>
                  <a:gd name="T13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47">
                    <a:moveTo>
                      <a:pt x="0" y="47"/>
                    </a:moveTo>
                    <a:lnTo>
                      <a:pt x="14" y="43"/>
                    </a:lnTo>
                    <a:lnTo>
                      <a:pt x="26" y="23"/>
                    </a:lnTo>
                    <a:lnTo>
                      <a:pt x="28" y="0"/>
                    </a:lnTo>
                    <a:lnTo>
                      <a:pt x="8" y="12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73" name="iṣļiďê"/>
              <p:cNvSpPr/>
              <p:nvPr/>
            </p:nvSpPr>
            <p:spPr bwMode="auto">
              <a:xfrm>
                <a:off x="1170018" y="1288877"/>
                <a:ext cx="10391" cy="6495"/>
              </a:xfrm>
              <a:custGeom>
                <a:avLst/>
                <a:gdLst>
                  <a:gd name="T0" fmla="*/ 0 w 60"/>
                  <a:gd name="T1" fmla="*/ 22 h 40"/>
                  <a:gd name="T2" fmla="*/ 4 w 60"/>
                  <a:gd name="T3" fmla="*/ 34 h 40"/>
                  <a:gd name="T4" fmla="*/ 25 w 60"/>
                  <a:gd name="T5" fmla="*/ 40 h 40"/>
                  <a:gd name="T6" fmla="*/ 50 w 60"/>
                  <a:gd name="T7" fmla="*/ 32 h 40"/>
                  <a:gd name="T8" fmla="*/ 60 w 60"/>
                  <a:gd name="T9" fmla="*/ 14 h 40"/>
                  <a:gd name="T10" fmla="*/ 49 w 60"/>
                  <a:gd name="T11" fmla="*/ 0 h 40"/>
                  <a:gd name="T12" fmla="*/ 26 w 60"/>
                  <a:gd name="T13" fmla="*/ 1 h 40"/>
                  <a:gd name="T14" fmla="*/ 19 w 60"/>
                  <a:gd name="T15" fmla="*/ 14 h 40"/>
                  <a:gd name="T16" fmla="*/ 0 w 60"/>
                  <a:gd name="T17" fmla="*/ 22 h 40"/>
                  <a:gd name="T18" fmla="*/ 0 w 60"/>
                  <a:gd name="T19" fmla="*/ 2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0">
                    <a:moveTo>
                      <a:pt x="0" y="22"/>
                    </a:moveTo>
                    <a:lnTo>
                      <a:pt x="4" y="34"/>
                    </a:lnTo>
                    <a:lnTo>
                      <a:pt x="25" y="40"/>
                    </a:lnTo>
                    <a:lnTo>
                      <a:pt x="50" y="32"/>
                    </a:lnTo>
                    <a:lnTo>
                      <a:pt x="60" y="14"/>
                    </a:lnTo>
                    <a:lnTo>
                      <a:pt x="49" y="0"/>
                    </a:lnTo>
                    <a:lnTo>
                      <a:pt x="26" y="1"/>
                    </a:lnTo>
                    <a:lnTo>
                      <a:pt x="19" y="14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74" name="í$1íḑê"/>
              <p:cNvSpPr/>
              <p:nvPr/>
            </p:nvSpPr>
            <p:spPr bwMode="auto">
              <a:xfrm>
                <a:off x="1160924" y="1257703"/>
                <a:ext cx="22083" cy="15587"/>
              </a:xfrm>
              <a:custGeom>
                <a:avLst/>
                <a:gdLst>
                  <a:gd name="T0" fmla="*/ 65 w 140"/>
                  <a:gd name="T1" fmla="*/ 71 h 96"/>
                  <a:gd name="T2" fmla="*/ 46 w 140"/>
                  <a:gd name="T3" fmla="*/ 95 h 96"/>
                  <a:gd name="T4" fmla="*/ 22 w 140"/>
                  <a:gd name="T5" fmla="*/ 96 h 96"/>
                  <a:gd name="T6" fmla="*/ 3 w 140"/>
                  <a:gd name="T7" fmla="*/ 82 h 96"/>
                  <a:gd name="T8" fmla="*/ 0 w 140"/>
                  <a:gd name="T9" fmla="*/ 46 h 96"/>
                  <a:gd name="T10" fmla="*/ 29 w 140"/>
                  <a:gd name="T11" fmla="*/ 12 h 96"/>
                  <a:gd name="T12" fmla="*/ 68 w 140"/>
                  <a:gd name="T13" fmla="*/ 0 h 96"/>
                  <a:gd name="T14" fmla="*/ 94 w 140"/>
                  <a:gd name="T15" fmla="*/ 7 h 96"/>
                  <a:gd name="T16" fmla="*/ 109 w 140"/>
                  <a:gd name="T17" fmla="*/ 26 h 96"/>
                  <a:gd name="T18" fmla="*/ 140 w 140"/>
                  <a:gd name="T19" fmla="*/ 38 h 96"/>
                  <a:gd name="T20" fmla="*/ 140 w 140"/>
                  <a:gd name="T21" fmla="*/ 65 h 96"/>
                  <a:gd name="T22" fmla="*/ 124 w 140"/>
                  <a:gd name="T23" fmla="*/ 80 h 96"/>
                  <a:gd name="T24" fmla="*/ 87 w 140"/>
                  <a:gd name="T25" fmla="*/ 80 h 96"/>
                  <a:gd name="T26" fmla="*/ 65 w 140"/>
                  <a:gd name="T27" fmla="*/ 71 h 96"/>
                  <a:gd name="T28" fmla="*/ 65 w 140"/>
                  <a:gd name="T29" fmla="*/ 71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0" h="96">
                    <a:moveTo>
                      <a:pt x="65" y="71"/>
                    </a:moveTo>
                    <a:lnTo>
                      <a:pt x="46" y="95"/>
                    </a:lnTo>
                    <a:lnTo>
                      <a:pt x="22" y="96"/>
                    </a:lnTo>
                    <a:lnTo>
                      <a:pt x="3" y="82"/>
                    </a:lnTo>
                    <a:lnTo>
                      <a:pt x="0" y="46"/>
                    </a:lnTo>
                    <a:lnTo>
                      <a:pt x="29" y="12"/>
                    </a:lnTo>
                    <a:lnTo>
                      <a:pt x="68" y="0"/>
                    </a:lnTo>
                    <a:lnTo>
                      <a:pt x="94" y="7"/>
                    </a:lnTo>
                    <a:lnTo>
                      <a:pt x="109" y="26"/>
                    </a:lnTo>
                    <a:lnTo>
                      <a:pt x="140" y="38"/>
                    </a:lnTo>
                    <a:lnTo>
                      <a:pt x="140" y="65"/>
                    </a:lnTo>
                    <a:lnTo>
                      <a:pt x="124" y="80"/>
                    </a:lnTo>
                    <a:lnTo>
                      <a:pt x="87" y="80"/>
                    </a:lnTo>
                    <a:lnTo>
                      <a:pt x="65" y="71"/>
                    </a:lnTo>
                    <a:lnTo>
                      <a:pt x="65" y="71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75" name="îṩḷíḋé"/>
              <p:cNvSpPr/>
              <p:nvPr/>
            </p:nvSpPr>
            <p:spPr bwMode="auto">
              <a:xfrm>
                <a:off x="1192098" y="1262899"/>
                <a:ext cx="12989" cy="9093"/>
              </a:xfrm>
              <a:custGeom>
                <a:avLst/>
                <a:gdLst>
                  <a:gd name="T0" fmla="*/ 0 w 80"/>
                  <a:gd name="T1" fmla="*/ 28 h 57"/>
                  <a:gd name="T2" fmla="*/ 25 w 80"/>
                  <a:gd name="T3" fmla="*/ 52 h 57"/>
                  <a:gd name="T4" fmla="*/ 49 w 80"/>
                  <a:gd name="T5" fmla="*/ 57 h 57"/>
                  <a:gd name="T6" fmla="*/ 75 w 80"/>
                  <a:gd name="T7" fmla="*/ 39 h 57"/>
                  <a:gd name="T8" fmla="*/ 80 w 80"/>
                  <a:gd name="T9" fmla="*/ 17 h 57"/>
                  <a:gd name="T10" fmla="*/ 63 w 80"/>
                  <a:gd name="T11" fmla="*/ 0 h 57"/>
                  <a:gd name="T12" fmla="*/ 44 w 80"/>
                  <a:gd name="T13" fmla="*/ 6 h 57"/>
                  <a:gd name="T14" fmla="*/ 27 w 80"/>
                  <a:gd name="T15" fmla="*/ 28 h 57"/>
                  <a:gd name="T16" fmla="*/ 0 w 80"/>
                  <a:gd name="T17" fmla="*/ 28 h 57"/>
                  <a:gd name="T18" fmla="*/ 0 w 80"/>
                  <a:gd name="T19" fmla="*/ 2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57">
                    <a:moveTo>
                      <a:pt x="0" y="28"/>
                    </a:moveTo>
                    <a:lnTo>
                      <a:pt x="25" y="52"/>
                    </a:lnTo>
                    <a:lnTo>
                      <a:pt x="49" y="57"/>
                    </a:lnTo>
                    <a:lnTo>
                      <a:pt x="75" y="39"/>
                    </a:lnTo>
                    <a:lnTo>
                      <a:pt x="80" y="17"/>
                    </a:lnTo>
                    <a:lnTo>
                      <a:pt x="63" y="0"/>
                    </a:lnTo>
                    <a:lnTo>
                      <a:pt x="44" y="6"/>
                    </a:lnTo>
                    <a:lnTo>
                      <a:pt x="27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76" name="íṧḻîḑé"/>
              <p:cNvSpPr/>
              <p:nvPr/>
            </p:nvSpPr>
            <p:spPr bwMode="auto">
              <a:xfrm>
                <a:off x="1176511" y="1290176"/>
                <a:ext cx="28576" cy="32473"/>
              </a:xfrm>
              <a:custGeom>
                <a:avLst/>
                <a:gdLst>
                  <a:gd name="T0" fmla="*/ 173 w 176"/>
                  <a:gd name="T1" fmla="*/ 182 h 199"/>
                  <a:gd name="T2" fmla="*/ 176 w 176"/>
                  <a:gd name="T3" fmla="*/ 160 h 199"/>
                  <a:gd name="T4" fmla="*/ 155 w 176"/>
                  <a:gd name="T5" fmla="*/ 130 h 199"/>
                  <a:gd name="T6" fmla="*/ 150 w 176"/>
                  <a:gd name="T7" fmla="*/ 90 h 199"/>
                  <a:gd name="T8" fmla="*/ 155 w 176"/>
                  <a:gd name="T9" fmla="*/ 62 h 199"/>
                  <a:gd name="T10" fmla="*/ 129 w 176"/>
                  <a:gd name="T11" fmla="*/ 19 h 199"/>
                  <a:gd name="T12" fmla="*/ 105 w 176"/>
                  <a:gd name="T13" fmla="*/ 0 h 199"/>
                  <a:gd name="T14" fmla="*/ 88 w 176"/>
                  <a:gd name="T15" fmla="*/ 15 h 199"/>
                  <a:gd name="T16" fmla="*/ 46 w 176"/>
                  <a:gd name="T17" fmla="*/ 20 h 199"/>
                  <a:gd name="T18" fmla="*/ 8 w 176"/>
                  <a:gd name="T19" fmla="*/ 45 h 199"/>
                  <a:gd name="T20" fmla="*/ 0 w 176"/>
                  <a:gd name="T21" fmla="*/ 72 h 199"/>
                  <a:gd name="T22" fmla="*/ 28 w 176"/>
                  <a:gd name="T23" fmla="*/ 113 h 199"/>
                  <a:gd name="T24" fmla="*/ 38 w 176"/>
                  <a:gd name="T25" fmla="*/ 169 h 199"/>
                  <a:gd name="T26" fmla="*/ 60 w 176"/>
                  <a:gd name="T27" fmla="*/ 191 h 199"/>
                  <a:gd name="T28" fmla="*/ 83 w 176"/>
                  <a:gd name="T29" fmla="*/ 199 h 199"/>
                  <a:gd name="T30" fmla="*/ 132 w 176"/>
                  <a:gd name="T31" fmla="*/ 180 h 199"/>
                  <a:gd name="T32" fmla="*/ 173 w 176"/>
                  <a:gd name="T33" fmla="*/ 182 h 199"/>
                  <a:gd name="T34" fmla="*/ 173 w 176"/>
                  <a:gd name="T35" fmla="*/ 18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6" h="199">
                    <a:moveTo>
                      <a:pt x="173" y="182"/>
                    </a:moveTo>
                    <a:lnTo>
                      <a:pt x="176" y="160"/>
                    </a:lnTo>
                    <a:lnTo>
                      <a:pt x="155" y="130"/>
                    </a:lnTo>
                    <a:lnTo>
                      <a:pt x="150" y="90"/>
                    </a:lnTo>
                    <a:lnTo>
                      <a:pt x="155" y="62"/>
                    </a:lnTo>
                    <a:lnTo>
                      <a:pt x="129" y="19"/>
                    </a:lnTo>
                    <a:lnTo>
                      <a:pt x="105" y="0"/>
                    </a:lnTo>
                    <a:lnTo>
                      <a:pt x="88" y="15"/>
                    </a:lnTo>
                    <a:lnTo>
                      <a:pt x="46" y="20"/>
                    </a:lnTo>
                    <a:lnTo>
                      <a:pt x="8" y="45"/>
                    </a:lnTo>
                    <a:lnTo>
                      <a:pt x="0" y="72"/>
                    </a:lnTo>
                    <a:lnTo>
                      <a:pt x="28" y="113"/>
                    </a:lnTo>
                    <a:lnTo>
                      <a:pt x="38" y="169"/>
                    </a:lnTo>
                    <a:lnTo>
                      <a:pt x="60" y="191"/>
                    </a:lnTo>
                    <a:lnTo>
                      <a:pt x="83" y="199"/>
                    </a:lnTo>
                    <a:lnTo>
                      <a:pt x="132" y="180"/>
                    </a:lnTo>
                    <a:lnTo>
                      <a:pt x="173" y="182"/>
                    </a:lnTo>
                    <a:lnTo>
                      <a:pt x="173" y="18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77" name="ísḷíḋe"/>
              <p:cNvSpPr/>
              <p:nvPr/>
            </p:nvSpPr>
            <p:spPr bwMode="auto">
              <a:xfrm>
                <a:off x="1198592" y="1275889"/>
                <a:ext cx="36371" cy="38967"/>
              </a:xfrm>
              <a:custGeom>
                <a:avLst/>
                <a:gdLst>
                  <a:gd name="T0" fmla="*/ 125 w 220"/>
                  <a:gd name="T1" fmla="*/ 241 h 243"/>
                  <a:gd name="T2" fmla="*/ 126 w 220"/>
                  <a:gd name="T3" fmla="*/ 222 h 243"/>
                  <a:gd name="T4" fmla="*/ 103 w 220"/>
                  <a:gd name="T5" fmla="*/ 201 h 243"/>
                  <a:gd name="T6" fmla="*/ 103 w 220"/>
                  <a:gd name="T7" fmla="*/ 185 h 243"/>
                  <a:gd name="T8" fmla="*/ 128 w 220"/>
                  <a:gd name="T9" fmla="*/ 170 h 243"/>
                  <a:gd name="T10" fmla="*/ 141 w 220"/>
                  <a:gd name="T11" fmla="*/ 136 h 243"/>
                  <a:gd name="T12" fmla="*/ 147 w 220"/>
                  <a:gd name="T13" fmla="*/ 113 h 243"/>
                  <a:gd name="T14" fmla="*/ 192 w 220"/>
                  <a:gd name="T15" fmla="*/ 89 h 243"/>
                  <a:gd name="T16" fmla="*/ 212 w 220"/>
                  <a:gd name="T17" fmla="*/ 87 h 243"/>
                  <a:gd name="T18" fmla="*/ 220 w 220"/>
                  <a:gd name="T19" fmla="*/ 72 h 243"/>
                  <a:gd name="T20" fmla="*/ 194 w 220"/>
                  <a:gd name="T21" fmla="*/ 63 h 243"/>
                  <a:gd name="T22" fmla="*/ 167 w 220"/>
                  <a:gd name="T23" fmla="*/ 71 h 243"/>
                  <a:gd name="T24" fmla="*/ 103 w 220"/>
                  <a:gd name="T25" fmla="*/ 33 h 243"/>
                  <a:gd name="T26" fmla="*/ 64 w 220"/>
                  <a:gd name="T27" fmla="*/ 0 h 243"/>
                  <a:gd name="T28" fmla="*/ 44 w 220"/>
                  <a:gd name="T29" fmla="*/ 13 h 243"/>
                  <a:gd name="T30" fmla="*/ 13 w 220"/>
                  <a:gd name="T31" fmla="*/ 21 h 243"/>
                  <a:gd name="T32" fmla="*/ 4 w 220"/>
                  <a:gd name="T33" fmla="*/ 19 h 243"/>
                  <a:gd name="T34" fmla="*/ 0 w 220"/>
                  <a:gd name="T35" fmla="*/ 48 h 243"/>
                  <a:gd name="T36" fmla="*/ 37 w 220"/>
                  <a:gd name="T37" fmla="*/ 119 h 243"/>
                  <a:gd name="T38" fmla="*/ 36 w 220"/>
                  <a:gd name="T39" fmla="*/ 167 h 243"/>
                  <a:gd name="T40" fmla="*/ 60 w 220"/>
                  <a:gd name="T41" fmla="*/ 222 h 243"/>
                  <a:gd name="T42" fmla="*/ 98 w 220"/>
                  <a:gd name="T43" fmla="*/ 243 h 243"/>
                  <a:gd name="T44" fmla="*/ 125 w 220"/>
                  <a:gd name="T45" fmla="*/ 241 h 243"/>
                  <a:gd name="T46" fmla="*/ 125 w 220"/>
                  <a:gd name="T47" fmla="*/ 241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20" h="243">
                    <a:moveTo>
                      <a:pt x="125" y="241"/>
                    </a:moveTo>
                    <a:lnTo>
                      <a:pt x="126" y="222"/>
                    </a:lnTo>
                    <a:lnTo>
                      <a:pt x="103" y="201"/>
                    </a:lnTo>
                    <a:lnTo>
                      <a:pt x="103" y="185"/>
                    </a:lnTo>
                    <a:lnTo>
                      <a:pt x="128" y="170"/>
                    </a:lnTo>
                    <a:lnTo>
                      <a:pt x="141" y="136"/>
                    </a:lnTo>
                    <a:lnTo>
                      <a:pt x="147" y="113"/>
                    </a:lnTo>
                    <a:lnTo>
                      <a:pt x="192" y="89"/>
                    </a:lnTo>
                    <a:lnTo>
                      <a:pt x="212" y="87"/>
                    </a:lnTo>
                    <a:lnTo>
                      <a:pt x="220" y="72"/>
                    </a:lnTo>
                    <a:lnTo>
                      <a:pt x="194" y="63"/>
                    </a:lnTo>
                    <a:lnTo>
                      <a:pt x="167" y="71"/>
                    </a:lnTo>
                    <a:lnTo>
                      <a:pt x="103" y="33"/>
                    </a:lnTo>
                    <a:lnTo>
                      <a:pt x="64" y="0"/>
                    </a:lnTo>
                    <a:lnTo>
                      <a:pt x="44" y="13"/>
                    </a:lnTo>
                    <a:lnTo>
                      <a:pt x="13" y="21"/>
                    </a:lnTo>
                    <a:lnTo>
                      <a:pt x="4" y="19"/>
                    </a:lnTo>
                    <a:lnTo>
                      <a:pt x="0" y="48"/>
                    </a:lnTo>
                    <a:lnTo>
                      <a:pt x="37" y="119"/>
                    </a:lnTo>
                    <a:lnTo>
                      <a:pt x="36" y="167"/>
                    </a:lnTo>
                    <a:lnTo>
                      <a:pt x="60" y="222"/>
                    </a:lnTo>
                    <a:lnTo>
                      <a:pt x="98" y="243"/>
                    </a:lnTo>
                    <a:lnTo>
                      <a:pt x="125" y="241"/>
                    </a:lnTo>
                    <a:lnTo>
                      <a:pt x="125" y="241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78" name="íśļîḋé"/>
              <p:cNvSpPr/>
              <p:nvPr/>
            </p:nvSpPr>
            <p:spPr bwMode="auto">
              <a:xfrm>
                <a:off x="1236261" y="1308360"/>
                <a:ext cx="22083" cy="19484"/>
              </a:xfrm>
              <a:custGeom>
                <a:avLst/>
                <a:gdLst>
                  <a:gd name="T0" fmla="*/ 3 w 137"/>
                  <a:gd name="T1" fmla="*/ 42 h 117"/>
                  <a:gd name="T2" fmla="*/ 0 w 137"/>
                  <a:gd name="T3" fmla="*/ 62 h 117"/>
                  <a:gd name="T4" fmla="*/ 39 w 137"/>
                  <a:gd name="T5" fmla="*/ 84 h 117"/>
                  <a:gd name="T6" fmla="*/ 66 w 137"/>
                  <a:gd name="T7" fmla="*/ 113 h 117"/>
                  <a:gd name="T8" fmla="*/ 109 w 137"/>
                  <a:gd name="T9" fmla="*/ 117 h 117"/>
                  <a:gd name="T10" fmla="*/ 137 w 137"/>
                  <a:gd name="T11" fmla="*/ 67 h 117"/>
                  <a:gd name="T12" fmla="*/ 123 w 137"/>
                  <a:gd name="T13" fmla="*/ 16 h 117"/>
                  <a:gd name="T14" fmla="*/ 94 w 137"/>
                  <a:gd name="T15" fmla="*/ 0 h 117"/>
                  <a:gd name="T16" fmla="*/ 51 w 137"/>
                  <a:gd name="T17" fmla="*/ 11 h 117"/>
                  <a:gd name="T18" fmla="*/ 3 w 137"/>
                  <a:gd name="T19" fmla="*/ 42 h 117"/>
                  <a:gd name="T20" fmla="*/ 3 w 137"/>
                  <a:gd name="T21" fmla="*/ 4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7" h="117">
                    <a:moveTo>
                      <a:pt x="3" y="42"/>
                    </a:moveTo>
                    <a:lnTo>
                      <a:pt x="0" y="62"/>
                    </a:lnTo>
                    <a:lnTo>
                      <a:pt x="39" y="84"/>
                    </a:lnTo>
                    <a:lnTo>
                      <a:pt x="66" y="113"/>
                    </a:lnTo>
                    <a:lnTo>
                      <a:pt x="109" y="117"/>
                    </a:lnTo>
                    <a:lnTo>
                      <a:pt x="137" y="67"/>
                    </a:lnTo>
                    <a:lnTo>
                      <a:pt x="123" y="16"/>
                    </a:lnTo>
                    <a:lnTo>
                      <a:pt x="94" y="0"/>
                    </a:lnTo>
                    <a:lnTo>
                      <a:pt x="51" y="11"/>
                    </a:lnTo>
                    <a:lnTo>
                      <a:pt x="3" y="42"/>
                    </a:lnTo>
                    <a:lnTo>
                      <a:pt x="3" y="4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79" name="í$ḷiḑê"/>
              <p:cNvSpPr/>
              <p:nvPr/>
            </p:nvSpPr>
            <p:spPr bwMode="auto">
              <a:xfrm>
                <a:off x="1233664" y="1326545"/>
                <a:ext cx="11691" cy="7793"/>
              </a:xfrm>
              <a:custGeom>
                <a:avLst/>
                <a:gdLst>
                  <a:gd name="T0" fmla="*/ 4 w 66"/>
                  <a:gd name="T1" fmla="*/ 0 h 43"/>
                  <a:gd name="T2" fmla="*/ 0 w 66"/>
                  <a:gd name="T3" fmla="*/ 23 h 43"/>
                  <a:gd name="T4" fmla="*/ 35 w 66"/>
                  <a:gd name="T5" fmla="*/ 35 h 43"/>
                  <a:gd name="T6" fmla="*/ 52 w 66"/>
                  <a:gd name="T7" fmla="*/ 43 h 43"/>
                  <a:gd name="T8" fmla="*/ 66 w 66"/>
                  <a:gd name="T9" fmla="*/ 33 h 43"/>
                  <a:gd name="T10" fmla="*/ 35 w 66"/>
                  <a:gd name="T11" fmla="*/ 0 h 43"/>
                  <a:gd name="T12" fmla="*/ 4 w 66"/>
                  <a:gd name="T13" fmla="*/ 0 h 43"/>
                  <a:gd name="T14" fmla="*/ 4 w 66"/>
                  <a:gd name="T1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43">
                    <a:moveTo>
                      <a:pt x="4" y="0"/>
                    </a:moveTo>
                    <a:lnTo>
                      <a:pt x="0" y="23"/>
                    </a:lnTo>
                    <a:lnTo>
                      <a:pt x="35" y="35"/>
                    </a:lnTo>
                    <a:lnTo>
                      <a:pt x="52" y="43"/>
                    </a:lnTo>
                    <a:lnTo>
                      <a:pt x="66" y="33"/>
                    </a:lnTo>
                    <a:lnTo>
                      <a:pt x="35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80" name="išļïdè"/>
              <p:cNvSpPr/>
              <p:nvPr/>
            </p:nvSpPr>
            <p:spPr bwMode="auto">
              <a:xfrm>
                <a:off x="1236262" y="1142099"/>
                <a:ext cx="20783" cy="11691"/>
              </a:xfrm>
              <a:custGeom>
                <a:avLst/>
                <a:gdLst>
                  <a:gd name="T0" fmla="*/ 0 w 133"/>
                  <a:gd name="T1" fmla="*/ 39 h 70"/>
                  <a:gd name="T2" fmla="*/ 17 w 133"/>
                  <a:gd name="T3" fmla="*/ 28 h 70"/>
                  <a:gd name="T4" fmla="*/ 40 w 133"/>
                  <a:gd name="T5" fmla="*/ 27 h 70"/>
                  <a:gd name="T6" fmla="*/ 66 w 133"/>
                  <a:gd name="T7" fmla="*/ 0 h 70"/>
                  <a:gd name="T8" fmla="*/ 91 w 133"/>
                  <a:gd name="T9" fmla="*/ 2 h 70"/>
                  <a:gd name="T10" fmla="*/ 102 w 133"/>
                  <a:gd name="T11" fmla="*/ 14 h 70"/>
                  <a:gd name="T12" fmla="*/ 130 w 133"/>
                  <a:gd name="T13" fmla="*/ 17 h 70"/>
                  <a:gd name="T14" fmla="*/ 133 w 133"/>
                  <a:gd name="T15" fmla="*/ 39 h 70"/>
                  <a:gd name="T16" fmla="*/ 103 w 133"/>
                  <a:gd name="T17" fmla="*/ 67 h 70"/>
                  <a:gd name="T18" fmla="*/ 82 w 133"/>
                  <a:gd name="T19" fmla="*/ 70 h 70"/>
                  <a:gd name="T20" fmla="*/ 60 w 133"/>
                  <a:gd name="T21" fmla="*/ 56 h 70"/>
                  <a:gd name="T22" fmla="*/ 10 w 133"/>
                  <a:gd name="T23" fmla="*/ 52 h 70"/>
                  <a:gd name="T24" fmla="*/ 0 w 133"/>
                  <a:gd name="T25" fmla="*/ 39 h 70"/>
                  <a:gd name="T26" fmla="*/ 0 w 133"/>
                  <a:gd name="T27" fmla="*/ 3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3" h="70">
                    <a:moveTo>
                      <a:pt x="0" y="39"/>
                    </a:moveTo>
                    <a:lnTo>
                      <a:pt x="17" y="28"/>
                    </a:lnTo>
                    <a:lnTo>
                      <a:pt x="40" y="27"/>
                    </a:lnTo>
                    <a:lnTo>
                      <a:pt x="66" y="0"/>
                    </a:lnTo>
                    <a:lnTo>
                      <a:pt x="91" y="2"/>
                    </a:lnTo>
                    <a:lnTo>
                      <a:pt x="102" y="14"/>
                    </a:lnTo>
                    <a:lnTo>
                      <a:pt x="130" y="17"/>
                    </a:lnTo>
                    <a:lnTo>
                      <a:pt x="133" y="39"/>
                    </a:lnTo>
                    <a:lnTo>
                      <a:pt x="103" y="67"/>
                    </a:lnTo>
                    <a:lnTo>
                      <a:pt x="82" y="70"/>
                    </a:lnTo>
                    <a:lnTo>
                      <a:pt x="60" y="56"/>
                    </a:lnTo>
                    <a:lnTo>
                      <a:pt x="10" y="52"/>
                    </a:lnTo>
                    <a:lnTo>
                      <a:pt x="0" y="39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81" name="iSḷiḓé"/>
              <p:cNvSpPr/>
              <p:nvPr/>
            </p:nvSpPr>
            <p:spPr bwMode="auto">
              <a:xfrm>
                <a:off x="1224570" y="1207044"/>
                <a:ext cx="27279" cy="22083"/>
              </a:xfrm>
              <a:custGeom>
                <a:avLst/>
                <a:gdLst>
                  <a:gd name="T0" fmla="*/ 136 w 172"/>
                  <a:gd name="T1" fmla="*/ 119 h 133"/>
                  <a:gd name="T2" fmla="*/ 154 w 172"/>
                  <a:gd name="T3" fmla="*/ 79 h 133"/>
                  <a:gd name="T4" fmla="*/ 172 w 172"/>
                  <a:gd name="T5" fmla="*/ 62 h 133"/>
                  <a:gd name="T6" fmla="*/ 172 w 172"/>
                  <a:gd name="T7" fmla="*/ 46 h 133"/>
                  <a:gd name="T8" fmla="*/ 148 w 172"/>
                  <a:gd name="T9" fmla="*/ 28 h 133"/>
                  <a:gd name="T10" fmla="*/ 132 w 172"/>
                  <a:gd name="T11" fmla="*/ 3 h 133"/>
                  <a:gd name="T12" fmla="*/ 101 w 172"/>
                  <a:gd name="T13" fmla="*/ 0 h 133"/>
                  <a:gd name="T14" fmla="*/ 56 w 172"/>
                  <a:gd name="T15" fmla="*/ 15 h 133"/>
                  <a:gd name="T16" fmla="*/ 11 w 172"/>
                  <a:gd name="T17" fmla="*/ 42 h 133"/>
                  <a:gd name="T18" fmla="*/ 0 w 172"/>
                  <a:gd name="T19" fmla="*/ 65 h 133"/>
                  <a:gd name="T20" fmla="*/ 5 w 172"/>
                  <a:gd name="T21" fmla="*/ 84 h 133"/>
                  <a:gd name="T22" fmla="*/ 63 w 172"/>
                  <a:gd name="T23" fmla="*/ 125 h 133"/>
                  <a:gd name="T24" fmla="*/ 98 w 172"/>
                  <a:gd name="T25" fmla="*/ 133 h 133"/>
                  <a:gd name="T26" fmla="*/ 136 w 172"/>
                  <a:gd name="T27" fmla="*/ 119 h 133"/>
                  <a:gd name="T28" fmla="*/ 136 w 172"/>
                  <a:gd name="T29" fmla="*/ 119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2" h="133">
                    <a:moveTo>
                      <a:pt x="136" y="119"/>
                    </a:moveTo>
                    <a:lnTo>
                      <a:pt x="154" y="79"/>
                    </a:lnTo>
                    <a:lnTo>
                      <a:pt x="172" y="62"/>
                    </a:lnTo>
                    <a:lnTo>
                      <a:pt x="172" y="46"/>
                    </a:lnTo>
                    <a:lnTo>
                      <a:pt x="148" y="28"/>
                    </a:lnTo>
                    <a:lnTo>
                      <a:pt x="132" y="3"/>
                    </a:lnTo>
                    <a:lnTo>
                      <a:pt x="101" y="0"/>
                    </a:lnTo>
                    <a:lnTo>
                      <a:pt x="56" y="15"/>
                    </a:lnTo>
                    <a:lnTo>
                      <a:pt x="11" y="42"/>
                    </a:lnTo>
                    <a:lnTo>
                      <a:pt x="0" y="65"/>
                    </a:lnTo>
                    <a:lnTo>
                      <a:pt x="5" y="84"/>
                    </a:lnTo>
                    <a:lnTo>
                      <a:pt x="63" y="125"/>
                    </a:lnTo>
                    <a:lnTo>
                      <a:pt x="98" y="133"/>
                    </a:lnTo>
                    <a:lnTo>
                      <a:pt x="136" y="119"/>
                    </a:lnTo>
                    <a:lnTo>
                      <a:pt x="136" y="119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82" name="íṡ1ïḓê"/>
              <p:cNvSpPr/>
              <p:nvPr/>
            </p:nvSpPr>
            <p:spPr bwMode="auto">
              <a:xfrm>
                <a:off x="1228467" y="1217436"/>
                <a:ext cx="45463" cy="62348"/>
              </a:xfrm>
              <a:custGeom>
                <a:avLst/>
                <a:gdLst>
                  <a:gd name="T0" fmla="*/ 198 w 284"/>
                  <a:gd name="T1" fmla="*/ 0 h 383"/>
                  <a:gd name="T2" fmla="*/ 187 w 284"/>
                  <a:gd name="T3" fmla="*/ 23 h 383"/>
                  <a:gd name="T4" fmla="*/ 187 w 284"/>
                  <a:gd name="T5" fmla="*/ 61 h 383"/>
                  <a:gd name="T6" fmla="*/ 157 w 284"/>
                  <a:gd name="T7" fmla="*/ 86 h 383"/>
                  <a:gd name="T8" fmla="*/ 146 w 284"/>
                  <a:gd name="T9" fmla="*/ 75 h 383"/>
                  <a:gd name="T10" fmla="*/ 123 w 284"/>
                  <a:gd name="T11" fmla="*/ 79 h 383"/>
                  <a:gd name="T12" fmla="*/ 76 w 284"/>
                  <a:gd name="T13" fmla="*/ 118 h 383"/>
                  <a:gd name="T14" fmla="*/ 44 w 284"/>
                  <a:gd name="T15" fmla="*/ 119 h 383"/>
                  <a:gd name="T16" fmla="*/ 23 w 284"/>
                  <a:gd name="T17" fmla="*/ 100 h 383"/>
                  <a:gd name="T18" fmla="*/ 0 w 284"/>
                  <a:gd name="T19" fmla="*/ 111 h 383"/>
                  <a:gd name="T20" fmla="*/ 0 w 284"/>
                  <a:gd name="T21" fmla="*/ 141 h 383"/>
                  <a:gd name="T22" fmla="*/ 13 w 284"/>
                  <a:gd name="T23" fmla="*/ 178 h 383"/>
                  <a:gd name="T24" fmla="*/ 11 w 284"/>
                  <a:gd name="T25" fmla="*/ 273 h 383"/>
                  <a:gd name="T26" fmla="*/ 31 w 284"/>
                  <a:gd name="T27" fmla="*/ 325 h 383"/>
                  <a:gd name="T28" fmla="*/ 73 w 284"/>
                  <a:gd name="T29" fmla="*/ 383 h 383"/>
                  <a:gd name="T30" fmla="*/ 105 w 284"/>
                  <a:gd name="T31" fmla="*/ 382 h 383"/>
                  <a:gd name="T32" fmla="*/ 160 w 284"/>
                  <a:gd name="T33" fmla="*/ 360 h 383"/>
                  <a:gd name="T34" fmla="*/ 202 w 284"/>
                  <a:gd name="T35" fmla="*/ 357 h 383"/>
                  <a:gd name="T36" fmla="*/ 234 w 284"/>
                  <a:gd name="T37" fmla="*/ 335 h 383"/>
                  <a:gd name="T38" fmla="*/ 284 w 284"/>
                  <a:gd name="T39" fmla="*/ 325 h 383"/>
                  <a:gd name="T40" fmla="*/ 282 w 284"/>
                  <a:gd name="T41" fmla="*/ 302 h 383"/>
                  <a:gd name="T42" fmla="*/ 255 w 284"/>
                  <a:gd name="T43" fmla="*/ 276 h 383"/>
                  <a:gd name="T44" fmla="*/ 234 w 284"/>
                  <a:gd name="T45" fmla="*/ 242 h 383"/>
                  <a:gd name="T46" fmla="*/ 197 w 284"/>
                  <a:gd name="T47" fmla="*/ 228 h 383"/>
                  <a:gd name="T48" fmla="*/ 176 w 284"/>
                  <a:gd name="T49" fmla="*/ 185 h 383"/>
                  <a:gd name="T50" fmla="*/ 179 w 284"/>
                  <a:gd name="T51" fmla="*/ 162 h 383"/>
                  <a:gd name="T52" fmla="*/ 208 w 284"/>
                  <a:gd name="T53" fmla="*/ 142 h 383"/>
                  <a:gd name="T54" fmla="*/ 247 w 284"/>
                  <a:gd name="T55" fmla="*/ 141 h 383"/>
                  <a:gd name="T56" fmla="*/ 278 w 284"/>
                  <a:gd name="T57" fmla="*/ 123 h 383"/>
                  <a:gd name="T58" fmla="*/ 278 w 284"/>
                  <a:gd name="T59" fmla="*/ 100 h 383"/>
                  <a:gd name="T60" fmla="*/ 249 w 284"/>
                  <a:gd name="T61" fmla="*/ 63 h 383"/>
                  <a:gd name="T62" fmla="*/ 216 w 284"/>
                  <a:gd name="T63" fmla="*/ 44 h 383"/>
                  <a:gd name="T64" fmla="*/ 198 w 284"/>
                  <a:gd name="T65" fmla="*/ 0 h 383"/>
                  <a:gd name="T66" fmla="*/ 198 w 284"/>
                  <a:gd name="T67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84" h="383">
                    <a:moveTo>
                      <a:pt x="198" y="0"/>
                    </a:moveTo>
                    <a:lnTo>
                      <a:pt x="187" y="23"/>
                    </a:lnTo>
                    <a:lnTo>
                      <a:pt x="187" y="61"/>
                    </a:lnTo>
                    <a:lnTo>
                      <a:pt x="157" y="86"/>
                    </a:lnTo>
                    <a:lnTo>
                      <a:pt x="146" y="75"/>
                    </a:lnTo>
                    <a:lnTo>
                      <a:pt x="123" y="79"/>
                    </a:lnTo>
                    <a:lnTo>
                      <a:pt x="76" y="118"/>
                    </a:lnTo>
                    <a:lnTo>
                      <a:pt x="44" y="119"/>
                    </a:lnTo>
                    <a:lnTo>
                      <a:pt x="23" y="100"/>
                    </a:lnTo>
                    <a:lnTo>
                      <a:pt x="0" y="111"/>
                    </a:lnTo>
                    <a:lnTo>
                      <a:pt x="0" y="141"/>
                    </a:lnTo>
                    <a:lnTo>
                      <a:pt x="13" y="178"/>
                    </a:lnTo>
                    <a:lnTo>
                      <a:pt x="11" y="273"/>
                    </a:lnTo>
                    <a:lnTo>
                      <a:pt x="31" y="325"/>
                    </a:lnTo>
                    <a:lnTo>
                      <a:pt x="73" y="383"/>
                    </a:lnTo>
                    <a:lnTo>
                      <a:pt x="105" y="382"/>
                    </a:lnTo>
                    <a:lnTo>
                      <a:pt x="160" y="360"/>
                    </a:lnTo>
                    <a:lnTo>
                      <a:pt x="202" y="357"/>
                    </a:lnTo>
                    <a:lnTo>
                      <a:pt x="234" y="335"/>
                    </a:lnTo>
                    <a:lnTo>
                      <a:pt x="284" y="325"/>
                    </a:lnTo>
                    <a:lnTo>
                      <a:pt x="282" y="302"/>
                    </a:lnTo>
                    <a:lnTo>
                      <a:pt x="255" y="276"/>
                    </a:lnTo>
                    <a:lnTo>
                      <a:pt x="234" y="242"/>
                    </a:lnTo>
                    <a:lnTo>
                      <a:pt x="197" y="228"/>
                    </a:lnTo>
                    <a:lnTo>
                      <a:pt x="176" y="185"/>
                    </a:lnTo>
                    <a:lnTo>
                      <a:pt x="179" y="162"/>
                    </a:lnTo>
                    <a:lnTo>
                      <a:pt x="208" y="142"/>
                    </a:lnTo>
                    <a:lnTo>
                      <a:pt x="247" y="141"/>
                    </a:lnTo>
                    <a:lnTo>
                      <a:pt x="278" y="123"/>
                    </a:lnTo>
                    <a:lnTo>
                      <a:pt x="278" y="100"/>
                    </a:lnTo>
                    <a:lnTo>
                      <a:pt x="249" y="63"/>
                    </a:lnTo>
                    <a:lnTo>
                      <a:pt x="216" y="44"/>
                    </a:lnTo>
                    <a:lnTo>
                      <a:pt x="198" y="0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83" name="işḻïďè"/>
              <p:cNvSpPr/>
              <p:nvPr/>
            </p:nvSpPr>
            <p:spPr bwMode="auto">
              <a:xfrm>
                <a:off x="1264837" y="1165481"/>
                <a:ext cx="44163" cy="63647"/>
              </a:xfrm>
              <a:custGeom>
                <a:avLst/>
                <a:gdLst>
                  <a:gd name="T0" fmla="*/ 132 w 271"/>
                  <a:gd name="T1" fmla="*/ 384 h 384"/>
                  <a:gd name="T2" fmla="*/ 104 w 271"/>
                  <a:gd name="T3" fmla="*/ 365 h 384"/>
                  <a:gd name="T4" fmla="*/ 100 w 271"/>
                  <a:gd name="T5" fmla="*/ 339 h 384"/>
                  <a:gd name="T6" fmla="*/ 79 w 271"/>
                  <a:gd name="T7" fmla="*/ 315 h 384"/>
                  <a:gd name="T8" fmla="*/ 44 w 271"/>
                  <a:gd name="T9" fmla="*/ 320 h 384"/>
                  <a:gd name="T10" fmla="*/ 15 w 271"/>
                  <a:gd name="T11" fmla="*/ 292 h 384"/>
                  <a:gd name="T12" fmla="*/ 14 w 271"/>
                  <a:gd name="T13" fmla="*/ 267 h 384"/>
                  <a:gd name="T14" fmla="*/ 27 w 271"/>
                  <a:gd name="T15" fmla="*/ 241 h 384"/>
                  <a:gd name="T16" fmla="*/ 9 w 271"/>
                  <a:gd name="T17" fmla="*/ 196 h 384"/>
                  <a:gd name="T18" fmla="*/ 0 w 271"/>
                  <a:gd name="T19" fmla="*/ 155 h 384"/>
                  <a:gd name="T20" fmla="*/ 12 w 271"/>
                  <a:gd name="T21" fmla="*/ 110 h 384"/>
                  <a:gd name="T22" fmla="*/ 42 w 271"/>
                  <a:gd name="T23" fmla="*/ 90 h 384"/>
                  <a:gd name="T24" fmla="*/ 72 w 271"/>
                  <a:gd name="T25" fmla="*/ 49 h 384"/>
                  <a:gd name="T26" fmla="*/ 72 w 271"/>
                  <a:gd name="T27" fmla="*/ 29 h 384"/>
                  <a:gd name="T28" fmla="*/ 82 w 271"/>
                  <a:gd name="T29" fmla="*/ 4 h 384"/>
                  <a:gd name="T30" fmla="*/ 105 w 271"/>
                  <a:gd name="T31" fmla="*/ 0 h 384"/>
                  <a:gd name="T32" fmla="*/ 129 w 271"/>
                  <a:gd name="T33" fmla="*/ 12 h 384"/>
                  <a:gd name="T34" fmla="*/ 160 w 271"/>
                  <a:gd name="T35" fmla="*/ 20 h 384"/>
                  <a:gd name="T36" fmla="*/ 172 w 271"/>
                  <a:gd name="T37" fmla="*/ 54 h 384"/>
                  <a:gd name="T38" fmla="*/ 169 w 271"/>
                  <a:gd name="T39" fmla="*/ 110 h 384"/>
                  <a:gd name="T40" fmla="*/ 179 w 271"/>
                  <a:gd name="T41" fmla="*/ 127 h 384"/>
                  <a:gd name="T42" fmla="*/ 209 w 271"/>
                  <a:gd name="T43" fmla="*/ 140 h 384"/>
                  <a:gd name="T44" fmla="*/ 248 w 271"/>
                  <a:gd name="T45" fmla="*/ 180 h 384"/>
                  <a:gd name="T46" fmla="*/ 271 w 271"/>
                  <a:gd name="T47" fmla="*/ 180 h 384"/>
                  <a:gd name="T48" fmla="*/ 271 w 271"/>
                  <a:gd name="T49" fmla="*/ 198 h 384"/>
                  <a:gd name="T50" fmla="*/ 216 w 271"/>
                  <a:gd name="T51" fmla="*/ 230 h 384"/>
                  <a:gd name="T52" fmla="*/ 163 w 271"/>
                  <a:gd name="T53" fmla="*/ 253 h 384"/>
                  <a:gd name="T54" fmla="*/ 153 w 271"/>
                  <a:gd name="T55" fmla="*/ 276 h 384"/>
                  <a:gd name="T56" fmla="*/ 162 w 271"/>
                  <a:gd name="T57" fmla="*/ 307 h 384"/>
                  <a:gd name="T58" fmla="*/ 157 w 271"/>
                  <a:gd name="T59" fmla="*/ 347 h 384"/>
                  <a:gd name="T60" fmla="*/ 132 w 271"/>
                  <a:gd name="T61" fmla="*/ 384 h 384"/>
                  <a:gd name="T62" fmla="*/ 132 w 271"/>
                  <a:gd name="T63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71" h="384">
                    <a:moveTo>
                      <a:pt x="132" y="384"/>
                    </a:moveTo>
                    <a:lnTo>
                      <a:pt x="104" y="365"/>
                    </a:lnTo>
                    <a:lnTo>
                      <a:pt x="100" y="339"/>
                    </a:lnTo>
                    <a:lnTo>
                      <a:pt x="79" y="315"/>
                    </a:lnTo>
                    <a:lnTo>
                      <a:pt x="44" y="320"/>
                    </a:lnTo>
                    <a:lnTo>
                      <a:pt x="15" y="292"/>
                    </a:lnTo>
                    <a:lnTo>
                      <a:pt x="14" y="267"/>
                    </a:lnTo>
                    <a:lnTo>
                      <a:pt x="27" y="241"/>
                    </a:lnTo>
                    <a:lnTo>
                      <a:pt x="9" y="196"/>
                    </a:lnTo>
                    <a:lnTo>
                      <a:pt x="0" y="155"/>
                    </a:lnTo>
                    <a:lnTo>
                      <a:pt x="12" y="110"/>
                    </a:lnTo>
                    <a:lnTo>
                      <a:pt x="42" y="90"/>
                    </a:lnTo>
                    <a:lnTo>
                      <a:pt x="72" y="49"/>
                    </a:lnTo>
                    <a:lnTo>
                      <a:pt x="72" y="29"/>
                    </a:lnTo>
                    <a:lnTo>
                      <a:pt x="82" y="4"/>
                    </a:lnTo>
                    <a:lnTo>
                      <a:pt x="105" y="0"/>
                    </a:lnTo>
                    <a:lnTo>
                      <a:pt x="129" y="12"/>
                    </a:lnTo>
                    <a:lnTo>
                      <a:pt x="160" y="20"/>
                    </a:lnTo>
                    <a:lnTo>
                      <a:pt x="172" y="54"/>
                    </a:lnTo>
                    <a:lnTo>
                      <a:pt x="169" y="110"/>
                    </a:lnTo>
                    <a:lnTo>
                      <a:pt x="179" y="127"/>
                    </a:lnTo>
                    <a:lnTo>
                      <a:pt x="209" y="140"/>
                    </a:lnTo>
                    <a:lnTo>
                      <a:pt x="248" y="180"/>
                    </a:lnTo>
                    <a:lnTo>
                      <a:pt x="271" y="180"/>
                    </a:lnTo>
                    <a:lnTo>
                      <a:pt x="271" y="198"/>
                    </a:lnTo>
                    <a:lnTo>
                      <a:pt x="216" y="230"/>
                    </a:lnTo>
                    <a:lnTo>
                      <a:pt x="163" y="253"/>
                    </a:lnTo>
                    <a:lnTo>
                      <a:pt x="153" y="276"/>
                    </a:lnTo>
                    <a:lnTo>
                      <a:pt x="162" y="307"/>
                    </a:lnTo>
                    <a:lnTo>
                      <a:pt x="157" y="347"/>
                    </a:lnTo>
                    <a:lnTo>
                      <a:pt x="132" y="384"/>
                    </a:lnTo>
                    <a:lnTo>
                      <a:pt x="132" y="384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</p:grpSp>
        <p:grpSp>
          <p:nvGrpSpPr>
            <p:cNvPr id="79" name="iṧ1îdè"/>
            <p:cNvGrpSpPr/>
            <p:nvPr/>
          </p:nvGrpSpPr>
          <p:grpSpPr>
            <a:xfrm>
              <a:off x="6572268" y="1163807"/>
              <a:ext cx="675000" cy="675005"/>
              <a:chOff x="7209746" y="4153276"/>
              <a:chExt cx="675000" cy="675005"/>
            </a:xfrm>
          </p:grpSpPr>
          <p:sp>
            <p:nvSpPr>
              <p:cNvPr id="102" name="islíďe"/>
              <p:cNvSpPr/>
              <p:nvPr/>
            </p:nvSpPr>
            <p:spPr>
              <a:xfrm>
                <a:off x="7209746" y="4153276"/>
                <a:ext cx="675000" cy="675005"/>
              </a:xfrm>
              <a:prstGeom prst="ellipse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3" name="ïsliḍé"/>
              <p:cNvSpPr/>
              <p:nvPr/>
            </p:nvSpPr>
            <p:spPr bwMode="auto">
              <a:xfrm>
                <a:off x="7375153" y="4322040"/>
                <a:ext cx="344185" cy="337474"/>
              </a:xfrm>
              <a:custGeom>
                <a:avLst/>
                <a:gdLst>
                  <a:gd name="T0" fmla="*/ 1312 w 1990"/>
                  <a:gd name="T1" fmla="*/ 1552 h 1954"/>
                  <a:gd name="T2" fmla="*/ 291 w 1990"/>
                  <a:gd name="T3" fmla="*/ 1746 h 1954"/>
                  <a:gd name="T4" fmla="*/ 0 w 1990"/>
                  <a:gd name="T5" fmla="*/ 540 h 1954"/>
                  <a:gd name="T6" fmla="*/ 515 w 1990"/>
                  <a:gd name="T7" fmla="*/ 249 h 1954"/>
                  <a:gd name="T8" fmla="*/ 1205 w 1990"/>
                  <a:gd name="T9" fmla="*/ 0 h 1954"/>
                  <a:gd name="T10" fmla="*/ 1496 w 1990"/>
                  <a:gd name="T11" fmla="*/ 489 h 1954"/>
                  <a:gd name="T12" fmla="*/ 1413 w 1990"/>
                  <a:gd name="T13" fmla="*/ 291 h 1954"/>
                  <a:gd name="T14" fmla="*/ 802 w 1990"/>
                  <a:gd name="T15" fmla="*/ 83 h 1954"/>
                  <a:gd name="T16" fmla="*/ 1039 w 1990"/>
                  <a:gd name="T17" fmla="*/ 249 h 1954"/>
                  <a:gd name="T18" fmla="*/ 1243 w 1990"/>
                  <a:gd name="T19" fmla="*/ 499 h 1954"/>
                  <a:gd name="T20" fmla="*/ 291 w 1990"/>
                  <a:gd name="T21" fmla="*/ 333 h 1954"/>
                  <a:gd name="T22" fmla="*/ 83 w 1990"/>
                  <a:gd name="T23" fmla="*/ 1455 h 1954"/>
                  <a:gd name="T24" fmla="*/ 1039 w 1990"/>
                  <a:gd name="T25" fmla="*/ 1663 h 1954"/>
                  <a:gd name="T26" fmla="*/ 1641 w 1990"/>
                  <a:gd name="T27" fmla="*/ 1453 h 1954"/>
                  <a:gd name="T28" fmla="*/ 1138 w 1990"/>
                  <a:gd name="T29" fmla="*/ 583 h 1954"/>
                  <a:gd name="T30" fmla="*/ 1641 w 1990"/>
                  <a:gd name="T31" fmla="*/ 1453 h 1954"/>
                  <a:gd name="T32" fmla="*/ 1752 w 1990"/>
                  <a:gd name="T33" fmla="*/ 809 h 1954"/>
                  <a:gd name="T34" fmla="*/ 1026 w 1990"/>
                  <a:gd name="T35" fmla="*/ 1228 h 1954"/>
                  <a:gd name="T36" fmla="*/ 1767 w 1990"/>
                  <a:gd name="T37" fmla="*/ 1422 h 1954"/>
                  <a:gd name="T38" fmla="*/ 1717 w 1990"/>
                  <a:gd name="T39" fmla="*/ 1835 h 1954"/>
                  <a:gd name="T40" fmla="*/ 1767 w 1990"/>
                  <a:gd name="T41" fmla="*/ 1422 h 1954"/>
                  <a:gd name="T42" fmla="*/ 1739 w 1990"/>
                  <a:gd name="T43" fmla="*/ 1874 h 1954"/>
                  <a:gd name="T44" fmla="*/ 1956 w 1990"/>
                  <a:gd name="T45" fmla="*/ 1749 h 1954"/>
                  <a:gd name="T46" fmla="*/ 249 w 1990"/>
                  <a:gd name="T47" fmla="*/ 551 h 1954"/>
                  <a:gd name="T48" fmla="*/ 803 w 1990"/>
                  <a:gd name="T49" fmla="*/ 613 h 1954"/>
                  <a:gd name="T50" fmla="*/ 675 w 1990"/>
                  <a:gd name="T51" fmla="*/ 828 h 1954"/>
                  <a:gd name="T52" fmla="*/ 249 w 1990"/>
                  <a:gd name="T53" fmla="*/ 890 h 1954"/>
                  <a:gd name="T54" fmla="*/ 675 w 1990"/>
                  <a:gd name="T55" fmla="*/ 828 h 1954"/>
                  <a:gd name="T56" fmla="*/ 675 w 1990"/>
                  <a:gd name="T57" fmla="*/ 1167 h 1954"/>
                  <a:gd name="T58" fmla="*/ 249 w 1990"/>
                  <a:gd name="T59" fmla="*/ 1105 h 1954"/>
                  <a:gd name="T60" fmla="*/ 249 w 1990"/>
                  <a:gd name="T61" fmla="*/ 1444 h 1954"/>
                  <a:gd name="T62" fmla="*/ 803 w 1990"/>
                  <a:gd name="T63" fmla="*/ 1382 h 1954"/>
                  <a:gd name="T64" fmla="*/ 249 w 1990"/>
                  <a:gd name="T65" fmla="*/ 1444 h 1954"/>
                  <a:gd name="T66" fmla="*/ 1179 w 1990"/>
                  <a:gd name="T67" fmla="*/ 961 h 1954"/>
                  <a:gd name="T68" fmla="*/ 1300 w 1990"/>
                  <a:gd name="T69" fmla="*/ 1219 h 1954"/>
                  <a:gd name="T70" fmla="*/ 1604 w 1990"/>
                  <a:gd name="T71" fmla="*/ 858 h 1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990" h="1954">
                    <a:moveTo>
                      <a:pt x="1231" y="1534"/>
                    </a:moveTo>
                    <a:cubicBezTo>
                      <a:pt x="1258" y="1542"/>
                      <a:pt x="1285" y="1548"/>
                      <a:pt x="1312" y="1552"/>
                    </a:cubicBezTo>
                    <a:cubicBezTo>
                      <a:pt x="1272" y="1665"/>
                      <a:pt x="1165" y="1746"/>
                      <a:pt x="1039" y="1746"/>
                    </a:cubicBezTo>
                    <a:lnTo>
                      <a:pt x="291" y="1746"/>
                    </a:lnTo>
                    <a:cubicBezTo>
                      <a:pt x="131" y="1746"/>
                      <a:pt x="0" y="1615"/>
                      <a:pt x="0" y="1455"/>
                    </a:cubicBezTo>
                    <a:lnTo>
                      <a:pt x="0" y="540"/>
                    </a:lnTo>
                    <a:cubicBezTo>
                      <a:pt x="0" y="380"/>
                      <a:pt x="131" y="249"/>
                      <a:pt x="291" y="249"/>
                    </a:cubicBezTo>
                    <a:lnTo>
                      <a:pt x="515" y="249"/>
                    </a:lnTo>
                    <a:cubicBezTo>
                      <a:pt x="535" y="109"/>
                      <a:pt x="656" y="0"/>
                      <a:pt x="802" y="0"/>
                    </a:cubicBezTo>
                    <a:lnTo>
                      <a:pt x="1205" y="0"/>
                    </a:lnTo>
                    <a:cubicBezTo>
                      <a:pt x="1366" y="0"/>
                      <a:pt x="1496" y="131"/>
                      <a:pt x="1496" y="291"/>
                    </a:cubicBezTo>
                    <a:lnTo>
                      <a:pt x="1496" y="489"/>
                    </a:lnTo>
                    <a:cubicBezTo>
                      <a:pt x="1469" y="484"/>
                      <a:pt x="1441" y="480"/>
                      <a:pt x="1413" y="479"/>
                    </a:cubicBezTo>
                    <a:lnTo>
                      <a:pt x="1413" y="291"/>
                    </a:lnTo>
                    <a:cubicBezTo>
                      <a:pt x="1413" y="176"/>
                      <a:pt x="1320" y="83"/>
                      <a:pt x="1205" y="83"/>
                    </a:cubicBezTo>
                    <a:lnTo>
                      <a:pt x="802" y="83"/>
                    </a:lnTo>
                    <a:cubicBezTo>
                      <a:pt x="701" y="83"/>
                      <a:pt x="617" y="155"/>
                      <a:pt x="598" y="249"/>
                    </a:cubicBezTo>
                    <a:lnTo>
                      <a:pt x="1039" y="249"/>
                    </a:lnTo>
                    <a:cubicBezTo>
                      <a:pt x="1180" y="249"/>
                      <a:pt x="1297" y="349"/>
                      <a:pt x="1324" y="482"/>
                    </a:cubicBezTo>
                    <a:cubicBezTo>
                      <a:pt x="1297" y="485"/>
                      <a:pt x="1270" y="491"/>
                      <a:pt x="1243" y="499"/>
                    </a:cubicBezTo>
                    <a:cubicBezTo>
                      <a:pt x="1224" y="404"/>
                      <a:pt x="1140" y="333"/>
                      <a:pt x="1039" y="333"/>
                    </a:cubicBezTo>
                    <a:lnTo>
                      <a:pt x="291" y="333"/>
                    </a:lnTo>
                    <a:cubicBezTo>
                      <a:pt x="177" y="333"/>
                      <a:pt x="83" y="426"/>
                      <a:pt x="83" y="540"/>
                    </a:cubicBezTo>
                    <a:lnTo>
                      <a:pt x="83" y="1455"/>
                    </a:lnTo>
                    <a:cubicBezTo>
                      <a:pt x="83" y="1569"/>
                      <a:pt x="177" y="1663"/>
                      <a:pt x="291" y="1663"/>
                    </a:cubicBezTo>
                    <a:lnTo>
                      <a:pt x="1039" y="1663"/>
                    </a:lnTo>
                    <a:cubicBezTo>
                      <a:pt x="1126" y="1663"/>
                      <a:pt x="1200" y="1609"/>
                      <a:pt x="1231" y="1534"/>
                    </a:cubicBezTo>
                    <a:close/>
                    <a:moveTo>
                      <a:pt x="1641" y="1453"/>
                    </a:moveTo>
                    <a:cubicBezTo>
                      <a:pt x="1401" y="1591"/>
                      <a:pt x="1093" y="1509"/>
                      <a:pt x="955" y="1269"/>
                    </a:cubicBezTo>
                    <a:cubicBezTo>
                      <a:pt x="816" y="1029"/>
                      <a:pt x="899" y="722"/>
                      <a:pt x="1138" y="583"/>
                    </a:cubicBezTo>
                    <a:cubicBezTo>
                      <a:pt x="1378" y="445"/>
                      <a:pt x="1686" y="527"/>
                      <a:pt x="1824" y="767"/>
                    </a:cubicBezTo>
                    <a:cubicBezTo>
                      <a:pt x="1963" y="1007"/>
                      <a:pt x="1880" y="1314"/>
                      <a:pt x="1641" y="1453"/>
                    </a:cubicBezTo>
                    <a:close/>
                    <a:moveTo>
                      <a:pt x="1599" y="1381"/>
                    </a:moveTo>
                    <a:cubicBezTo>
                      <a:pt x="1799" y="1266"/>
                      <a:pt x="1868" y="1009"/>
                      <a:pt x="1752" y="809"/>
                    </a:cubicBezTo>
                    <a:cubicBezTo>
                      <a:pt x="1637" y="608"/>
                      <a:pt x="1380" y="539"/>
                      <a:pt x="1180" y="655"/>
                    </a:cubicBezTo>
                    <a:cubicBezTo>
                      <a:pt x="980" y="771"/>
                      <a:pt x="911" y="1027"/>
                      <a:pt x="1026" y="1228"/>
                    </a:cubicBezTo>
                    <a:cubicBezTo>
                      <a:pt x="1142" y="1428"/>
                      <a:pt x="1399" y="1497"/>
                      <a:pt x="1599" y="1381"/>
                    </a:cubicBezTo>
                    <a:close/>
                    <a:moveTo>
                      <a:pt x="1767" y="1422"/>
                    </a:moveTo>
                    <a:lnTo>
                      <a:pt x="1551" y="1547"/>
                    </a:lnTo>
                    <a:lnTo>
                      <a:pt x="1717" y="1835"/>
                    </a:lnTo>
                    <a:lnTo>
                      <a:pt x="1933" y="1710"/>
                    </a:lnTo>
                    <a:lnTo>
                      <a:pt x="1767" y="1422"/>
                    </a:lnTo>
                    <a:close/>
                    <a:moveTo>
                      <a:pt x="1956" y="1749"/>
                    </a:moveTo>
                    <a:lnTo>
                      <a:pt x="1739" y="1874"/>
                    </a:lnTo>
                    <a:cubicBezTo>
                      <a:pt x="1774" y="1934"/>
                      <a:pt x="1850" y="1954"/>
                      <a:pt x="1910" y="1919"/>
                    </a:cubicBezTo>
                    <a:cubicBezTo>
                      <a:pt x="1969" y="1885"/>
                      <a:pt x="1990" y="1809"/>
                      <a:pt x="1956" y="1749"/>
                    </a:cubicBezTo>
                    <a:close/>
                    <a:moveTo>
                      <a:pt x="803" y="551"/>
                    </a:moveTo>
                    <a:lnTo>
                      <a:pt x="249" y="551"/>
                    </a:lnTo>
                    <a:lnTo>
                      <a:pt x="249" y="613"/>
                    </a:lnTo>
                    <a:lnTo>
                      <a:pt x="803" y="613"/>
                    </a:lnTo>
                    <a:lnTo>
                      <a:pt x="803" y="551"/>
                    </a:lnTo>
                    <a:close/>
                    <a:moveTo>
                      <a:pt x="675" y="828"/>
                    </a:moveTo>
                    <a:lnTo>
                      <a:pt x="249" y="828"/>
                    </a:lnTo>
                    <a:lnTo>
                      <a:pt x="249" y="890"/>
                    </a:lnTo>
                    <a:lnTo>
                      <a:pt x="675" y="890"/>
                    </a:lnTo>
                    <a:lnTo>
                      <a:pt x="675" y="828"/>
                    </a:lnTo>
                    <a:close/>
                    <a:moveTo>
                      <a:pt x="249" y="1167"/>
                    </a:moveTo>
                    <a:lnTo>
                      <a:pt x="675" y="1167"/>
                    </a:lnTo>
                    <a:lnTo>
                      <a:pt x="675" y="1105"/>
                    </a:lnTo>
                    <a:lnTo>
                      <a:pt x="249" y="1105"/>
                    </a:lnTo>
                    <a:lnTo>
                      <a:pt x="249" y="1167"/>
                    </a:lnTo>
                    <a:close/>
                    <a:moveTo>
                      <a:pt x="249" y="1444"/>
                    </a:moveTo>
                    <a:lnTo>
                      <a:pt x="803" y="1444"/>
                    </a:lnTo>
                    <a:lnTo>
                      <a:pt x="803" y="1382"/>
                    </a:lnTo>
                    <a:lnTo>
                      <a:pt x="249" y="1382"/>
                    </a:lnTo>
                    <a:lnTo>
                      <a:pt x="249" y="1444"/>
                    </a:lnTo>
                    <a:close/>
                    <a:moveTo>
                      <a:pt x="1308" y="1105"/>
                    </a:moveTo>
                    <a:lnTo>
                      <a:pt x="1179" y="961"/>
                    </a:lnTo>
                    <a:lnTo>
                      <a:pt x="1118" y="1017"/>
                    </a:lnTo>
                    <a:lnTo>
                      <a:pt x="1300" y="1219"/>
                    </a:lnTo>
                    <a:lnTo>
                      <a:pt x="1657" y="922"/>
                    </a:lnTo>
                    <a:lnTo>
                      <a:pt x="1604" y="858"/>
                    </a:lnTo>
                    <a:lnTo>
                      <a:pt x="1308" y="110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</p:grpSp>
        <p:grpSp>
          <p:nvGrpSpPr>
            <p:cNvPr id="80" name="íṧ1ïḓè"/>
            <p:cNvGrpSpPr/>
            <p:nvPr/>
          </p:nvGrpSpPr>
          <p:grpSpPr>
            <a:xfrm>
              <a:off x="6572268" y="2991582"/>
              <a:ext cx="675000" cy="675005"/>
              <a:chOff x="7209746" y="4153276"/>
              <a:chExt cx="675000" cy="675005"/>
            </a:xfrm>
          </p:grpSpPr>
          <p:sp>
            <p:nvSpPr>
              <p:cNvPr id="100" name="ïṩ1ídè"/>
              <p:cNvSpPr/>
              <p:nvPr/>
            </p:nvSpPr>
            <p:spPr>
              <a:xfrm>
                <a:off x="7209746" y="4153276"/>
                <a:ext cx="675000" cy="675005"/>
              </a:xfrm>
              <a:prstGeom prst="ellipse">
                <a:avLst/>
              </a:prstGeom>
              <a:solidFill>
                <a:schemeClr val="accent3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1" name="ísļïḋê"/>
              <p:cNvSpPr/>
              <p:nvPr/>
            </p:nvSpPr>
            <p:spPr bwMode="auto">
              <a:xfrm>
                <a:off x="7375153" y="4322040"/>
                <a:ext cx="344185" cy="337474"/>
              </a:xfrm>
              <a:custGeom>
                <a:avLst/>
                <a:gdLst>
                  <a:gd name="T0" fmla="*/ 1312 w 1990"/>
                  <a:gd name="T1" fmla="*/ 1552 h 1954"/>
                  <a:gd name="T2" fmla="*/ 291 w 1990"/>
                  <a:gd name="T3" fmla="*/ 1746 h 1954"/>
                  <a:gd name="T4" fmla="*/ 0 w 1990"/>
                  <a:gd name="T5" fmla="*/ 540 h 1954"/>
                  <a:gd name="T6" fmla="*/ 515 w 1990"/>
                  <a:gd name="T7" fmla="*/ 249 h 1954"/>
                  <a:gd name="T8" fmla="*/ 1205 w 1990"/>
                  <a:gd name="T9" fmla="*/ 0 h 1954"/>
                  <a:gd name="T10" fmla="*/ 1496 w 1990"/>
                  <a:gd name="T11" fmla="*/ 489 h 1954"/>
                  <a:gd name="T12" fmla="*/ 1413 w 1990"/>
                  <a:gd name="T13" fmla="*/ 291 h 1954"/>
                  <a:gd name="T14" fmla="*/ 802 w 1990"/>
                  <a:gd name="T15" fmla="*/ 83 h 1954"/>
                  <a:gd name="T16" fmla="*/ 1039 w 1990"/>
                  <a:gd name="T17" fmla="*/ 249 h 1954"/>
                  <a:gd name="T18" fmla="*/ 1243 w 1990"/>
                  <a:gd name="T19" fmla="*/ 499 h 1954"/>
                  <a:gd name="T20" fmla="*/ 291 w 1990"/>
                  <a:gd name="T21" fmla="*/ 333 h 1954"/>
                  <a:gd name="T22" fmla="*/ 83 w 1990"/>
                  <a:gd name="T23" fmla="*/ 1455 h 1954"/>
                  <a:gd name="T24" fmla="*/ 1039 w 1990"/>
                  <a:gd name="T25" fmla="*/ 1663 h 1954"/>
                  <a:gd name="T26" fmla="*/ 1641 w 1990"/>
                  <a:gd name="T27" fmla="*/ 1453 h 1954"/>
                  <a:gd name="T28" fmla="*/ 1138 w 1990"/>
                  <a:gd name="T29" fmla="*/ 583 h 1954"/>
                  <a:gd name="T30" fmla="*/ 1641 w 1990"/>
                  <a:gd name="T31" fmla="*/ 1453 h 1954"/>
                  <a:gd name="T32" fmla="*/ 1752 w 1990"/>
                  <a:gd name="T33" fmla="*/ 809 h 1954"/>
                  <a:gd name="T34" fmla="*/ 1026 w 1990"/>
                  <a:gd name="T35" fmla="*/ 1228 h 1954"/>
                  <a:gd name="T36" fmla="*/ 1767 w 1990"/>
                  <a:gd name="T37" fmla="*/ 1422 h 1954"/>
                  <a:gd name="T38" fmla="*/ 1717 w 1990"/>
                  <a:gd name="T39" fmla="*/ 1835 h 1954"/>
                  <a:gd name="T40" fmla="*/ 1767 w 1990"/>
                  <a:gd name="T41" fmla="*/ 1422 h 1954"/>
                  <a:gd name="T42" fmla="*/ 1739 w 1990"/>
                  <a:gd name="T43" fmla="*/ 1874 h 1954"/>
                  <a:gd name="T44" fmla="*/ 1956 w 1990"/>
                  <a:gd name="T45" fmla="*/ 1749 h 1954"/>
                  <a:gd name="T46" fmla="*/ 249 w 1990"/>
                  <a:gd name="T47" fmla="*/ 551 h 1954"/>
                  <a:gd name="T48" fmla="*/ 803 w 1990"/>
                  <a:gd name="T49" fmla="*/ 613 h 1954"/>
                  <a:gd name="T50" fmla="*/ 675 w 1990"/>
                  <a:gd name="T51" fmla="*/ 828 h 1954"/>
                  <a:gd name="T52" fmla="*/ 249 w 1990"/>
                  <a:gd name="T53" fmla="*/ 890 h 1954"/>
                  <a:gd name="T54" fmla="*/ 675 w 1990"/>
                  <a:gd name="T55" fmla="*/ 828 h 1954"/>
                  <a:gd name="T56" fmla="*/ 675 w 1990"/>
                  <a:gd name="T57" fmla="*/ 1167 h 1954"/>
                  <a:gd name="T58" fmla="*/ 249 w 1990"/>
                  <a:gd name="T59" fmla="*/ 1105 h 1954"/>
                  <a:gd name="T60" fmla="*/ 249 w 1990"/>
                  <a:gd name="T61" fmla="*/ 1444 h 1954"/>
                  <a:gd name="T62" fmla="*/ 803 w 1990"/>
                  <a:gd name="T63" fmla="*/ 1382 h 1954"/>
                  <a:gd name="T64" fmla="*/ 249 w 1990"/>
                  <a:gd name="T65" fmla="*/ 1444 h 1954"/>
                  <a:gd name="T66" fmla="*/ 1179 w 1990"/>
                  <a:gd name="T67" fmla="*/ 961 h 1954"/>
                  <a:gd name="T68" fmla="*/ 1300 w 1990"/>
                  <a:gd name="T69" fmla="*/ 1219 h 1954"/>
                  <a:gd name="T70" fmla="*/ 1604 w 1990"/>
                  <a:gd name="T71" fmla="*/ 858 h 1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990" h="1954">
                    <a:moveTo>
                      <a:pt x="1231" y="1534"/>
                    </a:moveTo>
                    <a:cubicBezTo>
                      <a:pt x="1258" y="1542"/>
                      <a:pt x="1285" y="1548"/>
                      <a:pt x="1312" y="1552"/>
                    </a:cubicBezTo>
                    <a:cubicBezTo>
                      <a:pt x="1272" y="1665"/>
                      <a:pt x="1165" y="1746"/>
                      <a:pt x="1039" y="1746"/>
                    </a:cubicBezTo>
                    <a:lnTo>
                      <a:pt x="291" y="1746"/>
                    </a:lnTo>
                    <a:cubicBezTo>
                      <a:pt x="131" y="1746"/>
                      <a:pt x="0" y="1615"/>
                      <a:pt x="0" y="1455"/>
                    </a:cubicBezTo>
                    <a:lnTo>
                      <a:pt x="0" y="540"/>
                    </a:lnTo>
                    <a:cubicBezTo>
                      <a:pt x="0" y="380"/>
                      <a:pt x="131" y="249"/>
                      <a:pt x="291" y="249"/>
                    </a:cubicBezTo>
                    <a:lnTo>
                      <a:pt x="515" y="249"/>
                    </a:lnTo>
                    <a:cubicBezTo>
                      <a:pt x="535" y="109"/>
                      <a:pt x="656" y="0"/>
                      <a:pt x="802" y="0"/>
                    </a:cubicBezTo>
                    <a:lnTo>
                      <a:pt x="1205" y="0"/>
                    </a:lnTo>
                    <a:cubicBezTo>
                      <a:pt x="1366" y="0"/>
                      <a:pt x="1496" y="131"/>
                      <a:pt x="1496" y="291"/>
                    </a:cubicBezTo>
                    <a:lnTo>
                      <a:pt x="1496" y="489"/>
                    </a:lnTo>
                    <a:cubicBezTo>
                      <a:pt x="1469" y="484"/>
                      <a:pt x="1441" y="480"/>
                      <a:pt x="1413" y="479"/>
                    </a:cubicBezTo>
                    <a:lnTo>
                      <a:pt x="1413" y="291"/>
                    </a:lnTo>
                    <a:cubicBezTo>
                      <a:pt x="1413" y="176"/>
                      <a:pt x="1320" y="83"/>
                      <a:pt x="1205" y="83"/>
                    </a:cubicBezTo>
                    <a:lnTo>
                      <a:pt x="802" y="83"/>
                    </a:lnTo>
                    <a:cubicBezTo>
                      <a:pt x="701" y="83"/>
                      <a:pt x="617" y="155"/>
                      <a:pt x="598" y="249"/>
                    </a:cubicBezTo>
                    <a:lnTo>
                      <a:pt x="1039" y="249"/>
                    </a:lnTo>
                    <a:cubicBezTo>
                      <a:pt x="1180" y="249"/>
                      <a:pt x="1297" y="349"/>
                      <a:pt x="1324" y="482"/>
                    </a:cubicBezTo>
                    <a:cubicBezTo>
                      <a:pt x="1297" y="485"/>
                      <a:pt x="1270" y="491"/>
                      <a:pt x="1243" y="499"/>
                    </a:cubicBezTo>
                    <a:cubicBezTo>
                      <a:pt x="1224" y="404"/>
                      <a:pt x="1140" y="333"/>
                      <a:pt x="1039" y="333"/>
                    </a:cubicBezTo>
                    <a:lnTo>
                      <a:pt x="291" y="333"/>
                    </a:lnTo>
                    <a:cubicBezTo>
                      <a:pt x="177" y="333"/>
                      <a:pt x="83" y="426"/>
                      <a:pt x="83" y="540"/>
                    </a:cubicBezTo>
                    <a:lnTo>
                      <a:pt x="83" y="1455"/>
                    </a:lnTo>
                    <a:cubicBezTo>
                      <a:pt x="83" y="1569"/>
                      <a:pt x="177" y="1663"/>
                      <a:pt x="291" y="1663"/>
                    </a:cubicBezTo>
                    <a:lnTo>
                      <a:pt x="1039" y="1663"/>
                    </a:lnTo>
                    <a:cubicBezTo>
                      <a:pt x="1126" y="1663"/>
                      <a:pt x="1200" y="1609"/>
                      <a:pt x="1231" y="1534"/>
                    </a:cubicBezTo>
                    <a:close/>
                    <a:moveTo>
                      <a:pt x="1641" y="1453"/>
                    </a:moveTo>
                    <a:cubicBezTo>
                      <a:pt x="1401" y="1591"/>
                      <a:pt x="1093" y="1509"/>
                      <a:pt x="955" y="1269"/>
                    </a:cubicBezTo>
                    <a:cubicBezTo>
                      <a:pt x="816" y="1029"/>
                      <a:pt x="899" y="722"/>
                      <a:pt x="1138" y="583"/>
                    </a:cubicBezTo>
                    <a:cubicBezTo>
                      <a:pt x="1378" y="445"/>
                      <a:pt x="1686" y="527"/>
                      <a:pt x="1824" y="767"/>
                    </a:cubicBezTo>
                    <a:cubicBezTo>
                      <a:pt x="1963" y="1007"/>
                      <a:pt x="1880" y="1314"/>
                      <a:pt x="1641" y="1453"/>
                    </a:cubicBezTo>
                    <a:close/>
                    <a:moveTo>
                      <a:pt x="1599" y="1381"/>
                    </a:moveTo>
                    <a:cubicBezTo>
                      <a:pt x="1799" y="1266"/>
                      <a:pt x="1868" y="1009"/>
                      <a:pt x="1752" y="809"/>
                    </a:cubicBezTo>
                    <a:cubicBezTo>
                      <a:pt x="1637" y="608"/>
                      <a:pt x="1380" y="539"/>
                      <a:pt x="1180" y="655"/>
                    </a:cubicBezTo>
                    <a:cubicBezTo>
                      <a:pt x="980" y="771"/>
                      <a:pt x="911" y="1027"/>
                      <a:pt x="1026" y="1228"/>
                    </a:cubicBezTo>
                    <a:cubicBezTo>
                      <a:pt x="1142" y="1428"/>
                      <a:pt x="1399" y="1497"/>
                      <a:pt x="1599" y="1381"/>
                    </a:cubicBezTo>
                    <a:close/>
                    <a:moveTo>
                      <a:pt x="1767" y="1422"/>
                    </a:moveTo>
                    <a:lnTo>
                      <a:pt x="1551" y="1547"/>
                    </a:lnTo>
                    <a:lnTo>
                      <a:pt x="1717" y="1835"/>
                    </a:lnTo>
                    <a:lnTo>
                      <a:pt x="1933" y="1710"/>
                    </a:lnTo>
                    <a:lnTo>
                      <a:pt x="1767" y="1422"/>
                    </a:lnTo>
                    <a:close/>
                    <a:moveTo>
                      <a:pt x="1956" y="1749"/>
                    </a:moveTo>
                    <a:lnTo>
                      <a:pt x="1739" y="1874"/>
                    </a:lnTo>
                    <a:cubicBezTo>
                      <a:pt x="1774" y="1934"/>
                      <a:pt x="1850" y="1954"/>
                      <a:pt x="1910" y="1919"/>
                    </a:cubicBezTo>
                    <a:cubicBezTo>
                      <a:pt x="1969" y="1885"/>
                      <a:pt x="1990" y="1809"/>
                      <a:pt x="1956" y="1749"/>
                    </a:cubicBezTo>
                    <a:close/>
                    <a:moveTo>
                      <a:pt x="803" y="551"/>
                    </a:moveTo>
                    <a:lnTo>
                      <a:pt x="249" y="551"/>
                    </a:lnTo>
                    <a:lnTo>
                      <a:pt x="249" y="613"/>
                    </a:lnTo>
                    <a:lnTo>
                      <a:pt x="803" y="613"/>
                    </a:lnTo>
                    <a:lnTo>
                      <a:pt x="803" y="551"/>
                    </a:lnTo>
                    <a:close/>
                    <a:moveTo>
                      <a:pt x="675" y="828"/>
                    </a:moveTo>
                    <a:lnTo>
                      <a:pt x="249" y="828"/>
                    </a:lnTo>
                    <a:lnTo>
                      <a:pt x="249" y="890"/>
                    </a:lnTo>
                    <a:lnTo>
                      <a:pt x="675" y="890"/>
                    </a:lnTo>
                    <a:lnTo>
                      <a:pt x="675" y="828"/>
                    </a:lnTo>
                    <a:close/>
                    <a:moveTo>
                      <a:pt x="249" y="1167"/>
                    </a:moveTo>
                    <a:lnTo>
                      <a:pt x="675" y="1167"/>
                    </a:lnTo>
                    <a:lnTo>
                      <a:pt x="675" y="1105"/>
                    </a:lnTo>
                    <a:lnTo>
                      <a:pt x="249" y="1105"/>
                    </a:lnTo>
                    <a:lnTo>
                      <a:pt x="249" y="1167"/>
                    </a:lnTo>
                    <a:close/>
                    <a:moveTo>
                      <a:pt x="249" y="1444"/>
                    </a:moveTo>
                    <a:lnTo>
                      <a:pt x="803" y="1444"/>
                    </a:lnTo>
                    <a:lnTo>
                      <a:pt x="803" y="1382"/>
                    </a:lnTo>
                    <a:lnTo>
                      <a:pt x="249" y="1382"/>
                    </a:lnTo>
                    <a:lnTo>
                      <a:pt x="249" y="1444"/>
                    </a:lnTo>
                    <a:close/>
                    <a:moveTo>
                      <a:pt x="1308" y="1105"/>
                    </a:moveTo>
                    <a:lnTo>
                      <a:pt x="1179" y="961"/>
                    </a:lnTo>
                    <a:lnTo>
                      <a:pt x="1118" y="1017"/>
                    </a:lnTo>
                    <a:lnTo>
                      <a:pt x="1300" y="1219"/>
                    </a:lnTo>
                    <a:lnTo>
                      <a:pt x="1657" y="922"/>
                    </a:lnTo>
                    <a:lnTo>
                      <a:pt x="1604" y="858"/>
                    </a:lnTo>
                    <a:lnTo>
                      <a:pt x="1308" y="110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</p:grpSp>
        <p:cxnSp>
          <p:nvCxnSpPr>
            <p:cNvPr id="82" name="直接连接符 81"/>
            <p:cNvCxnSpPr/>
            <p:nvPr/>
          </p:nvCxnSpPr>
          <p:spPr>
            <a:xfrm>
              <a:off x="6737675" y="2729674"/>
              <a:ext cx="478281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接连接符 82"/>
            <p:cNvCxnSpPr/>
            <p:nvPr/>
          </p:nvCxnSpPr>
          <p:spPr>
            <a:xfrm>
              <a:off x="6737675" y="4533074"/>
              <a:ext cx="478281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íśḻíďè"/>
            <p:cNvSpPr txBox="1"/>
            <p:nvPr/>
          </p:nvSpPr>
          <p:spPr>
            <a:xfrm>
              <a:off x="7412675" y="1592560"/>
              <a:ext cx="4128914" cy="993029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fontScale="25000"/>
            </a:bodyPr>
            <a:lstStyle/>
            <a:p>
              <a:pPr>
                <a:lnSpc>
                  <a:spcPct val="130000"/>
                </a:lnSpc>
              </a:pPr>
              <a:r>
                <a:rPr lang="en-US" altLang="zh-CN" sz="6600">
                  <a:latin typeface="Times New Roman" panose="02020503050405090304" charset="0"/>
                  <a:sym typeface="+mn-ea"/>
                </a:rPr>
                <a:t>1. The robot is already working on the second and third floors. Already able to reach the room we set up accurately.</a:t>
              </a:r>
              <a:br>
                <a:rPr lang="en-US" altLang="zh-CN" sz="900">
                  <a:sym typeface="+mn-ea"/>
                </a:rPr>
              </a:br>
              <a:endParaRPr lang="en-US" altLang="zh-CN" sz="900" dirty="0"/>
            </a:p>
          </p:txBody>
        </p:sp>
        <p:grpSp>
          <p:nvGrpSpPr>
            <p:cNvPr id="88" name="iṣļïďê"/>
            <p:cNvGrpSpPr/>
            <p:nvPr/>
          </p:nvGrpSpPr>
          <p:grpSpPr>
            <a:xfrm>
              <a:off x="7412675" y="2976332"/>
              <a:ext cx="4128914" cy="1464849"/>
              <a:chOff x="7412675" y="1120740"/>
              <a:chExt cx="4128914" cy="1464849"/>
            </a:xfrm>
          </p:grpSpPr>
          <p:sp>
            <p:nvSpPr>
              <p:cNvPr id="94" name="î$ḻíďé"/>
              <p:cNvSpPr txBox="1"/>
              <p:nvPr/>
            </p:nvSpPr>
            <p:spPr>
              <a:xfrm>
                <a:off x="7412675" y="1592560"/>
                <a:ext cx="4128914" cy="993029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zh-CN" sz="1600">
                    <a:latin typeface="Times New Roman" panose="02020503050405090304" charset="0"/>
                    <a:sym typeface="+mn-ea"/>
                  </a:rPr>
                  <a:t> 2.The robot can broadcast the desired voice prompts in the corresponding location.</a:t>
                </a:r>
                <a:endParaRPr lang="en-US" altLang="zh-CN" sz="1600" dirty="0">
                  <a:latin typeface="Times New Roman" panose="02020503050405090304" charset="0"/>
                  <a:sym typeface="+mn-ea"/>
                </a:endParaRPr>
              </a:p>
            </p:txBody>
          </p:sp>
          <p:sp>
            <p:nvSpPr>
              <p:cNvPr id="95" name="îş1îḋe"/>
              <p:cNvSpPr txBox="1"/>
              <p:nvPr/>
            </p:nvSpPr>
            <p:spPr>
              <a:xfrm>
                <a:off x="7412675" y="1120740"/>
                <a:ext cx="4128914" cy="471820"/>
              </a:xfrm>
              <a:prstGeom prst="rect">
                <a:avLst/>
              </a:prstGeom>
              <a:noFill/>
            </p:spPr>
            <p:txBody>
              <a:bodyPr wrap="square" anchor="ctr">
                <a:normAutofit/>
              </a:bodyPr>
              <a:lstStyle/>
              <a:p>
                <a:endParaRPr lang="en-US" altLang="zh-CN" sz="1400" b="1" dirty="0">
                  <a:solidFill>
                    <a:schemeClr val="accent3"/>
                  </a:solidFill>
                </a:endParaRPr>
              </a:p>
            </p:txBody>
          </p:sp>
        </p:grpSp>
        <p:grpSp>
          <p:nvGrpSpPr>
            <p:cNvPr id="89" name="iṣḻídè"/>
            <p:cNvGrpSpPr/>
            <p:nvPr/>
          </p:nvGrpSpPr>
          <p:grpSpPr>
            <a:xfrm>
              <a:off x="7412675" y="4767725"/>
              <a:ext cx="4128914" cy="1464849"/>
              <a:chOff x="7412675" y="1120740"/>
              <a:chExt cx="4128914" cy="1464849"/>
            </a:xfrm>
          </p:grpSpPr>
          <p:sp>
            <p:nvSpPr>
              <p:cNvPr id="92" name="îṣḷiḋe"/>
              <p:cNvSpPr txBox="1"/>
              <p:nvPr/>
            </p:nvSpPr>
            <p:spPr>
              <a:xfrm>
                <a:off x="7412675" y="1592560"/>
                <a:ext cx="4128914" cy="993029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>
                <a:normAutofit/>
              </a:bodyPr>
              <a:lstStyle/>
              <a:p>
                <a:pPr>
                  <a:lnSpc>
                    <a:spcPct val="130000"/>
                  </a:lnSpc>
                </a:pPr>
                <a:endParaRPr lang="en-US" altLang="zh-CN" sz="900" dirty="0"/>
              </a:p>
            </p:txBody>
          </p:sp>
          <p:sp>
            <p:nvSpPr>
              <p:cNvPr id="93" name="íṣḻiḑê"/>
              <p:cNvSpPr txBox="1"/>
              <p:nvPr/>
            </p:nvSpPr>
            <p:spPr>
              <a:xfrm>
                <a:off x="7412675" y="1120740"/>
                <a:ext cx="4128914" cy="471820"/>
              </a:xfrm>
              <a:prstGeom prst="rect">
                <a:avLst/>
              </a:prstGeom>
              <a:noFill/>
            </p:spPr>
            <p:txBody>
              <a:bodyPr wrap="square" anchor="ctr">
                <a:normAutofit/>
              </a:bodyPr>
              <a:lstStyle/>
              <a:p>
                <a:endParaRPr lang="en-US" altLang="zh-CN" sz="1400" b="1" dirty="0">
                  <a:solidFill>
                    <a:schemeClr val="accent2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Uncompleted work</a:t>
            </a:r>
            <a:r>
              <a:rPr lang="zh-CN" altLang="en-US">
                <a:sym typeface="+mn-ea"/>
              </a:rPr>
              <a:t>：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5" name="44ed5567-af30-4640-90b3-39865954905f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605" y="1013210"/>
            <a:ext cx="10847282" cy="5112635"/>
            <a:chOff x="669795" y="1030990"/>
            <a:chExt cx="10847282" cy="5112635"/>
          </a:xfrm>
        </p:grpSpPr>
        <p:grpSp>
          <p:nvGrpSpPr>
            <p:cNvPr id="6" name="iśļîḍe"/>
            <p:cNvGrpSpPr/>
            <p:nvPr/>
          </p:nvGrpSpPr>
          <p:grpSpPr>
            <a:xfrm>
              <a:off x="1914416" y="1030990"/>
              <a:ext cx="8176512" cy="4161561"/>
              <a:chOff x="2046000" y="1183105"/>
              <a:chExt cx="7303293" cy="3717118"/>
            </a:xfrm>
          </p:grpSpPr>
          <p:sp>
            <p:nvSpPr>
              <p:cNvPr id="24" name="ïṩļiḓê"/>
              <p:cNvSpPr/>
              <p:nvPr/>
            </p:nvSpPr>
            <p:spPr bwMode="auto">
              <a:xfrm>
                <a:off x="6441871" y="3840506"/>
                <a:ext cx="150830" cy="291738"/>
              </a:xfrm>
              <a:custGeom>
                <a:avLst/>
                <a:gdLst/>
                <a:ahLst/>
                <a:cxnLst>
                  <a:cxn ang="0">
                    <a:pos x="9" y="114"/>
                  </a:cxn>
                  <a:cxn ang="0">
                    <a:pos x="18" y="94"/>
                  </a:cxn>
                  <a:cxn ang="0">
                    <a:pos x="11" y="71"/>
                  </a:cxn>
                  <a:cxn ang="0">
                    <a:pos x="40" y="43"/>
                  </a:cxn>
                  <a:cxn ang="0">
                    <a:pos x="71" y="13"/>
                  </a:cxn>
                  <a:cxn ang="0">
                    <a:pos x="73" y="0"/>
                  </a:cxn>
                  <a:cxn ang="0">
                    <a:pos x="91" y="42"/>
                  </a:cxn>
                  <a:cxn ang="0">
                    <a:pos x="91" y="49"/>
                  </a:cxn>
                  <a:cxn ang="0">
                    <a:pos x="84" y="47"/>
                  </a:cxn>
                  <a:cxn ang="0">
                    <a:pos x="64" y="126"/>
                  </a:cxn>
                  <a:cxn ang="0">
                    <a:pos x="25" y="175"/>
                  </a:cxn>
                  <a:cxn ang="0">
                    <a:pos x="5" y="151"/>
                  </a:cxn>
                  <a:cxn ang="0">
                    <a:pos x="5" y="140"/>
                  </a:cxn>
                  <a:cxn ang="0">
                    <a:pos x="0" y="122"/>
                  </a:cxn>
                  <a:cxn ang="0">
                    <a:pos x="9" y="114"/>
                  </a:cxn>
                </a:cxnLst>
                <a:rect l="0" t="0" r="r" b="b"/>
                <a:pathLst>
                  <a:path w="91" h="175">
                    <a:moveTo>
                      <a:pt x="9" y="114"/>
                    </a:moveTo>
                    <a:cubicBezTo>
                      <a:pt x="9" y="114"/>
                      <a:pt x="18" y="95"/>
                      <a:pt x="18" y="94"/>
                    </a:cubicBezTo>
                    <a:cubicBezTo>
                      <a:pt x="18" y="89"/>
                      <a:pt x="11" y="78"/>
                      <a:pt x="11" y="71"/>
                    </a:cubicBezTo>
                    <a:cubicBezTo>
                      <a:pt x="11" y="49"/>
                      <a:pt x="27" y="50"/>
                      <a:pt x="40" y="43"/>
                    </a:cubicBezTo>
                    <a:cubicBezTo>
                      <a:pt x="50" y="37"/>
                      <a:pt x="64" y="20"/>
                      <a:pt x="71" y="13"/>
                    </a:cubicBezTo>
                    <a:cubicBezTo>
                      <a:pt x="73" y="11"/>
                      <a:pt x="72" y="4"/>
                      <a:pt x="73" y="0"/>
                    </a:cubicBezTo>
                    <a:cubicBezTo>
                      <a:pt x="88" y="2"/>
                      <a:pt x="87" y="31"/>
                      <a:pt x="91" y="42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89" y="48"/>
                      <a:pt x="85" y="47"/>
                      <a:pt x="84" y="47"/>
                    </a:cubicBezTo>
                    <a:cubicBezTo>
                      <a:pt x="84" y="79"/>
                      <a:pt x="74" y="101"/>
                      <a:pt x="64" y="126"/>
                    </a:cubicBezTo>
                    <a:cubicBezTo>
                      <a:pt x="56" y="146"/>
                      <a:pt x="52" y="175"/>
                      <a:pt x="25" y="175"/>
                    </a:cubicBezTo>
                    <a:cubicBezTo>
                      <a:pt x="14" y="175"/>
                      <a:pt x="5" y="163"/>
                      <a:pt x="5" y="151"/>
                    </a:cubicBezTo>
                    <a:cubicBezTo>
                      <a:pt x="5" y="145"/>
                      <a:pt x="6" y="143"/>
                      <a:pt x="5" y="140"/>
                    </a:cubicBezTo>
                    <a:cubicBezTo>
                      <a:pt x="0" y="136"/>
                      <a:pt x="0" y="129"/>
                      <a:pt x="0" y="122"/>
                    </a:cubicBezTo>
                    <a:cubicBezTo>
                      <a:pt x="0" y="121"/>
                      <a:pt x="8" y="114"/>
                      <a:pt x="9" y="11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25" name="îṥḻïḓe"/>
              <p:cNvSpPr/>
              <p:nvPr/>
            </p:nvSpPr>
            <p:spPr bwMode="auto">
              <a:xfrm>
                <a:off x="5185615" y="2754928"/>
                <a:ext cx="1424949" cy="1593638"/>
              </a:xfrm>
              <a:custGeom>
                <a:avLst/>
                <a:gdLst/>
                <a:ahLst/>
                <a:cxnLst>
                  <a:cxn ang="0">
                    <a:pos x="499" y="66"/>
                  </a:cxn>
                  <a:cxn ang="0">
                    <a:pos x="527" y="81"/>
                  </a:cxn>
                  <a:cxn ang="0">
                    <a:pos x="609" y="86"/>
                  </a:cxn>
                  <a:cxn ang="0">
                    <a:pos x="644" y="89"/>
                  </a:cxn>
                  <a:cxn ang="0">
                    <a:pos x="644" y="136"/>
                  </a:cxn>
                  <a:cxn ang="0">
                    <a:pos x="620" y="115"/>
                  </a:cxn>
                  <a:cxn ang="0">
                    <a:pos x="679" y="223"/>
                  </a:cxn>
                  <a:cxn ang="0">
                    <a:pos x="699" y="267"/>
                  </a:cxn>
                  <a:cxn ang="0">
                    <a:pos x="730" y="310"/>
                  </a:cxn>
                  <a:cxn ang="0">
                    <a:pos x="755" y="348"/>
                  </a:cxn>
                  <a:cxn ang="0">
                    <a:pos x="787" y="359"/>
                  </a:cxn>
                  <a:cxn ang="0">
                    <a:pos x="853" y="346"/>
                  </a:cxn>
                  <a:cxn ang="0">
                    <a:pos x="826" y="425"/>
                  </a:cxn>
                  <a:cxn ang="0">
                    <a:pos x="719" y="541"/>
                  </a:cxn>
                  <a:cxn ang="0">
                    <a:pos x="708" y="600"/>
                  </a:cxn>
                  <a:cxn ang="0">
                    <a:pos x="721" y="638"/>
                  </a:cxn>
                  <a:cxn ang="0">
                    <a:pos x="720" y="676"/>
                  </a:cxn>
                  <a:cxn ang="0">
                    <a:pos x="660" y="745"/>
                  </a:cxn>
                  <a:cxn ang="0">
                    <a:pos x="659" y="788"/>
                  </a:cxn>
                  <a:cxn ang="0">
                    <a:pos x="643" y="816"/>
                  </a:cxn>
                  <a:cxn ang="0">
                    <a:pos x="627" y="846"/>
                  </a:cxn>
                  <a:cxn ang="0">
                    <a:pos x="592" y="902"/>
                  </a:cxn>
                  <a:cxn ang="0">
                    <a:pos x="538" y="946"/>
                  </a:cxn>
                  <a:cxn ang="0">
                    <a:pos x="512" y="944"/>
                  </a:cxn>
                  <a:cxn ang="0">
                    <a:pos x="452" y="949"/>
                  </a:cxn>
                  <a:cxn ang="0">
                    <a:pos x="440" y="929"/>
                  </a:cxn>
                  <a:cxn ang="0">
                    <a:pos x="431" y="893"/>
                  </a:cxn>
                  <a:cxn ang="0">
                    <a:pos x="395" y="789"/>
                  </a:cxn>
                  <a:cxn ang="0">
                    <a:pos x="360" y="708"/>
                  </a:cxn>
                  <a:cxn ang="0">
                    <a:pos x="382" y="621"/>
                  </a:cxn>
                  <a:cxn ang="0">
                    <a:pos x="364" y="558"/>
                  </a:cxn>
                  <a:cxn ang="0">
                    <a:pos x="337" y="490"/>
                  </a:cxn>
                  <a:cxn ang="0">
                    <a:pos x="342" y="461"/>
                  </a:cxn>
                  <a:cxn ang="0">
                    <a:pos x="295" y="443"/>
                  </a:cxn>
                  <a:cxn ang="0">
                    <a:pos x="206" y="433"/>
                  </a:cxn>
                  <a:cxn ang="0">
                    <a:pos x="164" y="434"/>
                  </a:cxn>
                  <a:cxn ang="0">
                    <a:pos x="109" y="439"/>
                  </a:cxn>
                  <a:cxn ang="0">
                    <a:pos x="40" y="369"/>
                  </a:cxn>
                  <a:cxn ang="0">
                    <a:pos x="7" y="338"/>
                  </a:cxn>
                  <a:cxn ang="0">
                    <a:pos x="7" y="324"/>
                  </a:cxn>
                  <a:cxn ang="0">
                    <a:pos x="18" y="269"/>
                  </a:cxn>
                  <a:cxn ang="0">
                    <a:pos x="22" y="199"/>
                  </a:cxn>
                  <a:cxn ang="0">
                    <a:pos x="77" y="132"/>
                  </a:cxn>
                  <a:cxn ang="0">
                    <a:pos x="104" y="77"/>
                  </a:cxn>
                  <a:cxn ang="0">
                    <a:pos x="141" y="36"/>
                  </a:cxn>
                  <a:cxn ang="0">
                    <a:pos x="187" y="35"/>
                  </a:cxn>
                  <a:cxn ang="0">
                    <a:pos x="273" y="6"/>
                  </a:cxn>
                  <a:cxn ang="0">
                    <a:pos x="307" y="4"/>
                  </a:cxn>
                  <a:cxn ang="0">
                    <a:pos x="338" y="0"/>
                  </a:cxn>
                  <a:cxn ang="0">
                    <a:pos x="358" y="6"/>
                  </a:cxn>
                  <a:cxn ang="0">
                    <a:pos x="357" y="27"/>
                  </a:cxn>
                  <a:cxn ang="0">
                    <a:pos x="371" y="64"/>
                  </a:cxn>
                  <a:cxn ang="0">
                    <a:pos x="455" y="100"/>
                  </a:cxn>
                  <a:cxn ang="0">
                    <a:pos x="464" y="84"/>
                  </a:cxn>
                  <a:cxn ang="0">
                    <a:pos x="490" y="66"/>
                  </a:cxn>
                </a:cxnLst>
                <a:rect l="0" t="0" r="r" b="b"/>
                <a:pathLst>
                  <a:path w="856" h="957">
                    <a:moveTo>
                      <a:pt x="490" y="66"/>
                    </a:moveTo>
                    <a:cubicBezTo>
                      <a:pt x="499" y="66"/>
                      <a:pt x="499" y="66"/>
                      <a:pt x="499" y="66"/>
                    </a:cubicBezTo>
                    <a:cubicBezTo>
                      <a:pt x="499" y="73"/>
                      <a:pt x="504" y="74"/>
                      <a:pt x="506" y="77"/>
                    </a:cubicBezTo>
                    <a:cubicBezTo>
                      <a:pt x="510" y="82"/>
                      <a:pt x="520" y="78"/>
                      <a:pt x="527" y="81"/>
                    </a:cubicBezTo>
                    <a:cubicBezTo>
                      <a:pt x="541" y="86"/>
                      <a:pt x="561" y="93"/>
                      <a:pt x="576" y="93"/>
                    </a:cubicBezTo>
                    <a:cubicBezTo>
                      <a:pt x="591" y="93"/>
                      <a:pt x="595" y="86"/>
                      <a:pt x="609" y="86"/>
                    </a:cubicBezTo>
                    <a:cubicBezTo>
                      <a:pt x="617" y="86"/>
                      <a:pt x="622" y="92"/>
                      <a:pt x="632" y="92"/>
                    </a:cubicBezTo>
                    <a:cubicBezTo>
                      <a:pt x="638" y="92"/>
                      <a:pt x="638" y="90"/>
                      <a:pt x="644" y="89"/>
                    </a:cubicBezTo>
                    <a:cubicBezTo>
                      <a:pt x="647" y="96"/>
                      <a:pt x="653" y="102"/>
                      <a:pt x="653" y="111"/>
                    </a:cubicBezTo>
                    <a:cubicBezTo>
                      <a:pt x="653" y="115"/>
                      <a:pt x="646" y="131"/>
                      <a:pt x="644" y="136"/>
                    </a:cubicBezTo>
                    <a:cubicBezTo>
                      <a:pt x="635" y="135"/>
                      <a:pt x="627" y="115"/>
                      <a:pt x="620" y="107"/>
                    </a:cubicBezTo>
                    <a:cubicBezTo>
                      <a:pt x="620" y="115"/>
                      <a:pt x="620" y="115"/>
                      <a:pt x="620" y="115"/>
                    </a:cubicBezTo>
                    <a:cubicBezTo>
                      <a:pt x="662" y="189"/>
                      <a:pt x="662" y="189"/>
                      <a:pt x="662" y="189"/>
                    </a:cubicBezTo>
                    <a:cubicBezTo>
                      <a:pt x="659" y="198"/>
                      <a:pt x="673" y="218"/>
                      <a:pt x="679" y="223"/>
                    </a:cubicBezTo>
                    <a:cubicBezTo>
                      <a:pt x="679" y="246"/>
                      <a:pt x="679" y="246"/>
                      <a:pt x="679" y="246"/>
                    </a:cubicBezTo>
                    <a:cubicBezTo>
                      <a:pt x="684" y="258"/>
                      <a:pt x="692" y="258"/>
                      <a:pt x="699" y="267"/>
                    </a:cubicBezTo>
                    <a:cubicBezTo>
                      <a:pt x="707" y="278"/>
                      <a:pt x="702" y="289"/>
                      <a:pt x="710" y="297"/>
                    </a:cubicBezTo>
                    <a:cubicBezTo>
                      <a:pt x="717" y="304"/>
                      <a:pt x="722" y="305"/>
                      <a:pt x="730" y="310"/>
                    </a:cubicBezTo>
                    <a:cubicBezTo>
                      <a:pt x="737" y="316"/>
                      <a:pt x="741" y="334"/>
                      <a:pt x="755" y="334"/>
                    </a:cubicBezTo>
                    <a:cubicBezTo>
                      <a:pt x="755" y="341"/>
                      <a:pt x="759" y="343"/>
                      <a:pt x="755" y="348"/>
                    </a:cubicBezTo>
                    <a:cubicBezTo>
                      <a:pt x="761" y="352"/>
                      <a:pt x="767" y="366"/>
                      <a:pt x="774" y="366"/>
                    </a:cubicBezTo>
                    <a:cubicBezTo>
                      <a:pt x="781" y="366"/>
                      <a:pt x="782" y="361"/>
                      <a:pt x="787" y="359"/>
                    </a:cubicBezTo>
                    <a:cubicBezTo>
                      <a:pt x="794" y="357"/>
                      <a:pt x="798" y="360"/>
                      <a:pt x="805" y="359"/>
                    </a:cubicBezTo>
                    <a:cubicBezTo>
                      <a:pt x="822" y="356"/>
                      <a:pt x="838" y="350"/>
                      <a:pt x="853" y="346"/>
                    </a:cubicBezTo>
                    <a:cubicBezTo>
                      <a:pt x="855" y="348"/>
                      <a:pt x="856" y="350"/>
                      <a:pt x="856" y="352"/>
                    </a:cubicBezTo>
                    <a:cubicBezTo>
                      <a:pt x="856" y="377"/>
                      <a:pt x="837" y="410"/>
                      <a:pt x="826" y="425"/>
                    </a:cubicBezTo>
                    <a:cubicBezTo>
                      <a:pt x="812" y="443"/>
                      <a:pt x="807" y="459"/>
                      <a:pt x="790" y="471"/>
                    </a:cubicBezTo>
                    <a:cubicBezTo>
                      <a:pt x="761" y="494"/>
                      <a:pt x="730" y="501"/>
                      <a:pt x="719" y="541"/>
                    </a:cubicBezTo>
                    <a:cubicBezTo>
                      <a:pt x="716" y="552"/>
                      <a:pt x="704" y="555"/>
                      <a:pt x="704" y="567"/>
                    </a:cubicBezTo>
                    <a:cubicBezTo>
                      <a:pt x="704" y="581"/>
                      <a:pt x="708" y="587"/>
                      <a:pt x="708" y="600"/>
                    </a:cubicBezTo>
                    <a:cubicBezTo>
                      <a:pt x="708" y="615"/>
                      <a:pt x="724" y="623"/>
                      <a:pt x="724" y="631"/>
                    </a:cubicBezTo>
                    <a:cubicBezTo>
                      <a:pt x="724" y="634"/>
                      <a:pt x="722" y="637"/>
                      <a:pt x="721" y="638"/>
                    </a:cubicBezTo>
                    <a:cubicBezTo>
                      <a:pt x="721" y="649"/>
                      <a:pt x="721" y="649"/>
                      <a:pt x="721" y="649"/>
                    </a:cubicBezTo>
                    <a:cubicBezTo>
                      <a:pt x="721" y="656"/>
                      <a:pt x="720" y="664"/>
                      <a:pt x="720" y="676"/>
                    </a:cubicBezTo>
                    <a:cubicBezTo>
                      <a:pt x="722" y="679"/>
                      <a:pt x="723" y="682"/>
                      <a:pt x="723" y="685"/>
                    </a:cubicBezTo>
                    <a:cubicBezTo>
                      <a:pt x="723" y="720"/>
                      <a:pt x="665" y="716"/>
                      <a:pt x="660" y="745"/>
                    </a:cubicBezTo>
                    <a:cubicBezTo>
                      <a:pt x="654" y="746"/>
                      <a:pt x="647" y="753"/>
                      <a:pt x="647" y="758"/>
                    </a:cubicBezTo>
                    <a:cubicBezTo>
                      <a:pt x="647" y="768"/>
                      <a:pt x="659" y="774"/>
                      <a:pt x="659" y="788"/>
                    </a:cubicBezTo>
                    <a:cubicBezTo>
                      <a:pt x="659" y="795"/>
                      <a:pt x="658" y="809"/>
                      <a:pt x="656" y="813"/>
                    </a:cubicBezTo>
                    <a:cubicBezTo>
                      <a:pt x="653" y="817"/>
                      <a:pt x="646" y="815"/>
                      <a:pt x="643" y="816"/>
                    </a:cubicBezTo>
                    <a:cubicBezTo>
                      <a:pt x="632" y="822"/>
                      <a:pt x="626" y="826"/>
                      <a:pt x="621" y="837"/>
                    </a:cubicBezTo>
                    <a:cubicBezTo>
                      <a:pt x="624" y="839"/>
                      <a:pt x="627" y="842"/>
                      <a:pt x="627" y="846"/>
                    </a:cubicBezTo>
                    <a:cubicBezTo>
                      <a:pt x="627" y="859"/>
                      <a:pt x="615" y="868"/>
                      <a:pt x="610" y="874"/>
                    </a:cubicBezTo>
                    <a:cubicBezTo>
                      <a:pt x="600" y="883"/>
                      <a:pt x="599" y="893"/>
                      <a:pt x="592" y="902"/>
                    </a:cubicBezTo>
                    <a:cubicBezTo>
                      <a:pt x="581" y="916"/>
                      <a:pt x="576" y="929"/>
                      <a:pt x="558" y="938"/>
                    </a:cubicBezTo>
                    <a:cubicBezTo>
                      <a:pt x="550" y="941"/>
                      <a:pt x="539" y="938"/>
                      <a:pt x="538" y="946"/>
                    </a:cubicBezTo>
                    <a:cubicBezTo>
                      <a:pt x="532" y="946"/>
                      <a:pt x="529" y="949"/>
                      <a:pt x="525" y="949"/>
                    </a:cubicBezTo>
                    <a:cubicBezTo>
                      <a:pt x="520" y="949"/>
                      <a:pt x="517" y="944"/>
                      <a:pt x="512" y="944"/>
                    </a:cubicBezTo>
                    <a:cubicBezTo>
                      <a:pt x="494" y="944"/>
                      <a:pt x="483" y="957"/>
                      <a:pt x="466" y="957"/>
                    </a:cubicBezTo>
                    <a:cubicBezTo>
                      <a:pt x="459" y="957"/>
                      <a:pt x="455" y="953"/>
                      <a:pt x="452" y="949"/>
                    </a:cubicBezTo>
                    <a:cubicBezTo>
                      <a:pt x="449" y="949"/>
                      <a:pt x="449" y="950"/>
                      <a:pt x="448" y="951"/>
                    </a:cubicBezTo>
                    <a:cubicBezTo>
                      <a:pt x="448" y="942"/>
                      <a:pt x="443" y="932"/>
                      <a:pt x="440" y="929"/>
                    </a:cubicBezTo>
                    <a:cubicBezTo>
                      <a:pt x="443" y="925"/>
                      <a:pt x="445" y="922"/>
                      <a:pt x="445" y="917"/>
                    </a:cubicBezTo>
                    <a:cubicBezTo>
                      <a:pt x="445" y="910"/>
                      <a:pt x="433" y="897"/>
                      <a:pt x="431" y="893"/>
                    </a:cubicBezTo>
                    <a:cubicBezTo>
                      <a:pt x="415" y="866"/>
                      <a:pt x="395" y="840"/>
                      <a:pt x="395" y="801"/>
                    </a:cubicBezTo>
                    <a:cubicBezTo>
                      <a:pt x="395" y="794"/>
                      <a:pt x="395" y="792"/>
                      <a:pt x="395" y="789"/>
                    </a:cubicBezTo>
                    <a:cubicBezTo>
                      <a:pt x="395" y="783"/>
                      <a:pt x="389" y="781"/>
                      <a:pt x="386" y="774"/>
                    </a:cubicBezTo>
                    <a:cubicBezTo>
                      <a:pt x="374" y="754"/>
                      <a:pt x="360" y="737"/>
                      <a:pt x="360" y="708"/>
                    </a:cubicBezTo>
                    <a:cubicBezTo>
                      <a:pt x="360" y="677"/>
                      <a:pt x="388" y="670"/>
                      <a:pt x="388" y="646"/>
                    </a:cubicBezTo>
                    <a:cubicBezTo>
                      <a:pt x="388" y="635"/>
                      <a:pt x="384" y="631"/>
                      <a:pt x="382" y="621"/>
                    </a:cubicBezTo>
                    <a:cubicBezTo>
                      <a:pt x="379" y="602"/>
                      <a:pt x="376" y="596"/>
                      <a:pt x="371" y="585"/>
                    </a:cubicBezTo>
                    <a:cubicBezTo>
                      <a:pt x="368" y="576"/>
                      <a:pt x="370" y="566"/>
                      <a:pt x="364" y="558"/>
                    </a:cubicBezTo>
                    <a:cubicBezTo>
                      <a:pt x="352" y="544"/>
                      <a:pt x="327" y="528"/>
                      <a:pt x="327" y="508"/>
                    </a:cubicBezTo>
                    <a:cubicBezTo>
                      <a:pt x="327" y="503"/>
                      <a:pt x="334" y="492"/>
                      <a:pt x="337" y="490"/>
                    </a:cubicBezTo>
                    <a:cubicBezTo>
                      <a:pt x="336" y="486"/>
                      <a:pt x="337" y="485"/>
                      <a:pt x="337" y="483"/>
                    </a:cubicBezTo>
                    <a:cubicBezTo>
                      <a:pt x="337" y="478"/>
                      <a:pt x="337" y="465"/>
                      <a:pt x="342" y="461"/>
                    </a:cubicBezTo>
                    <a:cubicBezTo>
                      <a:pt x="337" y="451"/>
                      <a:pt x="329" y="443"/>
                      <a:pt x="314" y="443"/>
                    </a:cubicBezTo>
                    <a:cubicBezTo>
                      <a:pt x="306" y="443"/>
                      <a:pt x="299" y="443"/>
                      <a:pt x="295" y="443"/>
                    </a:cubicBezTo>
                    <a:cubicBezTo>
                      <a:pt x="282" y="443"/>
                      <a:pt x="279" y="417"/>
                      <a:pt x="261" y="417"/>
                    </a:cubicBezTo>
                    <a:cubicBezTo>
                      <a:pt x="239" y="417"/>
                      <a:pt x="223" y="427"/>
                      <a:pt x="206" y="433"/>
                    </a:cubicBezTo>
                    <a:cubicBezTo>
                      <a:pt x="199" y="435"/>
                      <a:pt x="197" y="440"/>
                      <a:pt x="191" y="440"/>
                    </a:cubicBezTo>
                    <a:cubicBezTo>
                      <a:pt x="184" y="440"/>
                      <a:pt x="173" y="434"/>
                      <a:pt x="164" y="434"/>
                    </a:cubicBezTo>
                    <a:cubicBezTo>
                      <a:pt x="147" y="434"/>
                      <a:pt x="139" y="443"/>
                      <a:pt x="122" y="443"/>
                    </a:cubicBezTo>
                    <a:cubicBezTo>
                      <a:pt x="117" y="443"/>
                      <a:pt x="111" y="440"/>
                      <a:pt x="109" y="439"/>
                    </a:cubicBezTo>
                    <a:cubicBezTo>
                      <a:pt x="97" y="430"/>
                      <a:pt x="71" y="415"/>
                      <a:pt x="62" y="401"/>
                    </a:cubicBezTo>
                    <a:cubicBezTo>
                      <a:pt x="53" y="388"/>
                      <a:pt x="51" y="377"/>
                      <a:pt x="40" y="369"/>
                    </a:cubicBezTo>
                    <a:cubicBezTo>
                      <a:pt x="37" y="366"/>
                      <a:pt x="13" y="346"/>
                      <a:pt x="13" y="344"/>
                    </a:cubicBezTo>
                    <a:cubicBezTo>
                      <a:pt x="11" y="341"/>
                      <a:pt x="10" y="340"/>
                      <a:pt x="7" y="338"/>
                    </a:cubicBezTo>
                    <a:cubicBezTo>
                      <a:pt x="9" y="338"/>
                      <a:pt x="9" y="338"/>
                      <a:pt x="9" y="338"/>
                    </a:cubicBezTo>
                    <a:cubicBezTo>
                      <a:pt x="9" y="331"/>
                      <a:pt x="7" y="328"/>
                      <a:pt x="7" y="324"/>
                    </a:cubicBezTo>
                    <a:cubicBezTo>
                      <a:pt x="7" y="317"/>
                      <a:pt x="3" y="315"/>
                      <a:pt x="0" y="309"/>
                    </a:cubicBezTo>
                    <a:cubicBezTo>
                      <a:pt x="10" y="304"/>
                      <a:pt x="18" y="280"/>
                      <a:pt x="18" y="269"/>
                    </a:cubicBezTo>
                    <a:cubicBezTo>
                      <a:pt x="18" y="250"/>
                      <a:pt x="10" y="238"/>
                      <a:pt x="10" y="220"/>
                    </a:cubicBezTo>
                    <a:cubicBezTo>
                      <a:pt x="10" y="211"/>
                      <a:pt x="20" y="206"/>
                      <a:pt x="22" y="199"/>
                    </a:cubicBezTo>
                    <a:cubicBezTo>
                      <a:pt x="28" y="182"/>
                      <a:pt x="41" y="158"/>
                      <a:pt x="52" y="144"/>
                    </a:cubicBezTo>
                    <a:cubicBezTo>
                      <a:pt x="58" y="135"/>
                      <a:pt x="69" y="136"/>
                      <a:pt x="77" y="132"/>
                    </a:cubicBezTo>
                    <a:cubicBezTo>
                      <a:pt x="84" y="128"/>
                      <a:pt x="95" y="119"/>
                      <a:pt x="97" y="112"/>
                    </a:cubicBezTo>
                    <a:cubicBezTo>
                      <a:pt x="102" y="96"/>
                      <a:pt x="96" y="89"/>
                      <a:pt x="104" y="77"/>
                    </a:cubicBezTo>
                    <a:cubicBezTo>
                      <a:pt x="116" y="63"/>
                      <a:pt x="131" y="49"/>
                      <a:pt x="142" y="36"/>
                    </a:cubicBezTo>
                    <a:cubicBezTo>
                      <a:pt x="141" y="36"/>
                      <a:pt x="141" y="36"/>
                      <a:pt x="141" y="36"/>
                    </a:cubicBezTo>
                    <a:cubicBezTo>
                      <a:pt x="145" y="31"/>
                      <a:pt x="146" y="27"/>
                      <a:pt x="150" y="24"/>
                    </a:cubicBezTo>
                    <a:cubicBezTo>
                      <a:pt x="161" y="32"/>
                      <a:pt x="172" y="35"/>
                      <a:pt x="187" y="35"/>
                    </a:cubicBezTo>
                    <a:cubicBezTo>
                      <a:pt x="197" y="35"/>
                      <a:pt x="198" y="29"/>
                      <a:pt x="204" y="27"/>
                    </a:cubicBezTo>
                    <a:cubicBezTo>
                      <a:pt x="221" y="18"/>
                      <a:pt x="254" y="6"/>
                      <a:pt x="273" y="6"/>
                    </a:cubicBezTo>
                    <a:cubicBezTo>
                      <a:pt x="280" y="6"/>
                      <a:pt x="285" y="10"/>
                      <a:pt x="289" y="10"/>
                    </a:cubicBezTo>
                    <a:cubicBezTo>
                      <a:pt x="294" y="10"/>
                      <a:pt x="301" y="4"/>
                      <a:pt x="307" y="4"/>
                    </a:cubicBezTo>
                    <a:cubicBezTo>
                      <a:pt x="313" y="4"/>
                      <a:pt x="316" y="7"/>
                      <a:pt x="321" y="7"/>
                    </a:cubicBezTo>
                    <a:cubicBezTo>
                      <a:pt x="329" y="7"/>
                      <a:pt x="330" y="0"/>
                      <a:pt x="338" y="0"/>
                    </a:cubicBezTo>
                    <a:cubicBezTo>
                      <a:pt x="347" y="0"/>
                      <a:pt x="344" y="8"/>
                      <a:pt x="351" y="8"/>
                    </a:cubicBezTo>
                    <a:cubicBezTo>
                      <a:pt x="354" y="8"/>
                      <a:pt x="355" y="6"/>
                      <a:pt x="358" y="6"/>
                    </a:cubicBezTo>
                    <a:cubicBezTo>
                      <a:pt x="358" y="12"/>
                      <a:pt x="351" y="11"/>
                      <a:pt x="351" y="17"/>
                    </a:cubicBezTo>
                    <a:cubicBezTo>
                      <a:pt x="351" y="21"/>
                      <a:pt x="357" y="23"/>
                      <a:pt x="357" y="27"/>
                    </a:cubicBezTo>
                    <a:cubicBezTo>
                      <a:pt x="357" y="33"/>
                      <a:pt x="351" y="37"/>
                      <a:pt x="351" y="44"/>
                    </a:cubicBezTo>
                    <a:cubicBezTo>
                      <a:pt x="351" y="55"/>
                      <a:pt x="363" y="64"/>
                      <a:pt x="371" y="64"/>
                    </a:cubicBezTo>
                    <a:cubicBezTo>
                      <a:pt x="377" y="64"/>
                      <a:pt x="380" y="64"/>
                      <a:pt x="384" y="64"/>
                    </a:cubicBezTo>
                    <a:cubicBezTo>
                      <a:pt x="412" y="64"/>
                      <a:pt x="423" y="100"/>
                      <a:pt x="455" y="100"/>
                    </a:cubicBezTo>
                    <a:cubicBezTo>
                      <a:pt x="459" y="100"/>
                      <a:pt x="464" y="95"/>
                      <a:pt x="464" y="93"/>
                    </a:cubicBezTo>
                    <a:cubicBezTo>
                      <a:pt x="464" y="90"/>
                      <a:pt x="464" y="87"/>
                      <a:pt x="464" y="84"/>
                    </a:cubicBezTo>
                    <a:cubicBezTo>
                      <a:pt x="464" y="70"/>
                      <a:pt x="475" y="70"/>
                      <a:pt x="488" y="66"/>
                    </a:cubicBezTo>
                    <a:lnTo>
                      <a:pt x="490" y="6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26" name="íŝḷíďé"/>
              <p:cNvSpPr/>
              <p:nvPr/>
            </p:nvSpPr>
            <p:spPr bwMode="auto">
              <a:xfrm>
                <a:off x="4491032" y="3584447"/>
                <a:ext cx="49616" cy="39691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20" y="4"/>
                  </a:cxn>
                  <a:cxn ang="0">
                    <a:pos x="27" y="5"/>
                  </a:cxn>
                  <a:cxn ang="0">
                    <a:pos x="30" y="9"/>
                  </a:cxn>
                  <a:cxn ang="0">
                    <a:pos x="18" y="23"/>
                  </a:cxn>
                  <a:cxn ang="0">
                    <a:pos x="0" y="11"/>
                  </a:cxn>
                  <a:cxn ang="0">
                    <a:pos x="9" y="0"/>
                  </a:cxn>
                  <a:cxn ang="0">
                    <a:pos x="10" y="0"/>
                  </a:cxn>
                </a:cxnLst>
                <a:rect l="0" t="0" r="r" b="b"/>
                <a:pathLst>
                  <a:path w="30" h="23">
                    <a:moveTo>
                      <a:pt x="10" y="0"/>
                    </a:moveTo>
                    <a:cubicBezTo>
                      <a:pt x="13" y="1"/>
                      <a:pt x="16" y="4"/>
                      <a:pt x="20" y="4"/>
                    </a:cubicBezTo>
                    <a:cubicBezTo>
                      <a:pt x="21" y="9"/>
                      <a:pt x="25" y="5"/>
                      <a:pt x="27" y="5"/>
                    </a:cubicBezTo>
                    <a:cubicBezTo>
                      <a:pt x="29" y="5"/>
                      <a:pt x="30" y="8"/>
                      <a:pt x="30" y="9"/>
                    </a:cubicBezTo>
                    <a:cubicBezTo>
                      <a:pt x="30" y="12"/>
                      <a:pt x="23" y="23"/>
                      <a:pt x="18" y="23"/>
                    </a:cubicBezTo>
                    <a:cubicBezTo>
                      <a:pt x="11" y="23"/>
                      <a:pt x="0" y="15"/>
                      <a:pt x="0" y="11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9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27" name="îŝ1ïḑê"/>
              <p:cNvSpPr/>
              <p:nvPr/>
            </p:nvSpPr>
            <p:spPr bwMode="auto">
              <a:xfrm>
                <a:off x="3851985" y="3326451"/>
                <a:ext cx="974448" cy="1573772"/>
              </a:xfrm>
              <a:custGeom>
                <a:avLst/>
                <a:gdLst/>
                <a:ahLst/>
                <a:cxnLst>
                  <a:cxn ang="0">
                    <a:pos x="46" y="91"/>
                  </a:cxn>
                  <a:cxn ang="0">
                    <a:pos x="51" y="51"/>
                  </a:cxn>
                  <a:cxn ang="0">
                    <a:pos x="59" y="46"/>
                  </a:cxn>
                  <a:cxn ang="0">
                    <a:pos x="82" y="18"/>
                  </a:cxn>
                  <a:cxn ang="0">
                    <a:pos x="128" y="6"/>
                  </a:cxn>
                  <a:cxn ang="0">
                    <a:pos x="126" y="42"/>
                  </a:cxn>
                  <a:cxn ang="0">
                    <a:pos x="136" y="13"/>
                  </a:cxn>
                  <a:cxn ang="0">
                    <a:pos x="146" y="5"/>
                  </a:cxn>
                  <a:cxn ang="0">
                    <a:pos x="194" y="24"/>
                  </a:cxn>
                  <a:cxn ang="0">
                    <a:pos x="227" y="20"/>
                  </a:cxn>
                  <a:cxn ang="0">
                    <a:pos x="233" y="26"/>
                  </a:cxn>
                  <a:cxn ang="0">
                    <a:pos x="270" y="50"/>
                  </a:cxn>
                  <a:cxn ang="0">
                    <a:pos x="328" y="84"/>
                  </a:cxn>
                  <a:cxn ang="0">
                    <a:pos x="354" y="89"/>
                  </a:cxn>
                  <a:cxn ang="0">
                    <a:pos x="389" y="130"/>
                  </a:cxn>
                  <a:cxn ang="0">
                    <a:pos x="383" y="170"/>
                  </a:cxn>
                  <a:cxn ang="0">
                    <a:pos x="403" y="185"/>
                  </a:cxn>
                  <a:cxn ang="0">
                    <a:pos x="454" y="175"/>
                  </a:cxn>
                  <a:cxn ang="0">
                    <a:pos x="467" y="191"/>
                  </a:cxn>
                  <a:cxn ang="0">
                    <a:pos x="513" y="191"/>
                  </a:cxn>
                  <a:cxn ang="0">
                    <a:pos x="575" y="220"/>
                  </a:cxn>
                  <a:cxn ang="0">
                    <a:pos x="549" y="310"/>
                  </a:cxn>
                  <a:cxn ang="0">
                    <a:pos x="532" y="374"/>
                  </a:cxn>
                  <a:cxn ang="0">
                    <a:pos x="522" y="405"/>
                  </a:cxn>
                  <a:cxn ang="0">
                    <a:pos x="485" y="449"/>
                  </a:cxn>
                  <a:cxn ang="0">
                    <a:pos x="429" y="474"/>
                  </a:cxn>
                  <a:cxn ang="0">
                    <a:pos x="412" y="524"/>
                  </a:cxn>
                  <a:cxn ang="0">
                    <a:pos x="388" y="559"/>
                  </a:cxn>
                  <a:cxn ang="0">
                    <a:pos x="311" y="614"/>
                  </a:cxn>
                  <a:cxn ang="0">
                    <a:pos x="297" y="619"/>
                  </a:cxn>
                  <a:cxn ang="0">
                    <a:pos x="308" y="654"/>
                  </a:cxn>
                  <a:cxn ang="0">
                    <a:pos x="244" y="677"/>
                  </a:cxn>
                  <a:cxn ang="0">
                    <a:pos x="240" y="707"/>
                  </a:cxn>
                  <a:cxn ang="0">
                    <a:pos x="205" y="711"/>
                  </a:cxn>
                  <a:cxn ang="0">
                    <a:pos x="225" y="730"/>
                  </a:cxn>
                  <a:cxn ang="0">
                    <a:pos x="214" y="739"/>
                  </a:cxn>
                  <a:cxn ang="0">
                    <a:pos x="178" y="787"/>
                  </a:cxn>
                  <a:cxn ang="0">
                    <a:pos x="176" y="846"/>
                  </a:cxn>
                  <a:cxn ang="0">
                    <a:pos x="161" y="884"/>
                  </a:cxn>
                  <a:cxn ang="0">
                    <a:pos x="200" y="935"/>
                  </a:cxn>
                  <a:cxn ang="0">
                    <a:pos x="169" y="945"/>
                  </a:cxn>
                  <a:cxn ang="0">
                    <a:pos x="127" y="921"/>
                  </a:cxn>
                  <a:cxn ang="0">
                    <a:pos x="92" y="903"/>
                  </a:cxn>
                  <a:cxn ang="0">
                    <a:pos x="93" y="889"/>
                  </a:cxn>
                  <a:cxn ang="0">
                    <a:pos x="84" y="857"/>
                  </a:cxn>
                  <a:cxn ang="0">
                    <a:pos x="82" y="791"/>
                  </a:cxn>
                  <a:cxn ang="0">
                    <a:pos x="86" y="782"/>
                  </a:cxn>
                  <a:cxn ang="0">
                    <a:pos x="112" y="718"/>
                  </a:cxn>
                  <a:cxn ang="0">
                    <a:pos x="95" y="708"/>
                  </a:cxn>
                  <a:cxn ang="0">
                    <a:pos x="102" y="680"/>
                  </a:cxn>
                  <a:cxn ang="0">
                    <a:pos x="114" y="626"/>
                  </a:cxn>
                  <a:cxn ang="0">
                    <a:pos x="124" y="562"/>
                  </a:cxn>
                  <a:cxn ang="0">
                    <a:pos x="136" y="494"/>
                  </a:cxn>
                  <a:cxn ang="0">
                    <a:pos x="143" y="434"/>
                  </a:cxn>
                  <a:cxn ang="0">
                    <a:pos x="104" y="370"/>
                  </a:cxn>
                  <a:cxn ang="0">
                    <a:pos x="62" y="330"/>
                  </a:cxn>
                  <a:cxn ang="0">
                    <a:pos x="28" y="261"/>
                  </a:cxn>
                  <a:cxn ang="0">
                    <a:pos x="11" y="242"/>
                  </a:cxn>
                  <a:cxn ang="0">
                    <a:pos x="18" y="191"/>
                  </a:cxn>
                  <a:cxn ang="0">
                    <a:pos x="14" y="148"/>
                  </a:cxn>
                  <a:cxn ang="0">
                    <a:pos x="47" y="106"/>
                  </a:cxn>
                </a:cxnLst>
                <a:rect l="0" t="0" r="r" b="b"/>
                <a:pathLst>
                  <a:path w="586" h="945">
                    <a:moveTo>
                      <a:pt x="49" y="103"/>
                    </a:moveTo>
                    <a:cubicBezTo>
                      <a:pt x="49" y="102"/>
                      <a:pt x="49" y="101"/>
                      <a:pt x="49" y="100"/>
                    </a:cubicBezTo>
                    <a:cubicBezTo>
                      <a:pt x="49" y="97"/>
                      <a:pt x="46" y="94"/>
                      <a:pt x="46" y="91"/>
                    </a:cubicBezTo>
                    <a:cubicBezTo>
                      <a:pt x="46" y="85"/>
                      <a:pt x="48" y="84"/>
                      <a:pt x="48" y="79"/>
                    </a:cubicBezTo>
                    <a:cubicBezTo>
                      <a:pt x="48" y="70"/>
                      <a:pt x="40" y="71"/>
                      <a:pt x="40" y="63"/>
                    </a:cubicBezTo>
                    <a:cubicBezTo>
                      <a:pt x="40" y="57"/>
                      <a:pt x="49" y="55"/>
                      <a:pt x="51" y="51"/>
                    </a:cubicBezTo>
                    <a:cubicBezTo>
                      <a:pt x="55" y="52"/>
                      <a:pt x="53" y="52"/>
                      <a:pt x="57" y="51"/>
                    </a:cubicBezTo>
                    <a:cubicBezTo>
                      <a:pt x="57" y="50"/>
                      <a:pt x="57" y="49"/>
                      <a:pt x="57" y="48"/>
                    </a:cubicBezTo>
                    <a:cubicBezTo>
                      <a:pt x="57" y="48"/>
                      <a:pt x="58" y="46"/>
                      <a:pt x="59" y="46"/>
                    </a:cubicBezTo>
                    <a:cubicBezTo>
                      <a:pt x="59" y="42"/>
                      <a:pt x="64" y="40"/>
                      <a:pt x="66" y="39"/>
                    </a:cubicBezTo>
                    <a:cubicBezTo>
                      <a:pt x="69" y="37"/>
                      <a:pt x="69" y="31"/>
                      <a:pt x="70" y="28"/>
                    </a:cubicBezTo>
                    <a:cubicBezTo>
                      <a:pt x="72" y="21"/>
                      <a:pt x="76" y="19"/>
                      <a:pt x="82" y="18"/>
                    </a:cubicBezTo>
                    <a:cubicBezTo>
                      <a:pt x="93" y="14"/>
                      <a:pt x="100" y="12"/>
                      <a:pt x="111" y="9"/>
                    </a:cubicBezTo>
                    <a:cubicBezTo>
                      <a:pt x="117" y="7"/>
                      <a:pt x="118" y="0"/>
                      <a:pt x="124" y="0"/>
                    </a:cubicBezTo>
                    <a:cubicBezTo>
                      <a:pt x="126" y="0"/>
                      <a:pt x="128" y="5"/>
                      <a:pt x="128" y="6"/>
                    </a:cubicBezTo>
                    <a:cubicBezTo>
                      <a:pt x="128" y="9"/>
                      <a:pt x="125" y="11"/>
                      <a:pt x="123" y="11"/>
                    </a:cubicBezTo>
                    <a:cubicBezTo>
                      <a:pt x="122" y="18"/>
                      <a:pt x="119" y="25"/>
                      <a:pt x="119" y="29"/>
                    </a:cubicBezTo>
                    <a:cubicBezTo>
                      <a:pt x="119" y="34"/>
                      <a:pt x="122" y="42"/>
                      <a:pt x="126" y="42"/>
                    </a:cubicBezTo>
                    <a:cubicBezTo>
                      <a:pt x="128" y="42"/>
                      <a:pt x="131" y="37"/>
                      <a:pt x="131" y="35"/>
                    </a:cubicBezTo>
                    <a:cubicBezTo>
                      <a:pt x="131" y="30"/>
                      <a:pt x="125" y="27"/>
                      <a:pt x="125" y="21"/>
                    </a:cubicBezTo>
                    <a:cubicBezTo>
                      <a:pt x="125" y="15"/>
                      <a:pt x="132" y="16"/>
                      <a:pt x="136" y="13"/>
                    </a:cubicBezTo>
                    <a:cubicBezTo>
                      <a:pt x="147" y="13"/>
                      <a:pt x="147" y="13"/>
                      <a:pt x="147" y="13"/>
                    </a:cubicBezTo>
                    <a:cubicBezTo>
                      <a:pt x="145" y="8"/>
                      <a:pt x="139" y="10"/>
                      <a:pt x="139" y="5"/>
                    </a:cubicBezTo>
                    <a:cubicBezTo>
                      <a:pt x="146" y="5"/>
                      <a:pt x="146" y="5"/>
                      <a:pt x="146" y="5"/>
                    </a:cubicBezTo>
                    <a:cubicBezTo>
                      <a:pt x="148" y="12"/>
                      <a:pt x="158" y="14"/>
                      <a:pt x="165" y="16"/>
                    </a:cubicBezTo>
                    <a:cubicBezTo>
                      <a:pt x="165" y="20"/>
                      <a:pt x="167" y="23"/>
                      <a:pt x="170" y="24"/>
                    </a:cubicBezTo>
                    <a:cubicBezTo>
                      <a:pt x="177" y="24"/>
                      <a:pt x="190" y="24"/>
                      <a:pt x="194" y="24"/>
                    </a:cubicBezTo>
                    <a:cubicBezTo>
                      <a:pt x="194" y="28"/>
                      <a:pt x="199" y="29"/>
                      <a:pt x="203" y="29"/>
                    </a:cubicBezTo>
                    <a:cubicBezTo>
                      <a:pt x="209" y="28"/>
                      <a:pt x="214" y="28"/>
                      <a:pt x="216" y="22"/>
                    </a:cubicBezTo>
                    <a:cubicBezTo>
                      <a:pt x="217" y="21"/>
                      <a:pt x="226" y="21"/>
                      <a:pt x="227" y="20"/>
                    </a:cubicBezTo>
                    <a:cubicBezTo>
                      <a:pt x="232" y="20"/>
                      <a:pt x="240" y="21"/>
                      <a:pt x="240" y="21"/>
                    </a:cubicBezTo>
                    <a:cubicBezTo>
                      <a:pt x="238" y="23"/>
                      <a:pt x="234" y="23"/>
                      <a:pt x="233" y="22"/>
                    </a:cubicBezTo>
                    <a:cubicBezTo>
                      <a:pt x="233" y="26"/>
                      <a:pt x="233" y="26"/>
                      <a:pt x="233" y="26"/>
                    </a:cubicBezTo>
                    <a:cubicBezTo>
                      <a:pt x="236" y="32"/>
                      <a:pt x="245" y="33"/>
                      <a:pt x="252" y="36"/>
                    </a:cubicBezTo>
                    <a:cubicBezTo>
                      <a:pt x="258" y="37"/>
                      <a:pt x="256" y="44"/>
                      <a:pt x="258" y="50"/>
                    </a:cubicBezTo>
                    <a:cubicBezTo>
                      <a:pt x="270" y="50"/>
                      <a:pt x="270" y="50"/>
                      <a:pt x="270" y="50"/>
                    </a:cubicBezTo>
                    <a:cubicBezTo>
                      <a:pt x="279" y="58"/>
                      <a:pt x="283" y="57"/>
                      <a:pt x="288" y="68"/>
                    </a:cubicBezTo>
                    <a:cubicBezTo>
                      <a:pt x="289" y="70"/>
                      <a:pt x="293" y="70"/>
                      <a:pt x="295" y="70"/>
                    </a:cubicBezTo>
                    <a:cubicBezTo>
                      <a:pt x="298" y="83"/>
                      <a:pt x="316" y="81"/>
                      <a:pt x="328" y="84"/>
                    </a:cubicBezTo>
                    <a:cubicBezTo>
                      <a:pt x="340" y="84"/>
                      <a:pt x="340" y="84"/>
                      <a:pt x="340" y="84"/>
                    </a:cubicBezTo>
                    <a:cubicBezTo>
                      <a:pt x="343" y="85"/>
                      <a:pt x="350" y="89"/>
                      <a:pt x="354" y="89"/>
                    </a:cubicBezTo>
                    <a:cubicBezTo>
                      <a:pt x="354" y="89"/>
                      <a:pt x="354" y="89"/>
                      <a:pt x="354" y="89"/>
                    </a:cubicBezTo>
                    <a:cubicBezTo>
                      <a:pt x="355" y="89"/>
                      <a:pt x="356" y="89"/>
                      <a:pt x="357" y="89"/>
                    </a:cubicBezTo>
                    <a:cubicBezTo>
                      <a:pt x="364" y="89"/>
                      <a:pt x="373" y="104"/>
                      <a:pt x="381" y="106"/>
                    </a:cubicBezTo>
                    <a:cubicBezTo>
                      <a:pt x="381" y="111"/>
                      <a:pt x="386" y="125"/>
                      <a:pt x="389" y="130"/>
                    </a:cubicBezTo>
                    <a:cubicBezTo>
                      <a:pt x="391" y="134"/>
                      <a:pt x="397" y="134"/>
                      <a:pt x="397" y="139"/>
                    </a:cubicBezTo>
                    <a:cubicBezTo>
                      <a:pt x="390" y="148"/>
                      <a:pt x="377" y="152"/>
                      <a:pt x="377" y="165"/>
                    </a:cubicBezTo>
                    <a:cubicBezTo>
                      <a:pt x="377" y="170"/>
                      <a:pt x="381" y="169"/>
                      <a:pt x="383" y="170"/>
                    </a:cubicBezTo>
                    <a:cubicBezTo>
                      <a:pt x="387" y="172"/>
                      <a:pt x="390" y="176"/>
                      <a:pt x="390" y="180"/>
                    </a:cubicBezTo>
                    <a:cubicBezTo>
                      <a:pt x="401" y="180"/>
                      <a:pt x="401" y="180"/>
                      <a:pt x="401" y="180"/>
                    </a:cubicBezTo>
                    <a:cubicBezTo>
                      <a:pt x="401" y="182"/>
                      <a:pt x="402" y="185"/>
                      <a:pt x="403" y="185"/>
                    </a:cubicBezTo>
                    <a:cubicBezTo>
                      <a:pt x="405" y="185"/>
                      <a:pt x="407" y="182"/>
                      <a:pt x="408" y="180"/>
                    </a:cubicBezTo>
                    <a:cubicBezTo>
                      <a:pt x="413" y="173"/>
                      <a:pt x="418" y="164"/>
                      <a:pt x="425" y="164"/>
                    </a:cubicBezTo>
                    <a:cubicBezTo>
                      <a:pt x="433" y="164"/>
                      <a:pt x="449" y="172"/>
                      <a:pt x="454" y="175"/>
                    </a:cubicBezTo>
                    <a:cubicBezTo>
                      <a:pt x="458" y="178"/>
                      <a:pt x="462" y="177"/>
                      <a:pt x="463" y="180"/>
                    </a:cubicBezTo>
                    <a:cubicBezTo>
                      <a:pt x="464" y="184"/>
                      <a:pt x="464" y="187"/>
                      <a:pt x="464" y="191"/>
                    </a:cubicBezTo>
                    <a:cubicBezTo>
                      <a:pt x="467" y="191"/>
                      <a:pt x="467" y="191"/>
                      <a:pt x="467" y="191"/>
                    </a:cubicBezTo>
                    <a:cubicBezTo>
                      <a:pt x="471" y="190"/>
                      <a:pt x="472" y="186"/>
                      <a:pt x="476" y="186"/>
                    </a:cubicBezTo>
                    <a:cubicBezTo>
                      <a:pt x="486" y="186"/>
                      <a:pt x="487" y="194"/>
                      <a:pt x="496" y="194"/>
                    </a:cubicBezTo>
                    <a:cubicBezTo>
                      <a:pt x="513" y="191"/>
                      <a:pt x="513" y="191"/>
                      <a:pt x="513" y="191"/>
                    </a:cubicBezTo>
                    <a:cubicBezTo>
                      <a:pt x="521" y="193"/>
                      <a:pt x="529" y="196"/>
                      <a:pt x="534" y="198"/>
                    </a:cubicBezTo>
                    <a:cubicBezTo>
                      <a:pt x="538" y="205"/>
                      <a:pt x="551" y="217"/>
                      <a:pt x="558" y="220"/>
                    </a:cubicBezTo>
                    <a:cubicBezTo>
                      <a:pt x="565" y="221"/>
                      <a:pt x="569" y="219"/>
                      <a:pt x="575" y="220"/>
                    </a:cubicBezTo>
                    <a:cubicBezTo>
                      <a:pt x="584" y="223"/>
                      <a:pt x="586" y="232"/>
                      <a:pt x="586" y="242"/>
                    </a:cubicBezTo>
                    <a:cubicBezTo>
                      <a:pt x="586" y="274"/>
                      <a:pt x="568" y="283"/>
                      <a:pt x="556" y="301"/>
                    </a:cubicBezTo>
                    <a:cubicBezTo>
                      <a:pt x="553" y="305"/>
                      <a:pt x="551" y="306"/>
                      <a:pt x="549" y="310"/>
                    </a:cubicBezTo>
                    <a:cubicBezTo>
                      <a:pt x="544" y="317"/>
                      <a:pt x="540" y="317"/>
                      <a:pt x="535" y="322"/>
                    </a:cubicBezTo>
                    <a:cubicBezTo>
                      <a:pt x="529" y="328"/>
                      <a:pt x="535" y="343"/>
                      <a:pt x="535" y="353"/>
                    </a:cubicBezTo>
                    <a:cubicBezTo>
                      <a:pt x="535" y="361"/>
                      <a:pt x="532" y="369"/>
                      <a:pt x="532" y="374"/>
                    </a:cubicBezTo>
                    <a:cubicBezTo>
                      <a:pt x="532" y="377"/>
                      <a:pt x="530" y="378"/>
                      <a:pt x="530" y="380"/>
                    </a:cubicBezTo>
                    <a:cubicBezTo>
                      <a:pt x="528" y="382"/>
                      <a:pt x="524" y="386"/>
                      <a:pt x="524" y="390"/>
                    </a:cubicBezTo>
                    <a:cubicBezTo>
                      <a:pt x="524" y="394"/>
                      <a:pt x="523" y="403"/>
                      <a:pt x="522" y="405"/>
                    </a:cubicBezTo>
                    <a:cubicBezTo>
                      <a:pt x="515" y="415"/>
                      <a:pt x="513" y="419"/>
                      <a:pt x="506" y="428"/>
                    </a:cubicBezTo>
                    <a:cubicBezTo>
                      <a:pt x="505" y="431"/>
                      <a:pt x="505" y="436"/>
                      <a:pt x="504" y="438"/>
                    </a:cubicBezTo>
                    <a:cubicBezTo>
                      <a:pt x="502" y="443"/>
                      <a:pt x="492" y="449"/>
                      <a:pt x="485" y="449"/>
                    </a:cubicBezTo>
                    <a:cubicBezTo>
                      <a:pt x="476" y="449"/>
                      <a:pt x="470" y="449"/>
                      <a:pt x="463" y="452"/>
                    </a:cubicBezTo>
                    <a:cubicBezTo>
                      <a:pt x="461" y="453"/>
                      <a:pt x="460" y="455"/>
                      <a:pt x="459" y="457"/>
                    </a:cubicBezTo>
                    <a:cubicBezTo>
                      <a:pt x="448" y="467"/>
                      <a:pt x="437" y="461"/>
                      <a:pt x="429" y="474"/>
                    </a:cubicBezTo>
                    <a:cubicBezTo>
                      <a:pt x="426" y="479"/>
                      <a:pt x="420" y="479"/>
                      <a:pt x="416" y="483"/>
                    </a:cubicBezTo>
                    <a:cubicBezTo>
                      <a:pt x="411" y="489"/>
                      <a:pt x="412" y="495"/>
                      <a:pt x="412" y="503"/>
                    </a:cubicBezTo>
                    <a:cubicBezTo>
                      <a:pt x="412" y="524"/>
                      <a:pt x="412" y="524"/>
                      <a:pt x="412" y="524"/>
                    </a:cubicBezTo>
                    <a:cubicBezTo>
                      <a:pt x="403" y="528"/>
                      <a:pt x="398" y="536"/>
                      <a:pt x="394" y="545"/>
                    </a:cubicBezTo>
                    <a:cubicBezTo>
                      <a:pt x="394" y="545"/>
                      <a:pt x="394" y="545"/>
                      <a:pt x="394" y="545"/>
                    </a:cubicBezTo>
                    <a:cubicBezTo>
                      <a:pt x="391" y="550"/>
                      <a:pt x="391" y="553"/>
                      <a:pt x="388" y="559"/>
                    </a:cubicBezTo>
                    <a:cubicBezTo>
                      <a:pt x="380" y="571"/>
                      <a:pt x="371" y="572"/>
                      <a:pt x="364" y="584"/>
                    </a:cubicBezTo>
                    <a:cubicBezTo>
                      <a:pt x="355" y="597"/>
                      <a:pt x="351" y="619"/>
                      <a:pt x="331" y="619"/>
                    </a:cubicBezTo>
                    <a:cubicBezTo>
                      <a:pt x="324" y="619"/>
                      <a:pt x="314" y="614"/>
                      <a:pt x="311" y="614"/>
                    </a:cubicBezTo>
                    <a:cubicBezTo>
                      <a:pt x="305" y="614"/>
                      <a:pt x="299" y="609"/>
                      <a:pt x="293" y="609"/>
                    </a:cubicBezTo>
                    <a:cubicBezTo>
                      <a:pt x="291" y="609"/>
                      <a:pt x="289" y="610"/>
                      <a:pt x="289" y="611"/>
                    </a:cubicBezTo>
                    <a:cubicBezTo>
                      <a:pt x="289" y="615"/>
                      <a:pt x="296" y="617"/>
                      <a:pt x="297" y="619"/>
                    </a:cubicBezTo>
                    <a:cubicBezTo>
                      <a:pt x="300" y="622"/>
                      <a:pt x="300" y="627"/>
                      <a:pt x="302" y="632"/>
                    </a:cubicBezTo>
                    <a:cubicBezTo>
                      <a:pt x="304" y="637"/>
                      <a:pt x="311" y="637"/>
                      <a:pt x="311" y="642"/>
                    </a:cubicBezTo>
                    <a:cubicBezTo>
                      <a:pt x="311" y="647"/>
                      <a:pt x="311" y="650"/>
                      <a:pt x="308" y="654"/>
                    </a:cubicBezTo>
                    <a:cubicBezTo>
                      <a:pt x="304" y="660"/>
                      <a:pt x="301" y="663"/>
                      <a:pt x="297" y="667"/>
                    </a:cubicBezTo>
                    <a:cubicBezTo>
                      <a:pt x="289" y="675"/>
                      <a:pt x="280" y="673"/>
                      <a:pt x="270" y="676"/>
                    </a:cubicBezTo>
                    <a:cubicBezTo>
                      <a:pt x="263" y="678"/>
                      <a:pt x="248" y="673"/>
                      <a:pt x="244" y="677"/>
                    </a:cubicBezTo>
                    <a:cubicBezTo>
                      <a:pt x="238" y="683"/>
                      <a:pt x="243" y="696"/>
                      <a:pt x="240" y="703"/>
                    </a:cubicBezTo>
                    <a:cubicBezTo>
                      <a:pt x="240" y="702"/>
                      <a:pt x="240" y="702"/>
                      <a:pt x="240" y="702"/>
                    </a:cubicBezTo>
                    <a:cubicBezTo>
                      <a:pt x="240" y="703"/>
                      <a:pt x="240" y="706"/>
                      <a:pt x="240" y="707"/>
                    </a:cubicBezTo>
                    <a:cubicBezTo>
                      <a:pt x="240" y="709"/>
                      <a:pt x="233" y="712"/>
                      <a:pt x="229" y="712"/>
                    </a:cubicBezTo>
                    <a:cubicBezTo>
                      <a:pt x="220" y="712"/>
                      <a:pt x="218" y="706"/>
                      <a:pt x="210" y="706"/>
                    </a:cubicBezTo>
                    <a:cubicBezTo>
                      <a:pt x="207" y="706"/>
                      <a:pt x="205" y="709"/>
                      <a:pt x="205" y="711"/>
                    </a:cubicBezTo>
                    <a:cubicBezTo>
                      <a:pt x="205" y="717"/>
                      <a:pt x="211" y="729"/>
                      <a:pt x="214" y="729"/>
                    </a:cubicBezTo>
                    <a:cubicBezTo>
                      <a:pt x="217" y="729"/>
                      <a:pt x="219" y="726"/>
                      <a:pt x="221" y="726"/>
                    </a:cubicBezTo>
                    <a:cubicBezTo>
                      <a:pt x="222" y="728"/>
                      <a:pt x="225" y="728"/>
                      <a:pt x="225" y="730"/>
                    </a:cubicBezTo>
                    <a:cubicBezTo>
                      <a:pt x="225" y="733"/>
                      <a:pt x="221" y="736"/>
                      <a:pt x="220" y="736"/>
                    </a:cubicBezTo>
                    <a:cubicBezTo>
                      <a:pt x="215" y="736"/>
                      <a:pt x="213" y="732"/>
                      <a:pt x="209" y="732"/>
                    </a:cubicBezTo>
                    <a:cubicBezTo>
                      <a:pt x="209" y="737"/>
                      <a:pt x="211" y="738"/>
                      <a:pt x="214" y="739"/>
                    </a:cubicBezTo>
                    <a:cubicBezTo>
                      <a:pt x="206" y="747"/>
                      <a:pt x="206" y="755"/>
                      <a:pt x="203" y="766"/>
                    </a:cubicBezTo>
                    <a:cubicBezTo>
                      <a:pt x="202" y="770"/>
                      <a:pt x="194" y="771"/>
                      <a:pt x="191" y="771"/>
                    </a:cubicBezTo>
                    <a:cubicBezTo>
                      <a:pt x="184" y="773"/>
                      <a:pt x="178" y="779"/>
                      <a:pt x="178" y="787"/>
                    </a:cubicBezTo>
                    <a:cubicBezTo>
                      <a:pt x="178" y="804"/>
                      <a:pt x="198" y="798"/>
                      <a:pt x="198" y="811"/>
                    </a:cubicBezTo>
                    <a:cubicBezTo>
                      <a:pt x="198" y="824"/>
                      <a:pt x="187" y="825"/>
                      <a:pt x="181" y="831"/>
                    </a:cubicBezTo>
                    <a:cubicBezTo>
                      <a:pt x="177" y="835"/>
                      <a:pt x="178" y="841"/>
                      <a:pt x="176" y="846"/>
                    </a:cubicBezTo>
                    <a:cubicBezTo>
                      <a:pt x="173" y="852"/>
                      <a:pt x="166" y="850"/>
                      <a:pt x="162" y="854"/>
                    </a:cubicBezTo>
                    <a:cubicBezTo>
                      <a:pt x="156" y="859"/>
                      <a:pt x="154" y="865"/>
                      <a:pt x="154" y="874"/>
                    </a:cubicBezTo>
                    <a:cubicBezTo>
                      <a:pt x="154" y="878"/>
                      <a:pt x="158" y="883"/>
                      <a:pt x="161" y="884"/>
                    </a:cubicBezTo>
                    <a:cubicBezTo>
                      <a:pt x="169" y="888"/>
                      <a:pt x="168" y="908"/>
                      <a:pt x="174" y="914"/>
                    </a:cubicBezTo>
                    <a:cubicBezTo>
                      <a:pt x="184" y="924"/>
                      <a:pt x="196" y="928"/>
                      <a:pt x="207" y="934"/>
                    </a:cubicBezTo>
                    <a:cubicBezTo>
                      <a:pt x="206" y="936"/>
                      <a:pt x="203" y="935"/>
                      <a:pt x="200" y="935"/>
                    </a:cubicBezTo>
                    <a:cubicBezTo>
                      <a:pt x="194" y="935"/>
                      <a:pt x="183" y="943"/>
                      <a:pt x="179" y="943"/>
                    </a:cubicBezTo>
                    <a:cubicBezTo>
                      <a:pt x="176" y="943"/>
                      <a:pt x="176" y="943"/>
                      <a:pt x="174" y="943"/>
                    </a:cubicBezTo>
                    <a:cubicBezTo>
                      <a:pt x="173" y="943"/>
                      <a:pt x="171" y="945"/>
                      <a:pt x="169" y="945"/>
                    </a:cubicBezTo>
                    <a:cubicBezTo>
                      <a:pt x="165" y="945"/>
                      <a:pt x="162" y="945"/>
                      <a:pt x="157" y="945"/>
                    </a:cubicBezTo>
                    <a:cubicBezTo>
                      <a:pt x="147" y="945"/>
                      <a:pt x="151" y="933"/>
                      <a:pt x="143" y="931"/>
                    </a:cubicBezTo>
                    <a:cubicBezTo>
                      <a:pt x="137" y="929"/>
                      <a:pt x="127" y="929"/>
                      <a:pt x="127" y="921"/>
                    </a:cubicBezTo>
                    <a:cubicBezTo>
                      <a:pt x="124" y="921"/>
                      <a:pt x="122" y="921"/>
                      <a:pt x="119" y="921"/>
                    </a:cubicBezTo>
                    <a:cubicBezTo>
                      <a:pt x="115" y="921"/>
                      <a:pt x="114" y="917"/>
                      <a:pt x="114" y="915"/>
                    </a:cubicBezTo>
                    <a:cubicBezTo>
                      <a:pt x="102" y="915"/>
                      <a:pt x="98" y="909"/>
                      <a:pt x="92" y="903"/>
                    </a:cubicBezTo>
                    <a:cubicBezTo>
                      <a:pt x="91" y="902"/>
                      <a:pt x="88" y="900"/>
                      <a:pt x="88" y="899"/>
                    </a:cubicBezTo>
                    <a:cubicBezTo>
                      <a:pt x="88" y="895"/>
                      <a:pt x="96" y="895"/>
                      <a:pt x="97" y="891"/>
                    </a:cubicBezTo>
                    <a:cubicBezTo>
                      <a:pt x="95" y="891"/>
                      <a:pt x="94" y="890"/>
                      <a:pt x="93" y="889"/>
                    </a:cubicBezTo>
                    <a:cubicBezTo>
                      <a:pt x="94" y="887"/>
                      <a:pt x="96" y="884"/>
                      <a:pt x="96" y="882"/>
                    </a:cubicBezTo>
                    <a:cubicBezTo>
                      <a:pt x="96" y="871"/>
                      <a:pt x="84" y="873"/>
                      <a:pt x="84" y="863"/>
                    </a:cubicBezTo>
                    <a:cubicBezTo>
                      <a:pt x="84" y="860"/>
                      <a:pt x="84" y="859"/>
                      <a:pt x="84" y="857"/>
                    </a:cubicBezTo>
                    <a:cubicBezTo>
                      <a:pt x="84" y="848"/>
                      <a:pt x="78" y="832"/>
                      <a:pt x="78" y="825"/>
                    </a:cubicBezTo>
                    <a:cubicBezTo>
                      <a:pt x="78" y="817"/>
                      <a:pt x="88" y="814"/>
                      <a:pt x="88" y="807"/>
                    </a:cubicBezTo>
                    <a:cubicBezTo>
                      <a:pt x="88" y="803"/>
                      <a:pt x="83" y="796"/>
                      <a:pt x="82" y="791"/>
                    </a:cubicBezTo>
                    <a:cubicBezTo>
                      <a:pt x="82" y="787"/>
                      <a:pt x="82" y="787"/>
                      <a:pt x="82" y="787"/>
                    </a:cubicBezTo>
                    <a:cubicBezTo>
                      <a:pt x="82" y="787"/>
                      <a:pt x="82" y="787"/>
                      <a:pt x="82" y="787"/>
                    </a:cubicBezTo>
                    <a:cubicBezTo>
                      <a:pt x="82" y="784"/>
                      <a:pt x="84" y="782"/>
                      <a:pt x="86" y="782"/>
                    </a:cubicBezTo>
                    <a:cubicBezTo>
                      <a:pt x="94" y="782"/>
                      <a:pt x="91" y="790"/>
                      <a:pt x="98" y="790"/>
                    </a:cubicBezTo>
                    <a:cubicBezTo>
                      <a:pt x="112" y="725"/>
                      <a:pt x="112" y="725"/>
                      <a:pt x="112" y="725"/>
                    </a:cubicBezTo>
                    <a:cubicBezTo>
                      <a:pt x="112" y="718"/>
                      <a:pt x="112" y="718"/>
                      <a:pt x="112" y="718"/>
                    </a:cubicBezTo>
                    <a:cubicBezTo>
                      <a:pt x="111" y="718"/>
                      <a:pt x="109" y="717"/>
                      <a:pt x="108" y="718"/>
                    </a:cubicBezTo>
                    <a:cubicBezTo>
                      <a:pt x="105" y="719"/>
                      <a:pt x="105" y="723"/>
                      <a:pt x="102" y="723"/>
                    </a:cubicBezTo>
                    <a:cubicBezTo>
                      <a:pt x="98" y="723"/>
                      <a:pt x="95" y="713"/>
                      <a:pt x="95" y="708"/>
                    </a:cubicBezTo>
                    <a:cubicBezTo>
                      <a:pt x="95" y="699"/>
                      <a:pt x="98" y="696"/>
                      <a:pt x="100" y="688"/>
                    </a:cubicBezTo>
                    <a:cubicBezTo>
                      <a:pt x="103" y="688"/>
                      <a:pt x="104" y="687"/>
                      <a:pt x="104" y="685"/>
                    </a:cubicBezTo>
                    <a:cubicBezTo>
                      <a:pt x="104" y="683"/>
                      <a:pt x="102" y="680"/>
                      <a:pt x="102" y="680"/>
                    </a:cubicBezTo>
                    <a:cubicBezTo>
                      <a:pt x="100" y="680"/>
                      <a:pt x="99" y="668"/>
                      <a:pt x="99" y="665"/>
                    </a:cubicBezTo>
                    <a:cubicBezTo>
                      <a:pt x="99" y="655"/>
                      <a:pt x="106" y="645"/>
                      <a:pt x="109" y="639"/>
                    </a:cubicBezTo>
                    <a:cubicBezTo>
                      <a:pt x="111" y="635"/>
                      <a:pt x="112" y="629"/>
                      <a:pt x="114" y="626"/>
                    </a:cubicBezTo>
                    <a:cubicBezTo>
                      <a:pt x="116" y="624"/>
                      <a:pt x="118" y="625"/>
                      <a:pt x="118" y="623"/>
                    </a:cubicBezTo>
                    <a:cubicBezTo>
                      <a:pt x="121" y="613"/>
                      <a:pt x="121" y="605"/>
                      <a:pt x="124" y="595"/>
                    </a:cubicBezTo>
                    <a:cubicBezTo>
                      <a:pt x="124" y="562"/>
                      <a:pt x="124" y="562"/>
                      <a:pt x="124" y="562"/>
                    </a:cubicBezTo>
                    <a:cubicBezTo>
                      <a:pt x="121" y="554"/>
                      <a:pt x="126" y="548"/>
                      <a:pt x="126" y="541"/>
                    </a:cubicBezTo>
                    <a:cubicBezTo>
                      <a:pt x="126" y="524"/>
                      <a:pt x="136" y="513"/>
                      <a:pt x="136" y="498"/>
                    </a:cubicBezTo>
                    <a:cubicBezTo>
                      <a:pt x="136" y="497"/>
                      <a:pt x="136" y="495"/>
                      <a:pt x="136" y="494"/>
                    </a:cubicBezTo>
                    <a:cubicBezTo>
                      <a:pt x="136" y="491"/>
                      <a:pt x="138" y="483"/>
                      <a:pt x="139" y="478"/>
                    </a:cubicBezTo>
                    <a:cubicBezTo>
                      <a:pt x="139" y="465"/>
                      <a:pt x="139" y="465"/>
                      <a:pt x="139" y="459"/>
                    </a:cubicBezTo>
                    <a:cubicBezTo>
                      <a:pt x="139" y="453"/>
                      <a:pt x="143" y="441"/>
                      <a:pt x="143" y="434"/>
                    </a:cubicBezTo>
                    <a:cubicBezTo>
                      <a:pt x="143" y="429"/>
                      <a:pt x="141" y="403"/>
                      <a:pt x="140" y="399"/>
                    </a:cubicBezTo>
                    <a:cubicBezTo>
                      <a:pt x="136" y="388"/>
                      <a:pt x="128" y="381"/>
                      <a:pt x="121" y="377"/>
                    </a:cubicBezTo>
                    <a:cubicBezTo>
                      <a:pt x="114" y="374"/>
                      <a:pt x="109" y="375"/>
                      <a:pt x="104" y="370"/>
                    </a:cubicBezTo>
                    <a:cubicBezTo>
                      <a:pt x="99" y="365"/>
                      <a:pt x="96" y="363"/>
                      <a:pt x="90" y="362"/>
                    </a:cubicBezTo>
                    <a:cubicBezTo>
                      <a:pt x="78" y="358"/>
                      <a:pt x="72" y="351"/>
                      <a:pt x="64" y="343"/>
                    </a:cubicBezTo>
                    <a:cubicBezTo>
                      <a:pt x="60" y="340"/>
                      <a:pt x="62" y="335"/>
                      <a:pt x="62" y="330"/>
                    </a:cubicBezTo>
                    <a:cubicBezTo>
                      <a:pt x="62" y="323"/>
                      <a:pt x="55" y="319"/>
                      <a:pt x="53" y="313"/>
                    </a:cubicBezTo>
                    <a:cubicBezTo>
                      <a:pt x="50" y="302"/>
                      <a:pt x="41" y="294"/>
                      <a:pt x="38" y="285"/>
                    </a:cubicBezTo>
                    <a:cubicBezTo>
                      <a:pt x="35" y="275"/>
                      <a:pt x="32" y="269"/>
                      <a:pt x="28" y="261"/>
                    </a:cubicBezTo>
                    <a:cubicBezTo>
                      <a:pt x="27" y="258"/>
                      <a:pt x="24" y="259"/>
                      <a:pt x="23" y="257"/>
                    </a:cubicBezTo>
                    <a:cubicBezTo>
                      <a:pt x="20" y="254"/>
                      <a:pt x="19" y="248"/>
                      <a:pt x="17" y="245"/>
                    </a:cubicBezTo>
                    <a:cubicBezTo>
                      <a:pt x="16" y="242"/>
                      <a:pt x="12" y="243"/>
                      <a:pt x="11" y="242"/>
                    </a:cubicBezTo>
                    <a:cubicBezTo>
                      <a:pt x="6" y="237"/>
                      <a:pt x="0" y="228"/>
                      <a:pt x="0" y="220"/>
                    </a:cubicBezTo>
                    <a:cubicBezTo>
                      <a:pt x="0" y="215"/>
                      <a:pt x="3" y="209"/>
                      <a:pt x="5" y="207"/>
                    </a:cubicBezTo>
                    <a:cubicBezTo>
                      <a:pt x="8" y="200"/>
                      <a:pt x="16" y="198"/>
                      <a:pt x="18" y="191"/>
                    </a:cubicBezTo>
                    <a:cubicBezTo>
                      <a:pt x="14" y="189"/>
                      <a:pt x="15" y="191"/>
                      <a:pt x="12" y="191"/>
                    </a:cubicBezTo>
                    <a:cubicBezTo>
                      <a:pt x="5" y="191"/>
                      <a:pt x="5" y="182"/>
                      <a:pt x="5" y="176"/>
                    </a:cubicBezTo>
                    <a:cubicBezTo>
                      <a:pt x="5" y="166"/>
                      <a:pt x="16" y="168"/>
                      <a:pt x="14" y="148"/>
                    </a:cubicBezTo>
                    <a:cubicBezTo>
                      <a:pt x="26" y="148"/>
                      <a:pt x="29" y="136"/>
                      <a:pt x="32" y="129"/>
                    </a:cubicBezTo>
                    <a:cubicBezTo>
                      <a:pt x="37" y="119"/>
                      <a:pt x="49" y="123"/>
                      <a:pt x="51" y="111"/>
                    </a:cubicBezTo>
                    <a:cubicBezTo>
                      <a:pt x="49" y="110"/>
                      <a:pt x="47" y="107"/>
                      <a:pt x="47" y="106"/>
                    </a:cubicBezTo>
                    <a:cubicBezTo>
                      <a:pt x="49" y="103"/>
                      <a:pt x="49" y="103"/>
                      <a:pt x="49" y="10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28" name="íṧlïďè"/>
              <p:cNvSpPr/>
              <p:nvPr/>
            </p:nvSpPr>
            <p:spPr bwMode="auto">
              <a:xfrm>
                <a:off x="4262845" y="3362165"/>
                <a:ext cx="15877" cy="17862"/>
              </a:xfrm>
              <a:custGeom>
                <a:avLst/>
                <a:gdLst/>
                <a:ahLst/>
                <a:cxnLst>
                  <a:cxn ang="0">
                    <a:pos x="9" y="4"/>
                  </a:cxn>
                  <a:cxn ang="0">
                    <a:pos x="9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9" y="4"/>
                  </a:cxn>
                </a:cxnLst>
                <a:rect l="0" t="0" r="r" b="b"/>
                <a:pathLst>
                  <a:path w="9" h="11">
                    <a:moveTo>
                      <a:pt x="9" y="4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8" y="0"/>
                      <a:pt x="6" y="0"/>
                      <a:pt x="5" y="0"/>
                    </a:cubicBezTo>
                    <a:cubicBezTo>
                      <a:pt x="2" y="0"/>
                      <a:pt x="0" y="5"/>
                      <a:pt x="0" y="9"/>
                    </a:cubicBezTo>
                    <a:cubicBezTo>
                      <a:pt x="0" y="11"/>
                      <a:pt x="2" y="9"/>
                      <a:pt x="4" y="9"/>
                    </a:cubicBezTo>
                    <a:cubicBezTo>
                      <a:pt x="6" y="9"/>
                      <a:pt x="8" y="5"/>
                      <a:pt x="9" y="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29" name="ïṥľïḋè"/>
              <p:cNvSpPr/>
              <p:nvPr/>
            </p:nvSpPr>
            <p:spPr bwMode="auto">
              <a:xfrm>
                <a:off x="5050749" y="1923350"/>
                <a:ext cx="212357" cy="97245"/>
              </a:xfrm>
              <a:custGeom>
                <a:avLst/>
                <a:gdLst/>
                <a:ahLst/>
                <a:cxnLst>
                  <a:cxn ang="0">
                    <a:pos x="127" y="31"/>
                  </a:cxn>
                  <a:cxn ang="0">
                    <a:pos x="108" y="47"/>
                  </a:cxn>
                  <a:cxn ang="0">
                    <a:pos x="74" y="58"/>
                  </a:cxn>
                  <a:cxn ang="0">
                    <a:pos x="34" y="50"/>
                  </a:cxn>
                  <a:cxn ang="0">
                    <a:pos x="14" y="42"/>
                  </a:cxn>
                  <a:cxn ang="0">
                    <a:pos x="18" y="40"/>
                  </a:cxn>
                  <a:cxn ang="0">
                    <a:pos x="21" y="27"/>
                  </a:cxn>
                  <a:cxn ang="0">
                    <a:pos x="2" y="25"/>
                  </a:cxn>
                  <a:cxn ang="0">
                    <a:pos x="25" y="21"/>
                  </a:cxn>
                  <a:cxn ang="0">
                    <a:pos x="23" y="18"/>
                  </a:cxn>
                  <a:cxn ang="0">
                    <a:pos x="0" y="8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7" y="0"/>
                  </a:cxn>
                  <a:cxn ang="0">
                    <a:pos x="21" y="0"/>
                  </a:cxn>
                  <a:cxn ang="0">
                    <a:pos x="23" y="7"/>
                  </a:cxn>
                  <a:cxn ang="0">
                    <a:pos x="30" y="16"/>
                  </a:cxn>
                  <a:cxn ang="0">
                    <a:pos x="38" y="13"/>
                  </a:cxn>
                  <a:cxn ang="0">
                    <a:pos x="38" y="8"/>
                  </a:cxn>
                  <a:cxn ang="0">
                    <a:pos x="44" y="12"/>
                  </a:cxn>
                  <a:cxn ang="0">
                    <a:pos x="54" y="9"/>
                  </a:cxn>
                  <a:cxn ang="0">
                    <a:pos x="60" y="12"/>
                  </a:cxn>
                  <a:cxn ang="0">
                    <a:pos x="60" y="8"/>
                  </a:cxn>
                  <a:cxn ang="0">
                    <a:pos x="74" y="9"/>
                  </a:cxn>
                  <a:cxn ang="0">
                    <a:pos x="89" y="8"/>
                  </a:cxn>
                  <a:cxn ang="0">
                    <a:pos x="91" y="1"/>
                  </a:cxn>
                  <a:cxn ang="0">
                    <a:pos x="96" y="1"/>
                  </a:cxn>
                  <a:cxn ang="0">
                    <a:pos x="104" y="7"/>
                  </a:cxn>
                  <a:cxn ang="0">
                    <a:pos x="115" y="4"/>
                  </a:cxn>
                  <a:cxn ang="0">
                    <a:pos x="112" y="8"/>
                  </a:cxn>
                  <a:cxn ang="0">
                    <a:pos x="128" y="30"/>
                  </a:cxn>
                  <a:cxn ang="0">
                    <a:pos x="127" y="31"/>
                  </a:cxn>
                </a:cxnLst>
                <a:rect l="0" t="0" r="r" b="b"/>
                <a:pathLst>
                  <a:path w="128" h="58">
                    <a:moveTo>
                      <a:pt x="127" y="31"/>
                    </a:moveTo>
                    <a:cubicBezTo>
                      <a:pt x="124" y="38"/>
                      <a:pt x="113" y="45"/>
                      <a:pt x="108" y="47"/>
                    </a:cubicBezTo>
                    <a:cubicBezTo>
                      <a:pt x="97" y="51"/>
                      <a:pt x="89" y="58"/>
                      <a:pt x="74" y="58"/>
                    </a:cubicBezTo>
                    <a:cubicBezTo>
                      <a:pt x="57" y="58"/>
                      <a:pt x="46" y="54"/>
                      <a:pt x="34" y="50"/>
                    </a:cubicBezTo>
                    <a:cubicBezTo>
                      <a:pt x="28" y="49"/>
                      <a:pt x="24" y="42"/>
                      <a:pt x="14" y="42"/>
                    </a:cubicBezTo>
                    <a:cubicBezTo>
                      <a:pt x="16" y="41"/>
                      <a:pt x="17" y="40"/>
                      <a:pt x="18" y="40"/>
                    </a:cubicBezTo>
                    <a:cubicBezTo>
                      <a:pt x="18" y="34"/>
                      <a:pt x="20" y="32"/>
                      <a:pt x="21" y="27"/>
                    </a:cubicBezTo>
                    <a:cubicBezTo>
                      <a:pt x="14" y="25"/>
                      <a:pt x="6" y="30"/>
                      <a:pt x="2" y="25"/>
                    </a:cubicBezTo>
                    <a:cubicBezTo>
                      <a:pt x="8" y="25"/>
                      <a:pt x="20" y="23"/>
                      <a:pt x="25" y="21"/>
                    </a:cubicBezTo>
                    <a:cubicBezTo>
                      <a:pt x="23" y="20"/>
                      <a:pt x="23" y="19"/>
                      <a:pt x="23" y="18"/>
                    </a:cubicBezTo>
                    <a:cubicBezTo>
                      <a:pt x="18" y="18"/>
                      <a:pt x="1" y="13"/>
                      <a:pt x="0" y="8"/>
                    </a:cubicBezTo>
                    <a:cubicBezTo>
                      <a:pt x="4" y="7"/>
                      <a:pt x="7" y="8"/>
                      <a:pt x="9" y="9"/>
                    </a:cubicBezTo>
                    <a:cubicBezTo>
                      <a:pt x="9" y="8"/>
                      <a:pt x="9" y="7"/>
                      <a:pt x="9" y="5"/>
                    </a:cubicBezTo>
                    <a:cubicBezTo>
                      <a:pt x="13" y="5"/>
                      <a:pt x="14" y="0"/>
                      <a:pt x="17" y="0"/>
                    </a:cubicBezTo>
                    <a:cubicBezTo>
                      <a:pt x="18" y="0"/>
                      <a:pt x="19" y="0"/>
                      <a:pt x="21" y="0"/>
                    </a:cubicBezTo>
                    <a:cubicBezTo>
                      <a:pt x="21" y="3"/>
                      <a:pt x="23" y="4"/>
                      <a:pt x="23" y="7"/>
                    </a:cubicBezTo>
                    <a:cubicBezTo>
                      <a:pt x="23" y="10"/>
                      <a:pt x="27" y="16"/>
                      <a:pt x="30" y="16"/>
                    </a:cubicBezTo>
                    <a:cubicBezTo>
                      <a:pt x="33" y="16"/>
                      <a:pt x="36" y="14"/>
                      <a:pt x="38" y="13"/>
                    </a:cubicBezTo>
                    <a:cubicBezTo>
                      <a:pt x="37" y="10"/>
                      <a:pt x="37" y="9"/>
                      <a:pt x="38" y="8"/>
                    </a:cubicBezTo>
                    <a:cubicBezTo>
                      <a:pt x="40" y="9"/>
                      <a:pt x="41" y="12"/>
                      <a:pt x="44" y="12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8" y="10"/>
                      <a:pt x="59" y="11"/>
                      <a:pt x="60" y="12"/>
                    </a:cubicBezTo>
                    <a:cubicBezTo>
                      <a:pt x="60" y="11"/>
                      <a:pt x="60" y="9"/>
                      <a:pt x="60" y="8"/>
                    </a:cubicBezTo>
                    <a:cubicBezTo>
                      <a:pt x="67" y="8"/>
                      <a:pt x="70" y="9"/>
                      <a:pt x="74" y="9"/>
                    </a:cubicBezTo>
                    <a:cubicBezTo>
                      <a:pt x="80" y="9"/>
                      <a:pt x="85" y="4"/>
                      <a:pt x="89" y="8"/>
                    </a:cubicBezTo>
                    <a:cubicBezTo>
                      <a:pt x="89" y="4"/>
                      <a:pt x="90" y="3"/>
                      <a:pt x="91" y="1"/>
                    </a:cubicBezTo>
                    <a:cubicBezTo>
                      <a:pt x="94" y="2"/>
                      <a:pt x="94" y="2"/>
                      <a:pt x="96" y="1"/>
                    </a:cubicBezTo>
                    <a:cubicBezTo>
                      <a:pt x="96" y="6"/>
                      <a:pt x="100" y="7"/>
                      <a:pt x="104" y="7"/>
                    </a:cubicBezTo>
                    <a:cubicBezTo>
                      <a:pt x="108" y="7"/>
                      <a:pt x="111" y="4"/>
                      <a:pt x="115" y="4"/>
                    </a:cubicBezTo>
                    <a:cubicBezTo>
                      <a:pt x="113" y="5"/>
                      <a:pt x="112" y="7"/>
                      <a:pt x="112" y="8"/>
                    </a:cubicBezTo>
                    <a:cubicBezTo>
                      <a:pt x="112" y="21"/>
                      <a:pt x="128" y="18"/>
                      <a:pt x="128" y="30"/>
                    </a:cubicBezTo>
                    <a:lnTo>
                      <a:pt x="127" y="3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30" name="išḻîḍê"/>
              <p:cNvSpPr/>
              <p:nvPr/>
            </p:nvSpPr>
            <p:spPr bwMode="auto">
              <a:xfrm>
                <a:off x="3778592" y="3092263"/>
                <a:ext cx="218311" cy="75413"/>
              </a:xfrm>
              <a:custGeom>
                <a:avLst/>
                <a:gdLst/>
                <a:ahLst/>
                <a:cxnLst>
                  <a:cxn ang="0">
                    <a:pos x="131" y="40"/>
                  </a:cxn>
                  <a:cxn ang="0">
                    <a:pos x="114" y="45"/>
                  </a:cxn>
                  <a:cxn ang="0">
                    <a:pos x="88" y="42"/>
                  </a:cxn>
                  <a:cxn ang="0">
                    <a:pos x="88" y="39"/>
                  </a:cxn>
                  <a:cxn ang="0">
                    <a:pos x="93" y="35"/>
                  </a:cxn>
                  <a:cxn ang="0">
                    <a:pos x="78" y="26"/>
                  </a:cxn>
                  <a:cxn ang="0">
                    <a:pos x="73" y="22"/>
                  </a:cxn>
                  <a:cxn ang="0">
                    <a:pos x="64" y="22"/>
                  </a:cxn>
                  <a:cxn ang="0">
                    <a:pos x="48" y="15"/>
                  </a:cxn>
                  <a:cxn ang="0">
                    <a:pos x="35" y="15"/>
                  </a:cxn>
                  <a:cxn ang="0">
                    <a:pos x="34" y="10"/>
                  </a:cxn>
                  <a:cxn ang="0">
                    <a:pos x="28" y="9"/>
                  </a:cxn>
                  <a:cxn ang="0">
                    <a:pos x="4" y="20"/>
                  </a:cxn>
                  <a:cxn ang="0">
                    <a:pos x="0" y="20"/>
                  </a:cxn>
                  <a:cxn ang="0">
                    <a:pos x="36" y="0"/>
                  </a:cxn>
                  <a:cxn ang="0">
                    <a:pos x="79" y="11"/>
                  </a:cxn>
                  <a:cxn ang="0">
                    <a:pos x="86" y="17"/>
                  </a:cxn>
                  <a:cxn ang="0">
                    <a:pos x="114" y="28"/>
                  </a:cxn>
                  <a:cxn ang="0">
                    <a:pos x="114" y="31"/>
                  </a:cxn>
                  <a:cxn ang="0">
                    <a:pos x="120" y="31"/>
                  </a:cxn>
                  <a:cxn ang="0">
                    <a:pos x="131" y="40"/>
                  </a:cxn>
                </a:cxnLst>
                <a:rect l="0" t="0" r="r" b="b"/>
                <a:pathLst>
                  <a:path w="131" h="45">
                    <a:moveTo>
                      <a:pt x="131" y="40"/>
                    </a:moveTo>
                    <a:cubicBezTo>
                      <a:pt x="127" y="45"/>
                      <a:pt x="119" y="45"/>
                      <a:pt x="114" y="45"/>
                    </a:cubicBezTo>
                    <a:cubicBezTo>
                      <a:pt x="104" y="45"/>
                      <a:pt x="97" y="42"/>
                      <a:pt x="88" y="42"/>
                    </a:cubicBezTo>
                    <a:cubicBezTo>
                      <a:pt x="88" y="41"/>
                      <a:pt x="88" y="40"/>
                      <a:pt x="88" y="39"/>
                    </a:cubicBezTo>
                    <a:cubicBezTo>
                      <a:pt x="90" y="39"/>
                      <a:pt x="92" y="38"/>
                      <a:pt x="93" y="35"/>
                    </a:cubicBezTo>
                    <a:cubicBezTo>
                      <a:pt x="86" y="32"/>
                      <a:pt x="79" y="33"/>
                      <a:pt x="78" y="26"/>
                    </a:cubicBezTo>
                    <a:cubicBezTo>
                      <a:pt x="74" y="26"/>
                      <a:pt x="75" y="23"/>
                      <a:pt x="73" y="22"/>
                    </a:cubicBezTo>
                    <a:cubicBezTo>
                      <a:pt x="69" y="20"/>
                      <a:pt x="67" y="22"/>
                      <a:pt x="64" y="22"/>
                    </a:cubicBezTo>
                    <a:cubicBezTo>
                      <a:pt x="57" y="22"/>
                      <a:pt x="54" y="15"/>
                      <a:pt x="48" y="15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3" y="13"/>
                      <a:pt x="33" y="12"/>
                      <a:pt x="34" y="10"/>
                    </a:cubicBezTo>
                    <a:cubicBezTo>
                      <a:pt x="33" y="9"/>
                      <a:pt x="30" y="9"/>
                      <a:pt x="28" y="9"/>
                    </a:cubicBezTo>
                    <a:cubicBezTo>
                      <a:pt x="20" y="9"/>
                      <a:pt x="8" y="15"/>
                      <a:pt x="4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7" y="8"/>
                      <a:pt x="16" y="0"/>
                      <a:pt x="36" y="0"/>
                    </a:cubicBezTo>
                    <a:cubicBezTo>
                      <a:pt x="55" y="0"/>
                      <a:pt x="64" y="11"/>
                      <a:pt x="79" y="11"/>
                    </a:cubicBezTo>
                    <a:cubicBezTo>
                      <a:pt x="82" y="11"/>
                      <a:pt x="86" y="16"/>
                      <a:pt x="86" y="17"/>
                    </a:cubicBezTo>
                    <a:cubicBezTo>
                      <a:pt x="93" y="23"/>
                      <a:pt x="104" y="28"/>
                      <a:pt x="114" y="28"/>
                    </a:cubicBezTo>
                    <a:cubicBezTo>
                      <a:pt x="114" y="28"/>
                      <a:pt x="113" y="30"/>
                      <a:pt x="114" y="31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25" y="32"/>
                      <a:pt x="127" y="39"/>
                      <a:pt x="131" y="4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31" name="íṣľïḑê"/>
              <p:cNvSpPr/>
              <p:nvPr/>
            </p:nvSpPr>
            <p:spPr bwMode="auto">
              <a:xfrm>
                <a:off x="3808362" y="3120047"/>
                <a:ext cx="11908" cy="1389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7"/>
                  </a:cxn>
                  <a:cxn ang="0">
                    <a:pos x="0" y="7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5" y="0"/>
                  </a:cxn>
                  <a:cxn ang="0">
                    <a:pos x="6" y="0"/>
                  </a:cxn>
                </a:cxnLst>
                <a:rect l="0" t="0" r="r" b="b"/>
                <a:pathLst>
                  <a:path w="7" h="8">
                    <a:moveTo>
                      <a:pt x="6" y="0"/>
                    </a:moveTo>
                    <a:cubicBezTo>
                      <a:pt x="6" y="3"/>
                      <a:pt x="7" y="5"/>
                      <a:pt x="6" y="7"/>
                    </a:cubicBezTo>
                    <a:cubicBezTo>
                      <a:pt x="5" y="7"/>
                      <a:pt x="0" y="8"/>
                      <a:pt x="0" y="7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32" name="ïSḷíḑê"/>
              <p:cNvSpPr/>
              <p:nvPr/>
            </p:nvSpPr>
            <p:spPr bwMode="auto">
              <a:xfrm>
                <a:off x="3917517" y="3193476"/>
                <a:ext cx="35724" cy="17862"/>
              </a:xfrm>
              <a:custGeom>
                <a:avLst/>
                <a:gdLst/>
                <a:ahLst/>
                <a:cxnLst>
                  <a:cxn ang="0">
                    <a:pos x="18" y="3"/>
                  </a:cxn>
                  <a:cxn ang="0">
                    <a:pos x="22" y="7"/>
                  </a:cxn>
                  <a:cxn ang="0">
                    <a:pos x="7" y="10"/>
                  </a:cxn>
                  <a:cxn ang="0">
                    <a:pos x="0" y="3"/>
                  </a:cxn>
                  <a:cxn ang="0">
                    <a:pos x="5" y="0"/>
                  </a:cxn>
                  <a:cxn ang="0">
                    <a:pos x="19" y="4"/>
                  </a:cxn>
                  <a:cxn ang="0">
                    <a:pos x="18" y="3"/>
                  </a:cxn>
                </a:cxnLst>
                <a:rect l="0" t="0" r="r" b="b"/>
                <a:pathLst>
                  <a:path w="22" h="10">
                    <a:moveTo>
                      <a:pt x="18" y="3"/>
                    </a:moveTo>
                    <a:cubicBezTo>
                      <a:pt x="21" y="4"/>
                      <a:pt x="22" y="5"/>
                      <a:pt x="22" y="7"/>
                    </a:cubicBezTo>
                    <a:cubicBezTo>
                      <a:pt x="17" y="8"/>
                      <a:pt x="13" y="10"/>
                      <a:pt x="7" y="10"/>
                    </a:cubicBezTo>
                    <a:cubicBezTo>
                      <a:pt x="4" y="10"/>
                      <a:pt x="0" y="7"/>
                      <a:pt x="0" y="3"/>
                    </a:cubicBezTo>
                    <a:cubicBezTo>
                      <a:pt x="0" y="1"/>
                      <a:pt x="3" y="0"/>
                      <a:pt x="5" y="0"/>
                    </a:cubicBezTo>
                    <a:cubicBezTo>
                      <a:pt x="10" y="0"/>
                      <a:pt x="16" y="3"/>
                      <a:pt x="19" y="4"/>
                    </a:cubicBezTo>
                    <a:lnTo>
                      <a:pt x="18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33" name="iSḷîďê"/>
              <p:cNvSpPr/>
              <p:nvPr/>
            </p:nvSpPr>
            <p:spPr bwMode="auto">
              <a:xfrm>
                <a:off x="4147736" y="3193476"/>
                <a:ext cx="29770" cy="11907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11" y="7"/>
                  </a:cxn>
                  <a:cxn ang="0">
                    <a:pos x="0" y="2"/>
                  </a:cxn>
                  <a:cxn ang="0">
                    <a:pos x="5" y="0"/>
                  </a:cxn>
                  <a:cxn ang="0">
                    <a:pos x="18" y="4"/>
                  </a:cxn>
                </a:cxnLst>
                <a:rect l="0" t="0" r="r" b="b"/>
                <a:pathLst>
                  <a:path w="18" h="7">
                    <a:moveTo>
                      <a:pt x="18" y="4"/>
                    </a:moveTo>
                    <a:cubicBezTo>
                      <a:pt x="17" y="7"/>
                      <a:pt x="14" y="7"/>
                      <a:pt x="11" y="7"/>
                    </a:cubicBezTo>
                    <a:cubicBezTo>
                      <a:pt x="6" y="7"/>
                      <a:pt x="0" y="7"/>
                      <a:pt x="0" y="2"/>
                    </a:cubicBezTo>
                    <a:cubicBezTo>
                      <a:pt x="0" y="0"/>
                      <a:pt x="4" y="0"/>
                      <a:pt x="5" y="0"/>
                    </a:cubicBezTo>
                    <a:cubicBezTo>
                      <a:pt x="6" y="0"/>
                      <a:pt x="17" y="2"/>
                      <a:pt x="18" y="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34" name="îŝḷîdè"/>
              <p:cNvSpPr/>
              <p:nvPr/>
            </p:nvSpPr>
            <p:spPr bwMode="auto">
              <a:xfrm>
                <a:off x="3996903" y="3161723"/>
                <a:ext cx="125033" cy="49615"/>
              </a:xfrm>
              <a:custGeom>
                <a:avLst/>
                <a:gdLst/>
                <a:ahLst/>
                <a:cxnLst>
                  <a:cxn ang="0">
                    <a:pos x="64" y="11"/>
                  </a:cxn>
                  <a:cxn ang="0">
                    <a:pos x="75" y="21"/>
                  </a:cxn>
                  <a:cxn ang="0">
                    <a:pos x="59" y="21"/>
                  </a:cxn>
                  <a:cxn ang="0">
                    <a:pos x="51" y="24"/>
                  </a:cxn>
                  <a:cxn ang="0">
                    <a:pos x="47" y="22"/>
                  </a:cxn>
                  <a:cxn ang="0">
                    <a:pos x="37" y="30"/>
                  </a:cxn>
                  <a:cxn ang="0">
                    <a:pos x="31" y="24"/>
                  </a:cxn>
                  <a:cxn ang="0">
                    <a:pos x="11" y="23"/>
                  </a:cxn>
                  <a:cxn ang="0">
                    <a:pos x="6" y="23"/>
                  </a:cxn>
                  <a:cxn ang="0">
                    <a:pos x="6" y="27"/>
                  </a:cxn>
                  <a:cxn ang="0">
                    <a:pos x="0" y="19"/>
                  </a:cxn>
                  <a:cxn ang="0">
                    <a:pos x="3" y="18"/>
                  </a:cxn>
                  <a:cxn ang="0">
                    <a:pos x="22" y="17"/>
                  </a:cxn>
                  <a:cxn ang="0">
                    <a:pos x="19" y="8"/>
                  </a:cxn>
                  <a:cxn ang="0">
                    <a:pos x="14" y="3"/>
                  </a:cxn>
                  <a:cxn ang="0">
                    <a:pos x="17" y="0"/>
                  </a:cxn>
                  <a:cxn ang="0">
                    <a:pos x="28" y="3"/>
                  </a:cxn>
                  <a:cxn ang="0">
                    <a:pos x="41" y="1"/>
                  </a:cxn>
                  <a:cxn ang="0">
                    <a:pos x="66" y="13"/>
                  </a:cxn>
                  <a:cxn ang="0">
                    <a:pos x="64" y="11"/>
                  </a:cxn>
                </a:cxnLst>
                <a:rect l="0" t="0" r="r" b="b"/>
                <a:pathLst>
                  <a:path w="75" h="30">
                    <a:moveTo>
                      <a:pt x="64" y="11"/>
                    </a:moveTo>
                    <a:cubicBezTo>
                      <a:pt x="68" y="15"/>
                      <a:pt x="72" y="16"/>
                      <a:pt x="75" y="21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23"/>
                      <a:pt x="54" y="24"/>
                      <a:pt x="51" y="24"/>
                    </a:cubicBezTo>
                    <a:cubicBezTo>
                      <a:pt x="49" y="24"/>
                      <a:pt x="49" y="22"/>
                      <a:pt x="47" y="22"/>
                    </a:cubicBezTo>
                    <a:cubicBezTo>
                      <a:pt x="41" y="22"/>
                      <a:pt x="41" y="30"/>
                      <a:pt x="37" y="30"/>
                    </a:cubicBezTo>
                    <a:cubicBezTo>
                      <a:pt x="33" y="30"/>
                      <a:pt x="34" y="26"/>
                      <a:pt x="31" y="24"/>
                    </a:cubicBezTo>
                    <a:cubicBezTo>
                      <a:pt x="27" y="22"/>
                      <a:pt x="17" y="23"/>
                      <a:pt x="11" y="23"/>
                    </a:cubicBezTo>
                    <a:cubicBezTo>
                      <a:pt x="8" y="23"/>
                      <a:pt x="8" y="24"/>
                      <a:pt x="6" y="23"/>
                    </a:cubicBezTo>
                    <a:cubicBezTo>
                      <a:pt x="6" y="24"/>
                      <a:pt x="6" y="25"/>
                      <a:pt x="6" y="27"/>
                    </a:cubicBezTo>
                    <a:cubicBezTo>
                      <a:pt x="3" y="26"/>
                      <a:pt x="0" y="22"/>
                      <a:pt x="0" y="19"/>
                    </a:cubicBezTo>
                    <a:cubicBezTo>
                      <a:pt x="1" y="19"/>
                      <a:pt x="2" y="18"/>
                      <a:pt x="3" y="18"/>
                    </a:cubicBezTo>
                    <a:cubicBezTo>
                      <a:pt x="13" y="18"/>
                      <a:pt x="17" y="20"/>
                      <a:pt x="22" y="17"/>
                    </a:cubicBezTo>
                    <a:cubicBezTo>
                      <a:pt x="20" y="15"/>
                      <a:pt x="19" y="12"/>
                      <a:pt x="19" y="8"/>
                    </a:cubicBezTo>
                    <a:cubicBezTo>
                      <a:pt x="17" y="8"/>
                      <a:pt x="14" y="6"/>
                      <a:pt x="14" y="3"/>
                    </a:cubicBezTo>
                    <a:cubicBezTo>
                      <a:pt x="14" y="2"/>
                      <a:pt x="16" y="0"/>
                      <a:pt x="17" y="0"/>
                    </a:cubicBezTo>
                    <a:cubicBezTo>
                      <a:pt x="21" y="0"/>
                      <a:pt x="24" y="3"/>
                      <a:pt x="28" y="3"/>
                    </a:cubicBezTo>
                    <a:cubicBezTo>
                      <a:pt x="34" y="3"/>
                      <a:pt x="36" y="1"/>
                      <a:pt x="41" y="1"/>
                    </a:cubicBezTo>
                    <a:cubicBezTo>
                      <a:pt x="55" y="1"/>
                      <a:pt x="58" y="9"/>
                      <a:pt x="66" y="13"/>
                    </a:cubicBezTo>
                    <a:lnTo>
                      <a:pt x="64" y="1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35" name="îṣľídê"/>
              <p:cNvSpPr/>
              <p:nvPr/>
            </p:nvSpPr>
            <p:spPr bwMode="auto">
              <a:xfrm>
                <a:off x="3909579" y="3052572"/>
                <a:ext cx="11908" cy="1389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7" y="6"/>
                  </a:cxn>
                  <a:cxn ang="0">
                    <a:pos x="5" y="8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7" h="8">
                    <a:moveTo>
                      <a:pt x="2" y="0"/>
                    </a:moveTo>
                    <a:cubicBezTo>
                      <a:pt x="6" y="0"/>
                      <a:pt x="7" y="3"/>
                      <a:pt x="7" y="6"/>
                    </a:cubicBezTo>
                    <a:cubicBezTo>
                      <a:pt x="7" y="7"/>
                      <a:pt x="6" y="8"/>
                      <a:pt x="5" y="8"/>
                    </a:cubicBezTo>
                    <a:cubicBezTo>
                      <a:pt x="0" y="8"/>
                      <a:pt x="0" y="3"/>
                      <a:pt x="0" y="0"/>
                    </a:cubicBezTo>
                    <a:cubicBezTo>
                      <a:pt x="0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36" name="îšľíḍê"/>
              <p:cNvSpPr/>
              <p:nvPr/>
            </p:nvSpPr>
            <p:spPr bwMode="auto">
              <a:xfrm>
                <a:off x="3899656" y="3010895"/>
                <a:ext cx="17863" cy="5954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6" y="0"/>
                  </a:cxn>
                  <a:cxn ang="0">
                    <a:pos x="11" y="3"/>
                  </a:cxn>
                  <a:cxn ang="0">
                    <a:pos x="0" y="3"/>
                  </a:cxn>
                </a:cxnLst>
                <a:rect l="0" t="0" r="r" b="b"/>
                <a:pathLst>
                  <a:path w="11" h="4">
                    <a:moveTo>
                      <a:pt x="0" y="3"/>
                    </a:moveTo>
                    <a:cubicBezTo>
                      <a:pt x="1" y="2"/>
                      <a:pt x="4" y="0"/>
                      <a:pt x="6" y="0"/>
                    </a:cubicBezTo>
                    <a:cubicBezTo>
                      <a:pt x="9" y="0"/>
                      <a:pt x="10" y="2"/>
                      <a:pt x="11" y="3"/>
                    </a:cubicBezTo>
                    <a:cubicBezTo>
                      <a:pt x="7" y="4"/>
                      <a:pt x="2" y="3"/>
                      <a:pt x="0" y="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37" name="íṡlídê"/>
              <p:cNvSpPr/>
              <p:nvPr/>
            </p:nvSpPr>
            <p:spPr bwMode="auto">
              <a:xfrm>
                <a:off x="3931410" y="3018833"/>
                <a:ext cx="5954" cy="7938"/>
              </a:xfrm>
              <a:custGeom>
                <a:avLst/>
                <a:gdLst/>
                <a:ahLst/>
                <a:cxnLst>
                  <a:cxn ang="0">
                    <a:pos x="3" y="4"/>
                  </a:cxn>
                  <a:cxn ang="0">
                    <a:pos x="1" y="0"/>
                  </a:cxn>
                  <a:cxn ang="0">
                    <a:pos x="3" y="4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cubicBezTo>
                      <a:pt x="2" y="4"/>
                      <a:pt x="0" y="1"/>
                      <a:pt x="1" y="0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38" name="îṣḻîḑè"/>
              <p:cNvSpPr/>
              <p:nvPr/>
            </p:nvSpPr>
            <p:spPr bwMode="auto">
              <a:xfrm>
                <a:off x="4006827" y="3129970"/>
                <a:ext cx="13893" cy="992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7"/>
                  </a:cxn>
                  <a:cxn ang="0">
                    <a:pos x="2" y="7"/>
                  </a:cxn>
                  <a:cxn ang="0">
                    <a:pos x="9" y="4"/>
                  </a:cxn>
                  <a:cxn ang="0">
                    <a:pos x="9" y="0"/>
                  </a:cxn>
                  <a:cxn ang="0">
                    <a:pos x="0" y="4"/>
                  </a:cxn>
                </a:cxnLst>
                <a:rect l="0" t="0" r="r" b="b"/>
                <a:pathLst>
                  <a:path w="9" h="7">
                    <a:moveTo>
                      <a:pt x="0" y="4"/>
                    </a:moveTo>
                    <a:cubicBezTo>
                      <a:pt x="0" y="5"/>
                      <a:pt x="0" y="6"/>
                      <a:pt x="0" y="7"/>
                    </a:cubicBezTo>
                    <a:cubicBezTo>
                      <a:pt x="0" y="7"/>
                      <a:pt x="1" y="7"/>
                      <a:pt x="2" y="7"/>
                    </a:cubicBezTo>
                    <a:cubicBezTo>
                      <a:pt x="4" y="7"/>
                      <a:pt x="7" y="6"/>
                      <a:pt x="9" y="4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3"/>
                      <a:pt x="4" y="5"/>
                      <a:pt x="0" y="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39" name="îṣḻïďé"/>
              <p:cNvSpPr/>
              <p:nvPr/>
            </p:nvSpPr>
            <p:spPr bwMode="auto">
              <a:xfrm>
                <a:off x="2941074" y="2457200"/>
                <a:ext cx="1208648" cy="591403"/>
              </a:xfrm>
              <a:custGeom>
                <a:avLst/>
                <a:gdLst/>
                <a:ahLst/>
                <a:cxnLst>
                  <a:cxn ang="0">
                    <a:pos x="543" y="285"/>
                  </a:cxn>
                  <a:cxn ang="0">
                    <a:pos x="555" y="317"/>
                  </a:cxn>
                  <a:cxn ang="0">
                    <a:pos x="560" y="338"/>
                  </a:cxn>
                  <a:cxn ang="0">
                    <a:pos x="542" y="345"/>
                  </a:cxn>
                  <a:cxn ang="0">
                    <a:pos x="507" y="287"/>
                  </a:cxn>
                  <a:cxn ang="0">
                    <a:pos x="474" y="283"/>
                  </a:cxn>
                  <a:cxn ang="0">
                    <a:pos x="460" y="283"/>
                  </a:cxn>
                  <a:cxn ang="0">
                    <a:pos x="443" y="286"/>
                  </a:cxn>
                  <a:cxn ang="0">
                    <a:pos x="412" y="292"/>
                  </a:cxn>
                  <a:cxn ang="0">
                    <a:pos x="393" y="291"/>
                  </a:cxn>
                  <a:cxn ang="0">
                    <a:pos x="357" y="309"/>
                  </a:cxn>
                  <a:cxn ang="0">
                    <a:pos x="343" y="342"/>
                  </a:cxn>
                  <a:cxn ang="0">
                    <a:pos x="282" y="290"/>
                  </a:cxn>
                  <a:cxn ang="0">
                    <a:pos x="246" y="281"/>
                  </a:cxn>
                  <a:cxn ang="0">
                    <a:pos x="207" y="262"/>
                  </a:cxn>
                  <a:cxn ang="0">
                    <a:pos x="170" y="268"/>
                  </a:cxn>
                  <a:cxn ang="0">
                    <a:pos x="95" y="252"/>
                  </a:cxn>
                  <a:cxn ang="0">
                    <a:pos x="47" y="214"/>
                  </a:cxn>
                  <a:cxn ang="0">
                    <a:pos x="4" y="141"/>
                  </a:cxn>
                  <a:cxn ang="0">
                    <a:pos x="4" y="95"/>
                  </a:cxn>
                  <a:cxn ang="0">
                    <a:pos x="0" y="23"/>
                  </a:cxn>
                  <a:cxn ang="0">
                    <a:pos x="20" y="27"/>
                  </a:cxn>
                  <a:cxn ang="0">
                    <a:pos x="20" y="5"/>
                  </a:cxn>
                  <a:cxn ang="0">
                    <a:pos x="373" y="0"/>
                  </a:cxn>
                  <a:cxn ang="0">
                    <a:pos x="406" y="11"/>
                  </a:cxn>
                  <a:cxn ang="0">
                    <a:pos x="408" y="45"/>
                  </a:cxn>
                  <a:cxn ang="0">
                    <a:pos x="423" y="42"/>
                  </a:cxn>
                  <a:cxn ang="0">
                    <a:pos x="441" y="40"/>
                  </a:cxn>
                  <a:cxn ang="0">
                    <a:pos x="456" y="42"/>
                  </a:cxn>
                  <a:cxn ang="0">
                    <a:pos x="472" y="47"/>
                  </a:cxn>
                  <a:cxn ang="0">
                    <a:pos x="510" y="48"/>
                  </a:cxn>
                  <a:cxn ang="0">
                    <a:pos x="490" y="54"/>
                  </a:cxn>
                  <a:cxn ang="0">
                    <a:pos x="472" y="69"/>
                  </a:cxn>
                  <a:cxn ang="0">
                    <a:pos x="471" y="121"/>
                  </a:cxn>
                  <a:cxn ang="0">
                    <a:pos x="480" y="88"/>
                  </a:cxn>
                  <a:cxn ang="0">
                    <a:pos x="501" y="57"/>
                  </a:cxn>
                  <a:cxn ang="0">
                    <a:pos x="516" y="87"/>
                  </a:cxn>
                  <a:cxn ang="0">
                    <a:pos x="531" y="97"/>
                  </a:cxn>
                  <a:cxn ang="0">
                    <a:pos x="527" y="123"/>
                  </a:cxn>
                  <a:cxn ang="0">
                    <a:pos x="564" y="97"/>
                  </a:cxn>
                  <a:cxn ang="0">
                    <a:pos x="610" y="84"/>
                  </a:cxn>
                  <a:cxn ang="0">
                    <a:pos x="653" y="65"/>
                  </a:cxn>
                  <a:cxn ang="0">
                    <a:pos x="675" y="63"/>
                  </a:cxn>
                  <a:cxn ang="0">
                    <a:pos x="699" y="28"/>
                  </a:cxn>
                  <a:cxn ang="0">
                    <a:pos x="726" y="73"/>
                  </a:cxn>
                  <a:cxn ang="0">
                    <a:pos x="701" y="80"/>
                  </a:cxn>
                  <a:cxn ang="0">
                    <a:pos x="681" y="113"/>
                  </a:cxn>
                  <a:cxn ang="0">
                    <a:pos x="690" y="118"/>
                  </a:cxn>
                  <a:cxn ang="0">
                    <a:pos x="676" y="122"/>
                  </a:cxn>
                  <a:cxn ang="0">
                    <a:pos x="648" y="132"/>
                  </a:cxn>
                  <a:cxn ang="0">
                    <a:pos x="642" y="134"/>
                  </a:cxn>
                  <a:cxn ang="0">
                    <a:pos x="635" y="137"/>
                  </a:cxn>
                  <a:cxn ang="0">
                    <a:pos x="627" y="161"/>
                  </a:cxn>
                  <a:cxn ang="0">
                    <a:pos x="622" y="159"/>
                  </a:cxn>
                  <a:cxn ang="0">
                    <a:pos x="615" y="186"/>
                  </a:cxn>
                  <a:cxn ang="0">
                    <a:pos x="614" y="178"/>
                  </a:cxn>
                  <a:cxn ang="0">
                    <a:pos x="608" y="170"/>
                  </a:cxn>
                  <a:cxn ang="0">
                    <a:pos x="611" y="192"/>
                  </a:cxn>
                  <a:cxn ang="0">
                    <a:pos x="614" y="196"/>
                  </a:cxn>
                  <a:cxn ang="0">
                    <a:pos x="614" y="205"/>
                  </a:cxn>
                  <a:cxn ang="0">
                    <a:pos x="607" y="213"/>
                  </a:cxn>
                  <a:cxn ang="0">
                    <a:pos x="607" y="221"/>
                  </a:cxn>
                  <a:cxn ang="0">
                    <a:pos x="589" y="232"/>
                  </a:cxn>
                </a:cxnLst>
                <a:rect l="0" t="0" r="r" b="b"/>
                <a:pathLst>
                  <a:path w="726" h="356">
                    <a:moveTo>
                      <a:pt x="590" y="233"/>
                    </a:moveTo>
                    <a:cubicBezTo>
                      <a:pt x="569" y="245"/>
                      <a:pt x="543" y="253"/>
                      <a:pt x="543" y="285"/>
                    </a:cubicBezTo>
                    <a:cubicBezTo>
                      <a:pt x="543" y="300"/>
                      <a:pt x="555" y="304"/>
                      <a:pt x="555" y="318"/>
                    </a:cubicBezTo>
                    <a:cubicBezTo>
                      <a:pt x="555" y="317"/>
                      <a:pt x="555" y="317"/>
                      <a:pt x="555" y="317"/>
                    </a:cubicBezTo>
                    <a:cubicBezTo>
                      <a:pt x="555" y="320"/>
                      <a:pt x="555" y="320"/>
                      <a:pt x="555" y="320"/>
                    </a:cubicBezTo>
                    <a:cubicBezTo>
                      <a:pt x="556" y="326"/>
                      <a:pt x="560" y="330"/>
                      <a:pt x="560" y="338"/>
                    </a:cubicBezTo>
                    <a:cubicBezTo>
                      <a:pt x="560" y="347"/>
                      <a:pt x="558" y="356"/>
                      <a:pt x="551" y="356"/>
                    </a:cubicBezTo>
                    <a:cubicBezTo>
                      <a:pt x="544" y="356"/>
                      <a:pt x="544" y="349"/>
                      <a:pt x="542" y="345"/>
                    </a:cubicBezTo>
                    <a:cubicBezTo>
                      <a:pt x="537" y="338"/>
                      <a:pt x="532" y="335"/>
                      <a:pt x="529" y="328"/>
                    </a:cubicBezTo>
                    <a:cubicBezTo>
                      <a:pt x="522" y="314"/>
                      <a:pt x="527" y="287"/>
                      <a:pt x="507" y="287"/>
                    </a:cubicBezTo>
                    <a:cubicBezTo>
                      <a:pt x="503" y="287"/>
                      <a:pt x="502" y="293"/>
                      <a:pt x="498" y="293"/>
                    </a:cubicBezTo>
                    <a:cubicBezTo>
                      <a:pt x="490" y="293"/>
                      <a:pt x="485" y="283"/>
                      <a:pt x="474" y="283"/>
                    </a:cubicBezTo>
                    <a:cubicBezTo>
                      <a:pt x="468" y="283"/>
                      <a:pt x="467" y="286"/>
                      <a:pt x="463" y="286"/>
                    </a:cubicBezTo>
                    <a:cubicBezTo>
                      <a:pt x="462" y="286"/>
                      <a:pt x="460" y="284"/>
                      <a:pt x="460" y="283"/>
                    </a:cubicBezTo>
                    <a:cubicBezTo>
                      <a:pt x="453" y="285"/>
                      <a:pt x="444" y="284"/>
                      <a:pt x="436" y="286"/>
                    </a:cubicBezTo>
                    <a:cubicBezTo>
                      <a:pt x="441" y="288"/>
                      <a:pt x="440" y="288"/>
                      <a:pt x="443" y="286"/>
                    </a:cubicBezTo>
                    <a:cubicBezTo>
                      <a:pt x="442" y="293"/>
                      <a:pt x="438" y="297"/>
                      <a:pt x="443" y="301"/>
                    </a:cubicBezTo>
                    <a:cubicBezTo>
                      <a:pt x="431" y="307"/>
                      <a:pt x="421" y="292"/>
                      <a:pt x="412" y="292"/>
                    </a:cubicBezTo>
                    <a:cubicBezTo>
                      <a:pt x="409" y="292"/>
                      <a:pt x="408" y="295"/>
                      <a:pt x="405" y="295"/>
                    </a:cubicBezTo>
                    <a:cubicBezTo>
                      <a:pt x="400" y="295"/>
                      <a:pt x="398" y="291"/>
                      <a:pt x="393" y="291"/>
                    </a:cubicBezTo>
                    <a:cubicBezTo>
                      <a:pt x="380" y="291"/>
                      <a:pt x="374" y="302"/>
                      <a:pt x="368" y="307"/>
                    </a:cubicBezTo>
                    <a:cubicBezTo>
                      <a:pt x="365" y="311"/>
                      <a:pt x="361" y="308"/>
                      <a:pt x="357" y="309"/>
                    </a:cubicBezTo>
                    <a:cubicBezTo>
                      <a:pt x="347" y="313"/>
                      <a:pt x="341" y="325"/>
                      <a:pt x="341" y="338"/>
                    </a:cubicBezTo>
                    <a:cubicBezTo>
                      <a:pt x="341" y="339"/>
                      <a:pt x="343" y="341"/>
                      <a:pt x="343" y="342"/>
                    </a:cubicBezTo>
                    <a:cubicBezTo>
                      <a:pt x="336" y="342"/>
                      <a:pt x="325" y="339"/>
                      <a:pt x="321" y="336"/>
                    </a:cubicBezTo>
                    <a:cubicBezTo>
                      <a:pt x="307" y="322"/>
                      <a:pt x="308" y="290"/>
                      <a:pt x="282" y="290"/>
                    </a:cubicBezTo>
                    <a:cubicBezTo>
                      <a:pt x="272" y="290"/>
                      <a:pt x="275" y="302"/>
                      <a:pt x="266" y="302"/>
                    </a:cubicBezTo>
                    <a:cubicBezTo>
                      <a:pt x="257" y="302"/>
                      <a:pt x="250" y="287"/>
                      <a:pt x="246" y="281"/>
                    </a:cubicBezTo>
                    <a:cubicBezTo>
                      <a:pt x="239" y="268"/>
                      <a:pt x="230" y="266"/>
                      <a:pt x="215" y="262"/>
                    </a:cubicBezTo>
                    <a:cubicBezTo>
                      <a:pt x="207" y="262"/>
                      <a:pt x="207" y="262"/>
                      <a:pt x="207" y="262"/>
                    </a:cubicBezTo>
                    <a:cubicBezTo>
                      <a:pt x="207" y="268"/>
                      <a:pt x="207" y="268"/>
                      <a:pt x="207" y="268"/>
                    </a:cubicBezTo>
                    <a:cubicBezTo>
                      <a:pt x="170" y="268"/>
                      <a:pt x="170" y="268"/>
                      <a:pt x="170" y="268"/>
                    </a:cubicBezTo>
                    <a:cubicBezTo>
                      <a:pt x="123" y="252"/>
                      <a:pt x="123" y="252"/>
                      <a:pt x="123" y="252"/>
                    </a:cubicBezTo>
                    <a:cubicBezTo>
                      <a:pt x="95" y="252"/>
                      <a:pt x="95" y="252"/>
                      <a:pt x="95" y="252"/>
                    </a:cubicBezTo>
                    <a:cubicBezTo>
                      <a:pt x="88" y="239"/>
                      <a:pt x="66" y="230"/>
                      <a:pt x="50" y="223"/>
                    </a:cubicBezTo>
                    <a:cubicBezTo>
                      <a:pt x="47" y="222"/>
                      <a:pt x="48" y="217"/>
                      <a:pt x="47" y="214"/>
                    </a:cubicBezTo>
                    <a:cubicBezTo>
                      <a:pt x="40" y="198"/>
                      <a:pt x="28" y="193"/>
                      <a:pt x="30" y="175"/>
                    </a:cubicBezTo>
                    <a:cubicBezTo>
                      <a:pt x="21" y="174"/>
                      <a:pt x="11" y="154"/>
                      <a:pt x="4" y="141"/>
                    </a:cubicBezTo>
                    <a:cubicBezTo>
                      <a:pt x="2" y="137"/>
                      <a:pt x="6" y="134"/>
                      <a:pt x="8" y="133"/>
                    </a:cubicBezTo>
                    <a:cubicBezTo>
                      <a:pt x="3" y="123"/>
                      <a:pt x="8" y="107"/>
                      <a:pt x="4" y="95"/>
                    </a:cubicBezTo>
                    <a:cubicBezTo>
                      <a:pt x="0" y="85"/>
                      <a:pt x="11" y="60"/>
                      <a:pt x="11" y="46"/>
                    </a:cubicBezTo>
                    <a:cubicBezTo>
                      <a:pt x="11" y="36"/>
                      <a:pt x="0" y="32"/>
                      <a:pt x="0" y="23"/>
                    </a:cubicBezTo>
                    <a:cubicBezTo>
                      <a:pt x="0" y="20"/>
                      <a:pt x="5" y="20"/>
                      <a:pt x="7" y="20"/>
                    </a:cubicBezTo>
                    <a:cubicBezTo>
                      <a:pt x="13" y="20"/>
                      <a:pt x="17" y="23"/>
                      <a:pt x="20" y="27"/>
                    </a:cubicBezTo>
                    <a:cubicBezTo>
                      <a:pt x="22" y="24"/>
                      <a:pt x="26" y="19"/>
                      <a:pt x="26" y="15"/>
                    </a:cubicBezTo>
                    <a:cubicBezTo>
                      <a:pt x="26" y="11"/>
                      <a:pt x="22" y="10"/>
                      <a:pt x="20" y="5"/>
                    </a:cubicBezTo>
                    <a:cubicBezTo>
                      <a:pt x="373" y="5"/>
                      <a:pt x="373" y="5"/>
                      <a:pt x="373" y="5"/>
                    </a:cubicBezTo>
                    <a:cubicBezTo>
                      <a:pt x="373" y="0"/>
                      <a:pt x="373" y="0"/>
                      <a:pt x="373" y="0"/>
                    </a:cubicBezTo>
                    <a:cubicBezTo>
                      <a:pt x="379" y="4"/>
                      <a:pt x="378" y="8"/>
                      <a:pt x="384" y="11"/>
                    </a:cubicBezTo>
                    <a:cubicBezTo>
                      <a:pt x="406" y="11"/>
                      <a:pt x="406" y="11"/>
                      <a:pt x="406" y="11"/>
                    </a:cubicBezTo>
                    <a:cubicBezTo>
                      <a:pt x="415" y="20"/>
                      <a:pt x="426" y="20"/>
                      <a:pt x="443" y="20"/>
                    </a:cubicBezTo>
                    <a:cubicBezTo>
                      <a:pt x="431" y="28"/>
                      <a:pt x="418" y="32"/>
                      <a:pt x="408" y="45"/>
                    </a:cubicBezTo>
                    <a:cubicBezTo>
                      <a:pt x="415" y="45"/>
                      <a:pt x="415" y="45"/>
                      <a:pt x="415" y="45"/>
                    </a:cubicBezTo>
                    <a:cubicBezTo>
                      <a:pt x="418" y="43"/>
                      <a:pt x="420" y="42"/>
                      <a:pt x="423" y="42"/>
                    </a:cubicBezTo>
                    <a:cubicBezTo>
                      <a:pt x="425" y="46"/>
                      <a:pt x="426" y="46"/>
                      <a:pt x="429" y="46"/>
                    </a:cubicBezTo>
                    <a:cubicBezTo>
                      <a:pt x="437" y="46"/>
                      <a:pt x="437" y="40"/>
                      <a:pt x="441" y="40"/>
                    </a:cubicBezTo>
                    <a:cubicBezTo>
                      <a:pt x="446" y="40"/>
                      <a:pt x="454" y="32"/>
                      <a:pt x="461" y="31"/>
                    </a:cubicBezTo>
                    <a:cubicBezTo>
                      <a:pt x="461" y="37"/>
                      <a:pt x="458" y="38"/>
                      <a:pt x="456" y="42"/>
                    </a:cubicBezTo>
                    <a:cubicBezTo>
                      <a:pt x="465" y="42"/>
                      <a:pt x="465" y="42"/>
                      <a:pt x="465" y="42"/>
                    </a:cubicBezTo>
                    <a:cubicBezTo>
                      <a:pt x="465" y="45"/>
                      <a:pt x="469" y="47"/>
                      <a:pt x="472" y="47"/>
                    </a:cubicBezTo>
                    <a:cubicBezTo>
                      <a:pt x="478" y="47"/>
                      <a:pt x="480" y="43"/>
                      <a:pt x="484" y="43"/>
                    </a:cubicBezTo>
                    <a:cubicBezTo>
                      <a:pt x="495" y="43"/>
                      <a:pt x="500" y="48"/>
                      <a:pt x="510" y="48"/>
                    </a:cubicBezTo>
                    <a:cubicBezTo>
                      <a:pt x="510" y="54"/>
                      <a:pt x="510" y="54"/>
                      <a:pt x="510" y="54"/>
                    </a:cubicBezTo>
                    <a:cubicBezTo>
                      <a:pt x="503" y="56"/>
                      <a:pt x="493" y="54"/>
                      <a:pt x="490" y="54"/>
                    </a:cubicBezTo>
                    <a:cubicBezTo>
                      <a:pt x="480" y="54"/>
                      <a:pt x="462" y="66"/>
                      <a:pt x="462" y="75"/>
                    </a:cubicBezTo>
                    <a:cubicBezTo>
                      <a:pt x="466" y="72"/>
                      <a:pt x="468" y="69"/>
                      <a:pt x="472" y="69"/>
                    </a:cubicBezTo>
                    <a:cubicBezTo>
                      <a:pt x="465" y="78"/>
                      <a:pt x="461" y="101"/>
                      <a:pt x="461" y="112"/>
                    </a:cubicBezTo>
                    <a:cubicBezTo>
                      <a:pt x="461" y="117"/>
                      <a:pt x="466" y="121"/>
                      <a:pt x="471" y="121"/>
                    </a:cubicBezTo>
                    <a:cubicBezTo>
                      <a:pt x="478" y="121"/>
                      <a:pt x="480" y="108"/>
                      <a:pt x="480" y="102"/>
                    </a:cubicBezTo>
                    <a:cubicBezTo>
                      <a:pt x="480" y="97"/>
                      <a:pt x="480" y="88"/>
                      <a:pt x="480" y="88"/>
                    </a:cubicBezTo>
                    <a:cubicBezTo>
                      <a:pt x="480" y="82"/>
                      <a:pt x="480" y="69"/>
                      <a:pt x="485" y="69"/>
                    </a:cubicBezTo>
                    <a:cubicBezTo>
                      <a:pt x="501" y="68"/>
                      <a:pt x="494" y="57"/>
                      <a:pt x="501" y="57"/>
                    </a:cubicBezTo>
                    <a:cubicBezTo>
                      <a:pt x="504" y="57"/>
                      <a:pt x="521" y="65"/>
                      <a:pt x="521" y="70"/>
                    </a:cubicBezTo>
                    <a:cubicBezTo>
                      <a:pt x="521" y="77"/>
                      <a:pt x="517" y="81"/>
                      <a:pt x="516" y="87"/>
                    </a:cubicBezTo>
                    <a:cubicBezTo>
                      <a:pt x="521" y="87"/>
                      <a:pt x="520" y="85"/>
                      <a:pt x="525" y="84"/>
                    </a:cubicBezTo>
                    <a:cubicBezTo>
                      <a:pt x="526" y="91"/>
                      <a:pt x="526" y="94"/>
                      <a:pt x="531" y="97"/>
                    </a:cubicBezTo>
                    <a:cubicBezTo>
                      <a:pt x="526" y="103"/>
                      <a:pt x="521" y="106"/>
                      <a:pt x="521" y="112"/>
                    </a:cubicBezTo>
                    <a:cubicBezTo>
                      <a:pt x="521" y="117"/>
                      <a:pt x="523" y="123"/>
                      <a:pt x="527" y="123"/>
                    </a:cubicBezTo>
                    <a:cubicBezTo>
                      <a:pt x="539" y="123"/>
                      <a:pt x="559" y="112"/>
                      <a:pt x="568" y="108"/>
                    </a:cubicBezTo>
                    <a:cubicBezTo>
                      <a:pt x="567" y="103"/>
                      <a:pt x="565" y="99"/>
                      <a:pt x="564" y="97"/>
                    </a:cubicBezTo>
                    <a:cubicBezTo>
                      <a:pt x="567" y="97"/>
                      <a:pt x="567" y="97"/>
                      <a:pt x="569" y="97"/>
                    </a:cubicBezTo>
                    <a:cubicBezTo>
                      <a:pt x="582" y="97"/>
                      <a:pt x="610" y="101"/>
                      <a:pt x="610" y="84"/>
                    </a:cubicBezTo>
                    <a:cubicBezTo>
                      <a:pt x="611" y="84"/>
                      <a:pt x="627" y="68"/>
                      <a:pt x="630" y="66"/>
                    </a:cubicBezTo>
                    <a:cubicBezTo>
                      <a:pt x="632" y="64"/>
                      <a:pt x="643" y="65"/>
                      <a:pt x="653" y="65"/>
                    </a:cubicBezTo>
                    <a:cubicBezTo>
                      <a:pt x="657" y="65"/>
                      <a:pt x="660" y="65"/>
                      <a:pt x="664" y="65"/>
                    </a:cubicBezTo>
                    <a:cubicBezTo>
                      <a:pt x="668" y="65"/>
                      <a:pt x="672" y="63"/>
                      <a:pt x="675" y="63"/>
                    </a:cubicBezTo>
                    <a:cubicBezTo>
                      <a:pt x="680" y="62"/>
                      <a:pt x="678" y="61"/>
                      <a:pt x="680" y="59"/>
                    </a:cubicBezTo>
                    <a:cubicBezTo>
                      <a:pt x="688" y="51"/>
                      <a:pt x="688" y="36"/>
                      <a:pt x="699" y="28"/>
                    </a:cubicBezTo>
                    <a:cubicBezTo>
                      <a:pt x="704" y="35"/>
                      <a:pt x="712" y="25"/>
                      <a:pt x="716" y="32"/>
                    </a:cubicBezTo>
                    <a:cubicBezTo>
                      <a:pt x="723" y="44"/>
                      <a:pt x="717" y="62"/>
                      <a:pt x="726" y="73"/>
                    </a:cubicBezTo>
                    <a:cubicBezTo>
                      <a:pt x="723" y="77"/>
                      <a:pt x="718" y="80"/>
                      <a:pt x="712" y="80"/>
                    </a:cubicBezTo>
                    <a:cubicBezTo>
                      <a:pt x="706" y="80"/>
                      <a:pt x="706" y="78"/>
                      <a:pt x="701" y="80"/>
                    </a:cubicBezTo>
                    <a:cubicBezTo>
                      <a:pt x="694" y="87"/>
                      <a:pt x="679" y="92"/>
                      <a:pt x="679" y="109"/>
                    </a:cubicBezTo>
                    <a:cubicBezTo>
                      <a:pt x="679" y="110"/>
                      <a:pt x="680" y="112"/>
                      <a:pt x="681" y="113"/>
                    </a:cubicBezTo>
                    <a:cubicBezTo>
                      <a:pt x="681" y="115"/>
                      <a:pt x="683" y="121"/>
                      <a:pt x="686" y="121"/>
                    </a:cubicBezTo>
                    <a:cubicBezTo>
                      <a:pt x="687" y="121"/>
                      <a:pt x="690" y="118"/>
                      <a:pt x="690" y="118"/>
                    </a:cubicBezTo>
                    <a:cubicBezTo>
                      <a:pt x="690" y="121"/>
                      <a:pt x="690" y="121"/>
                      <a:pt x="690" y="121"/>
                    </a:cubicBezTo>
                    <a:cubicBezTo>
                      <a:pt x="685" y="122"/>
                      <a:pt x="678" y="124"/>
                      <a:pt x="676" y="122"/>
                    </a:cubicBezTo>
                    <a:cubicBezTo>
                      <a:pt x="667" y="129"/>
                      <a:pt x="652" y="126"/>
                      <a:pt x="643" y="132"/>
                    </a:cubicBezTo>
                    <a:cubicBezTo>
                      <a:pt x="648" y="132"/>
                      <a:pt x="648" y="132"/>
                      <a:pt x="648" y="132"/>
                    </a:cubicBezTo>
                    <a:cubicBezTo>
                      <a:pt x="652" y="132"/>
                      <a:pt x="656" y="129"/>
                      <a:pt x="659" y="132"/>
                    </a:cubicBezTo>
                    <a:cubicBezTo>
                      <a:pt x="653" y="134"/>
                      <a:pt x="648" y="134"/>
                      <a:pt x="642" y="134"/>
                    </a:cubicBezTo>
                    <a:cubicBezTo>
                      <a:pt x="641" y="134"/>
                      <a:pt x="639" y="133"/>
                      <a:pt x="638" y="133"/>
                    </a:cubicBezTo>
                    <a:cubicBezTo>
                      <a:pt x="637" y="134"/>
                      <a:pt x="635" y="135"/>
                      <a:pt x="635" y="137"/>
                    </a:cubicBezTo>
                    <a:cubicBezTo>
                      <a:pt x="635" y="139"/>
                      <a:pt x="639" y="142"/>
                      <a:pt x="639" y="142"/>
                    </a:cubicBezTo>
                    <a:cubicBezTo>
                      <a:pt x="638" y="145"/>
                      <a:pt x="630" y="161"/>
                      <a:pt x="627" y="161"/>
                    </a:cubicBezTo>
                    <a:cubicBezTo>
                      <a:pt x="626" y="161"/>
                      <a:pt x="625" y="158"/>
                      <a:pt x="624" y="157"/>
                    </a:cubicBezTo>
                    <a:cubicBezTo>
                      <a:pt x="622" y="159"/>
                      <a:pt x="622" y="159"/>
                      <a:pt x="622" y="159"/>
                    </a:cubicBezTo>
                    <a:cubicBezTo>
                      <a:pt x="623" y="163"/>
                      <a:pt x="626" y="164"/>
                      <a:pt x="626" y="168"/>
                    </a:cubicBezTo>
                    <a:cubicBezTo>
                      <a:pt x="626" y="170"/>
                      <a:pt x="617" y="186"/>
                      <a:pt x="615" y="186"/>
                    </a:cubicBezTo>
                    <a:cubicBezTo>
                      <a:pt x="615" y="186"/>
                      <a:pt x="614" y="184"/>
                      <a:pt x="614" y="183"/>
                    </a:cubicBezTo>
                    <a:cubicBezTo>
                      <a:pt x="614" y="181"/>
                      <a:pt x="614" y="180"/>
                      <a:pt x="614" y="178"/>
                    </a:cubicBezTo>
                    <a:cubicBezTo>
                      <a:pt x="614" y="175"/>
                      <a:pt x="610" y="168"/>
                      <a:pt x="609" y="164"/>
                    </a:cubicBezTo>
                    <a:cubicBezTo>
                      <a:pt x="608" y="166"/>
                      <a:pt x="608" y="170"/>
                      <a:pt x="608" y="170"/>
                    </a:cubicBezTo>
                    <a:cubicBezTo>
                      <a:pt x="608" y="173"/>
                      <a:pt x="611" y="181"/>
                      <a:pt x="611" y="185"/>
                    </a:cubicBezTo>
                    <a:cubicBezTo>
                      <a:pt x="611" y="189"/>
                      <a:pt x="608" y="189"/>
                      <a:pt x="611" y="192"/>
                    </a:cubicBezTo>
                    <a:cubicBezTo>
                      <a:pt x="612" y="192"/>
                      <a:pt x="613" y="192"/>
                      <a:pt x="614" y="192"/>
                    </a:cubicBezTo>
                    <a:cubicBezTo>
                      <a:pt x="614" y="193"/>
                      <a:pt x="614" y="195"/>
                      <a:pt x="614" y="196"/>
                    </a:cubicBezTo>
                    <a:cubicBezTo>
                      <a:pt x="614" y="200"/>
                      <a:pt x="610" y="201"/>
                      <a:pt x="608" y="201"/>
                    </a:cubicBezTo>
                    <a:cubicBezTo>
                      <a:pt x="610" y="205"/>
                      <a:pt x="612" y="205"/>
                      <a:pt x="614" y="205"/>
                    </a:cubicBezTo>
                    <a:cubicBezTo>
                      <a:pt x="613" y="210"/>
                      <a:pt x="611" y="210"/>
                      <a:pt x="607" y="210"/>
                    </a:cubicBezTo>
                    <a:cubicBezTo>
                      <a:pt x="607" y="213"/>
                      <a:pt x="607" y="213"/>
                      <a:pt x="607" y="213"/>
                    </a:cubicBezTo>
                    <a:cubicBezTo>
                      <a:pt x="612" y="216"/>
                      <a:pt x="612" y="216"/>
                      <a:pt x="612" y="216"/>
                    </a:cubicBezTo>
                    <a:cubicBezTo>
                      <a:pt x="611" y="218"/>
                      <a:pt x="610" y="221"/>
                      <a:pt x="607" y="221"/>
                    </a:cubicBezTo>
                    <a:cubicBezTo>
                      <a:pt x="602" y="222"/>
                      <a:pt x="600" y="226"/>
                      <a:pt x="596" y="226"/>
                    </a:cubicBezTo>
                    <a:cubicBezTo>
                      <a:pt x="591" y="228"/>
                      <a:pt x="591" y="230"/>
                      <a:pt x="589" y="232"/>
                    </a:cubicBezTo>
                    <a:lnTo>
                      <a:pt x="590" y="23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40" name="išļidê"/>
              <p:cNvSpPr/>
              <p:nvPr/>
            </p:nvSpPr>
            <p:spPr bwMode="auto">
              <a:xfrm>
                <a:off x="2601700" y="1732831"/>
                <a:ext cx="1782209" cy="920842"/>
              </a:xfrm>
              <a:custGeom>
                <a:avLst/>
                <a:gdLst/>
                <a:ahLst/>
                <a:cxnLst>
                  <a:cxn ang="0">
                    <a:pos x="950" y="501"/>
                  </a:cxn>
                  <a:cxn ang="0">
                    <a:pos x="950" y="527"/>
                  </a:cxn>
                  <a:cxn ang="0">
                    <a:pos x="955" y="469"/>
                  </a:cxn>
                  <a:cxn ang="0">
                    <a:pos x="944" y="436"/>
                  </a:cxn>
                  <a:cxn ang="0">
                    <a:pos x="982" y="418"/>
                  </a:cxn>
                  <a:cxn ang="0">
                    <a:pos x="1060" y="356"/>
                  </a:cxn>
                  <a:cxn ang="0">
                    <a:pos x="1050" y="346"/>
                  </a:cxn>
                  <a:cxn ang="0">
                    <a:pos x="991" y="310"/>
                  </a:cxn>
                  <a:cxn ang="0">
                    <a:pos x="965" y="247"/>
                  </a:cxn>
                  <a:cxn ang="0">
                    <a:pos x="908" y="267"/>
                  </a:cxn>
                  <a:cxn ang="0">
                    <a:pos x="831" y="204"/>
                  </a:cxn>
                  <a:cxn ang="0">
                    <a:pos x="794" y="247"/>
                  </a:cxn>
                  <a:cxn ang="0">
                    <a:pos x="783" y="387"/>
                  </a:cxn>
                  <a:cxn ang="0">
                    <a:pos x="726" y="334"/>
                  </a:cxn>
                  <a:cxn ang="0">
                    <a:pos x="607" y="306"/>
                  </a:cxn>
                  <a:cxn ang="0">
                    <a:pos x="595" y="216"/>
                  </a:cxn>
                  <a:cxn ang="0">
                    <a:pos x="633" y="178"/>
                  </a:cxn>
                  <a:cxn ang="0">
                    <a:pos x="675" y="146"/>
                  </a:cxn>
                  <a:cxn ang="0">
                    <a:pos x="686" y="127"/>
                  </a:cxn>
                  <a:cxn ang="0">
                    <a:pos x="722" y="120"/>
                  </a:cxn>
                  <a:cxn ang="0">
                    <a:pos x="746" y="61"/>
                  </a:cxn>
                  <a:cxn ang="0">
                    <a:pos x="702" y="67"/>
                  </a:cxn>
                  <a:cxn ang="0">
                    <a:pos x="665" y="74"/>
                  </a:cxn>
                  <a:cxn ang="0">
                    <a:pos x="625" y="55"/>
                  </a:cxn>
                  <a:cxn ang="0">
                    <a:pos x="574" y="0"/>
                  </a:cxn>
                  <a:cxn ang="0">
                    <a:pos x="555" y="38"/>
                  </a:cxn>
                  <a:cxn ang="0">
                    <a:pos x="567" y="98"/>
                  </a:cxn>
                  <a:cxn ang="0">
                    <a:pos x="492" y="92"/>
                  </a:cxn>
                  <a:cxn ang="0">
                    <a:pos x="430" y="75"/>
                  </a:cxn>
                  <a:cxn ang="0">
                    <a:pos x="387" y="89"/>
                  </a:cxn>
                  <a:cxn ang="0">
                    <a:pos x="333" y="81"/>
                  </a:cxn>
                  <a:cxn ang="0">
                    <a:pos x="202" y="42"/>
                  </a:cxn>
                  <a:cxn ang="0">
                    <a:pos x="138" y="40"/>
                  </a:cxn>
                  <a:cxn ang="0">
                    <a:pos x="61" y="70"/>
                  </a:cxn>
                  <a:cxn ang="0">
                    <a:pos x="0" y="242"/>
                  </a:cxn>
                  <a:cxn ang="0">
                    <a:pos x="67" y="253"/>
                  </a:cxn>
                  <a:cxn ang="0">
                    <a:pos x="124" y="316"/>
                  </a:cxn>
                  <a:cxn ang="0">
                    <a:pos x="136" y="366"/>
                  </a:cxn>
                  <a:cxn ang="0">
                    <a:pos x="181" y="413"/>
                  </a:cxn>
                  <a:cxn ang="0">
                    <a:pos x="224" y="440"/>
                  </a:cxn>
                  <a:cxn ang="0">
                    <a:pos x="610" y="446"/>
                  </a:cxn>
                  <a:cxn ang="0">
                    <a:pos x="676" y="453"/>
                  </a:cxn>
                  <a:cxn ang="0">
                    <a:pos x="705" y="477"/>
                  </a:cxn>
                  <a:cxn ang="0">
                    <a:pos x="759" y="512"/>
                  </a:cxn>
                  <a:cxn ang="0">
                    <a:pos x="732" y="553"/>
                  </a:cxn>
                  <a:cxn ang="0">
                    <a:pos x="772" y="543"/>
                  </a:cxn>
                  <a:cxn ang="0">
                    <a:pos x="814" y="519"/>
                  </a:cxn>
                  <a:cxn ang="0">
                    <a:pos x="879" y="498"/>
                  </a:cxn>
                  <a:cxn ang="0">
                    <a:pos x="928" y="505"/>
                  </a:cxn>
                </a:cxnLst>
                <a:rect l="0" t="0" r="r" b="b"/>
                <a:pathLst>
                  <a:path w="1071" h="553">
                    <a:moveTo>
                      <a:pt x="928" y="503"/>
                    </a:moveTo>
                    <a:cubicBezTo>
                      <a:pt x="928" y="502"/>
                      <a:pt x="928" y="502"/>
                      <a:pt x="928" y="502"/>
                    </a:cubicBezTo>
                    <a:cubicBezTo>
                      <a:pt x="928" y="502"/>
                      <a:pt x="931" y="502"/>
                      <a:pt x="932" y="502"/>
                    </a:cubicBezTo>
                    <a:cubicBezTo>
                      <a:pt x="935" y="502"/>
                      <a:pt x="946" y="504"/>
                      <a:pt x="950" y="501"/>
                    </a:cubicBezTo>
                    <a:cubicBezTo>
                      <a:pt x="954" y="498"/>
                      <a:pt x="954" y="493"/>
                      <a:pt x="960" y="492"/>
                    </a:cubicBezTo>
                    <a:cubicBezTo>
                      <a:pt x="960" y="498"/>
                      <a:pt x="960" y="499"/>
                      <a:pt x="967" y="499"/>
                    </a:cubicBezTo>
                    <a:cubicBezTo>
                      <a:pt x="957" y="500"/>
                      <a:pt x="941" y="507"/>
                      <a:pt x="941" y="516"/>
                    </a:cubicBezTo>
                    <a:cubicBezTo>
                      <a:pt x="941" y="520"/>
                      <a:pt x="947" y="527"/>
                      <a:pt x="950" y="527"/>
                    </a:cubicBezTo>
                    <a:cubicBezTo>
                      <a:pt x="953" y="527"/>
                      <a:pt x="961" y="516"/>
                      <a:pt x="970" y="513"/>
                    </a:cubicBezTo>
                    <a:cubicBezTo>
                      <a:pt x="972" y="513"/>
                      <a:pt x="1003" y="501"/>
                      <a:pt x="1003" y="497"/>
                    </a:cubicBezTo>
                    <a:cubicBezTo>
                      <a:pt x="1003" y="493"/>
                      <a:pt x="991" y="492"/>
                      <a:pt x="988" y="492"/>
                    </a:cubicBezTo>
                    <a:cubicBezTo>
                      <a:pt x="976" y="492"/>
                      <a:pt x="955" y="480"/>
                      <a:pt x="955" y="469"/>
                    </a:cubicBezTo>
                    <a:cubicBezTo>
                      <a:pt x="955" y="466"/>
                      <a:pt x="959" y="463"/>
                      <a:pt x="960" y="458"/>
                    </a:cubicBezTo>
                    <a:cubicBezTo>
                      <a:pt x="958" y="458"/>
                      <a:pt x="953" y="457"/>
                      <a:pt x="949" y="457"/>
                    </a:cubicBezTo>
                    <a:cubicBezTo>
                      <a:pt x="951" y="453"/>
                      <a:pt x="967" y="451"/>
                      <a:pt x="967" y="442"/>
                    </a:cubicBezTo>
                    <a:cubicBezTo>
                      <a:pt x="967" y="434"/>
                      <a:pt x="954" y="436"/>
                      <a:pt x="944" y="436"/>
                    </a:cubicBezTo>
                    <a:cubicBezTo>
                      <a:pt x="925" y="436"/>
                      <a:pt x="916" y="449"/>
                      <a:pt x="903" y="451"/>
                    </a:cubicBezTo>
                    <a:cubicBezTo>
                      <a:pt x="909" y="439"/>
                      <a:pt x="918" y="443"/>
                      <a:pt x="928" y="433"/>
                    </a:cubicBezTo>
                    <a:cubicBezTo>
                      <a:pt x="934" y="427"/>
                      <a:pt x="929" y="423"/>
                      <a:pt x="939" y="420"/>
                    </a:cubicBezTo>
                    <a:cubicBezTo>
                      <a:pt x="955" y="415"/>
                      <a:pt x="965" y="418"/>
                      <a:pt x="982" y="418"/>
                    </a:cubicBezTo>
                    <a:cubicBezTo>
                      <a:pt x="1004" y="418"/>
                      <a:pt x="1016" y="425"/>
                      <a:pt x="1029" y="408"/>
                    </a:cubicBezTo>
                    <a:cubicBezTo>
                      <a:pt x="1035" y="400"/>
                      <a:pt x="1071" y="398"/>
                      <a:pt x="1071" y="384"/>
                    </a:cubicBezTo>
                    <a:cubicBezTo>
                      <a:pt x="1071" y="374"/>
                      <a:pt x="1067" y="370"/>
                      <a:pt x="1063" y="363"/>
                    </a:cubicBezTo>
                    <a:cubicBezTo>
                      <a:pt x="1060" y="363"/>
                      <a:pt x="1065" y="359"/>
                      <a:pt x="1060" y="356"/>
                    </a:cubicBezTo>
                    <a:cubicBezTo>
                      <a:pt x="1060" y="351"/>
                      <a:pt x="1060" y="351"/>
                      <a:pt x="1060" y="351"/>
                    </a:cubicBezTo>
                    <a:cubicBezTo>
                      <a:pt x="1050" y="357"/>
                      <a:pt x="1029" y="364"/>
                      <a:pt x="1018" y="364"/>
                    </a:cubicBezTo>
                    <a:cubicBezTo>
                      <a:pt x="1017" y="364"/>
                      <a:pt x="1014" y="363"/>
                      <a:pt x="1014" y="362"/>
                    </a:cubicBezTo>
                    <a:cubicBezTo>
                      <a:pt x="1022" y="358"/>
                      <a:pt x="1047" y="354"/>
                      <a:pt x="1050" y="346"/>
                    </a:cubicBezTo>
                    <a:cubicBezTo>
                      <a:pt x="1050" y="344"/>
                      <a:pt x="1046" y="343"/>
                      <a:pt x="1046" y="341"/>
                    </a:cubicBezTo>
                    <a:cubicBezTo>
                      <a:pt x="1035" y="342"/>
                      <a:pt x="1013" y="337"/>
                      <a:pt x="1013" y="322"/>
                    </a:cubicBezTo>
                    <a:cubicBezTo>
                      <a:pt x="1013" y="321"/>
                      <a:pt x="1013" y="321"/>
                      <a:pt x="1013" y="321"/>
                    </a:cubicBezTo>
                    <a:cubicBezTo>
                      <a:pt x="1003" y="321"/>
                      <a:pt x="997" y="315"/>
                      <a:pt x="991" y="310"/>
                    </a:cubicBezTo>
                    <a:cubicBezTo>
                      <a:pt x="994" y="309"/>
                      <a:pt x="998" y="308"/>
                      <a:pt x="998" y="302"/>
                    </a:cubicBezTo>
                    <a:cubicBezTo>
                      <a:pt x="998" y="298"/>
                      <a:pt x="994" y="295"/>
                      <a:pt x="995" y="290"/>
                    </a:cubicBezTo>
                    <a:cubicBezTo>
                      <a:pt x="991" y="289"/>
                      <a:pt x="977" y="280"/>
                      <a:pt x="980" y="272"/>
                    </a:cubicBezTo>
                    <a:cubicBezTo>
                      <a:pt x="985" y="262"/>
                      <a:pt x="966" y="259"/>
                      <a:pt x="965" y="247"/>
                    </a:cubicBezTo>
                    <a:cubicBezTo>
                      <a:pt x="964" y="247"/>
                      <a:pt x="959" y="243"/>
                      <a:pt x="958" y="242"/>
                    </a:cubicBezTo>
                    <a:cubicBezTo>
                      <a:pt x="954" y="244"/>
                      <a:pt x="947" y="248"/>
                      <a:pt x="947" y="254"/>
                    </a:cubicBezTo>
                    <a:cubicBezTo>
                      <a:pt x="947" y="261"/>
                      <a:pt x="933" y="277"/>
                      <a:pt x="922" y="277"/>
                    </a:cubicBezTo>
                    <a:cubicBezTo>
                      <a:pt x="914" y="277"/>
                      <a:pt x="913" y="267"/>
                      <a:pt x="908" y="267"/>
                    </a:cubicBezTo>
                    <a:cubicBezTo>
                      <a:pt x="900" y="267"/>
                      <a:pt x="897" y="246"/>
                      <a:pt x="896" y="236"/>
                    </a:cubicBezTo>
                    <a:cubicBezTo>
                      <a:pt x="894" y="224"/>
                      <a:pt x="870" y="233"/>
                      <a:pt x="870" y="216"/>
                    </a:cubicBezTo>
                    <a:cubicBezTo>
                      <a:pt x="858" y="215"/>
                      <a:pt x="855" y="200"/>
                      <a:pt x="843" y="200"/>
                    </a:cubicBezTo>
                    <a:cubicBezTo>
                      <a:pt x="837" y="200"/>
                      <a:pt x="837" y="204"/>
                      <a:pt x="831" y="204"/>
                    </a:cubicBezTo>
                    <a:cubicBezTo>
                      <a:pt x="818" y="204"/>
                      <a:pt x="810" y="197"/>
                      <a:pt x="797" y="197"/>
                    </a:cubicBezTo>
                    <a:cubicBezTo>
                      <a:pt x="791" y="197"/>
                      <a:pt x="784" y="200"/>
                      <a:pt x="784" y="208"/>
                    </a:cubicBezTo>
                    <a:cubicBezTo>
                      <a:pt x="784" y="212"/>
                      <a:pt x="800" y="218"/>
                      <a:pt x="786" y="227"/>
                    </a:cubicBezTo>
                    <a:cubicBezTo>
                      <a:pt x="780" y="231"/>
                      <a:pt x="794" y="241"/>
                      <a:pt x="794" y="247"/>
                    </a:cubicBezTo>
                    <a:cubicBezTo>
                      <a:pt x="796" y="260"/>
                      <a:pt x="783" y="264"/>
                      <a:pt x="778" y="266"/>
                    </a:cubicBezTo>
                    <a:cubicBezTo>
                      <a:pt x="788" y="283"/>
                      <a:pt x="803" y="289"/>
                      <a:pt x="803" y="318"/>
                    </a:cubicBezTo>
                    <a:cubicBezTo>
                      <a:pt x="803" y="326"/>
                      <a:pt x="777" y="346"/>
                      <a:pt x="768" y="347"/>
                    </a:cubicBezTo>
                    <a:cubicBezTo>
                      <a:pt x="783" y="355"/>
                      <a:pt x="777" y="379"/>
                      <a:pt x="783" y="387"/>
                    </a:cubicBezTo>
                    <a:cubicBezTo>
                      <a:pt x="782" y="389"/>
                      <a:pt x="776" y="392"/>
                      <a:pt x="775" y="397"/>
                    </a:cubicBezTo>
                    <a:cubicBezTo>
                      <a:pt x="770" y="397"/>
                      <a:pt x="766" y="406"/>
                      <a:pt x="762" y="403"/>
                    </a:cubicBezTo>
                    <a:cubicBezTo>
                      <a:pt x="751" y="394"/>
                      <a:pt x="736" y="380"/>
                      <a:pt x="736" y="367"/>
                    </a:cubicBezTo>
                    <a:cubicBezTo>
                      <a:pt x="736" y="353"/>
                      <a:pt x="738" y="342"/>
                      <a:pt x="726" y="334"/>
                    </a:cubicBezTo>
                    <a:cubicBezTo>
                      <a:pt x="697" y="334"/>
                      <a:pt x="697" y="334"/>
                      <a:pt x="697" y="334"/>
                    </a:cubicBezTo>
                    <a:cubicBezTo>
                      <a:pt x="681" y="322"/>
                      <a:pt x="662" y="315"/>
                      <a:pt x="643" y="308"/>
                    </a:cubicBezTo>
                    <a:cubicBezTo>
                      <a:pt x="640" y="306"/>
                      <a:pt x="629" y="299"/>
                      <a:pt x="623" y="299"/>
                    </a:cubicBezTo>
                    <a:cubicBezTo>
                      <a:pt x="617" y="299"/>
                      <a:pt x="614" y="306"/>
                      <a:pt x="607" y="306"/>
                    </a:cubicBezTo>
                    <a:cubicBezTo>
                      <a:pt x="607" y="295"/>
                      <a:pt x="600" y="270"/>
                      <a:pt x="590" y="270"/>
                    </a:cubicBezTo>
                    <a:cubicBezTo>
                      <a:pt x="586" y="270"/>
                      <a:pt x="584" y="274"/>
                      <a:pt x="579" y="275"/>
                    </a:cubicBezTo>
                    <a:cubicBezTo>
                      <a:pt x="581" y="269"/>
                      <a:pt x="579" y="268"/>
                      <a:pt x="579" y="255"/>
                    </a:cubicBezTo>
                    <a:cubicBezTo>
                      <a:pt x="579" y="237"/>
                      <a:pt x="584" y="227"/>
                      <a:pt x="595" y="216"/>
                    </a:cubicBezTo>
                    <a:cubicBezTo>
                      <a:pt x="598" y="213"/>
                      <a:pt x="606" y="196"/>
                      <a:pt x="609" y="194"/>
                    </a:cubicBezTo>
                    <a:cubicBezTo>
                      <a:pt x="617" y="192"/>
                      <a:pt x="630" y="196"/>
                      <a:pt x="630" y="186"/>
                    </a:cubicBezTo>
                    <a:cubicBezTo>
                      <a:pt x="630" y="179"/>
                      <a:pt x="613" y="178"/>
                      <a:pt x="607" y="175"/>
                    </a:cubicBezTo>
                    <a:cubicBezTo>
                      <a:pt x="611" y="176"/>
                      <a:pt x="597" y="167"/>
                      <a:pt x="633" y="178"/>
                    </a:cubicBezTo>
                    <a:cubicBezTo>
                      <a:pt x="643" y="181"/>
                      <a:pt x="637" y="169"/>
                      <a:pt x="642" y="169"/>
                    </a:cubicBezTo>
                    <a:cubicBezTo>
                      <a:pt x="643" y="169"/>
                      <a:pt x="647" y="169"/>
                      <a:pt x="652" y="169"/>
                    </a:cubicBezTo>
                    <a:cubicBezTo>
                      <a:pt x="662" y="169"/>
                      <a:pt x="668" y="158"/>
                      <a:pt x="675" y="153"/>
                    </a:cubicBezTo>
                    <a:cubicBezTo>
                      <a:pt x="675" y="146"/>
                      <a:pt x="675" y="146"/>
                      <a:pt x="675" y="146"/>
                    </a:cubicBezTo>
                    <a:cubicBezTo>
                      <a:pt x="660" y="142"/>
                      <a:pt x="645" y="145"/>
                      <a:pt x="639" y="131"/>
                    </a:cubicBezTo>
                    <a:cubicBezTo>
                      <a:pt x="639" y="131"/>
                      <a:pt x="643" y="131"/>
                      <a:pt x="647" y="131"/>
                    </a:cubicBezTo>
                    <a:cubicBezTo>
                      <a:pt x="652" y="135"/>
                      <a:pt x="658" y="141"/>
                      <a:pt x="666" y="141"/>
                    </a:cubicBezTo>
                    <a:cubicBezTo>
                      <a:pt x="673" y="141"/>
                      <a:pt x="686" y="132"/>
                      <a:pt x="686" y="127"/>
                    </a:cubicBezTo>
                    <a:cubicBezTo>
                      <a:pt x="686" y="125"/>
                      <a:pt x="680" y="117"/>
                      <a:pt x="683" y="117"/>
                    </a:cubicBezTo>
                    <a:cubicBezTo>
                      <a:pt x="693" y="117"/>
                      <a:pt x="696" y="126"/>
                      <a:pt x="703" y="126"/>
                    </a:cubicBezTo>
                    <a:cubicBezTo>
                      <a:pt x="707" y="126"/>
                      <a:pt x="709" y="123"/>
                      <a:pt x="717" y="123"/>
                    </a:cubicBezTo>
                    <a:cubicBezTo>
                      <a:pt x="715" y="120"/>
                      <a:pt x="717" y="112"/>
                      <a:pt x="722" y="120"/>
                    </a:cubicBezTo>
                    <a:cubicBezTo>
                      <a:pt x="725" y="125"/>
                      <a:pt x="748" y="105"/>
                      <a:pt x="748" y="100"/>
                    </a:cubicBezTo>
                    <a:cubicBezTo>
                      <a:pt x="748" y="96"/>
                      <a:pt x="738" y="91"/>
                      <a:pt x="738" y="89"/>
                    </a:cubicBezTo>
                    <a:cubicBezTo>
                      <a:pt x="738" y="85"/>
                      <a:pt x="732" y="78"/>
                      <a:pt x="746" y="72"/>
                    </a:cubicBezTo>
                    <a:cubicBezTo>
                      <a:pt x="748" y="68"/>
                      <a:pt x="746" y="68"/>
                      <a:pt x="746" y="61"/>
                    </a:cubicBezTo>
                    <a:cubicBezTo>
                      <a:pt x="732" y="61"/>
                      <a:pt x="735" y="50"/>
                      <a:pt x="717" y="50"/>
                    </a:cubicBezTo>
                    <a:cubicBezTo>
                      <a:pt x="713" y="49"/>
                      <a:pt x="710" y="47"/>
                      <a:pt x="706" y="47"/>
                    </a:cubicBezTo>
                    <a:cubicBezTo>
                      <a:pt x="701" y="47"/>
                      <a:pt x="695" y="50"/>
                      <a:pt x="695" y="55"/>
                    </a:cubicBezTo>
                    <a:cubicBezTo>
                      <a:pt x="695" y="61"/>
                      <a:pt x="702" y="63"/>
                      <a:pt x="702" y="67"/>
                    </a:cubicBezTo>
                    <a:cubicBezTo>
                      <a:pt x="702" y="72"/>
                      <a:pt x="692" y="72"/>
                      <a:pt x="689" y="76"/>
                    </a:cubicBezTo>
                    <a:cubicBezTo>
                      <a:pt x="686" y="84"/>
                      <a:pt x="687" y="90"/>
                      <a:pt x="681" y="98"/>
                    </a:cubicBezTo>
                    <a:cubicBezTo>
                      <a:pt x="671" y="110"/>
                      <a:pt x="658" y="90"/>
                      <a:pt x="658" y="85"/>
                    </a:cubicBezTo>
                    <a:cubicBezTo>
                      <a:pt x="658" y="79"/>
                      <a:pt x="665" y="81"/>
                      <a:pt x="665" y="74"/>
                    </a:cubicBezTo>
                    <a:cubicBezTo>
                      <a:pt x="665" y="71"/>
                      <a:pt x="652" y="59"/>
                      <a:pt x="649" y="59"/>
                    </a:cubicBezTo>
                    <a:cubicBezTo>
                      <a:pt x="636" y="59"/>
                      <a:pt x="645" y="78"/>
                      <a:pt x="631" y="78"/>
                    </a:cubicBezTo>
                    <a:cubicBezTo>
                      <a:pt x="631" y="70"/>
                      <a:pt x="630" y="65"/>
                      <a:pt x="621" y="60"/>
                    </a:cubicBezTo>
                    <a:cubicBezTo>
                      <a:pt x="622" y="58"/>
                      <a:pt x="623" y="57"/>
                      <a:pt x="625" y="55"/>
                    </a:cubicBezTo>
                    <a:cubicBezTo>
                      <a:pt x="618" y="51"/>
                      <a:pt x="609" y="55"/>
                      <a:pt x="603" y="48"/>
                    </a:cubicBezTo>
                    <a:cubicBezTo>
                      <a:pt x="606" y="47"/>
                      <a:pt x="614" y="44"/>
                      <a:pt x="614" y="38"/>
                    </a:cubicBezTo>
                    <a:cubicBezTo>
                      <a:pt x="614" y="29"/>
                      <a:pt x="601" y="30"/>
                      <a:pt x="601" y="23"/>
                    </a:cubicBezTo>
                    <a:cubicBezTo>
                      <a:pt x="601" y="10"/>
                      <a:pt x="591" y="1"/>
                      <a:pt x="574" y="0"/>
                    </a:cubicBezTo>
                    <a:cubicBezTo>
                      <a:pt x="565" y="0"/>
                      <a:pt x="569" y="6"/>
                      <a:pt x="569" y="10"/>
                    </a:cubicBezTo>
                    <a:cubicBezTo>
                      <a:pt x="564" y="11"/>
                      <a:pt x="557" y="10"/>
                      <a:pt x="557" y="17"/>
                    </a:cubicBezTo>
                    <a:cubicBezTo>
                      <a:pt x="557" y="21"/>
                      <a:pt x="561" y="23"/>
                      <a:pt x="561" y="28"/>
                    </a:cubicBezTo>
                    <a:cubicBezTo>
                      <a:pt x="561" y="32"/>
                      <a:pt x="555" y="32"/>
                      <a:pt x="555" y="38"/>
                    </a:cubicBezTo>
                    <a:cubicBezTo>
                      <a:pt x="555" y="52"/>
                      <a:pt x="585" y="44"/>
                      <a:pt x="585" y="59"/>
                    </a:cubicBezTo>
                    <a:cubicBezTo>
                      <a:pt x="585" y="61"/>
                      <a:pt x="581" y="72"/>
                      <a:pt x="581" y="72"/>
                    </a:cubicBezTo>
                    <a:cubicBezTo>
                      <a:pt x="584" y="70"/>
                      <a:pt x="587" y="69"/>
                      <a:pt x="591" y="67"/>
                    </a:cubicBezTo>
                    <a:cubicBezTo>
                      <a:pt x="596" y="85"/>
                      <a:pt x="567" y="77"/>
                      <a:pt x="567" y="98"/>
                    </a:cubicBezTo>
                    <a:cubicBezTo>
                      <a:pt x="553" y="102"/>
                      <a:pt x="564" y="88"/>
                      <a:pt x="561" y="83"/>
                    </a:cubicBezTo>
                    <a:cubicBezTo>
                      <a:pt x="559" y="81"/>
                      <a:pt x="547" y="78"/>
                      <a:pt x="541" y="78"/>
                    </a:cubicBezTo>
                    <a:cubicBezTo>
                      <a:pt x="533" y="78"/>
                      <a:pt x="530" y="82"/>
                      <a:pt x="530" y="92"/>
                    </a:cubicBezTo>
                    <a:cubicBezTo>
                      <a:pt x="522" y="91"/>
                      <a:pt x="517" y="92"/>
                      <a:pt x="492" y="92"/>
                    </a:cubicBezTo>
                    <a:cubicBezTo>
                      <a:pt x="468" y="92"/>
                      <a:pt x="441" y="83"/>
                      <a:pt x="435" y="65"/>
                    </a:cubicBezTo>
                    <a:cubicBezTo>
                      <a:pt x="427" y="67"/>
                      <a:pt x="400" y="68"/>
                      <a:pt x="400" y="78"/>
                    </a:cubicBezTo>
                    <a:cubicBezTo>
                      <a:pt x="400" y="81"/>
                      <a:pt x="403" y="82"/>
                      <a:pt x="406" y="82"/>
                    </a:cubicBezTo>
                    <a:cubicBezTo>
                      <a:pt x="413" y="82"/>
                      <a:pt x="425" y="79"/>
                      <a:pt x="430" y="75"/>
                    </a:cubicBezTo>
                    <a:cubicBezTo>
                      <a:pt x="432" y="90"/>
                      <a:pt x="409" y="78"/>
                      <a:pt x="409" y="93"/>
                    </a:cubicBezTo>
                    <a:cubicBezTo>
                      <a:pt x="409" y="96"/>
                      <a:pt x="414" y="106"/>
                      <a:pt x="412" y="106"/>
                    </a:cubicBezTo>
                    <a:cubicBezTo>
                      <a:pt x="403" y="106"/>
                      <a:pt x="401" y="95"/>
                      <a:pt x="394" y="92"/>
                    </a:cubicBezTo>
                    <a:cubicBezTo>
                      <a:pt x="387" y="89"/>
                      <a:pt x="387" y="89"/>
                      <a:pt x="387" y="89"/>
                    </a:cubicBezTo>
                    <a:cubicBezTo>
                      <a:pt x="377" y="89"/>
                      <a:pt x="370" y="89"/>
                      <a:pt x="359" y="89"/>
                    </a:cubicBezTo>
                    <a:cubicBezTo>
                      <a:pt x="350" y="89"/>
                      <a:pt x="344" y="92"/>
                      <a:pt x="335" y="93"/>
                    </a:cubicBezTo>
                    <a:cubicBezTo>
                      <a:pt x="317" y="93"/>
                      <a:pt x="317" y="87"/>
                      <a:pt x="317" y="86"/>
                    </a:cubicBezTo>
                    <a:cubicBezTo>
                      <a:pt x="317" y="82"/>
                      <a:pt x="331" y="83"/>
                      <a:pt x="333" y="81"/>
                    </a:cubicBezTo>
                    <a:cubicBezTo>
                      <a:pt x="321" y="64"/>
                      <a:pt x="323" y="66"/>
                      <a:pt x="298" y="68"/>
                    </a:cubicBezTo>
                    <a:cubicBezTo>
                      <a:pt x="271" y="70"/>
                      <a:pt x="258" y="48"/>
                      <a:pt x="231" y="48"/>
                    </a:cubicBezTo>
                    <a:cubicBezTo>
                      <a:pt x="223" y="48"/>
                      <a:pt x="219" y="54"/>
                      <a:pt x="212" y="54"/>
                    </a:cubicBezTo>
                    <a:cubicBezTo>
                      <a:pt x="207" y="54"/>
                      <a:pt x="202" y="46"/>
                      <a:pt x="202" y="42"/>
                    </a:cubicBezTo>
                    <a:cubicBezTo>
                      <a:pt x="193" y="44"/>
                      <a:pt x="193" y="54"/>
                      <a:pt x="184" y="54"/>
                    </a:cubicBezTo>
                    <a:cubicBezTo>
                      <a:pt x="176" y="54"/>
                      <a:pt x="164" y="34"/>
                      <a:pt x="161" y="34"/>
                    </a:cubicBezTo>
                    <a:cubicBezTo>
                      <a:pt x="153" y="34"/>
                      <a:pt x="156" y="47"/>
                      <a:pt x="146" y="47"/>
                    </a:cubicBezTo>
                    <a:cubicBezTo>
                      <a:pt x="143" y="47"/>
                      <a:pt x="140" y="44"/>
                      <a:pt x="138" y="40"/>
                    </a:cubicBezTo>
                    <a:cubicBezTo>
                      <a:pt x="125" y="44"/>
                      <a:pt x="120" y="44"/>
                      <a:pt x="108" y="49"/>
                    </a:cubicBezTo>
                    <a:cubicBezTo>
                      <a:pt x="103" y="50"/>
                      <a:pt x="91" y="59"/>
                      <a:pt x="87" y="55"/>
                    </a:cubicBezTo>
                    <a:cubicBezTo>
                      <a:pt x="76" y="44"/>
                      <a:pt x="78" y="58"/>
                      <a:pt x="74" y="58"/>
                    </a:cubicBezTo>
                    <a:cubicBezTo>
                      <a:pt x="45" y="59"/>
                      <a:pt x="65" y="70"/>
                      <a:pt x="61" y="70"/>
                    </a:cubicBezTo>
                    <a:cubicBezTo>
                      <a:pt x="50" y="70"/>
                      <a:pt x="30" y="67"/>
                      <a:pt x="12" y="56"/>
                    </a:cubicBezTo>
                    <a:cubicBezTo>
                      <a:pt x="11" y="56"/>
                      <a:pt x="6" y="52"/>
                      <a:pt x="6" y="51"/>
                    </a:cubicBezTo>
                    <a:cubicBezTo>
                      <a:pt x="3" y="52"/>
                      <a:pt x="5" y="52"/>
                      <a:pt x="0" y="51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6" y="247"/>
                      <a:pt x="19" y="240"/>
                      <a:pt x="25" y="248"/>
                    </a:cubicBezTo>
                    <a:cubicBezTo>
                      <a:pt x="29" y="254"/>
                      <a:pt x="38" y="266"/>
                      <a:pt x="47" y="266"/>
                    </a:cubicBezTo>
                    <a:cubicBezTo>
                      <a:pt x="53" y="266"/>
                      <a:pt x="53" y="257"/>
                      <a:pt x="59" y="255"/>
                    </a:cubicBezTo>
                    <a:cubicBezTo>
                      <a:pt x="62" y="254"/>
                      <a:pt x="64" y="255"/>
                      <a:pt x="67" y="253"/>
                    </a:cubicBezTo>
                    <a:cubicBezTo>
                      <a:pt x="81" y="266"/>
                      <a:pt x="87" y="271"/>
                      <a:pt x="99" y="288"/>
                    </a:cubicBezTo>
                    <a:cubicBezTo>
                      <a:pt x="100" y="290"/>
                      <a:pt x="103" y="291"/>
                      <a:pt x="105" y="295"/>
                    </a:cubicBezTo>
                    <a:cubicBezTo>
                      <a:pt x="106" y="300"/>
                      <a:pt x="108" y="306"/>
                      <a:pt x="113" y="311"/>
                    </a:cubicBezTo>
                    <a:cubicBezTo>
                      <a:pt x="116" y="314"/>
                      <a:pt x="121" y="313"/>
                      <a:pt x="124" y="316"/>
                    </a:cubicBezTo>
                    <a:cubicBezTo>
                      <a:pt x="128" y="320"/>
                      <a:pt x="135" y="322"/>
                      <a:pt x="135" y="332"/>
                    </a:cubicBezTo>
                    <a:cubicBezTo>
                      <a:pt x="135" y="336"/>
                      <a:pt x="129" y="337"/>
                      <a:pt x="129" y="340"/>
                    </a:cubicBezTo>
                    <a:cubicBezTo>
                      <a:pt x="129" y="343"/>
                      <a:pt x="132" y="344"/>
                      <a:pt x="132" y="347"/>
                    </a:cubicBezTo>
                    <a:cubicBezTo>
                      <a:pt x="132" y="352"/>
                      <a:pt x="130" y="364"/>
                      <a:pt x="136" y="366"/>
                    </a:cubicBezTo>
                    <a:cubicBezTo>
                      <a:pt x="140" y="367"/>
                      <a:pt x="143" y="367"/>
                      <a:pt x="146" y="370"/>
                    </a:cubicBezTo>
                    <a:cubicBezTo>
                      <a:pt x="150" y="373"/>
                      <a:pt x="145" y="379"/>
                      <a:pt x="150" y="383"/>
                    </a:cubicBezTo>
                    <a:cubicBezTo>
                      <a:pt x="150" y="383"/>
                      <a:pt x="162" y="390"/>
                      <a:pt x="162" y="391"/>
                    </a:cubicBezTo>
                    <a:cubicBezTo>
                      <a:pt x="165" y="401"/>
                      <a:pt x="166" y="413"/>
                      <a:pt x="181" y="413"/>
                    </a:cubicBezTo>
                    <a:cubicBezTo>
                      <a:pt x="183" y="422"/>
                      <a:pt x="199" y="416"/>
                      <a:pt x="202" y="428"/>
                    </a:cubicBezTo>
                    <a:cubicBezTo>
                      <a:pt x="204" y="432"/>
                      <a:pt x="215" y="433"/>
                      <a:pt x="219" y="437"/>
                    </a:cubicBezTo>
                    <a:cubicBezTo>
                      <a:pt x="220" y="438"/>
                      <a:pt x="222" y="439"/>
                      <a:pt x="224" y="440"/>
                    </a:cubicBezTo>
                    <a:cubicBezTo>
                      <a:pt x="224" y="440"/>
                      <a:pt x="224" y="440"/>
                      <a:pt x="224" y="440"/>
                    </a:cubicBezTo>
                    <a:cubicBezTo>
                      <a:pt x="577" y="440"/>
                      <a:pt x="577" y="440"/>
                      <a:pt x="577" y="440"/>
                    </a:cubicBezTo>
                    <a:cubicBezTo>
                      <a:pt x="577" y="435"/>
                      <a:pt x="577" y="435"/>
                      <a:pt x="577" y="435"/>
                    </a:cubicBezTo>
                    <a:cubicBezTo>
                      <a:pt x="583" y="439"/>
                      <a:pt x="582" y="443"/>
                      <a:pt x="588" y="446"/>
                    </a:cubicBezTo>
                    <a:cubicBezTo>
                      <a:pt x="610" y="446"/>
                      <a:pt x="610" y="446"/>
                      <a:pt x="610" y="446"/>
                    </a:cubicBezTo>
                    <a:cubicBezTo>
                      <a:pt x="619" y="455"/>
                      <a:pt x="630" y="455"/>
                      <a:pt x="647" y="455"/>
                    </a:cubicBezTo>
                    <a:cubicBezTo>
                      <a:pt x="652" y="453"/>
                      <a:pt x="653" y="455"/>
                      <a:pt x="658" y="452"/>
                    </a:cubicBezTo>
                    <a:cubicBezTo>
                      <a:pt x="662" y="450"/>
                      <a:pt x="661" y="443"/>
                      <a:pt x="665" y="443"/>
                    </a:cubicBezTo>
                    <a:cubicBezTo>
                      <a:pt x="670" y="443"/>
                      <a:pt x="674" y="451"/>
                      <a:pt x="676" y="453"/>
                    </a:cubicBezTo>
                    <a:cubicBezTo>
                      <a:pt x="677" y="451"/>
                      <a:pt x="676" y="448"/>
                      <a:pt x="676" y="447"/>
                    </a:cubicBezTo>
                    <a:cubicBezTo>
                      <a:pt x="677" y="447"/>
                      <a:pt x="678" y="447"/>
                      <a:pt x="680" y="447"/>
                    </a:cubicBezTo>
                    <a:cubicBezTo>
                      <a:pt x="682" y="447"/>
                      <a:pt x="701" y="462"/>
                      <a:pt x="702" y="463"/>
                    </a:cubicBezTo>
                    <a:cubicBezTo>
                      <a:pt x="704" y="469"/>
                      <a:pt x="702" y="473"/>
                      <a:pt x="705" y="477"/>
                    </a:cubicBezTo>
                    <a:cubicBezTo>
                      <a:pt x="715" y="487"/>
                      <a:pt x="729" y="485"/>
                      <a:pt x="740" y="492"/>
                    </a:cubicBezTo>
                    <a:cubicBezTo>
                      <a:pt x="752" y="492"/>
                      <a:pt x="752" y="492"/>
                      <a:pt x="752" y="492"/>
                    </a:cubicBezTo>
                    <a:cubicBezTo>
                      <a:pt x="757" y="495"/>
                      <a:pt x="763" y="500"/>
                      <a:pt x="763" y="506"/>
                    </a:cubicBezTo>
                    <a:cubicBezTo>
                      <a:pt x="763" y="509"/>
                      <a:pt x="762" y="512"/>
                      <a:pt x="759" y="512"/>
                    </a:cubicBezTo>
                    <a:cubicBezTo>
                      <a:pt x="754" y="512"/>
                      <a:pt x="748" y="506"/>
                      <a:pt x="747" y="504"/>
                    </a:cubicBezTo>
                    <a:cubicBezTo>
                      <a:pt x="745" y="511"/>
                      <a:pt x="741" y="532"/>
                      <a:pt x="735" y="532"/>
                    </a:cubicBezTo>
                    <a:cubicBezTo>
                      <a:pt x="730" y="538"/>
                      <a:pt x="725" y="541"/>
                      <a:pt x="725" y="547"/>
                    </a:cubicBezTo>
                    <a:cubicBezTo>
                      <a:pt x="726" y="549"/>
                      <a:pt x="729" y="553"/>
                      <a:pt x="732" y="553"/>
                    </a:cubicBezTo>
                    <a:cubicBezTo>
                      <a:pt x="736" y="553"/>
                      <a:pt x="736" y="550"/>
                      <a:pt x="738" y="548"/>
                    </a:cubicBezTo>
                    <a:cubicBezTo>
                      <a:pt x="742" y="544"/>
                      <a:pt x="748" y="545"/>
                      <a:pt x="755" y="545"/>
                    </a:cubicBezTo>
                    <a:cubicBezTo>
                      <a:pt x="760" y="545"/>
                      <a:pt x="763" y="548"/>
                      <a:pt x="765" y="546"/>
                    </a:cubicBezTo>
                    <a:cubicBezTo>
                      <a:pt x="768" y="545"/>
                      <a:pt x="770" y="544"/>
                      <a:pt x="772" y="543"/>
                    </a:cubicBezTo>
                    <a:cubicBezTo>
                      <a:pt x="772" y="540"/>
                      <a:pt x="771" y="538"/>
                      <a:pt x="770" y="536"/>
                    </a:cubicBezTo>
                    <a:cubicBezTo>
                      <a:pt x="769" y="534"/>
                      <a:pt x="767" y="533"/>
                      <a:pt x="767" y="531"/>
                    </a:cubicBezTo>
                    <a:cubicBezTo>
                      <a:pt x="767" y="529"/>
                      <a:pt x="771" y="528"/>
                      <a:pt x="773" y="528"/>
                    </a:cubicBezTo>
                    <a:cubicBezTo>
                      <a:pt x="782" y="525"/>
                      <a:pt x="803" y="519"/>
                      <a:pt x="814" y="519"/>
                    </a:cubicBezTo>
                    <a:cubicBezTo>
                      <a:pt x="815" y="519"/>
                      <a:pt x="831" y="503"/>
                      <a:pt x="834" y="501"/>
                    </a:cubicBezTo>
                    <a:cubicBezTo>
                      <a:pt x="836" y="499"/>
                      <a:pt x="847" y="500"/>
                      <a:pt x="857" y="500"/>
                    </a:cubicBezTo>
                    <a:cubicBezTo>
                      <a:pt x="861" y="500"/>
                      <a:pt x="864" y="500"/>
                      <a:pt x="868" y="500"/>
                    </a:cubicBezTo>
                    <a:cubicBezTo>
                      <a:pt x="872" y="500"/>
                      <a:pt x="876" y="498"/>
                      <a:pt x="879" y="498"/>
                    </a:cubicBezTo>
                    <a:cubicBezTo>
                      <a:pt x="884" y="497"/>
                      <a:pt x="882" y="496"/>
                      <a:pt x="884" y="494"/>
                    </a:cubicBezTo>
                    <a:cubicBezTo>
                      <a:pt x="892" y="486"/>
                      <a:pt x="892" y="471"/>
                      <a:pt x="903" y="463"/>
                    </a:cubicBezTo>
                    <a:cubicBezTo>
                      <a:pt x="908" y="470"/>
                      <a:pt x="916" y="460"/>
                      <a:pt x="920" y="467"/>
                    </a:cubicBezTo>
                    <a:cubicBezTo>
                      <a:pt x="926" y="478"/>
                      <a:pt x="922" y="494"/>
                      <a:pt x="928" y="505"/>
                    </a:cubicBezTo>
                    <a:lnTo>
                      <a:pt x="928" y="50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41" name="îṩḻîḑê"/>
              <p:cNvSpPr/>
              <p:nvPr/>
            </p:nvSpPr>
            <p:spPr bwMode="auto">
              <a:xfrm>
                <a:off x="2046000" y="1754662"/>
                <a:ext cx="779965" cy="571557"/>
              </a:xfrm>
              <a:custGeom>
                <a:avLst/>
                <a:gdLst/>
                <a:ahLst/>
                <a:cxnLst>
                  <a:cxn ang="0">
                    <a:pos x="334" y="228"/>
                  </a:cxn>
                  <a:cxn ang="0">
                    <a:pos x="381" y="252"/>
                  </a:cxn>
                  <a:cxn ang="0">
                    <a:pos x="401" y="239"/>
                  </a:cxn>
                  <a:cxn ang="0">
                    <a:pos x="439" y="281"/>
                  </a:cxn>
                  <a:cxn ang="0">
                    <a:pos x="458" y="302"/>
                  </a:cxn>
                  <a:cxn ang="0">
                    <a:pos x="463" y="326"/>
                  </a:cxn>
                  <a:cxn ang="0">
                    <a:pos x="440" y="314"/>
                  </a:cxn>
                  <a:cxn ang="0">
                    <a:pos x="427" y="300"/>
                  </a:cxn>
                  <a:cxn ang="0">
                    <a:pos x="426" y="286"/>
                  </a:cxn>
                  <a:cxn ang="0">
                    <a:pos x="414" y="286"/>
                  </a:cxn>
                  <a:cxn ang="0">
                    <a:pos x="412" y="270"/>
                  </a:cxn>
                  <a:cxn ang="0">
                    <a:pos x="390" y="261"/>
                  </a:cxn>
                  <a:cxn ang="0">
                    <a:pos x="363" y="252"/>
                  </a:cxn>
                  <a:cxn ang="0">
                    <a:pos x="299" y="236"/>
                  </a:cxn>
                  <a:cxn ang="0">
                    <a:pos x="240" y="221"/>
                  </a:cxn>
                  <a:cxn ang="0">
                    <a:pos x="200" y="252"/>
                  </a:cxn>
                  <a:cxn ang="0">
                    <a:pos x="199" y="245"/>
                  </a:cxn>
                  <a:cxn ang="0">
                    <a:pos x="218" y="219"/>
                  </a:cxn>
                  <a:cxn ang="0">
                    <a:pos x="213" y="214"/>
                  </a:cxn>
                  <a:cxn ang="0">
                    <a:pos x="173" y="260"/>
                  </a:cxn>
                  <a:cxn ang="0">
                    <a:pos x="143" y="288"/>
                  </a:cxn>
                  <a:cxn ang="0">
                    <a:pos x="79" y="322"/>
                  </a:cxn>
                  <a:cxn ang="0">
                    <a:pos x="57" y="328"/>
                  </a:cxn>
                  <a:cxn ang="0">
                    <a:pos x="92" y="307"/>
                  </a:cxn>
                  <a:cxn ang="0">
                    <a:pos x="148" y="256"/>
                  </a:cxn>
                  <a:cxn ang="0">
                    <a:pos x="125" y="262"/>
                  </a:cxn>
                  <a:cxn ang="0">
                    <a:pos x="110" y="266"/>
                  </a:cxn>
                  <a:cxn ang="0">
                    <a:pos x="88" y="261"/>
                  </a:cxn>
                  <a:cxn ang="0">
                    <a:pos x="76" y="264"/>
                  </a:cxn>
                  <a:cxn ang="0">
                    <a:pos x="72" y="244"/>
                  </a:cxn>
                  <a:cxn ang="0">
                    <a:pos x="60" y="245"/>
                  </a:cxn>
                  <a:cxn ang="0">
                    <a:pos x="37" y="224"/>
                  </a:cxn>
                  <a:cxn ang="0">
                    <a:pos x="52" y="180"/>
                  </a:cxn>
                  <a:cxn ang="0">
                    <a:pos x="79" y="152"/>
                  </a:cxn>
                  <a:cxn ang="0">
                    <a:pos x="85" y="145"/>
                  </a:cxn>
                  <a:cxn ang="0">
                    <a:pos x="60" y="153"/>
                  </a:cxn>
                  <a:cxn ang="0">
                    <a:pos x="18" y="150"/>
                  </a:cxn>
                  <a:cxn ang="0">
                    <a:pos x="13" y="133"/>
                  </a:cxn>
                  <a:cxn ang="0">
                    <a:pos x="40" y="106"/>
                  </a:cxn>
                  <a:cxn ang="0">
                    <a:pos x="64" y="116"/>
                  </a:cxn>
                  <a:cxn ang="0">
                    <a:pos x="50" y="95"/>
                  </a:cxn>
                  <a:cxn ang="0">
                    <a:pos x="13" y="68"/>
                  </a:cxn>
                  <a:cxn ang="0">
                    <a:pos x="44" y="56"/>
                  </a:cxn>
                  <a:cxn ang="0">
                    <a:pos x="117" y="13"/>
                  </a:cxn>
                  <a:cxn ang="0">
                    <a:pos x="150" y="7"/>
                  </a:cxn>
                  <a:cxn ang="0">
                    <a:pos x="157" y="7"/>
                  </a:cxn>
                  <a:cxn ang="0">
                    <a:pos x="189" y="11"/>
                  </a:cxn>
                  <a:cxn ang="0">
                    <a:pos x="236" y="20"/>
                  </a:cxn>
                  <a:cxn ang="0">
                    <a:pos x="307" y="28"/>
                  </a:cxn>
                  <a:cxn ang="0">
                    <a:pos x="334" y="36"/>
                  </a:cxn>
                </a:cxnLst>
                <a:rect l="0" t="0" r="r" b="b"/>
                <a:pathLst>
                  <a:path w="469" h="343">
                    <a:moveTo>
                      <a:pt x="334" y="37"/>
                    </a:moveTo>
                    <a:cubicBezTo>
                      <a:pt x="334" y="228"/>
                      <a:pt x="334" y="228"/>
                      <a:pt x="334" y="228"/>
                    </a:cubicBezTo>
                    <a:cubicBezTo>
                      <a:pt x="340" y="233"/>
                      <a:pt x="353" y="226"/>
                      <a:pt x="359" y="234"/>
                    </a:cubicBezTo>
                    <a:cubicBezTo>
                      <a:pt x="363" y="240"/>
                      <a:pt x="372" y="252"/>
                      <a:pt x="381" y="252"/>
                    </a:cubicBezTo>
                    <a:cubicBezTo>
                      <a:pt x="387" y="252"/>
                      <a:pt x="387" y="243"/>
                      <a:pt x="393" y="241"/>
                    </a:cubicBezTo>
                    <a:cubicBezTo>
                      <a:pt x="396" y="240"/>
                      <a:pt x="398" y="241"/>
                      <a:pt x="401" y="239"/>
                    </a:cubicBezTo>
                    <a:cubicBezTo>
                      <a:pt x="415" y="252"/>
                      <a:pt x="421" y="257"/>
                      <a:pt x="433" y="274"/>
                    </a:cubicBezTo>
                    <a:cubicBezTo>
                      <a:pt x="434" y="276"/>
                      <a:pt x="437" y="277"/>
                      <a:pt x="439" y="281"/>
                    </a:cubicBezTo>
                    <a:cubicBezTo>
                      <a:pt x="440" y="286"/>
                      <a:pt x="442" y="292"/>
                      <a:pt x="447" y="297"/>
                    </a:cubicBezTo>
                    <a:cubicBezTo>
                      <a:pt x="450" y="300"/>
                      <a:pt x="455" y="299"/>
                      <a:pt x="458" y="302"/>
                    </a:cubicBezTo>
                    <a:cubicBezTo>
                      <a:pt x="462" y="306"/>
                      <a:pt x="469" y="308"/>
                      <a:pt x="469" y="318"/>
                    </a:cubicBezTo>
                    <a:cubicBezTo>
                      <a:pt x="469" y="322"/>
                      <a:pt x="463" y="323"/>
                      <a:pt x="463" y="326"/>
                    </a:cubicBezTo>
                    <a:cubicBezTo>
                      <a:pt x="461" y="326"/>
                      <a:pt x="461" y="327"/>
                      <a:pt x="459" y="327"/>
                    </a:cubicBezTo>
                    <a:cubicBezTo>
                      <a:pt x="451" y="327"/>
                      <a:pt x="440" y="318"/>
                      <a:pt x="440" y="314"/>
                    </a:cubicBezTo>
                    <a:cubicBezTo>
                      <a:pt x="440" y="310"/>
                      <a:pt x="440" y="311"/>
                      <a:pt x="440" y="307"/>
                    </a:cubicBezTo>
                    <a:cubicBezTo>
                      <a:pt x="440" y="300"/>
                      <a:pt x="435" y="300"/>
                      <a:pt x="427" y="300"/>
                    </a:cubicBezTo>
                    <a:cubicBezTo>
                      <a:pt x="421" y="300"/>
                      <a:pt x="419" y="296"/>
                      <a:pt x="419" y="294"/>
                    </a:cubicBezTo>
                    <a:cubicBezTo>
                      <a:pt x="419" y="290"/>
                      <a:pt x="426" y="290"/>
                      <a:pt x="426" y="286"/>
                    </a:cubicBezTo>
                    <a:cubicBezTo>
                      <a:pt x="426" y="283"/>
                      <a:pt x="426" y="281"/>
                      <a:pt x="426" y="281"/>
                    </a:cubicBezTo>
                    <a:cubicBezTo>
                      <a:pt x="417" y="281"/>
                      <a:pt x="420" y="286"/>
                      <a:pt x="414" y="286"/>
                    </a:cubicBezTo>
                    <a:cubicBezTo>
                      <a:pt x="412" y="286"/>
                      <a:pt x="407" y="282"/>
                      <a:pt x="407" y="280"/>
                    </a:cubicBezTo>
                    <a:cubicBezTo>
                      <a:pt x="407" y="274"/>
                      <a:pt x="410" y="273"/>
                      <a:pt x="412" y="270"/>
                    </a:cubicBezTo>
                    <a:cubicBezTo>
                      <a:pt x="409" y="268"/>
                      <a:pt x="405" y="264"/>
                      <a:pt x="404" y="267"/>
                    </a:cubicBezTo>
                    <a:cubicBezTo>
                      <a:pt x="397" y="267"/>
                      <a:pt x="394" y="264"/>
                      <a:pt x="390" y="261"/>
                    </a:cubicBezTo>
                    <a:cubicBezTo>
                      <a:pt x="389" y="264"/>
                      <a:pt x="387" y="269"/>
                      <a:pt x="384" y="269"/>
                    </a:cubicBezTo>
                    <a:cubicBezTo>
                      <a:pt x="375" y="269"/>
                      <a:pt x="368" y="256"/>
                      <a:pt x="363" y="252"/>
                    </a:cubicBezTo>
                    <a:cubicBezTo>
                      <a:pt x="352" y="243"/>
                      <a:pt x="337" y="244"/>
                      <a:pt x="323" y="236"/>
                    </a:cubicBezTo>
                    <a:cubicBezTo>
                      <a:pt x="299" y="236"/>
                      <a:pt x="299" y="236"/>
                      <a:pt x="299" y="236"/>
                    </a:cubicBezTo>
                    <a:cubicBezTo>
                      <a:pt x="285" y="232"/>
                      <a:pt x="265" y="230"/>
                      <a:pt x="258" y="214"/>
                    </a:cubicBezTo>
                    <a:cubicBezTo>
                      <a:pt x="252" y="217"/>
                      <a:pt x="244" y="219"/>
                      <a:pt x="240" y="221"/>
                    </a:cubicBezTo>
                    <a:cubicBezTo>
                      <a:pt x="241" y="224"/>
                      <a:pt x="242" y="225"/>
                      <a:pt x="244" y="227"/>
                    </a:cubicBezTo>
                    <a:cubicBezTo>
                      <a:pt x="238" y="236"/>
                      <a:pt x="210" y="252"/>
                      <a:pt x="200" y="252"/>
                    </a:cubicBezTo>
                    <a:cubicBezTo>
                      <a:pt x="198" y="252"/>
                      <a:pt x="195" y="251"/>
                      <a:pt x="195" y="249"/>
                    </a:cubicBezTo>
                    <a:cubicBezTo>
                      <a:pt x="195" y="246"/>
                      <a:pt x="198" y="246"/>
                      <a:pt x="199" y="245"/>
                    </a:cubicBezTo>
                    <a:cubicBezTo>
                      <a:pt x="197" y="242"/>
                      <a:pt x="199" y="242"/>
                      <a:pt x="199" y="240"/>
                    </a:cubicBezTo>
                    <a:cubicBezTo>
                      <a:pt x="199" y="230"/>
                      <a:pt x="205" y="223"/>
                      <a:pt x="218" y="219"/>
                    </a:cubicBezTo>
                    <a:cubicBezTo>
                      <a:pt x="218" y="217"/>
                      <a:pt x="218" y="216"/>
                      <a:pt x="218" y="214"/>
                    </a:cubicBezTo>
                    <a:cubicBezTo>
                      <a:pt x="214" y="214"/>
                      <a:pt x="215" y="214"/>
                      <a:pt x="213" y="214"/>
                    </a:cubicBezTo>
                    <a:cubicBezTo>
                      <a:pt x="203" y="214"/>
                      <a:pt x="173" y="239"/>
                      <a:pt x="173" y="253"/>
                    </a:cubicBezTo>
                    <a:cubicBezTo>
                      <a:pt x="173" y="255"/>
                      <a:pt x="173" y="258"/>
                      <a:pt x="173" y="260"/>
                    </a:cubicBezTo>
                    <a:cubicBezTo>
                      <a:pt x="173" y="270"/>
                      <a:pt x="164" y="273"/>
                      <a:pt x="154" y="277"/>
                    </a:cubicBezTo>
                    <a:cubicBezTo>
                      <a:pt x="148" y="280"/>
                      <a:pt x="146" y="284"/>
                      <a:pt x="143" y="288"/>
                    </a:cubicBezTo>
                    <a:cubicBezTo>
                      <a:pt x="136" y="297"/>
                      <a:pt x="121" y="301"/>
                      <a:pt x="114" y="308"/>
                    </a:cubicBezTo>
                    <a:cubicBezTo>
                      <a:pt x="107" y="315"/>
                      <a:pt x="91" y="320"/>
                      <a:pt x="79" y="322"/>
                    </a:cubicBezTo>
                    <a:cubicBezTo>
                      <a:pt x="63" y="324"/>
                      <a:pt x="54" y="343"/>
                      <a:pt x="35" y="337"/>
                    </a:cubicBezTo>
                    <a:cubicBezTo>
                      <a:pt x="41" y="329"/>
                      <a:pt x="49" y="333"/>
                      <a:pt x="57" y="328"/>
                    </a:cubicBezTo>
                    <a:cubicBezTo>
                      <a:pt x="62" y="325"/>
                      <a:pt x="66" y="316"/>
                      <a:pt x="71" y="314"/>
                    </a:cubicBezTo>
                    <a:cubicBezTo>
                      <a:pt x="78" y="309"/>
                      <a:pt x="87" y="314"/>
                      <a:pt x="92" y="307"/>
                    </a:cubicBezTo>
                    <a:cubicBezTo>
                      <a:pt x="99" y="297"/>
                      <a:pt x="117" y="290"/>
                      <a:pt x="127" y="283"/>
                    </a:cubicBezTo>
                    <a:cubicBezTo>
                      <a:pt x="137" y="276"/>
                      <a:pt x="137" y="263"/>
                      <a:pt x="148" y="256"/>
                    </a:cubicBezTo>
                    <a:cubicBezTo>
                      <a:pt x="141" y="256"/>
                      <a:pt x="141" y="256"/>
                      <a:pt x="141" y="256"/>
                    </a:cubicBezTo>
                    <a:cubicBezTo>
                      <a:pt x="135" y="259"/>
                      <a:pt x="132" y="262"/>
                      <a:pt x="125" y="262"/>
                    </a:cubicBezTo>
                    <a:cubicBezTo>
                      <a:pt x="120" y="262"/>
                      <a:pt x="117" y="260"/>
                      <a:pt x="113" y="258"/>
                    </a:cubicBezTo>
                    <a:cubicBezTo>
                      <a:pt x="112" y="262"/>
                      <a:pt x="110" y="263"/>
                      <a:pt x="110" y="266"/>
                    </a:cubicBezTo>
                    <a:cubicBezTo>
                      <a:pt x="99" y="262"/>
                      <a:pt x="96" y="260"/>
                      <a:pt x="89" y="254"/>
                    </a:cubicBezTo>
                    <a:cubicBezTo>
                      <a:pt x="88" y="257"/>
                      <a:pt x="88" y="259"/>
                      <a:pt x="88" y="261"/>
                    </a:cubicBezTo>
                    <a:cubicBezTo>
                      <a:pt x="84" y="261"/>
                      <a:pt x="85" y="261"/>
                      <a:pt x="83" y="261"/>
                    </a:cubicBezTo>
                    <a:cubicBezTo>
                      <a:pt x="80" y="261"/>
                      <a:pt x="78" y="264"/>
                      <a:pt x="76" y="264"/>
                    </a:cubicBezTo>
                    <a:cubicBezTo>
                      <a:pt x="74" y="264"/>
                      <a:pt x="72" y="257"/>
                      <a:pt x="72" y="253"/>
                    </a:cubicBezTo>
                    <a:cubicBezTo>
                      <a:pt x="72" y="248"/>
                      <a:pt x="72" y="248"/>
                      <a:pt x="72" y="244"/>
                    </a:cubicBezTo>
                    <a:cubicBezTo>
                      <a:pt x="72" y="243"/>
                      <a:pt x="72" y="238"/>
                      <a:pt x="68" y="238"/>
                    </a:cubicBezTo>
                    <a:cubicBezTo>
                      <a:pt x="65" y="238"/>
                      <a:pt x="61" y="245"/>
                      <a:pt x="60" y="245"/>
                    </a:cubicBezTo>
                    <a:cubicBezTo>
                      <a:pt x="54" y="245"/>
                      <a:pt x="33" y="229"/>
                      <a:pt x="30" y="225"/>
                    </a:cubicBezTo>
                    <a:cubicBezTo>
                      <a:pt x="32" y="225"/>
                      <a:pt x="35" y="224"/>
                      <a:pt x="37" y="224"/>
                    </a:cubicBezTo>
                    <a:cubicBezTo>
                      <a:pt x="33" y="214"/>
                      <a:pt x="19" y="212"/>
                      <a:pt x="19" y="205"/>
                    </a:cubicBezTo>
                    <a:cubicBezTo>
                      <a:pt x="19" y="191"/>
                      <a:pt x="43" y="180"/>
                      <a:pt x="52" y="180"/>
                    </a:cubicBezTo>
                    <a:cubicBezTo>
                      <a:pt x="56" y="180"/>
                      <a:pt x="86" y="169"/>
                      <a:pt x="86" y="163"/>
                    </a:cubicBezTo>
                    <a:cubicBezTo>
                      <a:pt x="86" y="160"/>
                      <a:pt x="79" y="153"/>
                      <a:pt x="79" y="152"/>
                    </a:cubicBezTo>
                    <a:cubicBezTo>
                      <a:pt x="83" y="150"/>
                      <a:pt x="82" y="150"/>
                      <a:pt x="85" y="152"/>
                    </a:cubicBezTo>
                    <a:cubicBezTo>
                      <a:pt x="85" y="145"/>
                      <a:pt x="85" y="145"/>
                      <a:pt x="85" y="145"/>
                    </a:cubicBezTo>
                    <a:cubicBezTo>
                      <a:pt x="81" y="145"/>
                      <a:pt x="81" y="145"/>
                      <a:pt x="79" y="145"/>
                    </a:cubicBezTo>
                    <a:cubicBezTo>
                      <a:pt x="72" y="145"/>
                      <a:pt x="69" y="153"/>
                      <a:pt x="60" y="153"/>
                    </a:cubicBezTo>
                    <a:cubicBezTo>
                      <a:pt x="51" y="153"/>
                      <a:pt x="48" y="148"/>
                      <a:pt x="41" y="150"/>
                    </a:cubicBezTo>
                    <a:cubicBezTo>
                      <a:pt x="32" y="150"/>
                      <a:pt x="21" y="150"/>
                      <a:pt x="18" y="150"/>
                    </a:cubicBezTo>
                    <a:cubicBezTo>
                      <a:pt x="17" y="143"/>
                      <a:pt x="12" y="141"/>
                      <a:pt x="12" y="137"/>
                    </a:cubicBezTo>
                    <a:cubicBezTo>
                      <a:pt x="12" y="136"/>
                      <a:pt x="13" y="134"/>
                      <a:pt x="13" y="133"/>
                    </a:cubicBezTo>
                    <a:cubicBezTo>
                      <a:pt x="6" y="133"/>
                      <a:pt x="2" y="130"/>
                      <a:pt x="0" y="126"/>
                    </a:cubicBezTo>
                    <a:cubicBezTo>
                      <a:pt x="11" y="119"/>
                      <a:pt x="29" y="113"/>
                      <a:pt x="40" y="106"/>
                    </a:cubicBezTo>
                    <a:cubicBezTo>
                      <a:pt x="48" y="106"/>
                      <a:pt x="48" y="106"/>
                      <a:pt x="48" y="106"/>
                    </a:cubicBezTo>
                    <a:cubicBezTo>
                      <a:pt x="48" y="120"/>
                      <a:pt x="55" y="116"/>
                      <a:pt x="64" y="116"/>
                    </a:cubicBezTo>
                    <a:cubicBezTo>
                      <a:pt x="70" y="116"/>
                      <a:pt x="71" y="118"/>
                      <a:pt x="76" y="116"/>
                    </a:cubicBezTo>
                    <a:cubicBezTo>
                      <a:pt x="72" y="102"/>
                      <a:pt x="63" y="101"/>
                      <a:pt x="50" y="95"/>
                    </a:cubicBezTo>
                    <a:cubicBezTo>
                      <a:pt x="46" y="94"/>
                      <a:pt x="41" y="80"/>
                      <a:pt x="37" y="78"/>
                    </a:cubicBezTo>
                    <a:cubicBezTo>
                      <a:pt x="31" y="75"/>
                      <a:pt x="13" y="71"/>
                      <a:pt x="13" y="68"/>
                    </a:cubicBezTo>
                    <a:cubicBezTo>
                      <a:pt x="13" y="68"/>
                      <a:pt x="20" y="57"/>
                      <a:pt x="20" y="56"/>
                    </a:cubicBezTo>
                    <a:cubicBezTo>
                      <a:pt x="44" y="56"/>
                      <a:pt x="44" y="56"/>
                      <a:pt x="44" y="56"/>
                    </a:cubicBezTo>
                    <a:cubicBezTo>
                      <a:pt x="57" y="38"/>
                      <a:pt x="77" y="21"/>
                      <a:pt x="101" y="14"/>
                    </a:cubicBezTo>
                    <a:cubicBezTo>
                      <a:pt x="107" y="12"/>
                      <a:pt x="111" y="15"/>
                      <a:pt x="117" y="13"/>
                    </a:cubicBezTo>
                    <a:cubicBezTo>
                      <a:pt x="124" y="10"/>
                      <a:pt x="128" y="0"/>
                      <a:pt x="136" y="0"/>
                    </a:cubicBezTo>
                    <a:cubicBezTo>
                      <a:pt x="142" y="0"/>
                      <a:pt x="144" y="5"/>
                      <a:pt x="150" y="7"/>
                    </a:cubicBezTo>
                    <a:cubicBezTo>
                      <a:pt x="147" y="10"/>
                      <a:pt x="147" y="11"/>
                      <a:pt x="146" y="13"/>
                    </a:cubicBezTo>
                    <a:cubicBezTo>
                      <a:pt x="150" y="14"/>
                      <a:pt x="154" y="11"/>
                      <a:pt x="157" y="7"/>
                    </a:cubicBezTo>
                    <a:cubicBezTo>
                      <a:pt x="162" y="9"/>
                      <a:pt x="163" y="10"/>
                      <a:pt x="167" y="11"/>
                    </a:cubicBezTo>
                    <a:cubicBezTo>
                      <a:pt x="189" y="11"/>
                      <a:pt x="189" y="11"/>
                      <a:pt x="189" y="11"/>
                    </a:cubicBezTo>
                    <a:cubicBezTo>
                      <a:pt x="194" y="15"/>
                      <a:pt x="196" y="17"/>
                      <a:pt x="202" y="20"/>
                    </a:cubicBezTo>
                    <a:cubicBezTo>
                      <a:pt x="236" y="20"/>
                      <a:pt x="236" y="20"/>
                      <a:pt x="236" y="20"/>
                    </a:cubicBezTo>
                    <a:cubicBezTo>
                      <a:pt x="245" y="29"/>
                      <a:pt x="272" y="31"/>
                      <a:pt x="286" y="31"/>
                    </a:cubicBezTo>
                    <a:cubicBezTo>
                      <a:pt x="294" y="31"/>
                      <a:pt x="299" y="28"/>
                      <a:pt x="307" y="28"/>
                    </a:cubicBezTo>
                    <a:cubicBezTo>
                      <a:pt x="319" y="28"/>
                      <a:pt x="323" y="34"/>
                      <a:pt x="334" y="37"/>
                    </a:cubicBezTo>
                    <a:cubicBezTo>
                      <a:pt x="334" y="36"/>
                      <a:pt x="334" y="36"/>
                      <a:pt x="334" y="36"/>
                    </a:cubicBezTo>
                    <a:lnTo>
                      <a:pt x="334" y="3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42" name="îšļïdé"/>
              <p:cNvSpPr/>
              <p:nvPr/>
            </p:nvSpPr>
            <p:spPr bwMode="auto">
              <a:xfrm>
                <a:off x="2750548" y="2258743"/>
                <a:ext cx="35724" cy="47629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0" y="11"/>
                  </a:cxn>
                  <a:cxn ang="0">
                    <a:pos x="11" y="2"/>
                  </a:cxn>
                  <a:cxn ang="0">
                    <a:pos x="22" y="25"/>
                  </a:cxn>
                  <a:cxn ang="0">
                    <a:pos x="18" y="29"/>
                  </a:cxn>
                  <a:cxn ang="0">
                    <a:pos x="9" y="20"/>
                  </a:cxn>
                  <a:cxn ang="0">
                    <a:pos x="9" y="11"/>
                  </a:cxn>
                </a:cxnLst>
                <a:rect l="0" t="0" r="r" b="b"/>
                <a:pathLst>
                  <a:path w="22" h="29">
                    <a:moveTo>
                      <a:pt x="9" y="11"/>
                    </a:moveTo>
                    <a:cubicBezTo>
                      <a:pt x="2" y="9"/>
                      <a:pt x="5" y="7"/>
                      <a:pt x="0" y="11"/>
                    </a:cubicBezTo>
                    <a:cubicBezTo>
                      <a:pt x="0" y="0"/>
                      <a:pt x="2" y="0"/>
                      <a:pt x="11" y="2"/>
                    </a:cubicBezTo>
                    <a:cubicBezTo>
                      <a:pt x="10" y="14"/>
                      <a:pt x="22" y="15"/>
                      <a:pt x="22" y="25"/>
                    </a:cubicBezTo>
                    <a:cubicBezTo>
                      <a:pt x="22" y="28"/>
                      <a:pt x="20" y="29"/>
                      <a:pt x="18" y="29"/>
                    </a:cubicBezTo>
                    <a:cubicBezTo>
                      <a:pt x="14" y="29"/>
                      <a:pt x="9" y="20"/>
                      <a:pt x="9" y="20"/>
                    </a:cubicBezTo>
                    <a:cubicBezTo>
                      <a:pt x="9" y="16"/>
                      <a:pt x="8" y="13"/>
                      <a:pt x="9" y="1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43" name="ïṩļïďè"/>
              <p:cNvSpPr/>
              <p:nvPr/>
            </p:nvSpPr>
            <p:spPr bwMode="auto">
              <a:xfrm>
                <a:off x="2694977" y="2203175"/>
                <a:ext cx="37709" cy="57553"/>
              </a:xfrm>
              <a:custGeom>
                <a:avLst/>
                <a:gdLst/>
                <a:ahLst/>
                <a:cxnLst>
                  <a:cxn ang="0">
                    <a:pos x="15" y="18"/>
                  </a:cxn>
                  <a:cxn ang="0">
                    <a:pos x="19" y="18"/>
                  </a:cxn>
                  <a:cxn ang="0">
                    <a:pos x="19" y="35"/>
                  </a:cxn>
                  <a:cxn ang="0">
                    <a:pos x="11" y="17"/>
                  </a:cxn>
                  <a:cxn ang="0">
                    <a:pos x="0" y="4"/>
                  </a:cxn>
                  <a:cxn ang="0">
                    <a:pos x="5" y="0"/>
                  </a:cxn>
                  <a:cxn ang="0">
                    <a:pos x="15" y="0"/>
                  </a:cxn>
                  <a:cxn ang="0">
                    <a:pos x="15" y="18"/>
                  </a:cxn>
                </a:cxnLst>
                <a:rect l="0" t="0" r="r" b="b"/>
                <a:pathLst>
                  <a:path w="23" h="35">
                    <a:moveTo>
                      <a:pt x="15" y="18"/>
                    </a:moveTo>
                    <a:cubicBezTo>
                      <a:pt x="15" y="19"/>
                      <a:pt x="19" y="19"/>
                      <a:pt x="19" y="18"/>
                    </a:cubicBezTo>
                    <a:cubicBezTo>
                      <a:pt x="19" y="24"/>
                      <a:pt x="23" y="30"/>
                      <a:pt x="19" y="35"/>
                    </a:cubicBezTo>
                    <a:cubicBezTo>
                      <a:pt x="13" y="30"/>
                      <a:pt x="11" y="24"/>
                      <a:pt x="11" y="17"/>
                    </a:cubicBezTo>
                    <a:cubicBezTo>
                      <a:pt x="5" y="16"/>
                      <a:pt x="0" y="11"/>
                      <a:pt x="0" y="4"/>
                    </a:cubicBezTo>
                    <a:cubicBezTo>
                      <a:pt x="0" y="1"/>
                      <a:pt x="3" y="0"/>
                      <a:pt x="5" y="0"/>
                    </a:cubicBezTo>
                    <a:cubicBezTo>
                      <a:pt x="13" y="0"/>
                      <a:pt x="9" y="3"/>
                      <a:pt x="15" y="0"/>
                    </a:cubicBezTo>
                    <a:cubicBezTo>
                      <a:pt x="15" y="11"/>
                      <a:pt x="13" y="11"/>
                      <a:pt x="15" y="1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44" name="í$1iďé"/>
              <p:cNvSpPr/>
              <p:nvPr/>
            </p:nvSpPr>
            <p:spPr bwMode="auto">
              <a:xfrm>
                <a:off x="3050229" y="1651464"/>
                <a:ext cx="385021" cy="202426"/>
              </a:xfrm>
              <a:custGeom>
                <a:avLst/>
                <a:gdLst/>
                <a:ahLst/>
                <a:cxnLst>
                  <a:cxn ang="0">
                    <a:pos x="214" y="96"/>
                  </a:cxn>
                  <a:cxn ang="0">
                    <a:pos x="209" y="100"/>
                  </a:cxn>
                  <a:cxn ang="0">
                    <a:pos x="215" y="103"/>
                  </a:cxn>
                  <a:cxn ang="0">
                    <a:pos x="220" y="110"/>
                  </a:cxn>
                  <a:cxn ang="0">
                    <a:pos x="195" y="118"/>
                  </a:cxn>
                  <a:cxn ang="0">
                    <a:pos x="158" y="104"/>
                  </a:cxn>
                  <a:cxn ang="0">
                    <a:pos x="147" y="112"/>
                  </a:cxn>
                  <a:cxn ang="0">
                    <a:pos x="115" y="121"/>
                  </a:cxn>
                  <a:cxn ang="0">
                    <a:pos x="75" y="121"/>
                  </a:cxn>
                  <a:cxn ang="0">
                    <a:pos x="68" y="110"/>
                  </a:cxn>
                  <a:cxn ang="0">
                    <a:pos x="43" y="108"/>
                  </a:cxn>
                  <a:cxn ang="0">
                    <a:pos x="23" y="92"/>
                  </a:cxn>
                  <a:cxn ang="0">
                    <a:pos x="65" y="82"/>
                  </a:cxn>
                  <a:cxn ang="0">
                    <a:pos x="80" y="81"/>
                  </a:cxn>
                  <a:cxn ang="0">
                    <a:pos x="69" y="77"/>
                  </a:cxn>
                  <a:cxn ang="0">
                    <a:pos x="45" y="77"/>
                  </a:cxn>
                  <a:cxn ang="0">
                    <a:pos x="12" y="69"/>
                  </a:cxn>
                  <a:cxn ang="0">
                    <a:pos x="29" y="60"/>
                  </a:cxn>
                  <a:cxn ang="0">
                    <a:pos x="14" y="59"/>
                  </a:cxn>
                  <a:cxn ang="0">
                    <a:pos x="0" y="51"/>
                  </a:cxn>
                  <a:cxn ang="0">
                    <a:pos x="56" y="13"/>
                  </a:cxn>
                  <a:cxn ang="0">
                    <a:pos x="64" y="29"/>
                  </a:cxn>
                  <a:cxn ang="0">
                    <a:pos x="78" y="21"/>
                  </a:cxn>
                  <a:cxn ang="0">
                    <a:pos x="98" y="34"/>
                  </a:cxn>
                  <a:cxn ang="0">
                    <a:pos x="111" y="31"/>
                  </a:cxn>
                  <a:cxn ang="0">
                    <a:pos x="109" y="23"/>
                  </a:cxn>
                  <a:cxn ang="0">
                    <a:pos x="118" y="23"/>
                  </a:cxn>
                  <a:cxn ang="0">
                    <a:pos x="133" y="35"/>
                  </a:cxn>
                  <a:cxn ang="0">
                    <a:pos x="140" y="51"/>
                  </a:cxn>
                  <a:cxn ang="0">
                    <a:pos x="146" y="48"/>
                  </a:cxn>
                  <a:cxn ang="0">
                    <a:pos x="136" y="17"/>
                  </a:cxn>
                  <a:cxn ang="0">
                    <a:pos x="144" y="12"/>
                  </a:cxn>
                  <a:cxn ang="0">
                    <a:pos x="156" y="12"/>
                  </a:cxn>
                  <a:cxn ang="0">
                    <a:pos x="156" y="7"/>
                  </a:cxn>
                  <a:cxn ang="0">
                    <a:pos x="169" y="0"/>
                  </a:cxn>
                  <a:cxn ang="0">
                    <a:pos x="184" y="10"/>
                  </a:cxn>
                  <a:cxn ang="0">
                    <a:pos x="175" y="24"/>
                  </a:cxn>
                  <a:cxn ang="0">
                    <a:pos x="187" y="62"/>
                  </a:cxn>
                  <a:cxn ang="0">
                    <a:pos x="232" y="92"/>
                  </a:cxn>
                  <a:cxn ang="0">
                    <a:pos x="214" y="96"/>
                  </a:cxn>
                </a:cxnLst>
                <a:rect l="0" t="0" r="r" b="b"/>
                <a:pathLst>
                  <a:path w="232" h="121">
                    <a:moveTo>
                      <a:pt x="214" y="96"/>
                    </a:moveTo>
                    <a:cubicBezTo>
                      <a:pt x="211" y="96"/>
                      <a:pt x="209" y="97"/>
                      <a:pt x="209" y="100"/>
                    </a:cubicBezTo>
                    <a:cubicBezTo>
                      <a:pt x="209" y="103"/>
                      <a:pt x="214" y="103"/>
                      <a:pt x="215" y="103"/>
                    </a:cubicBezTo>
                    <a:cubicBezTo>
                      <a:pt x="216" y="107"/>
                      <a:pt x="218" y="108"/>
                      <a:pt x="220" y="110"/>
                    </a:cubicBezTo>
                    <a:cubicBezTo>
                      <a:pt x="216" y="118"/>
                      <a:pt x="206" y="118"/>
                      <a:pt x="195" y="118"/>
                    </a:cubicBezTo>
                    <a:cubicBezTo>
                      <a:pt x="177" y="118"/>
                      <a:pt x="171" y="104"/>
                      <a:pt x="158" y="104"/>
                    </a:cubicBezTo>
                    <a:cubicBezTo>
                      <a:pt x="150" y="104"/>
                      <a:pt x="154" y="109"/>
                      <a:pt x="147" y="112"/>
                    </a:cubicBezTo>
                    <a:cubicBezTo>
                      <a:pt x="135" y="118"/>
                      <a:pt x="124" y="115"/>
                      <a:pt x="115" y="121"/>
                    </a:cubicBezTo>
                    <a:cubicBezTo>
                      <a:pt x="95" y="121"/>
                      <a:pt x="87" y="121"/>
                      <a:pt x="75" y="121"/>
                    </a:cubicBezTo>
                    <a:cubicBezTo>
                      <a:pt x="68" y="121"/>
                      <a:pt x="73" y="114"/>
                      <a:pt x="68" y="110"/>
                    </a:cubicBezTo>
                    <a:cubicBezTo>
                      <a:pt x="63" y="107"/>
                      <a:pt x="49" y="108"/>
                      <a:pt x="43" y="108"/>
                    </a:cubicBezTo>
                    <a:cubicBezTo>
                      <a:pt x="34" y="108"/>
                      <a:pt x="26" y="98"/>
                      <a:pt x="23" y="92"/>
                    </a:cubicBezTo>
                    <a:cubicBezTo>
                      <a:pt x="33" y="85"/>
                      <a:pt x="47" y="82"/>
                      <a:pt x="65" y="82"/>
                    </a:cubicBezTo>
                    <a:cubicBezTo>
                      <a:pt x="72" y="82"/>
                      <a:pt x="75" y="82"/>
                      <a:pt x="80" y="81"/>
                    </a:cubicBezTo>
                    <a:cubicBezTo>
                      <a:pt x="77" y="80"/>
                      <a:pt x="73" y="77"/>
                      <a:pt x="69" y="77"/>
                    </a:cubicBezTo>
                    <a:cubicBezTo>
                      <a:pt x="60" y="77"/>
                      <a:pt x="50" y="77"/>
                      <a:pt x="45" y="77"/>
                    </a:cubicBezTo>
                    <a:cubicBezTo>
                      <a:pt x="36" y="77"/>
                      <a:pt x="12" y="81"/>
                      <a:pt x="12" y="69"/>
                    </a:cubicBezTo>
                    <a:cubicBezTo>
                      <a:pt x="12" y="59"/>
                      <a:pt x="24" y="63"/>
                      <a:pt x="29" y="60"/>
                    </a:cubicBezTo>
                    <a:cubicBezTo>
                      <a:pt x="22" y="58"/>
                      <a:pt x="19" y="59"/>
                      <a:pt x="14" y="59"/>
                    </a:cubicBezTo>
                    <a:cubicBezTo>
                      <a:pt x="9" y="59"/>
                      <a:pt x="0" y="53"/>
                      <a:pt x="0" y="51"/>
                    </a:cubicBezTo>
                    <a:cubicBezTo>
                      <a:pt x="0" y="29"/>
                      <a:pt x="41" y="13"/>
                      <a:pt x="56" y="13"/>
                    </a:cubicBezTo>
                    <a:cubicBezTo>
                      <a:pt x="63" y="13"/>
                      <a:pt x="62" y="26"/>
                      <a:pt x="64" y="29"/>
                    </a:cubicBezTo>
                    <a:cubicBezTo>
                      <a:pt x="68" y="26"/>
                      <a:pt x="71" y="21"/>
                      <a:pt x="78" y="21"/>
                    </a:cubicBezTo>
                    <a:cubicBezTo>
                      <a:pt x="90" y="21"/>
                      <a:pt x="94" y="26"/>
                      <a:pt x="98" y="34"/>
                    </a:cubicBezTo>
                    <a:cubicBezTo>
                      <a:pt x="102" y="33"/>
                      <a:pt x="106" y="32"/>
                      <a:pt x="111" y="31"/>
                    </a:cubicBezTo>
                    <a:cubicBezTo>
                      <a:pt x="110" y="27"/>
                      <a:pt x="109" y="25"/>
                      <a:pt x="109" y="23"/>
                    </a:cubicBezTo>
                    <a:cubicBezTo>
                      <a:pt x="118" y="23"/>
                      <a:pt x="118" y="23"/>
                      <a:pt x="118" y="23"/>
                    </a:cubicBezTo>
                    <a:cubicBezTo>
                      <a:pt x="124" y="25"/>
                      <a:pt x="131" y="30"/>
                      <a:pt x="133" y="35"/>
                    </a:cubicBezTo>
                    <a:cubicBezTo>
                      <a:pt x="135" y="40"/>
                      <a:pt x="132" y="51"/>
                      <a:pt x="140" y="51"/>
                    </a:cubicBezTo>
                    <a:cubicBezTo>
                      <a:pt x="144" y="51"/>
                      <a:pt x="144" y="50"/>
                      <a:pt x="146" y="48"/>
                    </a:cubicBezTo>
                    <a:cubicBezTo>
                      <a:pt x="142" y="42"/>
                      <a:pt x="136" y="21"/>
                      <a:pt x="136" y="17"/>
                    </a:cubicBezTo>
                    <a:cubicBezTo>
                      <a:pt x="136" y="14"/>
                      <a:pt x="140" y="12"/>
                      <a:pt x="144" y="12"/>
                    </a:cubicBezTo>
                    <a:cubicBezTo>
                      <a:pt x="152" y="12"/>
                      <a:pt x="149" y="15"/>
                      <a:pt x="156" y="12"/>
                    </a:cubicBezTo>
                    <a:cubicBezTo>
                      <a:pt x="156" y="10"/>
                      <a:pt x="156" y="9"/>
                      <a:pt x="156" y="7"/>
                    </a:cubicBezTo>
                    <a:cubicBezTo>
                      <a:pt x="156" y="3"/>
                      <a:pt x="162" y="0"/>
                      <a:pt x="169" y="0"/>
                    </a:cubicBezTo>
                    <a:cubicBezTo>
                      <a:pt x="177" y="0"/>
                      <a:pt x="184" y="3"/>
                      <a:pt x="184" y="10"/>
                    </a:cubicBezTo>
                    <a:cubicBezTo>
                      <a:pt x="184" y="16"/>
                      <a:pt x="175" y="20"/>
                      <a:pt x="175" y="24"/>
                    </a:cubicBezTo>
                    <a:cubicBezTo>
                      <a:pt x="175" y="40"/>
                      <a:pt x="187" y="50"/>
                      <a:pt x="187" y="62"/>
                    </a:cubicBezTo>
                    <a:cubicBezTo>
                      <a:pt x="187" y="76"/>
                      <a:pt x="224" y="85"/>
                      <a:pt x="232" y="92"/>
                    </a:cubicBezTo>
                    <a:cubicBezTo>
                      <a:pt x="224" y="97"/>
                      <a:pt x="222" y="96"/>
                      <a:pt x="214" y="9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45" name="iṧḻïdé"/>
              <p:cNvSpPr/>
              <p:nvPr/>
            </p:nvSpPr>
            <p:spPr bwMode="auto">
              <a:xfrm>
                <a:off x="2907335" y="1619711"/>
                <a:ext cx="216326" cy="142889"/>
              </a:xfrm>
              <a:custGeom>
                <a:avLst/>
                <a:gdLst/>
                <a:ahLst/>
                <a:cxnLst>
                  <a:cxn ang="0">
                    <a:pos x="28" y="82"/>
                  </a:cxn>
                  <a:cxn ang="0">
                    <a:pos x="22" y="73"/>
                  </a:cxn>
                  <a:cxn ang="0">
                    <a:pos x="0" y="64"/>
                  </a:cxn>
                  <a:cxn ang="0">
                    <a:pos x="22" y="21"/>
                  </a:cxn>
                  <a:cxn ang="0">
                    <a:pos x="16" y="5"/>
                  </a:cxn>
                  <a:cxn ang="0">
                    <a:pos x="42" y="5"/>
                  </a:cxn>
                  <a:cxn ang="0">
                    <a:pos x="60" y="2"/>
                  </a:cxn>
                  <a:cxn ang="0">
                    <a:pos x="84" y="11"/>
                  </a:cxn>
                  <a:cxn ang="0">
                    <a:pos x="99" y="10"/>
                  </a:cxn>
                  <a:cxn ang="0">
                    <a:pos x="130" y="29"/>
                  </a:cxn>
                  <a:cxn ang="0">
                    <a:pos x="102" y="38"/>
                  </a:cxn>
                  <a:cxn ang="0">
                    <a:pos x="69" y="71"/>
                  </a:cxn>
                  <a:cxn ang="0">
                    <a:pos x="35" y="86"/>
                  </a:cxn>
                  <a:cxn ang="0">
                    <a:pos x="28" y="82"/>
                  </a:cxn>
                </a:cxnLst>
                <a:rect l="0" t="0" r="r" b="b"/>
                <a:pathLst>
                  <a:path w="130" h="86">
                    <a:moveTo>
                      <a:pt x="28" y="82"/>
                    </a:moveTo>
                    <a:cubicBezTo>
                      <a:pt x="26" y="82"/>
                      <a:pt x="23" y="75"/>
                      <a:pt x="22" y="73"/>
                    </a:cubicBezTo>
                    <a:cubicBezTo>
                      <a:pt x="18" y="68"/>
                      <a:pt x="0" y="69"/>
                      <a:pt x="0" y="64"/>
                    </a:cubicBezTo>
                    <a:cubicBezTo>
                      <a:pt x="0" y="49"/>
                      <a:pt x="22" y="37"/>
                      <a:pt x="22" y="21"/>
                    </a:cubicBezTo>
                    <a:cubicBezTo>
                      <a:pt x="22" y="17"/>
                      <a:pt x="16" y="10"/>
                      <a:pt x="16" y="5"/>
                    </a:cubicBezTo>
                    <a:cubicBezTo>
                      <a:pt x="27" y="1"/>
                      <a:pt x="32" y="5"/>
                      <a:pt x="42" y="5"/>
                    </a:cubicBezTo>
                    <a:cubicBezTo>
                      <a:pt x="48" y="5"/>
                      <a:pt x="52" y="0"/>
                      <a:pt x="60" y="2"/>
                    </a:cubicBezTo>
                    <a:cubicBezTo>
                      <a:pt x="70" y="5"/>
                      <a:pt x="74" y="10"/>
                      <a:pt x="84" y="11"/>
                    </a:cubicBezTo>
                    <a:cubicBezTo>
                      <a:pt x="88" y="15"/>
                      <a:pt x="93" y="10"/>
                      <a:pt x="99" y="10"/>
                    </a:cubicBezTo>
                    <a:cubicBezTo>
                      <a:pt x="108" y="10"/>
                      <a:pt x="130" y="19"/>
                      <a:pt x="130" y="29"/>
                    </a:cubicBezTo>
                    <a:cubicBezTo>
                      <a:pt x="130" y="34"/>
                      <a:pt x="106" y="37"/>
                      <a:pt x="102" y="38"/>
                    </a:cubicBezTo>
                    <a:cubicBezTo>
                      <a:pt x="88" y="43"/>
                      <a:pt x="69" y="61"/>
                      <a:pt x="69" y="71"/>
                    </a:cubicBezTo>
                    <a:cubicBezTo>
                      <a:pt x="69" y="75"/>
                      <a:pt x="38" y="86"/>
                      <a:pt x="35" y="86"/>
                    </a:cubicBezTo>
                    <a:cubicBezTo>
                      <a:pt x="32" y="86"/>
                      <a:pt x="30" y="82"/>
                      <a:pt x="28" y="8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46" name="íślíḑé"/>
              <p:cNvSpPr/>
              <p:nvPr/>
            </p:nvSpPr>
            <p:spPr bwMode="auto">
              <a:xfrm>
                <a:off x="3079998" y="1518497"/>
                <a:ext cx="256019" cy="109152"/>
              </a:xfrm>
              <a:custGeom>
                <a:avLst/>
                <a:gdLst/>
                <a:ahLst/>
                <a:cxnLst>
                  <a:cxn ang="0">
                    <a:pos x="53" y="65"/>
                  </a:cxn>
                  <a:cxn ang="0">
                    <a:pos x="41" y="59"/>
                  </a:cxn>
                  <a:cxn ang="0">
                    <a:pos x="53" y="53"/>
                  </a:cxn>
                  <a:cxn ang="0">
                    <a:pos x="46" y="43"/>
                  </a:cxn>
                  <a:cxn ang="0">
                    <a:pos x="41" y="49"/>
                  </a:cxn>
                  <a:cxn ang="0">
                    <a:pos x="22" y="52"/>
                  </a:cxn>
                  <a:cxn ang="0">
                    <a:pos x="7" y="49"/>
                  </a:cxn>
                  <a:cxn ang="0">
                    <a:pos x="0" y="42"/>
                  </a:cxn>
                  <a:cxn ang="0">
                    <a:pos x="0" y="36"/>
                  </a:cxn>
                  <a:cxn ang="0">
                    <a:pos x="11" y="31"/>
                  </a:cxn>
                  <a:cxn ang="0">
                    <a:pos x="31" y="36"/>
                  </a:cxn>
                  <a:cxn ang="0">
                    <a:pos x="11" y="30"/>
                  </a:cxn>
                  <a:cxn ang="0">
                    <a:pos x="11" y="23"/>
                  </a:cxn>
                  <a:cxn ang="0">
                    <a:pos x="19" y="23"/>
                  </a:cxn>
                  <a:cxn ang="0">
                    <a:pos x="38" y="26"/>
                  </a:cxn>
                  <a:cxn ang="0">
                    <a:pos x="16" y="22"/>
                  </a:cxn>
                  <a:cxn ang="0">
                    <a:pos x="25" y="17"/>
                  </a:cxn>
                  <a:cxn ang="0">
                    <a:pos x="36" y="18"/>
                  </a:cxn>
                  <a:cxn ang="0">
                    <a:pos x="23" y="12"/>
                  </a:cxn>
                  <a:cxn ang="0">
                    <a:pos x="38" y="12"/>
                  </a:cxn>
                  <a:cxn ang="0">
                    <a:pos x="45" y="19"/>
                  </a:cxn>
                  <a:cxn ang="0">
                    <a:pos x="55" y="19"/>
                  </a:cxn>
                  <a:cxn ang="0">
                    <a:pos x="97" y="36"/>
                  </a:cxn>
                  <a:cxn ang="0">
                    <a:pos x="107" y="30"/>
                  </a:cxn>
                  <a:cxn ang="0">
                    <a:pos x="98" y="29"/>
                  </a:cxn>
                  <a:cxn ang="0">
                    <a:pos x="102" y="27"/>
                  </a:cxn>
                  <a:cxn ang="0">
                    <a:pos x="102" y="21"/>
                  </a:cxn>
                  <a:cxn ang="0">
                    <a:pos x="91" y="15"/>
                  </a:cxn>
                  <a:cxn ang="0">
                    <a:pos x="107" y="0"/>
                  </a:cxn>
                  <a:cxn ang="0">
                    <a:pos x="116" y="4"/>
                  </a:cxn>
                  <a:cxn ang="0">
                    <a:pos x="116" y="9"/>
                  </a:cxn>
                  <a:cxn ang="0">
                    <a:pos x="132" y="26"/>
                  </a:cxn>
                  <a:cxn ang="0">
                    <a:pos x="144" y="20"/>
                  </a:cxn>
                  <a:cxn ang="0">
                    <a:pos x="154" y="31"/>
                  </a:cxn>
                  <a:cxn ang="0">
                    <a:pos x="140" y="52"/>
                  </a:cxn>
                  <a:cxn ang="0">
                    <a:pos x="111" y="51"/>
                  </a:cxn>
                  <a:cxn ang="0">
                    <a:pos x="82" y="59"/>
                  </a:cxn>
                  <a:cxn ang="0">
                    <a:pos x="53" y="65"/>
                  </a:cxn>
                </a:cxnLst>
                <a:rect l="0" t="0" r="r" b="b"/>
                <a:pathLst>
                  <a:path w="154" h="65">
                    <a:moveTo>
                      <a:pt x="53" y="65"/>
                    </a:moveTo>
                    <a:cubicBezTo>
                      <a:pt x="48" y="65"/>
                      <a:pt x="41" y="61"/>
                      <a:pt x="41" y="59"/>
                    </a:cubicBezTo>
                    <a:cubicBezTo>
                      <a:pt x="41" y="52"/>
                      <a:pt x="47" y="53"/>
                      <a:pt x="53" y="53"/>
                    </a:cubicBezTo>
                    <a:cubicBezTo>
                      <a:pt x="50" y="50"/>
                      <a:pt x="46" y="48"/>
                      <a:pt x="46" y="43"/>
                    </a:cubicBezTo>
                    <a:cubicBezTo>
                      <a:pt x="43" y="44"/>
                      <a:pt x="41" y="46"/>
                      <a:pt x="41" y="49"/>
                    </a:cubicBezTo>
                    <a:cubicBezTo>
                      <a:pt x="33" y="50"/>
                      <a:pt x="27" y="52"/>
                      <a:pt x="22" y="52"/>
                    </a:cubicBezTo>
                    <a:cubicBezTo>
                      <a:pt x="16" y="52"/>
                      <a:pt x="10" y="49"/>
                      <a:pt x="7" y="49"/>
                    </a:cubicBezTo>
                    <a:cubicBezTo>
                      <a:pt x="3" y="49"/>
                      <a:pt x="0" y="46"/>
                      <a:pt x="0" y="42"/>
                    </a:cubicBezTo>
                    <a:cubicBezTo>
                      <a:pt x="0" y="38"/>
                      <a:pt x="2" y="39"/>
                      <a:pt x="0" y="36"/>
                    </a:cubicBezTo>
                    <a:cubicBezTo>
                      <a:pt x="5" y="35"/>
                      <a:pt x="7" y="31"/>
                      <a:pt x="11" y="31"/>
                    </a:cubicBezTo>
                    <a:cubicBezTo>
                      <a:pt x="20" y="31"/>
                      <a:pt x="24" y="35"/>
                      <a:pt x="31" y="36"/>
                    </a:cubicBezTo>
                    <a:cubicBezTo>
                      <a:pt x="24" y="35"/>
                      <a:pt x="17" y="32"/>
                      <a:pt x="11" y="30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5" y="23"/>
                      <a:pt x="19" y="23"/>
                      <a:pt x="19" y="23"/>
                    </a:cubicBezTo>
                    <a:cubicBezTo>
                      <a:pt x="20" y="23"/>
                      <a:pt x="34" y="26"/>
                      <a:pt x="38" y="26"/>
                    </a:cubicBezTo>
                    <a:cubicBezTo>
                      <a:pt x="30" y="25"/>
                      <a:pt x="23" y="26"/>
                      <a:pt x="16" y="22"/>
                    </a:cubicBezTo>
                    <a:cubicBezTo>
                      <a:pt x="18" y="19"/>
                      <a:pt x="22" y="17"/>
                      <a:pt x="25" y="17"/>
                    </a:cubicBezTo>
                    <a:cubicBezTo>
                      <a:pt x="31" y="17"/>
                      <a:pt x="32" y="19"/>
                      <a:pt x="36" y="18"/>
                    </a:cubicBezTo>
                    <a:cubicBezTo>
                      <a:pt x="31" y="19"/>
                      <a:pt x="23" y="18"/>
                      <a:pt x="23" y="12"/>
                    </a:cubicBezTo>
                    <a:cubicBezTo>
                      <a:pt x="31" y="11"/>
                      <a:pt x="34" y="12"/>
                      <a:pt x="38" y="12"/>
                    </a:cubicBezTo>
                    <a:cubicBezTo>
                      <a:pt x="39" y="12"/>
                      <a:pt x="45" y="14"/>
                      <a:pt x="45" y="19"/>
                    </a:cubicBezTo>
                    <a:cubicBezTo>
                      <a:pt x="50" y="19"/>
                      <a:pt x="54" y="19"/>
                      <a:pt x="55" y="19"/>
                    </a:cubicBezTo>
                    <a:cubicBezTo>
                      <a:pt x="68" y="19"/>
                      <a:pt x="78" y="36"/>
                      <a:pt x="97" y="36"/>
                    </a:cubicBezTo>
                    <a:cubicBezTo>
                      <a:pt x="103" y="36"/>
                      <a:pt x="105" y="34"/>
                      <a:pt x="107" y="30"/>
                    </a:cubicBezTo>
                    <a:cubicBezTo>
                      <a:pt x="102" y="30"/>
                      <a:pt x="100" y="30"/>
                      <a:pt x="98" y="29"/>
                    </a:cubicBezTo>
                    <a:cubicBezTo>
                      <a:pt x="98" y="28"/>
                      <a:pt x="101" y="27"/>
                      <a:pt x="102" y="27"/>
                    </a:cubicBezTo>
                    <a:cubicBezTo>
                      <a:pt x="102" y="21"/>
                      <a:pt x="102" y="21"/>
                      <a:pt x="102" y="21"/>
                    </a:cubicBezTo>
                    <a:cubicBezTo>
                      <a:pt x="99" y="21"/>
                      <a:pt x="91" y="19"/>
                      <a:pt x="91" y="15"/>
                    </a:cubicBezTo>
                    <a:cubicBezTo>
                      <a:pt x="91" y="7"/>
                      <a:pt x="103" y="4"/>
                      <a:pt x="107" y="0"/>
                    </a:cubicBezTo>
                    <a:cubicBezTo>
                      <a:pt x="110" y="2"/>
                      <a:pt x="113" y="4"/>
                      <a:pt x="116" y="4"/>
                    </a:cubicBezTo>
                    <a:cubicBezTo>
                      <a:pt x="115" y="7"/>
                      <a:pt x="116" y="8"/>
                      <a:pt x="116" y="9"/>
                    </a:cubicBezTo>
                    <a:cubicBezTo>
                      <a:pt x="116" y="16"/>
                      <a:pt x="124" y="26"/>
                      <a:pt x="132" y="26"/>
                    </a:cubicBezTo>
                    <a:cubicBezTo>
                      <a:pt x="136" y="26"/>
                      <a:pt x="139" y="20"/>
                      <a:pt x="144" y="20"/>
                    </a:cubicBezTo>
                    <a:cubicBezTo>
                      <a:pt x="150" y="20"/>
                      <a:pt x="154" y="26"/>
                      <a:pt x="154" y="31"/>
                    </a:cubicBezTo>
                    <a:cubicBezTo>
                      <a:pt x="154" y="37"/>
                      <a:pt x="144" y="51"/>
                      <a:pt x="140" y="52"/>
                    </a:cubicBezTo>
                    <a:cubicBezTo>
                      <a:pt x="137" y="53"/>
                      <a:pt x="111" y="50"/>
                      <a:pt x="111" y="51"/>
                    </a:cubicBezTo>
                    <a:cubicBezTo>
                      <a:pt x="111" y="52"/>
                      <a:pt x="83" y="58"/>
                      <a:pt x="82" y="59"/>
                    </a:cubicBezTo>
                    <a:cubicBezTo>
                      <a:pt x="73" y="62"/>
                      <a:pt x="64" y="65"/>
                      <a:pt x="53" y="6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47" name="ïš1iďé"/>
              <p:cNvSpPr/>
              <p:nvPr/>
            </p:nvSpPr>
            <p:spPr bwMode="auto">
              <a:xfrm>
                <a:off x="3042291" y="1558188"/>
                <a:ext cx="35724" cy="25800"/>
              </a:xfrm>
              <a:custGeom>
                <a:avLst/>
                <a:gdLst/>
                <a:ahLst/>
                <a:cxnLst>
                  <a:cxn ang="0">
                    <a:pos x="8" y="16"/>
                  </a:cxn>
                  <a:cxn ang="0">
                    <a:pos x="0" y="11"/>
                  </a:cxn>
                  <a:cxn ang="0">
                    <a:pos x="21" y="0"/>
                  </a:cxn>
                  <a:cxn ang="0">
                    <a:pos x="8" y="16"/>
                  </a:cxn>
                </a:cxnLst>
                <a:rect l="0" t="0" r="r" b="b"/>
                <a:pathLst>
                  <a:path w="21" h="16">
                    <a:moveTo>
                      <a:pt x="8" y="16"/>
                    </a:moveTo>
                    <a:cubicBezTo>
                      <a:pt x="4" y="16"/>
                      <a:pt x="0" y="14"/>
                      <a:pt x="0" y="11"/>
                    </a:cubicBezTo>
                    <a:cubicBezTo>
                      <a:pt x="0" y="3"/>
                      <a:pt x="16" y="0"/>
                      <a:pt x="21" y="0"/>
                    </a:cubicBezTo>
                    <a:cubicBezTo>
                      <a:pt x="20" y="7"/>
                      <a:pt x="13" y="16"/>
                      <a:pt x="8" y="1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48" name="îṧľíḋé"/>
              <p:cNvSpPr/>
              <p:nvPr/>
            </p:nvSpPr>
            <p:spPr bwMode="auto">
              <a:xfrm>
                <a:off x="3135568" y="1520482"/>
                <a:ext cx="27785" cy="9924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0" y="0"/>
                  </a:cxn>
                  <a:cxn ang="0">
                    <a:pos x="16" y="0"/>
                  </a:cxn>
                  <a:cxn ang="0">
                    <a:pos x="16" y="6"/>
                  </a:cxn>
                  <a:cxn ang="0">
                    <a:pos x="6" y="6"/>
                  </a:cxn>
                </a:cxnLst>
                <a:rect l="0" t="0" r="r" b="b"/>
                <a:pathLst>
                  <a:path w="16" h="6">
                    <a:moveTo>
                      <a:pt x="6" y="6"/>
                    </a:moveTo>
                    <a:cubicBezTo>
                      <a:pt x="4" y="6"/>
                      <a:pt x="0" y="4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6"/>
                      <a:pt x="6" y="6"/>
                      <a:pt x="6" y="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49" name="ïśḻiďê"/>
              <p:cNvSpPr/>
              <p:nvPr/>
            </p:nvSpPr>
            <p:spPr bwMode="auto">
              <a:xfrm>
                <a:off x="2968858" y="1486744"/>
                <a:ext cx="146864" cy="81368"/>
              </a:xfrm>
              <a:custGeom>
                <a:avLst/>
                <a:gdLst/>
                <a:ahLst/>
                <a:cxnLst>
                  <a:cxn ang="0">
                    <a:pos x="88" y="8"/>
                  </a:cxn>
                  <a:cxn ang="0">
                    <a:pos x="82" y="15"/>
                  </a:cxn>
                  <a:cxn ang="0">
                    <a:pos x="86" y="24"/>
                  </a:cxn>
                  <a:cxn ang="0">
                    <a:pos x="67" y="38"/>
                  </a:cxn>
                  <a:cxn ang="0">
                    <a:pos x="56" y="26"/>
                  </a:cxn>
                  <a:cxn ang="0">
                    <a:pos x="41" y="39"/>
                  </a:cxn>
                  <a:cxn ang="0">
                    <a:pos x="32" y="49"/>
                  </a:cxn>
                  <a:cxn ang="0">
                    <a:pos x="24" y="42"/>
                  </a:cxn>
                  <a:cxn ang="0">
                    <a:pos x="12" y="42"/>
                  </a:cxn>
                  <a:cxn ang="0">
                    <a:pos x="4" y="46"/>
                  </a:cxn>
                  <a:cxn ang="0">
                    <a:pos x="0" y="39"/>
                  </a:cxn>
                  <a:cxn ang="0">
                    <a:pos x="10" y="31"/>
                  </a:cxn>
                  <a:cxn ang="0">
                    <a:pos x="31" y="23"/>
                  </a:cxn>
                  <a:cxn ang="0">
                    <a:pos x="54" y="6"/>
                  </a:cxn>
                  <a:cxn ang="0">
                    <a:pos x="62" y="7"/>
                  </a:cxn>
                  <a:cxn ang="0">
                    <a:pos x="88" y="8"/>
                  </a:cxn>
                </a:cxnLst>
                <a:rect l="0" t="0" r="r" b="b"/>
                <a:pathLst>
                  <a:path w="88" h="49">
                    <a:moveTo>
                      <a:pt x="88" y="8"/>
                    </a:moveTo>
                    <a:cubicBezTo>
                      <a:pt x="88" y="11"/>
                      <a:pt x="86" y="14"/>
                      <a:pt x="82" y="15"/>
                    </a:cubicBezTo>
                    <a:cubicBezTo>
                      <a:pt x="83" y="19"/>
                      <a:pt x="86" y="20"/>
                      <a:pt x="86" y="24"/>
                    </a:cubicBezTo>
                    <a:cubicBezTo>
                      <a:pt x="67" y="38"/>
                      <a:pt x="67" y="38"/>
                      <a:pt x="67" y="38"/>
                    </a:cubicBezTo>
                    <a:cubicBezTo>
                      <a:pt x="60" y="38"/>
                      <a:pt x="60" y="28"/>
                      <a:pt x="56" y="26"/>
                    </a:cubicBezTo>
                    <a:cubicBezTo>
                      <a:pt x="55" y="33"/>
                      <a:pt x="48" y="40"/>
                      <a:pt x="41" y="39"/>
                    </a:cubicBezTo>
                    <a:cubicBezTo>
                      <a:pt x="40" y="44"/>
                      <a:pt x="37" y="49"/>
                      <a:pt x="32" y="49"/>
                    </a:cubicBezTo>
                    <a:cubicBezTo>
                      <a:pt x="28" y="49"/>
                      <a:pt x="25" y="44"/>
                      <a:pt x="24" y="42"/>
                    </a:cubicBezTo>
                    <a:cubicBezTo>
                      <a:pt x="19" y="45"/>
                      <a:pt x="16" y="42"/>
                      <a:pt x="12" y="42"/>
                    </a:cubicBezTo>
                    <a:cubicBezTo>
                      <a:pt x="9" y="42"/>
                      <a:pt x="8" y="45"/>
                      <a:pt x="4" y="46"/>
                    </a:cubicBezTo>
                    <a:cubicBezTo>
                      <a:pt x="4" y="43"/>
                      <a:pt x="0" y="41"/>
                      <a:pt x="0" y="39"/>
                    </a:cubicBezTo>
                    <a:cubicBezTo>
                      <a:pt x="0" y="38"/>
                      <a:pt x="8" y="32"/>
                      <a:pt x="10" y="31"/>
                    </a:cubicBezTo>
                    <a:cubicBezTo>
                      <a:pt x="17" y="28"/>
                      <a:pt x="23" y="27"/>
                      <a:pt x="31" y="23"/>
                    </a:cubicBezTo>
                    <a:cubicBezTo>
                      <a:pt x="39" y="18"/>
                      <a:pt x="41" y="6"/>
                      <a:pt x="54" y="6"/>
                    </a:cubicBezTo>
                    <a:cubicBezTo>
                      <a:pt x="57" y="6"/>
                      <a:pt x="58" y="7"/>
                      <a:pt x="62" y="7"/>
                    </a:cubicBezTo>
                    <a:cubicBezTo>
                      <a:pt x="62" y="7"/>
                      <a:pt x="88" y="0"/>
                      <a:pt x="88" y="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50" name="ïṥļíḑê"/>
              <p:cNvSpPr/>
              <p:nvPr/>
            </p:nvSpPr>
            <p:spPr bwMode="auto">
              <a:xfrm>
                <a:off x="3165339" y="1435145"/>
                <a:ext cx="83355" cy="25800"/>
              </a:xfrm>
              <a:custGeom>
                <a:avLst/>
                <a:gdLst/>
                <a:ahLst/>
                <a:cxnLst>
                  <a:cxn ang="0">
                    <a:pos x="20" y="15"/>
                  </a:cxn>
                  <a:cxn ang="0">
                    <a:pos x="9" y="12"/>
                  </a:cxn>
                  <a:cxn ang="0">
                    <a:pos x="0" y="15"/>
                  </a:cxn>
                  <a:cxn ang="0">
                    <a:pos x="32" y="0"/>
                  </a:cxn>
                  <a:cxn ang="0">
                    <a:pos x="50" y="11"/>
                  </a:cxn>
                  <a:cxn ang="0">
                    <a:pos x="39" y="15"/>
                  </a:cxn>
                  <a:cxn ang="0">
                    <a:pos x="20" y="15"/>
                  </a:cxn>
                </a:cxnLst>
                <a:rect l="0" t="0" r="r" b="b"/>
                <a:pathLst>
                  <a:path w="50" h="15">
                    <a:moveTo>
                      <a:pt x="20" y="15"/>
                    </a:moveTo>
                    <a:cubicBezTo>
                      <a:pt x="14" y="15"/>
                      <a:pt x="13" y="12"/>
                      <a:pt x="9" y="12"/>
                    </a:cubicBezTo>
                    <a:cubicBezTo>
                      <a:pt x="5" y="12"/>
                      <a:pt x="3" y="15"/>
                      <a:pt x="0" y="15"/>
                    </a:cubicBezTo>
                    <a:cubicBezTo>
                      <a:pt x="0" y="9"/>
                      <a:pt x="26" y="0"/>
                      <a:pt x="32" y="0"/>
                    </a:cubicBezTo>
                    <a:cubicBezTo>
                      <a:pt x="41" y="0"/>
                      <a:pt x="49" y="5"/>
                      <a:pt x="50" y="11"/>
                    </a:cubicBezTo>
                    <a:cubicBezTo>
                      <a:pt x="47" y="12"/>
                      <a:pt x="44" y="15"/>
                      <a:pt x="39" y="15"/>
                    </a:cubicBezTo>
                    <a:cubicBezTo>
                      <a:pt x="27" y="15"/>
                      <a:pt x="29" y="15"/>
                      <a:pt x="20" y="1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51" name="ïŝḷïḍê"/>
              <p:cNvSpPr/>
              <p:nvPr/>
            </p:nvSpPr>
            <p:spPr bwMode="auto">
              <a:xfrm>
                <a:off x="3167322" y="1464914"/>
                <a:ext cx="73432" cy="37708"/>
              </a:xfrm>
              <a:custGeom>
                <a:avLst/>
                <a:gdLst/>
                <a:ahLst/>
                <a:cxnLst>
                  <a:cxn ang="0">
                    <a:pos x="38" y="10"/>
                  </a:cxn>
                  <a:cxn ang="0">
                    <a:pos x="14" y="23"/>
                  </a:cxn>
                  <a:cxn ang="0">
                    <a:pos x="0" y="11"/>
                  </a:cxn>
                  <a:cxn ang="0">
                    <a:pos x="36" y="0"/>
                  </a:cxn>
                  <a:cxn ang="0">
                    <a:pos x="44" y="5"/>
                  </a:cxn>
                  <a:cxn ang="0">
                    <a:pos x="25" y="10"/>
                  </a:cxn>
                  <a:cxn ang="0">
                    <a:pos x="38" y="10"/>
                  </a:cxn>
                </a:cxnLst>
                <a:rect l="0" t="0" r="r" b="b"/>
                <a:pathLst>
                  <a:path w="44" h="23">
                    <a:moveTo>
                      <a:pt x="38" y="10"/>
                    </a:moveTo>
                    <a:cubicBezTo>
                      <a:pt x="38" y="19"/>
                      <a:pt x="24" y="23"/>
                      <a:pt x="14" y="23"/>
                    </a:cubicBezTo>
                    <a:cubicBezTo>
                      <a:pt x="8" y="23"/>
                      <a:pt x="0" y="15"/>
                      <a:pt x="0" y="11"/>
                    </a:cubicBezTo>
                    <a:cubicBezTo>
                      <a:pt x="0" y="1"/>
                      <a:pt x="27" y="0"/>
                      <a:pt x="36" y="0"/>
                    </a:cubicBezTo>
                    <a:cubicBezTo>
                      <a:pt x="41" y="0"/>
                      <a:pt x="43" y="3"/>
                      <a:pt x="44" y="5"/>
                    </a:cubicBezTo>
                    <a:cubicBezTo>
                      <a:pt x="39" y="9"/>
                      <a:pt x="32" y="10"/>
                      <a:pt x="25" y="10"/>
                    </a:cubicBezTo>
                    <a:lnTo>
                      <a:pt x="38" y="1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52" name="íṩḷïďe"/>
              <p:cNvSpPr/>
              <p:nvPr/>
            </p:nvSpPr>
            <p:spPr bwMode="auto">
              <a:xfrm>
                <a:off x="3131599" y="1458960"/>
                <a:ext cx="25801" cy="27784"/>
              </a:xfrm>
              <a:custGeom>
                <a:avLst/>
                <a:gdLst/>
                <a:ahLst/>
                <a:cxnLst>
                  <a:cxn ang="0">
                    <a:pos x="15" y="12"/>
                  </a:cxn>
                  <a:cxn ang="0">
                    <a:pos x="9" y="17"/>
                  </a:cxn>
                  <a:cxn ang="0">
                    <a:pos x="0" y="11"/>
                  </a:cxn>
                  <a:cxn ang="0">
                    <a:pos x="15" y="12"/>
                  </a:cxn>
                </a:cxnLst>
                <a:rect l="0" t="0" r="r" b="b"/>
                <a:pathLst>
                  <a:path w="15" h="17">
                    <a:moveTo>
                      <a:pt x="15" y="12"/>
                    </a:moveTo>
                    <a:cubicBezTo>
                      <a:pt x="13" y="15"/>
                      <a:pt x="12" y="17"/>
                      <a:pt x="9" y="17"/>
                    </a:cubicBezTo>
                    <a:cubicBezTo>
                      <a:pt x="5" y="17"/>
                      <a:pt x="0" y="13"/>
                      <a:pt x="0" y="11"/>
                    </a:cubicBezTo>
                    <a:cubicBezTo>
                      <a:pt x="0" y="0"/>
                      <a:pt x="12" y="11"/>
                      <a:pt x="15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53" name="íslíḋe"/>
              <p:cNvSpPr/>
              <p:nvPr/>
            </p:nvSpPr>
            <p:spPr bwMode="auto">
              <a:xfrm>
                <a:off x="3403496" y="1651464"/>
                <a:ext cx="125033" cy="101214"/>
              </a:xfrm>
              <a:custGeom>
                <a:avLst/>
                <a:gdLst/>
                <a:ahLst/>
                <a:cxnLst>
                  <a:cxn ang="0">
                    <a:pos x="66" y="23"/>
                  </a:cxn>
                  <a:cxn ang="0">
                    <a:pos x="65" y="30"/>
                  </a:cxn>
                  <a:cxn ang="0">
                    <a:pos x="75" y="32"/>
                  </a:cxn>
                  <a:cxn ang="0">
                    <a:pos x="57" y="55"/>
                  </a:cxn>
                  <a:cxn ang="0">
                    <a:pos x="49" y="61"/>
                  </a:cxn>
                  <a:cxn ang="0">
                    <a:pos x="39" y="54"/>
                  </a:cxn>
                  <a:cxn ang="0">
                    <a:pos x="0" y="30"/>
                  </a:cxn>
                  <a:cxn ang="0">
                    <a:pos x="0" y="23"/>
                  </a:cxn>
                  <a:cxn ang="0">
                    <a:pos x="20" y="28"/>
                  </a:cxn>
                  <a:cxn ang="0">
                    <a:pos x="27" y="28"/>
                  </a:cxn>
                  <a:cxn ang="0">
                    <a:pos x="27" y="16"/>
                  </a:cxn>
                  <a:cxn ang="0">
                    <a:pos x="12" y="11"/>
                  </a:cxn>
                  <a:cxn ang="0">
                    <a:pos x="16" y="7"/>
                  </a:cxn>
                  <a:cxn ang="0">
                    <a:pos x="42" y="2"/>
                  </a:cxn>
                  <a:cxn ang="0">
                    <a:pos x="60" y="2"/>
                  </a:cxn>
                  <a:cxn ang="0">
                    <a:pos x="64" y="6"/>
                  </a:cxn>
                  <a:cxn ang="0">
                    <a:pos x="50" y="22"/>
                  </a:cxn>
                  <a:cxn ang="0">
                    <a:pos x="66" y="23"/>
                  </a:cxn>
                </a:cxnLst>
                <a:rect l="0" t="0" r="r" b="b"/>
                <a:pathLst>
                  <a:path w="75" h="61">
                    <a:moveTo>
                      <a:pt x="66" y="23"/>
                    </a:moveTo>
                    <a:cubicBezTo>
                      <a:pt x="66" y="29"/>
                      <a:pt x="65" y="25"/>
                      <a:pt x="65" y="30"/>
                    </a:cubicBezTo>
                    <a:cubicBezTo>
                      <a:pt x="67" y="30"/>
                      <a:pt x="72" y="31"/>
                      <a:pt x="75" y="32"/>
                    </a:cubicBezTo>
                    <a:cubicBezTo>
                      <a:pt x="73" y="56"/>
                      <a:pt x="72" y="49"/>
                      <a:pt x="57" y="55"/>
                    </a:cubicBezTo>
                    <a:cubicBezTo>
                      <a:pt x="53" y="56"/>
                      <a:pt x="53" y="61"/>
                      <a:pt x="49" y="61"/>
                    </a:cubicBezTo>
                    <a:cubicBezTo>
                      <a:pt x="42" y="61"/>
                      <a:pt x="42" y="56"/>
                      <a:pt x="39" y="54"/>
                    </a:cubicBezTo>
                    <a:cubicBezTo>
                      <a:pt x="27" y="41"/>
                      <a:pt x="13" y="43"/>
                      <a:pt x="0" y="3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6" y="23"/>
                      <a:pt x="12" y="28"/>
                      <a:pt x="20" y="28"/>
                    </a:cubicBezTo>
                    <a:cubicBezTo>
                      <a:pt x="24" y="28"/>
                      <a:pt x="23" y="28"/>
                      <a:pt x="27" y="28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1" y="15"/>
                      <a:pt x="12" y="16"/>
                      <a:pt x="12" y="11"/>
                    </a:cubicBezTo>
                    <a:cubicBezTo>
                      <a:pt x="12" y="9"/>
                      <a:pt x="15" y="8"/>
                      <a:pt x="16" y="7"/>
                    </a:cubicBezTo>
                    <a:cubicBezTo>
                      <a:pt x="23" y="0"/>
                      <a:pt x="32" y="2"/>
                      <a:pt x="42" y="2"/>
                    </a:cubicBezTo>
                    <a:cubicBezTo>
                      <a:pt x="50" y="2"/>
                      <a:pt x="60" y="2"/>
                      <a:pt x="60" y="2"/>
                    </a:cubicBezTo>
                    <a:cubicBezTo>
                      <a:pt x="61" y="2"/>
                      <a:pt x="64" y="4"/>
                      <a:pt x="64" y="6"/>
                    </a:cubicBezTo>
                    <a:cubicBezTo>
                      <a:pt x="64" y="15"/>
                      <a:pt x="53" y="18"/>
                      <a:pt x="50" y="22"/>
                    </a:cubicBezTo>
                    <a:cubicBezTo>
                      <a:pt x="53" y="22"/>
                      <a:pt x="66" y="18"/>
                      <a:pt x="66" y="2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54" name="iṧļíḓê"/>
              <p:cNvSpPr/>
              <p:nvPr/>
            </p:nvSpPr>
            <p:spPr bwMode="auto">
              <a:xfrm>
                <a:off x="3359833" y="1528420"/>
                <a:ext cx="138925" cy="75413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38" y="20"/>
                  </a:cxn>
                  <a:cxn ang="0">
                    <a:pos x="29" y="13"/>
                  </a:cxn>
                  <a:cxn ang="0">
                    <a:pos x="29" y="8"/>
                  </a:cxn>
                  <a:cxn ang="0">
                    <a:pos x="54" y="17"/>
                  </a:cxn>
                  <a:cxn ang="0">
                    <a:pos x="54" y="8"/>
                  </a:cxn>
                  <a:cxn ang="0">
                    <a:pos x="38" y="1"/>
                  </a:cxn>
                  <a:cxn ang="0">
                    <a:pos x="46" y="1"/>
                  </a:cxn>
                  <a:cxn ang="0">
                    <a:pos x="66" y="5"/>
                  </a:cxn>
                  <a:cxn ang="0">
                    <a:pos x="75" y="2"/>
                  </a:cxn>
                  <a:cxn ang="0">
                    <a:pos x="84" y="13"/>
                  </a:cxn>
                  <a:cxn ang="0">
                    <a:pos x="80" y="41"/>
                  </a:cxn>
                  <a:cxn ang="0">
                    <a:pos x="62" y="43"/>
                  </a:cxn>
                  <a:cxn ang="0">
                    <a:pos x="48" y="41"/>
                  </a:cxn>
                  <a:cxn ang="0">
                    <a:pos x="51" y="36"/>
                  </a:cxn>
                  <a:cxn ang="0">
                    <a:pos x="51" y="32"/>
                  </a:cxn>
                  <a:cxn ang="0">
                    <a:pos x="62" y="25"/>
                  </a:cxn>
                  <a:cxn ang="0">
                    <a:pos x="57" y="24"/>
                  </a:cxn>
                  <a:cxn ang="0">
                    <a:pos x="25" y="28"/>
                  </a:cxn>
                  <a:cxn ang="0">
                    <a:pos x="20" y="23"/>
                  </a:cxn>
                  <a:cxn ang="0">
                    <a:pos x="13" y="23"/>
                  </a:cxn>
                  <a:cxn ang="0">
                    <a:pos x="12" y="19"/>
                  </a:cxn>
                  <a:cxn ang="0">
                    <a:pos x="1" y="14"/>
                  </a:cxn>
                  <a:cxn ang="0">
                    <a:pos x="1" y="6"/>
                  </a:cxn>
                  <a:cxn ang="0">
                    <a:pos x="4" y="11"/>
                  </a:cxn>
                </a:cxnLst>
                <a:rect l="0" t="0" r="r" b="b"/>
                <a:pathLst>
                  <a:path w="84" h="45">
                    <a:moveTo>
                      <a:pt x="4" y="11"/>
                    </a:moveTo>
                    <a:cubicBezTo>
                      <a:pt x="2" y="9"/>
                      <a:pt x="0" y="6"/>
                      <a:pt x="0" y="2"/>
                    </a:cubicBezTo>
                    <a:cubicBezTo>
                      <a:pt x="1" y="2"/>
                      <a:pt x="3" y="2"/>
                      <a:pt x="5" y="2"/>
                    </a:cubicBezTo>
                    <a:cubicBezTo>
                      <a:pt x="18" y="2"/>
                      <a:pt x="24" y="24"/>
                      <a:pt x="38" y="20"/>
                    </a:cubicBezTo>
                    <a:cubicBezTo>
                      <a:pt x="35" y="18"/>
                      <a:pt x="31" y="15"/>
                      <a:pt x="29" y="13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39" y="8"/>
                      <a:pt x="43" y="17"/>
                      <a:pt x="54" y="17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46" y="8"/>
                      <a:pt x="40" y="8"/>
                      <a:pt x="38" y="1"/>
                    </a:cubicBezTo>
                    <a:cubicBezTo>
                      <a:pt x="41" y="0"/>
                      <a:pt x="43" y="1"/>
                      <a:pt x="46" y="1"/>
                    </a:cubicBezTo>
                    <a:cubicBezTo>
                      <a:pt x="53" y="1"/>
                      <a:pt x="58" y="5"/>
                      <a:pt x="66" y="5"/>
                    </a:cubicBezTo>
                    <a:cubicBezTo>
                      <a:pt x="69" y="5"/>
                      <a:pt x="71" y="2"/>
                      <a:pt x="75" y="2"/>
                    </a:cubicBezTo>
                    <a:cubicBezTo>
                      <a:pt x="83" y="2"/>
                      <a:pt x="84" y="6"/>
                      <a:pt x="84" y="13"/>
                    </a:cubicBezTo>
                    <a:cubicBezTo>
                      <a:pt x="84" y="23"/>
                      <a:pt x="78" y="28"/>
                      <a:pt x="80" y="41"/>
                    </a:cubicBezTo>
                    <a:cubicBezTo>
                      <a:pt x="73" y="43"/>
                      <a:pt x="64" y="43"/>
                      <a:pt x="62" y="43"/>
                    </a:cubicBezTo>
                    <a:cubicBezTo>
                      <a:pt x="60" y="43"/>
                      <a:pt x="48" y="45"/>
                      <a:pt x="48" y="41"/>
                    </a:cubicBezTo>
                    <a:cubicBezTo>
                      <a:pt x="48" y="39"/>
                      <a:pt x="50" y="37"/>
                      <a:pt x="51" y="36"/>
                    </a:cubicBezTo>
                    <a:cubicBezTo>
                      <a:pt x="51" y="35"/>
                      <a:pt x="51" y="33"/>
                      <a:pt x="51" y="32"/>
                    </a:cubicBezTo>
                    <a:cubicBezTo>
                      <a:pt x="51" y="28"/>
                      <a:pt x="60" y="28"/>
                      <a:pt x="62" y="25"/>
                    </a:cubicBezTo>
                    <a:cubicBezTo>
                      <a:pt x="61" y="24"/>
                      <a:pt x="59" y="24"/>
                      <a:pt x="57" y="24"/>
                    </a:cubicBezTo>
                    <a:cubicBezTo>
                      <a:pt x="49" y="24"/>
                      <a:pt x="34" y="28"/>
                      <a:pt x="25" y="28"/>
                    </a:cubicBezTo>
                    <a:cubicBezTo>
                      <a:pt x="22" y="28"/>
                      <a:pt x="20" y="26"/>
                      <a:pt x="20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7" y="20"/>
                      <a:pt x="4" y="17"/>
                      <a:pt x="1" y="14"/>
                    </a:cubicBezTo>
                    <a:cubicBezTo>
                      <a:pt x="1" y="6"/>
                      <a:pt x="1" y="6"/>
                      <a:pt x="1" y="6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55" name="îśľíḑe"/>
              <p:cNvSpPr/>
              <p:nvPr/>
            </p:nvSpPr>
            <p:spPr bwMode="auto">
              <a:xfrm>
                <a:off x="3465019" y="1810229"/>
                <a:ext cx="81371" cy="47629"/>
              </a:xfrm>
              <a:custGeom>
                <a:avLst/>
                <a:gdLst/>
                <a:ahLst/>
                <a:cxnLst>
                  <a:cxn ang="0">
                    <a:pos x="38" y="29"/>
                  </a:cxn>
                  <a:cxn ang="0">
                    <a:pos x="0" y="16"/>
                  </a:cxn>
                  <a:cxn ang="0">
                    <a:pos x="9" y="14"/>
                  </a:cxn>
                  <a:cxn ang="0">
                    <a:pos x="22" y="0"/>
                  </a:cxn>
                  <a:cxn ang="0">
                    <a:pos x="49" y="22"/>
                  </a:cxn>
                  <a:cxn ang="0">
                    <a:pos x="38" y="29"/>
                  </a:cxn>
                </a:cxnLst>
                <a:rect l="0" t="0" r="r" b="b"/>
                <a:pathLst>
                  <a:path w="49" h="29">
                    <a:moveTo>
                      <a:pt x="38" y="29"/>
                    </a:moveTo>
                    <a:cubicBezTo>
                      <a:pt x="32" y="29"/>
                      <a:pt x="0" y="17"/>
                      <a:pt x="0" y="16"/>
                    </a:cubicBezTo>
                    <a:cubicBezTo>
                      <a:pt x="0" y="12"/>
                      <a:pt x="8" y="14"/>
                      <a:pt x="9" y="14"/>
                    </a:cubicBezTo>
                    <a:cubicBezTo>
                      <a:pt x="15" y="12"/>
                      <a:pt x="13" y="0"/>
                      <a:pt x="22" y="0"/>
                    </a:cubicBezTo>
                    <a:cubicBezTo>
                      <a:pt x="28" y="0"/>
                      <a:pt x="46" y="16"/>
                      <a:pt x="49" y="22"/>
                    </a:cubicBezTo>
                    <a:cubicBezTo>
                      <a:pt x="45" y="25"/>
                      <a:pt x="43" y="29"/>
                      <a:pt x="38" y="2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56" name="iṥlíḋè"/>
              <p:cNvSpPr/>
              <p:nvPr/>
            </p:nvSpPr>
            <p:spPr bwMode="auto">
              <a:xfrm>
                <a:off x="3544405" y="1637571"/>
                <a:ext cx="107171" cy="87322"/>
              </a:xfrm>
              <a:custGeom>
                <a:avLst/>
                <a:gdLst/>
                <a:ahLst/>
                <a:cxnLst>
                  <a:cxn ang="0">
                    <a:pos x="65" y="11"/>
                  </a:cxn>
                  <a:cxn ang="0">
                    <a:pos x="57" y="18"/>
                  </a:cxn>
                  <a:cxn ang="0">
                    <a:pos x="32" y="35"/>
                  </a:cxn>
                  <a:cxn ang="0">
                    <a:pos x="20" y="38"/>
                  </a:cxn>
                  <a:cxn ang="0">
                    <a:pos x="25" y="38"/>
                  </a:cxn>
                  <a:cxn ang="0">
                    <a:pos x="15" y="53"/>
                  </a:cxn>
                  <a:cxn ang="0">
                    <a:pos x="6" y="53"/>
                  </a:cxn>
                  <a:cxn ang="0">
                    <a:pos x="7" y="40"/>
                  </a:cxn>
                  <a:cxn ang="0">
                    <a:pos x="0" y="19"/>
                  </a:cxn>
                  <a:cxn ang="0">
                    <a:pos x="0" y="11"/>
                  </a:cxn>
                  <a:cxn ang="0">
                    <a:pos x="10" y="11"/>
                  </a:cxn>
                  <a:cxn ang="0">
                    <a:pos x="10" y="7"/>
                  </a:cxn>
                  <a:cxn ang="0">
                    <a:pos x="22" y="0"/>
                  </a:cxn>
                  <a:cxn ang="0">
                    <a:pos x="65" y="5"/>
                  </a:cxn>
                  <a:cxn ang="0">
                    <a:pos x="65" y="11"/>
                  </a:cxn>
                </a:cxnLst>
                <a:rect l="0" t="0" r="r" b="b"/>
                <a:pathLst>
                  <a:path w="65" h="53">
                    <a:moveTo>
                      <a:pt x="65" y="11"/>
                    </a:moveTo>
                    <a:cubicBezTo>
                      <a:pt x="65" y="12"/>
                      <a:pt x="57" y="18"/>
                      <a:pt x="57" y="18"/>
                    </a:cubicBezTo>
                    <a:cubicBezTo>
                      <a:pt x="51" y="26"/>
                      <a:pt x="45" y="35"/>
                      <a:pt x="32" y="35"/>
                    </a:cubicBezTo>
                    <a:cubicBezTo>
                      <a:pt x="22" y="35"/>
                      <a:pt x="22" y="30"/>
                      <a:pt x="20" y="38"/>
                    </a:cubicBezTo>
                    <a:cubicBezTo>
                      <a:pt x="25" y="38"/>
                      <a:pt x="25" y="38"/>
                      <a:pt x="25" y="38"/>
                    </a:cubicBezTo>
                    <a:cubicBezTo>
                      <a:pt x="24" y="46"/>
                      <a:pt x="21" y="48"/>
                      <a:pt x="15" y="53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6" y="47"/>
                      <a:pt x="6" y="42"/>
                      <a:pt x="7" y="40"/>
                    </a:cubicBezTo>
                    <a:cubicBezTo>
                      <a:pt x="0" y="33"/>
                      <a:pt x="3" y="27"/>
                      <a:pt x="0" y="1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11"/>
                      <a:pt x="8" y="11"/>
                      <a:pt x="10" y="11"/>
                    </a:cubicBezTo>
                    <a:cubicBezTo>
                      <a:pt x="9" y="11"/>
                      <a:pt x="10" y="8"/>
                      <a:pt x="10" y="7"/>
                    </a:cubicBezTo>
                    <a:cubicBezTo>
                      <a:pt x="10" y="6"/>
                      <a:pt x="13" y="0"/>
                      <a:pt x="22" y="0"/>
                    </a:cubicBezTo>
                    <a:cubicBezTo>
                      <a:pt x="37" y="0"/>
                      <a:pt x="49" y="5"/>
                      <a:pt x="65" y="5"/>
                    </a:cubicBezTo>
                    <a:cubicBezTo>
                      <a:pt x="65" y="8"/>
                      <a:pt x="65" y="9"/>
                      <a:pt x="65" y="1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57" name="ïṧľîdê"/>
              <p:cNvSpPr/>
              <p:nvPr/>
            </p:nvSpPr>
            <p:spPr bwMode="auto">
              <a:xfrm>
                <a:off x="3324110" y="1480791"/>
                <a:ext cx="35724" cy="29769"/>
              </a:xfrm>
              <a:custGeom>
                <a:avLst/>
                <a:gdLst/>
                <a:ahLst/>
                <a:cxnLst>
                  <a:cxn ang="0">
                    <a:pos x="21" y="12"/>
                  </a:cxn>
                  <a:cxn ang="0">
                    <a:pos x="15" y="18"/>
                  </a:cxn>
                  <a:cxn ang="0">
                    <a:pos x="0" y="0"/>
                  </a:cxn>
                  <a:cxn ang="0">
                    <a:pos x="21" y="12"/>
                  </a:cxn>
                </a:cxnLst>
                <a:rect l="0" t="0" r="r" b="b"/>
                <a:pathLst>
                  <a:path w="21" h="18">
                    <a:moveTo>
                      <a:pt x="21" y="12"/>
                    </a:moveTo>
                    <a:cubicBezTo>
                      <a:pt x="21" y="16"/>
                      <a:pt x="18" y="18"/>
                      <a:pt x="15" y="18"/>
                    </a:cubicBezTo>
                    <a:cubicBezTo>
                      <a:pt x="10" y="18"/>
                      <a:pt x="0" y="6"/>
                      <a:pt x="0" y="0"/>
                    </a:cubicBezTo>
                    <a:cubicBezTo>
                      <a:pt x="11" y="0"/>
                      <a:pt x="12" y="9"/>
                      <a:pt x="21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58" name="îslïḓé"/>
              <p:cNvSpPr/>
              <p:nvPr/>
            </p:nvSpPr>
            <p:spPr bwMode="auto">
              <a:xfrm>
                <a:off x="3345940" y="1580020"/>
                <a:ext cx="23815" cy="19846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5" y="6"/>
                  </a:cxn>
                  <a:cxn ang="0">
                    <a:pos x="9" y="12"/>
                  </a:cxn>
                  <a:cxn ang="0">
                    <a:pos x="0" y="12"/>
                  </a:cxn>
                  <a:cxn ang="0">
                    <a:pos x="12" y="0"/>
                  </a:cxn>
                </a:cxnLst>
                <a:rect l="0" t="0" r="r" b="b"/>
                <a:pathLst>
                  <a:path w="15" h="12">
                    <a:moveTo>
                      <a:pt x="12" y="0"/>
                    </a:moveTo>
                    <a:cubicBezTo>
                      <a:pt x="13" y="2"/>
                      <a:pt x="15" y="3"/>
                      <a:pt x="15" y="6"/>
                    </a:cubicBezTo>
                    <a:cubicBezTo>
                      <a:pt x="15" y="12"/>
                      <a:pt x="11" y="12"/>
                      <a:pt x="9" y="12"/>
                    </a:cubicBezTo>
                    <a:cubicBezTo>
                      <a:pt x="4" y="12"/>
                      <a:pt x="3" y="11"/>
                      <a:pt x="0" y="12"/>
                    </a:cubicBezTo>
                    <a:cubicBezTo>
                      <a:pt x="2" y="4"/>
                      <a:pt x="6" y="2"/>
                      <a:pt x="12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59" name="îślíḋê"/>
              <p:cNvSpPr/>
              <p:nvPr/>
            </p:nvSpPr>
            <p:spPr bwMode="auto">
              <a:xfrm>
                <a:off x="3332049" y="1407361"/>
                <a:ext cx="136941" cy="71445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33" y="30"/>
                  </a:cxn>
                  <a:cxn ang="0">
                    <a:pos x="19" y="29"/>
                  </a:cxn>
                  <a:cxn ang="0">
                    <a:pos x="7" y="25"/>
                  </a:cxn>
                  <a:cxn ang="0">
                    <a:pos x="20" y="20"/>
                  </a:cxn>
                  <a:cxn ang="0">
                    <a:pos x="20" y="15"/>
                  </a:cxn>
                  <a:cxn ang="0">
                    <a:pos x="5" y="15"/>
                  </a:cxn>
                  <a:cxn ang="0">
                    <a:pos x="8" y="10"/>
                  </a:cxn>
                  <a:cxn ang="0">
                    <a:pos x="0" y="3"/>
                  </a:cxn>
                  <a:cxn ang="0">
                    <a:pos x="14" y="0"/>
                  </a:cxn>
                  <a:cxn ang="0">
                    <a:pos x="31" y="8"/>
                  </a:cxn>
                  <a:cxn ang="0">
                    <a:pos x="40" y="4"/>
                  </a:cxn>
                  <a:cxn ang="0">
                    <a:pos x="53" y="15"/>
                  </a:cxn>
                  <a:cxn ang="0">
                    <a:pos x="60" y="11"/>
                  </a:cxn>
                  <a:cxn ang="0">
                    <a:pos x="73" y="21"/>
                  </a:cxn>
                  <a:cxn ang="0">
                    <a:pos x="70" y="26"/>
                  </a:cxn>
                  <a:cxn ang="0">
                    <a:pos x="82" y="37"/>
                  </a:cxn>
                  <a:cxn ang="0">
                    <a:pos x="74" y="43"/>
                  </a:cxn>
                  <a:cxn ang="0">
                    <a:pos x="54" y="32"/>
                  </a:cxn>
                </a:cxnLst>
                <a:rect l="0" t="0" r="r" b="b"/>
                <a:pathLst>
                  <a:path w="82" h="43">
                    <a:moveTo>
                      <a:pt x="54" y="32"/>
                    </a:moveTo>
                    <a:cubicBezTo>
                      <a:pt x="46" y="32"/>
                      <a:pt x="41" y="29"/>
                      <a:pt x="33" y="30"/>
                    </a:cubicBezTo>
                    <a:cubicBezTo>
                      <a:pt x="31" y="26"/>
                      <a:pt x="25" y="29"/>
                      <a:pt x="19" y="29"/>
                    </a:cubicBezTo>
                    <a:cubicBezTo>
                      <a:pt x="13" y="29"/>
                      <a:pt x="11" y="29"/>
                      <a:pt x="7" y="25"/>
                    </a:cubicBezTo>
                    <a:cubicBezTo>
                      <a:pt x="11" y="21"/>
                      <a:pt x="15" y="22"/>
                      <a:pt x="20" y="20"/>
                    </a:cubicBezTo>
                    <a:cubicBezTo>
                      <a:pt x="19" y="18"/>
                      <a:pt x="19" y="16"/>
                      <a:pt x="20" y="15"/>
                    </a:cubicBezTo>
                    <a:cubicBezTo>
                      <a:pt x="10" y="15"/>
                      <a:pt x="8" y="17"/>
                      <a:pt x="5" y="15"/>
                    </a:cubicBezTo>
                    <a:cubicBezTo>
                      <a:pt x="6" y="14"/>
                      <a:pt x="7" y="12"/>
                      <a:pt x="8" y="10"/>
                    </a:cubicBezTo>
                    <a:cubicBezTo>
                      <a:pt x="2" y="10"/>
                      <a:pt x="0" y="9"/>
                      <a:pt x="0" y="3"/>
                    </a:cubicBezTo>
                    <a:cubicBezTo>
                      <a:pt x="6" y="3"/>
                      <a:pt x="9" y="0"/>
                      <a:pt x="14" y="0"/>
                    </a:cubicBezTo>
                    <a:cubicBezTo>
                      <a:pt x="24" y="0"/>
                      <a:pt x="26" y="8"/>
                      <a:pt x="31" y="8"/>
                    </a:cubicBezTo>
                    <a:cubicBezTo>
                      <a:pt x="35" y="8"/>
                      <a:pt x="36" y="4"/>
                      <a:pt x="40" y="4"/>
                    </a:cubicBezTo>
                    <a:cubicBezTo>
                      <a:pt x="49" y="4"/>
                      <a:pt x="48" y="15"/>
                      <a:pt x="53" y="15"/>
                    </a:cubicBezTo>
                    <a:cubicBezTo>
                      <a:pt x="56" y="15"/>
                      <a:pt x="57" y="11"/>
                      <a:pt x="60" y="11"/>
                    </a:cubicBezTo>
                    <a:cubicBezTo>
                      <a:pt x="66" y="11"/>
                      <a:pt x="71" y="19"/>
                      <a:pt x="73" y="21"/>
                    </a:cubicBezTo>
                    <a:cubicBezTo>
                      <a:pt x="72" y="22"/>
                      <a:pt x="70" y="24"/>
                      <a:pt x="70" y="26"/>
                    </a:cubicBezTo>
                    <a:cubicBezTo>
                      <a:pt x="73" y="29"/>
                      <a:pt x="82" y="33"/>
                      <a:pt x="82" y="37"/>
                    </a:cubicBezTo>
                    <a:cubicBezTo>
                      <a:pt x="82" y="42"/>
                      <a:pt x="77" y="43"/>
                      <a:pt x="74" y="43"/>
                    </a:cubicBezTo>
                    <a:cubicBezTo>
                      <a:pt x="63" y="43"/>
                      <a:pt x="64" y="32"/>
                      <a:pt x="54" y="3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60" name="iṥḻïḋe"/>
              <p:cNvSpPr/>
              <p:nvPr/>
            </p:nvSpPr>
            <p:spPr bwMode="auto">
              <a:xfrm>
                <a:off x="3385633" y="1468883"/>
                <a:ext cx="37709" cy="11907"/>
              </a:xfrm>
              <a:custGeom>
                <a:avLst/>
                <a:gdLst/>
                <a:ahLst/>
                <a:cxnLst>
                  <a:cxn ang="0">
                    <a:pos x="8" y="7"/>
                  </a:cxn>
                  <a:cxn ang="0">
                    <a:pos x="12" y="0"/>
                  </a:cxn>
                  <a:cxn ang="0">
                    <a:pos x="23" y="4"/>
                  </a:cxn>
                  <a:cxn ang="0">
                    <a:pos x="8" y="7"/>
                  </a:cxn>
                </a:cxnLst>
                <a:rect l="0" t="0" r="r" b="b"/>
                <a:pathLst>
                  <a:path w="23" h="7">
                    <a:moveTo>
                      <a:pt x="8" y="7"/>
                    </a:moveTo>
                    <a:cubicBezTo>
                      <a:pt x="0" y="7"/>
                      <a:pt x="11" y="0"/>
                      <a:pt x="12" y="0"/>
                    </a:cubicBezTo>
                    <a:cubicBezTo>
                      <a:pt x="17" y="0"/>
                      <a:pt x="19" y="3"/>
                      <a:pt x="23" y="4"/>
                    </a:cubicBezTo>
                    <a:cubicBezTo>
                      <a:pt x="20" y="7"/>
                      <a:pt x="15" y="7"/>
                      <a:pt x="8" y="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61" name="íşḻîḓè"/>
              <p:cNvSpPr/>
              <p:nvPr/>
            </p:nvSpPr>
            <p:spPr bwMode="auto">
              <a:xfrm>
                <a:off x="3520589" y="1512544"/>
                <a:ext cx="359221" cy="113121"/>
              </a:xfrm>
              <a:custGeom>
                <a:avLst/>
                <a:gdLst/>
                <a:ahLst/>
                <a:cxnLst>
                  <a:cxn ang="0">
                    <a:pos x="215" y="45"/>
                  </a:cxn>
                  <a:cxn ang="0">
                    <a:pos x="210" y="51"/>
                  </a:cxn>
                  <a:cxn ang="0">
                    <a:pos x="216" y="52"/>
                  </a:cxn>
                  <a:cxn ang="0">
                    <a:pos x="179" y="67"/>
                  </a:cxn>
                  <a:cxn ang="0">
                    <a:pos x="170" y="60"/>
                  </a:cxn>
                  <a:cxn ang="0">
                    <a:pos x="159" y="66"/>
                  </a:cxn>
                  <a:cxn ang="0">
                    <a:pos x="124" y="66"/>
                  </a:cxn>
                  <a:cxn ang="0">
                    <a:pos x="102" y="60"/>
                  </a:cxn>
                  <a:cxn ang="0">
                    <a:pos x="97" y="60"/>
                  </a:cxn>
                  <a:cxn ang="0">
                    <a:pos x="84" y="67"/>
                  </a:cxn>
                  <a:cxn ang="0">
                    <a:pos x="53" y="47"/>
                  </a:cxn>
                  <a:cxn ang="0">
                    <a:pos x="58" y="40"/>
                  </a:cxn>
                  <a:cxn ang="0">
                    <a:pos x="40" y="18"/>
                  </a:cxn>
                  <a:cxn ang="0">
                    <a:pos x="32" y="22"/>
                  </a:cxn>
                  <a:cxn ang="0">
                    <a:pos x="0" y="7"/>
                  </a:cxn>
                  <a:cxn ang="0">
                    <a:pos x="13" y="0"/>
                  </a:cxn>
                  <a:cxn ang="0">
                    <a:pos x="51" y="15"/>
                  </a:cxn>
                  <a:cxn ang="0">
                    <a:pos x="60" y="12"/>
                  </a:cxn>
                  <a:cxn ang="0">
                    <a:pos x="68" y="12"/>
                  </a:cxn>
                  <a:cxn ang="0">
                    <a:pos x="89" y="25"/>
                  </a:cxn>
                  <a:cxn ang="0">
                    <a:pos x="71" y="25"/>
                  </a:cxn>
                  <a:cxn ang="0">
                    <a:pos x="91" y="35"/>
                  </a:cxn>
                  <a:cxn ang="0">
                    <a:pos x="88" y="38"/>
                  </a:cxn>
                  <a:cxn ang="0">
                    <a:pos x="95" y="40"/>
                  </a:cxn>
                  <a:cxn ang="0">
                    <a:pos x="125" y="45"/>
                  </a:cxn>
                  <a:cxn ang="0">
                    <a:pos x="181" y="34"/>
                  </a:cxn>
                  <a:cxn ang="0">
                    <a:pos x="216" y="46"/>
                  </a:cxn>
                  <a:cxn ang="0">
                    <a:pos x="211" y="47"/>
                  </a:cxn>
                  <a:cxn ang="0">
                    <a:pos x="215" y="45"/>
                  </a:cxn>
                </a:cxnLst>
                <a:rect l="0" t="0" r="r" b="b"/>
                <a:pathLst>
                  <a:path w="216" h="68">
                    <a:moveTo>
                      <a:pt x="215" y="45"/>
                    </a:moveTo>
                    <a:cubicBezTo>
                      <a:pt x="213" y="46"/>
                      <a:pt x="211" y="48"/>
                      <a:pt x="210" y="51"/>
                    </a:cubicBezTo>
                    <a:cubicBezTo>
                      <a:pt x="213" y="52"/>
                      <a:pt x="216" y="52"/>
                      <a:pt x="216" y="52"/>
                    </a:cubicBezTo>
                    <a:cubicBezTo>
                      <a:pt x="215" y="67"/>
                      <a:pt x="195" y="67"/>
                      <a:pt x="179" y="67"/>
                    </a:cubicBezTo>
                    <a:cubicBezTo>
                      <a:pt x="174" y="67"/>
                      <a:pt x="171" y="64"/>
                      <a:pt x="170" y="60"/>
                    </a:cubicBezTo>
                    <a:cubicBezTo>
                      <a:pt x="164" y="61"/>
                      <a:pt x="163" y="64"/>
                      <a:pt x="159" y="66"/>
                    </a:cubicBezTo>
                    <a:cubicBezTo>
                      <a:pt x="124" y="66"/>
                      <a:pt x="124" y="66"/>
                      <a:pt x="124" y="66"/>
                    </a:cubicBezTo>
                    <a:cubicBezTo>
                      <a:pt x="115" y="68"/>
                      <a:pt x="101" y="67"/>
                      <a:pt x="102" y="60"/>
                    </a:cubicBezTo>
                    <a:cubicBezTo>
                      <a:pt x="97" y="60"/>
                      <a:pt x="97" y="60"/>
                      <a:pt x="97" y="60"/>
                    </a:cubicBezTo>
                    <a:cubicBezTo>
                      <a:pt x="95" y="62"/>
                      <a:pt x="88" y="67"/>
                      <a:pt x="84" y="67"/>
                    </a:cubicBezTo>
                    <a:cubicBezTo>
                      <a:pt x="75" y="67"/>
                      <a:pt x="53" y="56"/>
                      <a:pt x="53" y="47"/>
                    </a:cubicBezTo>
                    <a:cubicBezTo>
                      <a:pt x="53" y="44"/>
                      <a:pt x="56" y="41"/>
                      <a:pt x="58" y="40"/>
                    </a:cubicBezTo>
                    <a:cubicBezTo>
                      <a:pt x="50" y="32"/>
                      <a:pt x="48" y="25"/>
                      <a:pt x="40" y="18"/>
                    </a:cubicBezTo>
                    <a:cubicBezTo>
                      <a:pt x="38" y="20"/>
                      <a:pt x="35" y="22"/>
                      <a:pt x="32" y="22"/>
                    </a:cubicBezTo>
                    <a:cubicBezTo>
                      <a:pt x="27" y="22"/>
                      <a:pt x="0" y="11"/>
                      <a:pt x="0" y="7"/>
                    </a:cubicBezTo>
                    <a:cubicBezTo>
                      <a:pt x="0" y="0"/>
                      <a:pt x="8" y="0"/>
                      <a:pt x="13" y="0"/>
                    </a:cubicBezTo>
                    <a:cubicBezTo>
                      <a:pt x="33" y="0"/>
                      <a:pt x="36" y="15"/>
                      <a:pt x="51" y="15"/>
                    </a:cubicBezTo>
                    <a:cubicBezTo>
                      <a:pt x="56" y="15"/>
                      <a:pt x="58" y="15"/>
                      <a:pt x="60" y="12"/>
                    </a:cubicBezTo>
                    <a:cubicBezTo>
                      <a:pt x="63" y="12"/>
                      <a:pt x="68" y="12"/>
                      <a:pt x="68" y="12"/>
                    </a:cubicBezTo>
                    <a:cubicBezTo>
                      <a:pt x="65" y="22"/>
                      <a:pt x="85" y="19"/>
                      <a:pt x="89" y="25"/>
                    </a:cubicBezTo>
                    <a:cubicBezTo>
                      <a:pt x="71" y="25"/>
                      <a:pt x="71" y="25"/>
                      <a:pt x="71" y="25"/>
                    </a:cubicBezTo>
                    <a:cubicBezTo>
                      <a:pt x="74" y="37"/>
                      <a:pt x="85" y="30"/>
                      <a:pt x="91" y="35"/>
                    </a:cubicBezTo>
                    <a:cubicBezTo>
                      <a:pt x="90" y="36"/>
                      <a:pt x="88" y="36"/>
                      <a:pt x="88" y="38"/>
                    </a:cubicBezTo>
                    <a:cubicBezTo>
                      <a:pt x="88" y="44"/>
                      <a:pt x="93" y="41"/>
                      <a:pt x="95" y="40"/>
                    </a:cubicBezTo>
                    <a:cubicBezTo>
                      <a:pt x="106" y="42"/>
                      <a:pt x="114" y="45"/>
                      <a:pt x="125" y="45"/>
                    </a:cubicBezTo>
                    <a:cubicBezTo>
                      <a:pt x="150" y="45"/>
                      <a:pt x="158" y="34"/>
                      <a:pt x="181" y="34"/>
                    </a:cubicBezTo>
                    <a:cubicBezTo>
                      <a:pt x="198" y="34"/>
                      <a:pt x="210" y="35"/>
                      <a:pt x="216" y="46"/>
                    </a:cubicBezTo>
                    <a:cubicBezTo>
                      <a:pt x="215" y="47"/>
                      <a:pt x="213" y="47"/>
                      <a:pt x="211" y="47"/>
                    </a:cubicBezTo>
                    <a:lnTo>
                      <a:pt x="215" y="4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62" name="ïsḻïḑé"/>
              <p:cNvSpPr/>
              <p:nvPr/>
            </p:nvSpPr>
            <p:spPr bwMode="auto">
              <a:xfrm>
                <a:off x="3524558" y="1572081"/>
                <a:ext cx="61525" cy="47629"/>
              </a:xfrm>
              <a:custGeom>
                <a:avLst/>
                <a:gdLst/>
                <a:ahLst/>
                <a:cxnLst>
                  <a:cxn ang="0">
                    <a:pos x="6" y="10"/>
                  </a:cxn>
                  <a:cxn ang="0">
                    <a:pos x="19" y="0"/>
                  </a:cxn>
                  <a:cxn ang="0">
                    <a:pos x="37" y="15"/>
                  </a:cxn>
                  <a:cxn ang="0">
                    <a:pos x="29" y="29"/>
                  </a:cxn>
                  <a:cxn ang="0">
                    <a:pos x="0" y="17"/>
                  </a:cxn>
                  <a:cxn ang="0">
                    <a:pos x="6" y="10"/>
                  </a:cxn>
                </a:cxnLst>
                <a:rect l="0" t="0" r="r" b="b"/>
                <a:pathLst>
                  <a:path w="37" h="29">
                    <a:moveTo>
                      <a:pt x="6" y="10"/>
                    </a:moveTo>
                    <a:cubicBezTo>
                      <a:pt x="10" y="10"/>
                      <a:pt x="9" y="0"/>
                      <a:pt x="19" y="0"/>
                    </a:cubicBezTo>
                    <a:cubicBezTo>
                      <a:pt x="27" y="0"/>
                      <a:pt x="37" y="9"/>
                      <a:pt x="37" y="15"/>
                    </a:cubicBezTo>
                    <a:cubicBezTo>
                      <a:pt x="37" y="22"/>
                      <a:pt x="35" y="29"/>
                      <a:pt x="29" y="29"/>
                    </a:cubicBezTo>
                    <a:cubicBezTo>
                      <a:pt x="25" y="29"/>
                      <a:pt x="0" y="17"/>
                      <a:pt x="0" y="17"/>
                    </a:cubicBezTo>
                    <a:cubicBezTo>
                      <a:pt x="0" y="13"/>
                      <a:pt x="5" y="10"/>
                      <a:pt x="6" y="1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63" name="îṩḷïḑé"/>
              <p:cNvSpPr/>
              <p:nvPr/>
            </p:nvSpPr>
            <p:spPr bwMode="auto">
              <a:xfrm>
                <a:off x="3532497" y="1480791"/>
                <a:ext cx="57555" cy="15877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35" y="0"/>
                  </a:cxn>
                  <a:cxn ang="0">
                    <a:pos x="35" y="6"/>
                  </a:cxn>
                  <a:cxn ang="0">
                    <a:pos x="28" y="10"/>
                  </a:cxn>
                  <a:cxn ang="0">
                    <a:pos x="0" y="5"/>
                  </a:cxn>
                  <a:cxn ang="0">
                    <a:pos x="29" y="0"/>
                  </a:cxn>
                </a:cxnLst>
                <a:rect l="0" t="0" r="r" b="b"/>
                <a:pathLst>
                  <a:path w="35" h="10">
                    <a:moveTo>
                      <a:pt x="29" y="0"/>
                    </a:moveTo>
                    <a:cubicBezTo>
                      <a:pt x="34" y="0"/>
                      <a:pt x="30" y="1"/>
                      <a:pt x="35" y="0"/>
                    </a:cubicBezTo>
                    <a:cubicBezTo>
                      <a:pt x="35" y="3"/>
                      <a:pt x="35" y="5"/>
                      <a:pt x="35" y="6"/>
                    </a:cubicBezTo>
                    <a:cubicBezTo>
                      <a:pt x="35" y="8"/>
                      <a:pt x="32" y="10"/>
                      <a:pt x="28" y="10"/>
                    </a:cubicBezTo>
                    <a:cubicBezTo>
                      <a:pt x="26" y="10"/>
                      <a:pt x="0" y="5"/>
                      <a:pt x="0" y="5"/>
                    </a:cubicBezTo>
                    <a:cubicBezTo>
                      <a:pt x="5" y="1"/>
                      <a:pt x="21" y="0"/>
                      <a:pt x="29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64" name="îşļîḓe"/>
              <p:cNvSpPr/>
              <p:nvPr/>
            </p:nvSpPr>
            <p:spPr bwMode="auto">
              <a:xfrm>
                <a:off x="3488834" y="1425223"/>
                <a:ext cx="67478" cy="55568"/>
              </a:xfrm>
              <a:custGeom>
                <a:avLst/>
                <a:gdLst/>
                <a:ahLst/>
                <a:cxnLst>
                  <a:cxn ang="0">
                    <a:pos x="10" y="28"/>
                  </a:cxn>
                  <a:cxn ang="0">
                    <a:pos x="14" y="23"/>
                  </a:cxn>
                  <a:cxn ang="0">
                    <a:pos x="0" y="7"/>
                  </a:cxn>
                  <a:cxn ang="0">
                    <a:pos x="10" y="0"/>
                  </a:cxn>
                  <a:cxn ang="0">
                    <a:pos x="25" y="7"/>
                  </a:cxn>
                  <a:cxn ang="0">
                    <a:pos x="41" y="17"/>
                  </a:cxn>
                  <a:cxn ang="0">
                    <a:pos x="41" y="28"/>
                  </a:cxn>
                  <a:cxn ang="0">
                    <a:pos x="10" y="28"/>
                  </a:cxn>
                </a:cxnLst>
                <a:rect l="0" t="0" r="r" b="b"/>
                <a:pathLst>
                  <a:path w="41" h="33">
                    <a:moveTo>
                      <a:pt x="10" y="28"/>
                    </a:moveTo>
                    <a:cubicBezTo>
                      <a:pt x="10" y="26"/>
                      <a:pt x="13" y="24"/>
                      <a:pt x="14" y="23"/>
                    </a:cubicBezTo>
                    <a:cubicBezTo>
                      <a:pt x="9" y="18"/>
                      <a:pt x="0" y="15"/>
                      <a:pt x="0" y="7"/>
                    </a:cubicBezTo>
                    <a:cubicBezTo>
                      <a:pt x="0" y="2"/>
                      <a:pt x="6" y="0"/>
                      <a:pt x="10" y="0"/>
                    </a:cubicBezTo>
                    <a:cubicBezTo>
                      <a:pt x="11" y="4"/>
                      <a:pt x="21" y="7"/>
                      <a:pt x="25" y="7"/>
                    </a:cubicBezTo>
                    <a:cubicBezTo>
                      <a:pt x="25" y="17"/>
                      <a:pt x="41" y="7"/>
                      <a:pt x="41" y="17"/>
                    </a:cubicBezTo>
                    <a:cubicBezTo>
                      <a:pt x="41" y="20"/>
                      <a:pt x="39" y="23"/>
                      <a:pt x="41" y="28"/>
                    </a:cubicBezTo>
                    <a:cubicBezTo>
                      <a:pt x="25" y="31"/>
                      <a:pt x="10" y="33"/>
                      <a:pt x="10" y="2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65" name="ïṣlídé"/>
              <p:cNvSpPr/>
              <p:nvPr/>
            </p:nvSpPr>
            <p:spPr bwMode="auto">
              <a:xfrm>
                <a:off x="3463035" y="1375607"/>
                <a:ext cx="25801" cy="15877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9"/>
                  </a:cxn>
                  <a:cxn ang="0">
                    <a:pos x="8" y="9"/>
                  </a:cxn>
                  <a:cxn ang="0">
                    <a:pos x="0" y="0"/>
                  </a:cxn>
                  <a:cxn ang="0">
                    <a:pos x="16" y="0"/>
                  </a:cxn>
                </a:cxnLst>
                <a:rect l="0" t="0" r="r" b="b"/>
                <a:pathLst>
                  <a:path w="16" h="9">
                    <a:moveTo>
                      <a:pt x="16" y="0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6" y="7"/>
                      <a:pt x="0" y="6"/>
                      <a:pt x="0" y="0"/>
                    </a:cubicBezTo>
                    <a:cubicBezTo>
                      <a:pt x="6" y="0"/>
                      <a:pt x="13" y="0"/>
                      <a:pt x="16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66" name="íşļíḋe"/>
              <p:cNvSpPr/>
              <p:nvPr/>
            </p:nvSpPr>
            <p:spPr bwMode="auto">
              <a:xfrm>
                <a:off x="3534482" y="1310118"/>
                <a:ext cx="230219" cy="154796"/>
              </a:xfrm>
              <a:custGeom>
                <a:avLst/>
                <a:gdLst/>
                <a:ahLst/>
                <a:cxnLst>
                  <a:cxn ang="0">
                    <a:pos x="92" y="37"/>
                  </a:cxn>
                  <a:cxn ang="0">
                    <a:pos x="97" y="37"/>
                  </a:cxn>
                  <a:cxn ang="0">
                    <a:pos x="97" y="32"/>
                  </a:cxn>
                  <a:cxn ang="0">
                    <a:pos x="95" y="28"/>
                  </a:cxn>
                  <a:cxn ang="0">
                    <a:pos x="100" y="28"/>
                  </a:cxn>
                  <a:cxn ang="0">
                    <a:pos x="105" y="36"/>
                  </a:cxn>
                  <a:cxn ang="0">
                    <a:pos x="111" y="43"/>
                  </a:cxn>
                  <a:cxn ang="0">
                    <a:pos x="108" y="49"/>
                  </a:cxn>
                  <a:cxn ang="0">
                    <a:pos x="115" y="49"/>
                  </a:cxn>
                  <a:cxn ang="0">
                    <a:pos x="137" y="55"/>
                  </a:cxn>
                  <a:cxn ang="0">
                    <a:pos x="136" y="61"/>
                  </a:cxn>
                  <a:cxn ang="0">
                    <a:pos x="126" y="64"/>
                  </a:cxn>
                  <a:cxn ang="0">
                    <a:pos x="105" y="78"/>
                  </a:cxn>
                  <a:cxn ang="0">
                    <a:pos x="98" y="69"/>
                  </a:cxn>
                  <a:cxn ang="0">
                    <a:pos x="93" y="76"/>
                  </a:cxn>
                  <a:cxn ang="0">
                    <a:pos x="99" y="84"/>
                  </a:cxn>
                  <a:cxn ang="0">
                    <a:pos x="91" y="84"/>
                  </a:cxn>
                  <a:cxn ang="0">
                    <a:pos x="91" y="90"/>
                  </a:cxn>
                  <a:cxn ang="0">
                    <a:pos x="75" y="82"/>
                  </a:cxn>
                  <a:cxn ang="0">
                    <a:pos x="64" y="92"/>
                  </a:cxn>
                  <a:cxn ang="0">
                    <a:pos x="47" y="84"/>
                  </a:cxn>
                  <a:cxn ang="0">
                    <a:pos x="53" y="81"/>
                  </a:cxn>
                  <a:cxn ang="0">
                    <a:pos x="33" y="70"/>
                  </a:cxn>
                  <a:cxn ang="0">
                    <a:pos x="66" y="61"/>
                  </a:cxn>
                  <a:cxn ang="0">
                    <a:pos x="48" y="58"/>
                  </a:cxn>
                  <a:cxn ang="0">
                    <a:pos x="35" y="61"/>
                  </a:cxn>
                  <a:cxn ang="0">
                    <a:pos x="29" y="56"/>
                  </a:cxn>
                  <a:cxn ang="0">
                    <a:pos x="19" y="59"/>
                  </a:cxn>
                  <a:cxn ang="0">
                    <a:pos x="16" y="55"/>
                  </a:cxn>
                  <a:cxn ang="0">
                    <a:pos x="26" y="49"/>
                  </a:cxn>
                  <a:cxn ang="0">
                    <a:pos x="0" y="35"/>
                  </a:cxn>
                  <a:cxn ang="0">
                    <a:pos x="7" y="35"/>
                  </a:cxn>
                  <a:cxn ang="0">
                    <a:pos x="20" y="39"/>
                  </a:cxn>
                  <a:cxn ang="0">
                    <a:pos x="24" y="36"/>
                  </a:cxn>
                  <a:cxn ang="0">
                    <a:pos x="5" y="26"/>
                  </a:cxn>
                  <a:cxn ang="0">
                    <a:pos x="15" y="22"/>
                  </a:cxn>
                  <a:cxn ang="0">
                    <a:pos x="27" y="25"/>
                  </a:cxn>
                  <a:cxn ang="0">
                    <a:pos x="32" y="20"/>
                  </a:cxn>
                  <a:cxn ang="0">
                    <a:pos x="19" y="20"/>
                  </a:cxn>
                  <a:cxn ang="0">
                    <a:pos x="14" y="13"/>
                  </a:cxn>
                  <a:cxn ang="0">
                    <a:pos x="30" y="9"/>
                  </a:cxn>
                  <a:cxn ang="0">
                    <a:pos x="38" y="9"/>
                  </a:cxn>
                  <a:cxn ang="0">
                    <a:pos x="25" y="0"/>
                  </a:cxn>
                  <a:cxn ang="0">
                    <a:pos x="53" y="5"/>
                  </a:cxn>
                  <a:cxn ang="0">
                    <a:pos x="67" y="24"/>
                  </a:cxn>
                  <a:cxn ang="0">
                    <a:pos x="84" y="25"/>
                  </a:cxn>
                  <a:cxn ang="0">
                    <a:pos x="92" y="37"/>
                  </a:cxn>
                </a:cxnLst>
                <a:rect l="0" t="0" r="r" b="b"/>
                <a:pathLst>
                  <a:path w="138" h="92">
                    <a:moveTo>
                      <a:pt x="92" y="37"/>
                    </a:moveTo>
                    <a:cubicBezTo>
                      <a:pt x="97" y="37"/>
                      <a:pt x="97" y="37"/>
                      <a:pt x="97" y="37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95" y="28"/>
                      <a:pt x="95" y="28"/>
                      <a:pt x="95" y="28"/>
                    </a:cubicBezTo>
                    <a:cubicBezTo>
                      <a:pt x="97" y="28"/>
                      <a:pt x="98" y="28"/>
                      <a:pt x="100" y="28"/>
                    </a:cubicBezTo>
                    <a:cubicBezTo>
                      <a:pt x="106" y="28"/>
                      <a:pt x="105" y="31"/>
                      <a:pt x="105" y="36"/>
                    </a:cubicBezTo>
                    <a:cubicBezTo>
                      <a:pt x="105" y="39"/>
                      <a:pt x="111" y="39"/>
                      <a:pt x="111" y="43"/>
                    </a:cubicBezTo>
                    <a:cubicBezTo>
                      <a:pt x="111" y="46"/>
                      <a:pt x="108" y="46"/>
                      <a:pt x="108" y="49"/>
                    </a:cubicBezTo>
                    <a:cubicBezTo>
                      <a:pt x="108" y="53"/>
                      <a:pt x="114" y="49"/>
                      <a:pt x="115" y="49"/>
                    </a:cubicBezTo>
                    <a:cubicBezTo>
                      <a:pt x="120" y="49"/>
                      <a:pt x="131" y="54"/>
                      <a:pt x="137" y="55"/>
                    </a:cubicBezTo>
                    <a:cubicBezTo>
                      <a:pt x="137" y="58"/>
                      <a:pt x="138" y="60"/>
                      <a:pt x="136" y="61"/>
                    </a:cubicBezTo>
                    <a:cubicBezTo>
                      <a:pt x="135" y="64"/>
                      <a:pt x="130" y="63"/>
                      <a:pt x="126" y="64"/>
                    </a:cubicBezTo>
                    <a:cubicBezTo>
                      <a:pt x="117" y="65"/>
                      <a:pt x="111" y="78"/>
                      <a:pt x="105" y="78"/>
                    </a:cubicBezTo>
                    <a:cubicBezTo>
                      <a:pt x="100" y="78"/>
                      <a:pt x="100" y="74"/>
                      <a:pt x="98" y="69"/>
                    </a:cubicBezTo>
                    <a:cubicBezTo>
                      <a:pt x="96" y="71"/>
                      <a:pt x="95" y="73"/>
                      <a:pt x="93" y="76"/>
                    </a:cubicBezTo>
                    <a:cubicBezTo>
                      <a:pt x="96" y="80"/>
                      <a:pt x="97" y="81"/>
                      <a:pt x="99" y="84"/>
                    </a:cubicBezTo>
                    <a:cubicBezTo>
                      <a:pt x="91" y="84"/>
                      <a:pt x="91" y="84"/>
                      <a:pt x="91" y="84"/>
                    </a:cubicBezTo>
                    <a:cubicBezTo>
                      <a:pt x="91" y="90"/>
                      <a:pt x="91" y="90"/>
                      <a:pt x="91" y="90"/>
                    </a:cubicBezTo>
                    <a:cubicBezTo>
                      <a:pt x="87" y="91"/>
                      <a:pt x="79" y="85"/>
                      <a:pt x="75" y="82"/>
                    </a:cubicBezTo>
                    <a:cubicBezTo>
                      <a:pt x="75" y="90"/>
                      <a:pt x="71" y="92"/>
                      <a:pt x="64" y="92"/>
                    </a:cubicBezTo>
                    <a:cubicBezTo>
                      <a:pt x="57" y="92"/>
                      <a:pt x="48" y="91"/>
                      <a:pt x="47" y="84"/>
                    </a:cubicBezTo>
                    <a:cubicBezTo>
                      <a:pt x="50" y="84"/>
                      <a:pt x="51" y="83"/>
                      <a:pt x="53" y="81"/>
                    </a:cubicBezTo>
                    <a:cubicBezTo>
                      <a:pt x="45" y="81"/>
                      <a:pt x="33" y="77"/>
                      <a:pt x="33" y="70"/>
                    </a:cubicBezTo>
                    <a:cubicBezTo>
                      <a:pt x="33" y="62"/>
                      <a:pt x="60" y="63"/>
                      <a:pt x="66" y="61"/>
                    </a:cubicBezTo>
                    <a:cubicBezTo>
                      <a:pt x="60" y="60"/>
                      <a:pt x="55" y="58"/>
                      <a:pt x="48" y="58"/>
                    </a:cubicBezTo>
                    <a:cubicBezTo>
                      <a:pt x="41" y="58"/>
                      <a:pt x="40" y="61"/>
                      <a:pt x="35" y="61"/>
                    </a:cubicBezTo>
                    <a:cubicBezTo>
                      <a:pt x="30" y="61"/>
                      <a:pt x="30" y="58"/>
                      <a:pt x="29" y="56"/>
                    </a:cubicBezTo>
                    <a:cubicBezTo>
                      <a:pt x="24" y="58"/>
                      <a:pt x="23" y="59"/>
                      <a:pt x="19" y="59"/>
                    </a:cubicBezTo>
                    <a:cubicBezTo>
                      <a:pt x="16" y="59"/>
                      <a:pt x="16" y="58"/>
                      <a:pt x="16" y="55"/>
                    </a:cubicBezTo>
                    <a:cubicBezTo>
                      <a:pt x="20" y="53"/>
                      <a:pt x="23" y="53"/>
                      <a:pt x="26" y="49"/>
                    </a:cubicBezTo>
                    <a:cubicBezTo>
                      <a:pt x="11" y="49"/>
                      <a:pt x="2" y="48"/>
                      <a:pt x="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9" y="37"/>
                      <a:pt x="16" y="39"/>
                      <a:pt x="20" y="39"/>
                    </a:cubicBezTo>
                    <a:cubicBezTo>
                      <a:pt x="22" y="39"/>
                      <a:pt x="24" y="36"/>
                      <a:pt x="24" y="36"/>
                    </a:cubicBezTo>
                    <a:cubicBezTo>
                      <a:pt x="19" y="34"/>
                      <a:pt x="5" y="31"/>
                      <a:pt x="5" y="26"/>
                    </a:cubicBezTo>
                    <a:cubicBezTo>
                      <a:pt x="5" y="21"/>
                      <a:pt x="11" y="22"/>
                      <a:pt x="15" y="22"/>
                    </a:cubicBezTo>
                    <a:cubicBezTo>
                      <a:pt x="21" y="22"/>
                      <a:pt x="23" y="25"/>
                      <a:pt x="27" y="25"/>
                    </a:cubicBezTo>
                    <a:cubicBezTo>
                      <a:pt x="30" y="25"/>
                      <a:pt x="30" y="22"/>
                      <a:pt x="32" y="20"/>
                    </a:cubicBezTo>
                    <a:cubicBezTo>
                      <a:pt x="27" y="18"/>
                      <a:pt x="22" y="20"/>
                      <a:pt x="19" y="20"/>
                    </a:cubicBezTo>
                    <a:cubicBezTo>
                      <a:pt x="18" y="20"/>
                      <a:pt x="14" y="14"/>
                      <a:pt x="14" y="13"/>
                    </a:cubicBezTo>
                    <a:cubicBezTo>
                      <a:pt x="19" y="10"/>
                      <a:pt x="23" y="8"/>
                      <a:pt x="30" y="9"/>
                    </a:cubicBezTo>
                    <a:cubicBezTo>
                      <a:pt x="38" y="9"/>
                      <a:pt x="38" y="9"/>
                      <a:pt x="38" y="9"/>
                    </a:cubicBezTo>
                    <a:cubicBezTo>
                      <a:pt x="33" y="7"/>
                      <a:pt x="25" y="6"/>
                      <a:pt x="25" y="0"/>
                    </a:cubicBezTo>
                    <a:cubicBezTo>
                      <a:pt x="36" y="1"/>
                      <a:pt x="45" y="2"/>
                      <a:pt x="53" y="5"/>
                    </a:cubicBezTo>
                    <a:cubicBezTo>
                      <a:pt x="61" y="9"/>
                      <a:pt x="60" y="21"/>
                      <a:pt x="67" y="24"/>
                    </a:cubicBezTo>
                    <a:cubicBezTo>
                      <a:pt x="73" y="27"/>
                      <a:pt x="78" y="22"/>
                      <a:pt x="84" y="25"/>
                    </a:cubicBezTo>
                    <a:cubicBezTo>
                      <a:pt x="91" y="28"/>
                      <a:pt x="88" y="33"/>
                      <a:pt x="92" y="3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67" name="ïşľïďé"/>
              <p:cNvSpPr/>
              <p:nvPr/>
            </p:nvSpPr>
            <p:spPr bwMode="auto">
              <a:xfrm>
                <a:off x="3721038" y="1951134"/>
                <a:ext cx="146864" cy="93275"/>
              </a:xfrm>
              <a:custGeom>
                <a:avLst/>
                <a:gdLst/>
                <a:ahLst/>
                <a:cxnLst>
                  <a:cxn ang="0">
                    <a:pos x="6" y="39"/>
                  </a:cxn>
                  <a:cxn ang="0">
                    <a:pos x="11" y="33"/>
                  </a:cxn>
                  <a:cxn ang="0">
                    <a:pos x="11" y="27"/>
                  </a:cxn>
                  <a:cxn ang="0">
                    <a:pos x="25" y="0"/>
                  </a:cxn>
                  <a:cxn ang="0">
                    <a:pos x="32" y="13"/>
                  </a:cxn>
                  <a:cxn ang="0">
                    <a:pos x="36" y="9"/>
                  </a:cxn>
                  <a:cxn ang="0">
                    <a:pos x="67" y="27"/>
                  </a:cxn>
                  <a:cxn ang="0">
                    <a:pos x="70" y="35"/>
                  </a:cxn>
                  <a:cxn ang="0">
                    <a:pos x="89" y="43"/>
                  </a:cxn>
                  <a:cxn ang="0">
                    <a:pos x="75" y="48"/>
                  </a:cxn>
                  <a:cxn ang="0">
                    <a:pos x="63" y="48"/>
                  </a:cxn>
                  <a:cxn ang="0">
                    <a:pos x="46" y="37"/>
                  </a:cxn>
                  <a:cxn ang="0">
                    <a:pos x="25" y="53"/>
                  </a:cxn>
                  <a:cxn ang="0">
                    <a:pos x="22" y="57"/>
                  </a:cxn>
                  <a:cxn ang="0">
                    <a:pos x="19" y="48"/>
                  </a:cxn>
                  <a:cxn ang="0">
                    <a:pos x="0" y="48"/>
                  </a:cxn>
                  <a:cxn ang="0">
                    <a:pos x="6" y="39"/>
                  </a:cxn>
                </a:cxnLst>
                <a:rect l="0" t="0" r="r" b="b"/>
                <a:pathLst>
                  <a:path w="89" h="57">
                    <a:moveTo>
                      <a:pt x="6" y="39"/>
                    </a:moveTo>
                    <a:cubicBezTo>
                      <a:pt x="9" y="37"/>
                      <a:pt x="11" y="36"/>
                      <a:pt x="11" y="33"/>
                    </a:cubicBezTo>
                    <a:cubicBezTo>
                      <a:pt x="11" y="29"/>
                      <a:pt x="11" y="31"/>
                      <a:pt x="11" y="27"/>
                    </a:cubicBezTo>
                    <a:cubicBezTo>
                      <a:pt x="11" y="19"/>
                      <a:pt x="13" y="2"/>
                      <a:pt x="25" y="0"/>
                    </a:cubicBezTo>
                    <a:cubicBezTo>
                      <a:pt x="28" y="7"/>
                      <a:pt x="30" y="8"/>
                      <a:pt x="32" y="13"/>
                    </a:cubicBezTo>
                    <a:cubicBezTo>
                      <a:pt x="33" y="11"/>
                      <a:pt x="35" y="10"/>
                      <a:pt x="36" y="9"/>
                    </a:cubicBezTo>
                    <a:cubicBezTo>
                      <a:pt x="45" y="21"/>
                      <a:pt x="59" y="16"/>
                      <a:pt x="67" y="27"/>
                    </a:cubicBezTo>
                    <a:cubicBezTo>
                      <a:pt x="69" y="30"/>
                      <a:pt x="68" y="33"/>
                      <a:pt x="70" y="35"/>
                    </a:cubicBezTo>
                    <a:cubicBezTo>
                      <a:pt x="77" y="40"/>
                      <a:pt x="85" y="38"/>
                      <a:pt x="89" y="43"/>
                    </a:cubicBezTo>
                    <a:cubicBezTo>
                      <a:pt x="84" y="46"/>
                      <a:pt x="80" y="48"/>
                      <a:pt x="75" y="48"/>
                    </a:cubicBezTo>
                    <a:cubicBezTo>
                      <a:pt x="69" y="48"/>
                      <a:pt x="67" y="48"/>
                      <a:pt x="63" y="48"/>
                    </a:cubicBezTo>
                    <a:cubicBezTo>
                      <a:pt x="63" y="48"/>
                      <a:pt x="49" y="38"/>
                      <a:pt x="46" y="37"/>
                    </a:cubicBezTo>
                    <a:cubicBezTo>
                      <a:pt x="46" y="47"/>
                      <a:pt x="31" y="56"/>
                      <a:pt x="25" y="53"/>
                    </a:cubicBezTo>
                    <a:cubicBezTo>
                      <a:pt x="24" y="55"/>
                      <a:pt x="24" y="57"/>
                      <a:pt x="22" y="57"/>
                    </a:cubicBezTo>
                    <a:cubicBezTo>
                      <a:pt x="16" y="57"/>
                      <a:pt x="18" y="52"/>
                      <a:pt x="19" y="48"/>
                    </a:cubicBezTo>
                    <a:cubicBezTo>
                      <a:pt x="12" y="46"/>
                      <a:pt x="3" y="48"/>
                      <a:pt x="0" y="48"/>
                    </a:cubicBezTo>
                    <a:cubicBezTo>
                      <a:pt x="0" y="40"/>
                      <a:pt x="5" y="41"/>
                      <a:pt x="6" y="3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68" name="ïŝḷîḓê"/>
              <p:cNvSpPr/>
              <p:nvPr/>
            </p:nvSpPr>
            <p:spPr bwMode="auto">
              <a:xfrm>
                <a:off x="3931410" y="1857859"/>
                <a:ext cx="45647" cy="45646"/>
              </a:xfrm>
              <a:custGeom>
                <a:avLst/>
                <a:gdLst/>
                <a:ahLst/>
                <a:cxnLst>
                  <a:cxn ang="0">
                    <a:pos x="27" y="18"/>
                  </a:cxn>
                  <a:cxn ang="0">
                    <a:pos x="11" y="28"/>
                  </a:cxn>
                  <a:cxn ang="0">
                    <a:pos x="0" y="18"/>
                  </a:cxn>
                  <a:cxn ang="0">
                    <a:pos x="27" y="18"/>
                  </a:cxn>
                </a:cxnLst>
                <a:rect l="0" t="0" r="r" b="b"/>
                <a:pathLst>
                  <a:path w="27" h="28">
                    <a:moveTo>
                      <a:pt x="27" y="18"/>
                    </a:moveTo>
                    <a:cubicBezTo>
                      <a:pt x="27" y="24"/>
                      <a:pt x="16" y="28"/>
                      <a:pt x="11" y="28"/>
                    </a:cubicBezTo>
                    <a:cubicBezTo>
                      <a:pt x="4" y="28"/>
                      <a:pt x="0" y="23"/>
                      <a:pt x="0" y="18"/>
                    </a:cubicBezTo>
                    <a:cubicBezTo>
                      <a:pt x="0" y="0"/>
                      <a:pt x="27" y="3"/>
                      <a:pt x="27" y="1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69" name="iṩḻiḍè"/>
              <p:cNvSpPr/>
              <p:nvPr/>
            </p:nvSpPr>
            <p:spPr bwMode="auto">
              <a:xfrm>
                <a:off x="3794470" y="2048378"/>
                <a:ext cx="37709" cy="29769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22" y="3"/>
                  </a:cxn>
                  <a:cxn ang="0">
                    <a:pos x="0" y="18"/>
                  </a:cxn>
                  <a:cxn ang="0">
                    <a:pos x="0" y="12"/>
                  </a:cxn>
                  <a:cxn ang="0">
                    <a:pos x="10" y="1"/>
                  </a:cxn>
                </a:cxnLst>
                <a:rect l="0" t="0" r="r" b="b"/>
                <a:pathLst>
                  <a:path w="22" h="18">
                    <a:moveTo>
                      <a:pt x="10" y="1"/>
                    </a:moveTo>
                    <a:cubicBezTo>
                      <a:pt x="19" y="0"/>
                      <a:pt x="17" y="0"/>
                      <a:pt x="22" y="3"/>
                    </a:cubicBezTo>
                    <a:cubicBezTo>
                      <a:pt x="18" y="8"/>
                      <a:pt x="7" y="17"/>
                      <a:pt x="0" y="1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7"/>
                      <a:pt x="9" y="4"/>
                      <a:pt x="10" y="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70" name="íŝlîďe"/>
              <p:cNvSpPr/>
              <p:nvPr/>
            </p:nvSpPr>
            <p:spPr bwMode="auto">
              <a:xfrm>
                <a:off x="3854009" y="1653448"/>
                <a:ext cx="99232" cy="41676"/>
              </a:xfrm>
              <a:custGeom>
                <a:avLst/>
                <a:gdLst/>
                <a:ahLst/>
                <a:cxnLst>
                  <a:cxn ang="0">
                    <a:pos x="22" y="25"/>
                  </a:cxn>
                  <a:cxn ang="0">
                    <a:pos x="9" y="16"/>
                  </a:cxn>
                  <a:cxn ang="0">
                    <a:pos x="0" y="6"/>
                  </a:cxn>
                  <a:cxn ang="0">
                    <a:pos x="8" y="0"/>
                  </a:cxn>
                  <a:cxn ang="0">
                    <a:pos x="30" y="3"/>
                  </a:cxn>
                  <a:cxn ang="0">
                    <a:pos x="60" y="17"/>
                  </a:cxn>
                  <a:cxn ang="0">
                    <a:pos x="52" y="24"/>
                  </a:cxn>
                  <a:cxn ang="0">
                    <a:pos x="39" y="21"/>
                  </a:cxn>
                  <a:cxn ang="0">
                    <a:pos x="22" y="25"/>
                  </a:cxn>
                </a:cxnLst>
                <a:rect l="0" t="0" r="r" b="b"/>
                <a:pathLst>
                  <a:path w="60" h="25">
                    <a:moveTo>
                      <a:pt x="22" y="25"/>
                    </a:moveTo>
                    <a:cubicBezTo>
                      <a:pt x="14" y="25"/>
                      <a:pt x="6" y="23"/>
                      <a:pt x="9" y="16"/>
                    </a:cubicBezTo>
                    <a:cubicBezTo>
                      <a:pt x="5" y="13"/>
                      <a:pt x="0" y="11"/>
                      <a:pt x="0" y="6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18" y="0"/>
                      <a:pt x="21" y="3"/>
                      <a:pt x="30" y="3"/>
                    </a:cubicBezTo>
                    <a:cubicBezTo>
                      <a:pt x="42" y="3"/>
                      <a:pt x="52" y="13"/>
                      <a:pt x="60" y="17"/>
                    </a:cubicBezTo>
                    <a:cubicBezTo>
                      <a:pt x="59" y="21"/>
                      <a:pt x="56" y="24"/>
                      <a:pt x="52" y="24"/>
                    </a:cubicBezTo>
                    <a:cubicBezTo>
                      <a:pt x="46" y="24"/>
                      <a:pt x="44" y="21"/>
                      <a:pt x="39" y="21"/>
                    </a:cubicBezTo>
                    <a:cubicBezTo>
                      <a:pt x="34" y="21"/>
                      <a:pt x="30" y="25"/>
                      <a:pt x="22" y="2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71" name="iṥ1iḑé"/>
              <p:cNvSpPr/>
              <p:nvPr/>
            </p:nvSpPr>
            <p:spPr bwMode="auto">
              <a:xfrm>
                <a:off x="3863933" y="2066239"/>
                <a:ext cx="21832" cy="25800"/>
              </a:xfrm>
              <a:custGeom>
                <a:avLst/>
                <a:gdLst/>
                <a:ahLst/>
                <a:cxnLst>
                  <a:cxn ang="0">
                    <a:pos x="14" y="6"/>
                  </a:cxn>
                  <a:cxn ang="0">
                    <a:pos x="6" y="15"/>
                  </a:cxn>
                  <a:cxn ang="0">
                    <a:pos x="0" y="9"/>
                  </a:cxn>
                  <a:cxn ang="0">
                    <a:pos x="14" y="6"/>
                  </a:cxn>
                </a:cxnLst>
                <a:rect l="0" t="0" r="r" b="b"/>
                <a:pathLst>
                  <a:path w="14" h="15">
                    <a:moveTo>
                      <a:pt x="14" y="6"/>
                    </a:moveTo>
                    <a:cubicBezTo>
                      <a:pt x="12" y="9"/>
                      <a:pt x="11" y="15"/>
                      <a:pt x="6" y="15"/>
                    </a:cubicBezTo>
                    <a:cubicBezTo>
                      <a:pt x="5" y="15"/>
                      <a:pt x="0" y="9"/>
                      <a:pt x="0" y="9"/>
                    </a:cubicBezTo>
                    <a:cubicBezTo>
                      <a:pt x="0" y="1"/>
                      <a:pt x="10" y="0"/>
                      <a:pt x="14" y="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72" name="ïṡlîďé"/>
              <p:cNvSpPr/>
              <p:nvPr/>
            </p:nvSpPr>
            <p:spPr bwMode="auto">
              <a:xfrm>
                <a:off x="3984995" y="1869767"/>
                <a:ext cx="23815" cy="13892"/>
              </a:xfrm>
              <a:custGeom>
                <a:avLst/>
                <a:gdLst/>
                <a:ahLst/>
                <a:cxnLst>
                  <a:cxn ang="0">
                    <a:pos x="5" y="8"/>
                  </a:cxn>
                  <a:cxn ang="0">
                    <a:pos x="0" y="4"/>
                  </a:cxn>
                  <a:cxn ang="0">
                    <a:pos x="5" y="0"/>
                  </a:cxn>
                  <a:cxn ang="0">
                    <a:pos x="14" y="7"/>
                  </a:cxn>
                  <a:cxn ang="0">
                    <a:pos x="5" y="8"/>
                  </a:cxn>
                </a:cxnLst>
                <a:rect l="0" t="0" r="r" b="b"/>
                <a:pathLst>
                  <a:path w="14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3"/>
                      <a:pt x="4" y="0"/>
                      <a:pt x="5" y="0"/>
                    </a:cubicBezTo>
                    <a:cubicBezTo>
                      <a:pt x="9" y="0"/>
                      <a:pt x="13" y="5"/>
                      <a:pt x="14" y="7"/>
                    </a:cubicBezTo>
                    <a:cubicBezTo>
                      <a:pt x="8" y="8"/>
                      <a:pt x="10" y="8"/>
                      <a:pt x="5" y="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73" name="íṧ1iďê"/>
              <p:cNvSpPr/>
              <p:nvPr/>
            </p:nvSpPr>
            <p:spPr bwMode="auto">
              <a:xfrm>
                <a:off x="3879809" y="1828090"/>
                <a:ext cx="25801" cy="15877"/>
              </a:xfrm>
              <a:custGeom>
                <a:avLst/>
                <a:gdLst/>
                <a:ahLst/>
                <a:cxnLst>
                  <a:cxn ang="0">
                    <a:pos x="5" y="10"/>
                  </a:cxn>
                  <a:cxn ang="0">
                    <a:pos x="15" y="0"/>
                  </a:cxn>
                  <a:cxn ang="0">
                    <a:pos x="5" y="10"/>
                  </a:cxn>
                </a:cxnLst>
                <a:rect l="0" t="0" r="r" b="b"/>
                <a:pathLst>
                  <a:path w="15" h="10">
                    <a:moveTo>
                      <a:pt x="5" y="10"/>
                    </a:moveTo>
                    <a:cubicBezTo>
                      <a:pt x="0" y="10"/>
                      <a:pt x="10" y="0"/>
                      <a:pt x="15" y="0"/>
                    </a:cubicBezTo>
                    <a:cubicBezTo>
                      <a:pt x="14" y="6"/>
                      <a:pt x="10" y="10"/>
                      <a:pt x="5" y="1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74" name="îsḻíḋé"/>
              <p:cNvSpPr/>
              <p:nvPr/>
            </p:nvSpPr>
            <p:spPr bwMode="auto">
              <a:xfrm>
                <a:off x="3659514" y="1651464"/>
                <a:ext cx="603331" cy="434622"/>
              </a:xfrm>
              <a:custGeom>
                <a:avLst/>
                <a:gdLst/>
                <a:ahLst/>
                <a:cxnLst>
                  <a:cxn ang="0">
                    <a:pos x="333" y="196"/>
                  </a:cxn>
                  <a:cxn ang="0">
                    <a:pos x="281" y="171"/>
                  </a:cxn>
                  <a:cxn ang="0">
                    <a:pos x="289" y="177"/>
                  </a:cxn>
                  <a:cxn ang="0">
                    <a:pos x="283" y="184"/>
                  </a:cxn>
                  <a:cxn ang="0">
                    <a:pos x="298" y="201"/>
                  </a:cxn>
                  <a:cxn ang="0">
                    <a:pos x="318" y="206"/>
                  </a:cxn>
                  <a:cxn ang="0">
                    <a:pos x="326" y="225"/>
                  </a:cxn>
                  <a:cxn ang="0">
                    <a:pos x="278" y="225"/>
                  </a:cxn>
                  <a:cxn ang="0">
                    <a:pos x="304" y="256"/>
                  </a:cxn>
                  <a:cxn ang="0">
                    <a:pos x="295" y="256"/>
                  </a:cxn>
                  <a:cxn ang="0">
                    <a:pos x="233" y="226"/>
                  </a:cxn>
                  <a:cxn ang="0">
                    <a:pos x="190" y="210"/>
                  </a:cxn>
                  <a:cxn ang="0">
                    <a:pos x="169" y="214"/>
                  </a:cxn>
                  <a:cxn ang="0">
                    <a:pos x="168" y="189"/>
                  </a:cxn>
                  <a:cxn ang="0">
                    <a:pos x="207" y="183"/>
                  </a:cxn>
                  <a:cxn ang="0">
                    <a:pos x="210" y="167"/>
                  </a:cxn>
                  <a:cxn ang="0">
                    <a:pos x="186" y="115"/>
                  </a:cxn>
                  <a:cxn ang="0">
                    <a:pos x="168" y="115"/>
                  </a:cxn>
                  <a:cxn ang="0">
                    <a:pos x="146" y="85"/>
                  </a:cxn>
                  <a:cxn ang="0">
                    <a:pos x="122" y="91"/>
                  </a:cxn>
                  <a:cxn ang="0">
                    <a:pos x="41" y="82"/>
                  </a:cxn>
                  <a:cxn ang="0">
                    <a:pos x="11" y="69"/>
                  </a:cxn>
                  <a:cxn ang="0">
                    <a:pos x="30" y="65"/>
                  </a:cxn>
                  <a:cxn ang="0">
                    <a:pos x="0" y="48"/>
                  </a:cxn>
                  <a:cxn ang="0">
                    <a:pos x="11" y="16"/>
                  </a:cxn>
                  <a:cxn ang="0">
                    <a:pos x="61" y="4"/>
                  </a:cxn>
                  <a:cxn ang="0">
                    <a:pos x="46" y="32"/>
                  </a:cxn>
                  <a:cxn ang="0">
                    <a:pos x="50" y="47"/>
                  </a:cxn>
                  <a:cxn ang="0">
                    <a:pos x="55" y="26"/>
                  </a:cxn>
                  <a:cxn ang="0">
                    <a:pos x="120" y="29"/>
                  </a:cxn>
                  <a:cxn ang="0">
                    <a:pos x="128" y="34"/>
                  </a:cxn>
                  <a:cxn ang="0">
                    <a:pos x="156" y="27"/>
                  </a:cxn>
                  <a:cxn ang="0">
                    <a:pos x="217" y="56"/>
                  </a:cxn>
                  <a:cxn ang="0">
                    <a:pos x="242" y="65"/>
                  </a:cxn>
                  <a:cxn ang="0">
                    <a:pos x="273" y="85"/>
                  </a:cxn>
                  <a:cxn ang="0">
                    <a:pos x="293" y="95"/>
                  </a:cxn>
                  <a:cxn ang="0">
                    <a:pos x="291" y="102"/>
                  </a:cxn>
                  <a:cxn ang="0">
                    <a:pos x="283" y="116"/>
                  </a:cxn>
                  <a:cxn ang="0">
                    <a:pos x="317" y="135"/>
                  </a:cxn>
                  <a:cxn ang="0">
                    <a:pos x="342" y="153"/>
                  </a:cxn>
                  <a:cxn ang="0">
                    <a:pos x="362" y="165"/>
                  </a:cxn>
                  <a:cxn ang="0">
                    <a:pos x="349" y="178"/>
                  </a:cxn>
                </a:cxnLst>
                <a:rect l="0" t="0" r="r" b="b"/>
                <a:pathLst>
                  <a:path w="362" h="261">
                    <a:moveTo>
                      <a:pt x="339" y="184"/>
                    </a:moveTo>
                    <a:cubicBezTo>
                      <a:pt x="339" y="189"/>
                      <a:pt x="338" y="196"/>
                      <a:pt x="333" y="196"/>
                    </a:cubicBezTo>
                    <a:cubicBezTo>
                      <a:pt x="311" y="196"/>
                      <a:pt x="311" y="166"/>
                      <a:pt x="289" y="166"/>
                    </a:cubicBezTo>
                    <a:cubicBezTo>
                      <a:pt x="287" y="166"/>
                      <a:pt x="281" y="171"/>
                      <a:pt x="281" y="171"/>
                    </a:cubicBezTo>
                    <a:cubicBezTo>
                      <a:pt x="284" y="173"/>
                      <a:pt x="285" y="173"/>
                      <a:pt x="289" y="172"/>
                    </a:cubicBezTo>
                    <a:cubicBezTo>
                      <a:pt x="289" y="177"/>
                      <a:pt x="289" y="177"/>
                      <a:pt x="289" y="177"/>
                    </a:cubicBezTo>
                    <a:cubicBezTo>
                      <a:pt x="287" y="178"/>
                      <a:pt x="284" y="178"/>
                      <a:pt x="283" y="177"/>
                    </a:cubicBezTo>
                    <a:cubicBezTo>
                      <a:pt x="283" y="184"/>
                      <a:pt x="283" y="184"/>
                      <a:pt x="283" y="184"/>
                    </a:cubicBezTo>
                    <a:cubicBezTo>
                      <a:pt x="288" y="184"/>
                      <a:pt x="288" y="184"/>
                      <a:pt x="288" y="184"/>
                    </a:cubicBezTo>
                    <a:cubicBezTo>
                      <a:pt x="289" y="189"/>
                      <a:pt x="295" y="199"/>
                      <a:pt x="298" y="201"/>
                    </a:cubicBezTo>
                    <a:cubicBezTo>
                      <a:pt x="307" y="204"/>
                      <a:pt x="310" y="198"/>
                      <a:pt x="311" y="206"/>
                    </a:cubicBezTo>
                    <a:cubicBezTo>
                      <a:pt x="315" y="206"/>
                      <a:pt x="315" y="206"/>
                      <a:pt x="318" y="206"/>
                    </a:cubicBezTo>
                    <a:cubicBezTo>
                      <a:pt x="318" y="213"/>
                      <a:pt x="318" y="213"/>
                      <a:pt x="318" y="215"/>
                    </a:cubicBezTo>
                    <a:cubicBezTo>
                      <a:pt x="318" y="218"/>
                      <a:pt x="326" y="220"/>
                      <a:pt x="326" y="225"/>
                    </a:cubicBezTo>
                    <a:cubicBezTo>
                      <a:pt x="326" y="229"/>
                      <a:pt x="321" y="238"/>
                      <a:pt x="319" y="242"/>
                    </a:cubicBezTo>
                    <a:cubicBezTo>
                      <a:pt x="311" y="242"/>
                      <a:pt x="283" y="231"/>
                      <a:pt x="278" y="225"/>
                    </a:cubicBezTo>
                    <a:cubicBezTo>
                      <a:pt x="272" y="225"/>
                      <a:pt x="272" y="225"/>
                      <a:pt x="272" y="225"/>
                    </a:cubicBezTo>
                    <a:cubicBezTo>
                      <a:pt x="279" y="234"/>
                      <a:pt x="304" y="243"/>
                      <a:pt x="304" y="256"/>
                    </a:cubicBezTo>
                    <a:cubicBezTo>
                      <a:pt x="304" y="259"/>
                      <a:pt x="301" y="261"/>
                      <a:pt x="299" y="261"/>
                    </a:cubicBezTo>
                    <a:cubicBezTo>
                      <a:pt x="297" y="261"/>
                      <a:pt x="296" y="256"/>
                      <a:pt x="295" y="256"/>
                    </a:cubicBezTo>
                    <a:cubicBezTo>
                      <a:pt x="282" y="249"/>
                      <a:pt x="274" y="252"/>
                      <a:pt x="263" y="245"/>
                    </a:cubicBezTo>
                    <a:cubicBezTo>
                      <a:pt x="252" y="239"/>
                      <a:pt x="226" y="240"/>
                      <a:pt x="233" y="226"/>
                    </a:cubicBezTo>
                    <a:cubicBezTo>
                      <a:pt x="219" y="219"/>
                      <a:pt x="212" y="211"/>
                      <a:pt x="199" y="204"/>
                    </a:cubicBezTo>
                    <a:cubicBezTo>
                      <a:pt x="197" y="207"/>
                      <a:pt x="194" y="210"/>
                      <a:pt x="190" y="210"/>
                    </a:cubicBezTo>
                    <a:cubicBezTo>
                      <a:pt x="186" y="210"/>
                      <a:pt x="187" y="207"/>
                      <a:pt x="183" y="207"/>
                    </a:cubicBezTo>
                    <a:cubicBezTo>
                      <a:pt x="177" y="207"/>
                      <a:pt x="175" y="214"/>
                      <a:pt x="169" y="214"/>
                    </a:cubicBezTo>
                    <a:cubicBezTo>
                      <a:pt x="165" y="214"/>
                      <a:pt x="150" y="208"/>
                      <a:pt x="150" y="201"/>
                    </a:cubicBezTo>
                    <a:cubicBezTo>
                      <a:pt x="150" y="197"/>
                      <a:pt x="162" y="189"/>
                      <a:pt x="168" y="189"/>
                    </a:cubicBezTo>
                    <a:cubicBezTo>
                      <a:pt x="176" y="189"/>
                      <a:pt x="183" y="189"/>
                      <a:pt x="187" y="189"/>
                    </a:cubicBezTo>
                    <a:cubicBezTo>
                      <a:pt x="191" y="189"/>
                      <a:pt x="202" y="187"/>
                      <a:pt x="207" y="183"/>
                    </a:cubicBezTo>
                    <a:cubicBezTo>
                      <a:pt x="205" y="182"/>
                      <a:pt x="199" y="178"/>
                      <a:pt x="199" y="174"/>
                    </a:cubicBezTo>
                    <a:cubicBezTo>
                      <a:pt x="199" y="167"/>
                      <a:pt x="207" y="171"/>
                      <a:pt x="210" y="167"/>
                    </a:cubicBezTo>
                    <a:cubicBezTo>
                      <a:pt x="214" y="163"/>
                      <a:pt x="223" y="154"/>
                      <a:pt x="223" y="148"/>
                    </a:cubicBezTo>
                    <a:cubicBezTo>
                      <a:pt x="223" y="136"/>
                      <a:pt x="195" y="115"/>
                      <a:pt x="186" y="115"/>
                    </a:cubicBezTo>
                    <a:cubicBezTo>
                      <a:pt x="180" y="115"/>
                      <a:pt x="177" y="120"/>
                      <a:pt x="172" y="120"/>
                    </a:cubicBezTo>
                    <a:cubicBezTo>
                      <a:pt x="170" y="120"/>
                      <a:pt x="168" y="115"/>
                      <a:pt x="168" y="115"/>
                    </a:cubicBezTo>
                    <a:cubicBezTo>
                      <a:pt x="168" y="110"/>
                      <a:pt x="176" y="109"/>
                      <a:pt x="179" y="109"/>
                    </a:cubicBezTo>
                    <a:cubicBezTo>
                      <a:pt x="175" y="105"/>
                      <a:pt x="151" y="85"/>
                      <a:pt x="146" y="85"/>
                    </a:cubicBezTo>
                    <a:cubicBezTo>
                      <a:pt x="140" y="85"/>
                      <a:pt x="133" y="101"/>
                      <a:pt x="125" y="101"/>
                    </a:cubicBezTo>
                    <a:cubicBezTo>
                      <a:pt x="120" y="101"/>
                      <a:pt x="121" y="94"/>
                      <a:pt x="122" y="91"/>
                    </a:cubicBezTo>
                    <a:cubicBezTo>
                      <a:pt x="108" y="90"/>
                      <a:pt x="75" y="91"/>
                      <a:pt x="55" y="91"/>
                    </a:cubicBezTo>
                    <a:cubicBezTo>
                      <a:pt x="51" y="91"/>
                      <a:pt x="44" y="86"/>
                      <a:pt x="41" y="82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18" y="76"/>
                      <a:pt x="11" y="75"/>
                      <a:pt x="11" y="69"/>
                    </a:cubicBezTo>
                    <a:cubicBezTo>
                      <a:pt x="16" y="67"/>
                      <a:pt x="23" y="70"/>
                      <a:pt x="30" y="70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26" y="62"/>
                      <a:pt x="6" y="60"/>
                      <a:pt x="6" y="60"/>
                    </a:cubicBezTo>
                    <a:cubicBezTo>
                      <a:pt x="6" y="60"/>
                      <a:pt x="0" y="52"/>
                      <a:pt x="0" y="48"/>
                    </a:cubicBezTo>
                    <a:cubicBezTo>
                      <a:pt x="0" y="36"/>
                      <a:pt x="2" y="33"/>
                      <a:pt x="8" y="29"/>
                    </a:cubicBezTo>
                    <a:cubicBezTo>
                      <a:pt x="12" y="26"/>
                      <a:pt x="10" y="18"/>
                      <a:pt x="11" y="16"/>
                    </a:cubicBezTo>
                    <a:cubicBezTo>
                      <a:pt x="20" y="7"/>
                      <a:pt x="32" y="0"/>
                      <a:pt x="47" y="0"/>
                    </a:cubicBezTo>
                    <a:cubicBezTo>
                      <a:pt x="47" y="0"/>
                      <a:pt x="61" y="4"/>
                      <a:pt x="61" y="4"/>
                    </a:cubicBezTo>
                    <a:cubicBezTo>
                      <a:pt x="57" y="14"/>
                      <a:pt x="42" y="14"/>
                      <a:pt x="42" y="27"/>
                    </a:cubicBezTo>
                    <a:cubicBezTo>
                      <a:pt x="42" y="30"/>
                      <a:pt x="44" y="32"/>
                      <a:pt x="46" y="32"/>
                    </a:cubicBezTo>
                    <a:cubicBezTo>
                      <a:pt x="45" y="35"/>
                      <a:pt x="46" y="40"/>
                      <a:pt x="46" y="40"/>
                    </a:cubicBezTo>
                    <a:cubicBezTo>
                      <a:pt x="46" y="43"/>
                      <a:pt x="45" y="47"/>
                      <a:pt x="50" y="47"/>
                    </a:cubicBezTo>
                    <a:cubicBezTo>
                      <a:pt x="53" y="47"/>
                      <a:pt x="59" y="42"/>
                      <a:pt x="59" y="38"/>
                    </a:cubicBezTo>
                    <a:cubicBezTo>
                      <a:pt x="59" y="34"/>
                      <a:pt x="55" y="31"/>
                      <a:pt x="55" y="26"/>
                    </a:cubicBezTo>
                    <a:cubicBezTo>
                      <a:pt x="55" y="10"/>
                      <a:pt x="84" y="4"/>
                      <a:pt x="102" y="4"/>
                    </a:cubicBezTo>
                    <a:cubicBezTo>
                      <a:pt x="113" y="4"/>
                      <a:pt x="120" y="20"/>
                      <a:pt x="120" y="29"/>
                    </a:cubicBezTo>
                    <a:cubicBezTo>
                      <a:pt x="120" y="31"/>
                      <a:pt x="117" y="38"/>
                      <a:pt x="120" y="38"/>
                    </a:cubicBezTo>
                    <a:cubicBezTo>
                      <a:pt x="122" y="38"/>
                      <a:pt x="124" y="34"/>
                      <a:pt x="128" y="34"/>
                    </a:cubicBezTo>
                    <a:cubicBezTo>
                      <a:pt x="133" y="34"/>
                      <a:pt x="135" y="38"/>
                      <a:pt x="138" y="38"/>
                    </a:cubicBezTo>
                    <a:cubicBezTo>
                      <a:pt x="146" y="38"/>
                      <a:pt x="148" y="27"/>
                      <a:pt x="156" y="27"/>
                    </a:cubicBezTo>
                    <a:cubicBezTo>
                      <a:pt x="165" y="27"/>
                      <a:pt x="183" y="30"/>
                      <a:pt x="189" y="34"/>
                    </a:cubicBezTo>
                    <a:cubicBezTo>
                      <a:pt x="199" y="41"/>
                      <a:pt x="202" y="56"/>
                      <a:pt x="217" y="56"/>
                    </a:cubicBezTo>
                    <a:cubicBezTo>
                      <a:pt x="223" y="56"/>
                      <a:pt x="224" y="56"/>
                      <a:pt x="228" y="56"/>
                    </a:cubicBezTo>
                    <a:cubicBezTo>
                      <a:pt x="232" y="56"/>
                      <a:pt x="243" y="57"/>
                      <a:pt x="242" y="65"/>
                    </a:cubicBezTo>
                    <a:cubicBezTo>
                      <a:pt x="254" y="69"/>
                      <a:pt x="261" y="76"/>
                      <a:pt x="273" y="77"/>
                    </a:cubicBezTo>
                    <a:cubicBezTo>
                      <a:pt x="273" y="85"/>
                      <a:pt x="273" y="85"/>
                      <a:pt x="273" y="85"/>
                    </a:cubicBezTo>
                    <a:cubicBezTo>
                      <a:pt x="276" y="85"/>
                      <a:pt x="281" y="85"/>
                      <a:pt x="281" y="85"/>
                    </a:cubicBezTo>
                    <a:cubicBezTo>
                      <a:pt x="287" y="85"/>
                      <a:pt x="290" y="89"/>
                      <a:pt x="293" y="95"/>
                    </a:cubicBezTo>
                    <a:cubicBezTo>
                      <a:pt x="287" y="96"/>
                      <a:pt x="281" y="96"/>
                      <a:pt x="277" y="101"/>
                    </a:cubicBezTo>
                    <a:cubicBezTo>
                      <a:pt x="285" y="102"/>
                      <a:pt x="287" y="102"/>
                      <a:pt x="291" y="102"/>
                    </a:cubicBezTo>
                    <a:cubicBezTo>
                      <a:pt x="293" y="102"/>
                      <a:pt x="296" y="103"/>
                      <a:pt x="297" y="106"/>
                    </a:cubicBezTo>
                    <a:cubicBezTo>
                      <a:pt x="290" y="110"/>
                      <a:pt x="287" y="110"/>
                      <a:pt x="283" y="116"/>
                    </a:cubicBezTo>
                    <a:cubicBezTo>
                      <a:pt x="287" y="118"/>
                      <a:pt x="289" y="120"/>
                      <a:pt x="295" y="120"/>
                    </a:cubicBezTo>
                    <a:cubicBezTo>
                      <a:pt x="296" y="130"/>
                      <a:pt x="308" y="134"/>
                      <a:pt x="317" y="135"/>
                    </a:cubicBezTo>
                    <a:cubicBezTo>
                      <a:pt x="318" y="143"/>
                      <a:pt x="320" y="151"/>
                      <a:pt x="327" y="151"/>
                    </a:cubicBezTo>
                    <a:cubicBezTo>
                      <a:pt x="337" y="151"/>
                      <a:pt x="339" y="145"/>
                      <a:pt x="342" y="153"/>
                    </a:cubicBezTo>
                    <a:cubicBezTo>
                      <a:pt x="344" y="155"/>
                      <a:pt x="348" y="155"/>
                      <a:pt x="350" y="155"/>
                    </a:cubicBezTo>
                    <a:cubicBezTo>
                      <a:pt x="359" y="155"/>
                      <a:pt x="362" y="158"/>
                      <a:pt x="362" y="165"/>
                    </a:cubicBezTo>
                    <a:cubicBezTo>
                      <a:pt x="362" y="171"/>
                      <a:pt x="355" y="173"/>
                      <a:pt x="349" y="173"/>
                    </a:cubicBezTo>
                    <a:cubicBezTo>
                      <a:pt x="349" y="178"/>
                      <a:pt x="349" y="176"/>
                      <a:pt x="349" y="178"/>
                    </a:cubicBezTo>
                    <a:cubicBezTo>
                      <a:pt x="349" y="180"/>
                      <a:pt x="348" y="184"/>
                      <a:pt x="339" y="18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75" name="ï$ļiḓè"/>
              <p:cNvSpPr/>
              <p:nvPr/>
            </p:nvSpPr>
            <p:spPr bwMode="auto">
              <a:xfrm>
                <a:off x="3905609" y="2026547"/>
                <a:ext cx="17863" cy="15877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0" y="6"/>
                  </a:cxn>
                  <a:cxn ang="0">
                    <a:pos x="10" y="6"/>
                  </a:cxn>
                </a:cxnLst>
                <a:rect l="0" t="0" r="r" b="b"/>
                <a:pathLst>
                  <a:path w="10" h="9">
                    <a:moveTo>
                      <a:pt x="10" y="6"/>
                    </a:moveTo>
                    <a:cubicBezTo>
                      <a:pt x="6" y="9"/>
                      <a:pt x="5" y="9"/>
                      <a:pt x="0" y="6"/>
                    </a:cubicBezTo>
                    <a:cubicBezTo>
                      <a:pt x="5" y="0"/>
                      <a:pt x="5" y="3"/>
                      <a:pt x="10" y="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76" name="ïś1íḑè"/>
              <p:cNvSpPr/>
              <p:nvPr/>
            </p:nvSpPr>
            <p:spPr bwMode="auto">
              <a:xfrm>
                <a:off x="3782562" y="1943195"/>
                <a:ext cx="15877" cy="15877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9" y="9"/>
                  </a:cxn>
                  <a:cxn ang="0">
                    <a:pos x="1" y="2"/>
                  </a:cxn>
                </a:cxnLst>
                <a:rect l="0" t="0" r="r" b="b"/>
                <a:pathLst>
                  <a:path w="9" h="9">
                    <a:moveTo>
                      <a:pt x="1" y="2"/>
                    </a:moveTo>
                    <a:cubicBezTo>
                      <a:pt x="6" y="0"/>
                      <a:pt x="6" y="5"/>
                      <a:pt x="9" y="9"/>
                    </a:cubicBezTo>
                    <a:cubicBezTo>
                      <a:pt x="4" y="9"/>
                      <a:pt x="0" y="5"/>
                      <a:pt x="1" y="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77" name="íŝ1iḓè"/>
              <p:cNvSpPr/>
              <p:nvPr/>
            </p:nvSpPr>
            <p:spPr bwMode="auto">
              <a:xfrm>
                <a:off x="3623790" y="1214858"/>
                <a:ext cx="643024" cy="337377"/>
              </a:xfrm>
              <a:custGeom>
                <a:avLst/>
                <a:gdLst/>
                <a:ahLst/>
                <a:cxnLst>
                  <a:cxn ang="0">
                    <a:pos x="307" y="16"/>
                  </a:cxn>
                  <a:cxn ang="0">
                    <a:pos x="350" y="9"/>
                  </a:cxn>
                  <a:cxn ang="0">
                    <a:pos x="386" y="28"/>
                  </a:cxn>
                  <a:cxn ang="0">
                    <a:pos x="313" y="51"/>
                  </a:cxn>
                  <a:cxn ang="0">
                    <a:pos x="295" y="74"/>
                  </a:cxn>
                  <a:cxn ang="0">
                    <a:pos x="231" y="108"/>
                  </a:cxn>
                  <a:cxn ang="0">
                    <a:pos x="216" y="118"/>
                  </a:cxn>
                  <a:cxn ang="0">
                    <a:pos x="216" y="137"/>
                  </a:cxn>
                  <a:cxn ang="0">
                    <a:pos x="174" y="157"/>
                  </a:cxn>
                  <a:cxn ang="0">
                    <a:pos x="158" y="184"/>
                  </a:cxn>
                  <a:cxn ang="0">
                    <a:pos x="176" y="188"/>
                  </a:cxn>
                  <a:cxn ang="0">
                    <a:pos x="126" y="197"/>
                  </a:cxn>
                  <a:cxn ang="0">
                    <a:pos x="80" y="201"/>
                  </a:cxn>
                  <a:cxn ang="0">
                    <a:pos x="33" y="197"/>
                  </a:cxn>
                  <a:cxn ang="0">
                    <a:pos x="60" y="176"/>
                  </a:cxn>
                  <a:cxn ang="0">
                    <a:pos x="57" y="158"/>
                  </a:cxn>
                  <a:cxn ang="0">
                    <a:pos x="92" y="170"/>
                  </a:cxn>
                  <a:cxn ang="0">
                    <a:pos x="66" y="148"/>
                  </a:cxn>
                  <a:cxn ang="0">
                    <a:pos x="55" y="151"/>
                  </a:cxn>
                  <a:cxn ang="0">
                    <a:pos x="68" y="131"/>
                  </a:cxn>
                  <a:cxn ang="0">
                    <a:pos x="62" y="97"/>
                  </a:cxn>
                  <a:cxn ang="0">
                    <a:pos x="67" y="89"/>
                  </a:cxn>
                  <a:cxn ang="0">
                    <a:pos x="97" y="90"/>
                  </a:cxn>
                  <a:cxn ang="0">
                    <a:pos x="108" y="91"/>
                  </a:cxn>
                  <a:cxn ang="0">
                    <a:pos x="133" y="86"/>
                  </a:cxn>
                  <a:cxn ang="0">
                    <a:pos x="147" y="74"/>
                  </a:cxn>
                  <a:cxn ang="0">
                    <a:pos x="99" y="81"/>
                  </a:cxn>
                  <a:cxn ang="0">
                    <a:pos x="72" y="76"/>
                  </a:cxn>
                  <a:cxn ang="0">
                    <a:pos x="57" y="81"/>
                  </a:cxn>
                  <a:cxn ang="0">
                    <a:pos x="44" y="67"/>
                  </a:cxn>
                  <a:cxn ang="0">
                    <a:pos x="51" y="53"/>
                  </a:cxn>
                  <a:cxn ang="0">
                    <a:pos x="25" y="60"/>
                  </a:cxn>
                  <a:cxn ang="0">
                    <a:pos x="29" y="49"/>
                  </a:cxn>
                  <a:cxn ang="0">
                    <a:pos x="9" y="52"/>
                  </a:cxn>
                  <a:cxn ang="0">
                    <a:pos x="44" y="36"/>
                  </a:cxn>
                  <a:cxn ang="0">
                    <a:pos x="57" y="32"/>
                  </a:cxn>
                  <a:cxn ang="0">
                    <a:pos x="104" y="32"/>
                  </a:cxn>
                  <a:cxn ang="0">
                    <a:pos x="135" y="11"/>
                  </a:cxn>
                  <a:cxn ang="0">
                    <a:pos x="196" y="6"/>
                  </a:cxn>
                  <a:cxn ang="0">
                    <a:pos x="218" y="8"/>
                  </a:cxn>
                  <a:cxn ang="0">
                    <a:pos x="245" y="3"/>
                  </a:cxn>
                  <a:cxn ang="0">
                    <a:pos x="315" y="11"/>
                  </a:cxn>
                </a:cxnLst>
                <a:rect l="0" t="0" r="r" b="b"/>
                <a:pathLst>
                  <a:path w="386" h="203">
                    <a:moveTo>
                      <a:pt x="315" y="11"/>
                    </a:moveTo>
                    <a:cubicBezTo>
                      <a:pt x="312" y="14"/>
                      <a:pt x="310" y="15"/>
                      <a:pt x="307" y="16"/>
                    </a:cubicBezTo>
                    <a:cubicBezTo>
                      <a:pt x="342" y="6"/>
                      <a:pt x="342" y="6"/>
                      <a:pt x="342" y="6"/>
                    </a:cubicBezTo>
                    <a:cubicBezTo>
                      <a:pt x="345" y="7"/>
                      <a:pt x="347" y="8"/>
                      <a:pt x="350" y="9"/>
                    </a:cubicBezTo>
                    <a:cubicBezTo>
                      <a:pt x="355" y="11"/>
                      <a:pt x="355" y="14"/>
                      <a:pt x="358" y="17"/>
                    </a:cubicBezTo>
                    <a:cubicBezTo>
                      <a:pt x="363" y="22"/>
                      <a:pt x="386" y="20"/>
                      <a:pt x="386" y="28"/>
                    </a:cubicBezTo>
                    <a:cubicBezTo>
                      <a:pt x="386" y="33"/>
                      <a:pt x="378" y="32"/>
                      <a:pt x="375" y="34"/>
                    </a:cubicBezTo>
                    <a:cubicBezTo>
                      <a:pt x="358" y="48"/>
                      <a:pt x="336" y="40"/>
                      <a:pt x="313" y="51"/>
                    </a:cubicBezTo>
                    <a:cubicBezTo>
                      <a:pt x="317" y="56"/>
                      <a:pt x="335" y="52"/>
                      <a:pt x="346" y="52"/>
                    </a:cubicBezTo>
                    <a:cubicBezTo>
                      <a:pt x="336" y="63"/>
                      <a:pt x="311" y="69"/>
                      <a:pt x="295" y="74"/>
                    </a:cubicBezTo>
                    <a:cubicBezTo>
                      <a:pt x="277" y="80"/>
                      <a:pt x="267" y="97"/>
                      <a:pt x="254" y="107"/>
                    </a:cubicBezTo>
                    <a:cubicBezTo>
                      <a:pt x="248" y="112"/>
                      <a:pt x="238" y="106"/>
                      <a:pt x="231" y="108"/>
                    </a:cubicBezTo>
                    <a:cubicBezTo>
                      <a:pt x="221" y="112"/>
                      <a:pt x="210" y="112"/>
                      <a:pt x="203" y="118"/>
                    </a:cubicBezTo>
                    <a:cubicBezTo>
                      <a:pt x="216" y="118"/>
                      <a:pt x="216" y="118"/>
                      <a:pt x="216" y="118"/>
                    </a:cubicBezTo>
                    <a:cubicBezTo>
                      <a:pt x="217" y="128"/>
                      <a:pt x="211" y="127"/>
                      <a:pt x="203" y="126"/>
                    </a:cubicBezTo>
                    <a:cubicBezTo>
                      <a:pt x="208" y="129"/>
                      <a:pt x="213" y="131"/>
                      <a:pt x="216" y="137"/>
                    </a:cubicBezTo>
                    <a:cubicBezTo>
                      <a:pt x="206" y="141"/>
                      <a:pt x="203" y="152"/>
                      <a:pt x="196" y="157"/>
                    </a:cubicBezTo>
                    <a:cubicBezTo>
                      <a:pt x="177" y="157"/>
                      <a:pt x="177" y="157"/>
                      <a:pt x="174" y="157"/>
                    </a:cubicBezTo>
                    <a:cubicBezTo>
                      <a:pt x="175" y="160"/>
                      <a:pt x="177" y="161"/>
                      <a:pt x="177" y="164"/>
                    </a:cubicBezTo>
                    <a:cubicBezTo>
                      <a:pt x="177" y="178"/>
                      <a:pt x="158" y="169"/>
                      <a:pt x="158" y="184"/>
                    </a:cubicBezTo>
                    <a:cubicBezTo>
                      <a:pt x="165" y="184"/>
                      <a:pt x="166" y="184"/>
                      <a:pt x="169" y="184"/>
                    </a:cubicBezTo>
                    <a:cubicBezTo>
                      <a:pt x="171" y="184"/>
                      <a:pt x="176" y="184"/>
                      <a:pt x="176" y="188"/>
                    </a:cubicBezTo>
                    <a:cubicBezTo>
                      <a:pt x="176" y="195"/>
                      <a:pt x="151" y="203"/>
                      <a:pt x="141" y="203"/>
                    </a:cubicBezTo>
                    <a:cubicBezTo>
                      <a:pt x="131" y="203"/>
                      <a:pt x="135" y="197"/>
                      <a:pt x="126" y="197"/>
                    </a:cubicBezTo>
                    <a:cubicBezTo>
                      <a:pt x="113" y="197"/>
                      <a:pt x="104" y="197"/>
                      <a:pt x="93" y="197"/>
                    </a:cubicBezTo>
                    <a:cubicBezTo>
                      <a:pt x="89" y="197"/>
                      <a:pt x="86" y="201"/>
                      <a:pt x="80" y="201"/>
                    </a:cubicBezTo>
                    <a:cubicBezTo>
                      <a:pt x="65" y="201"/>
                      <a:pt x="53" y="197"/>
                      <a:pt x="38" y="192"/>
                    </a:cubicBezTo>
                    <a:cubicBezTo>
                      <a:pt x="37" y="194"/>
                      <a:pt x="35" y="197"/>
                      <a:pt x="33" y="197"/>
                    </a:cubicBezTo>
                    <a:cubicBezTo>
                      <a:pt x="29" y="197"/>
                      <a:pt x="28" y="194"/>
                      <a:pt x="28" y="193"/>
                    </a:cubicBezTo>
                    <a:cubicBezTo>
                      <a:pt x="28" y="176"/>
                      <a:pt x="51" y="182"/>
                      <a:pt x="60" y="176"/>
                    </a:cubicBezTo>
                    <a:cubicBezTo>
                      <a:pt x="55" y="172"/>
                      <a:pt x="46" y="170"/>
                      <a:pt x="46" y="162"/>
                    </a:cubicBezTo>
                    <a:cubicBezTo>
                      <a:pt x="46" y="156"/>
                      <a:pt x="52" y="158"/>
                      <a:pt x="57" y="158"/>
                    </a:cubicBezTo>
                    <a:cubicBezTo>
                      <a:pt x="71" y="158"/>
                      <a:pt x="76" y="165"/>
                      <a:pt x="84" y="170"/>
                    </a:cubicBezTo>
                    <a:cubicBezTo>
                      <a:pt x="92" y="170"/>
                      <a:pt x="92" y="170"/>
                      <a:pt x="92" y="170"/>
                    </a:cubicBezTo>
                    <a:cubicBezTo>
                      <a:pt x="86" y="164"/>
                      <a:pt x="72" y="159"/>
                      <a:pt x="72" y="148"/>
                    </a:cubicBezTo>
                    <a:cubicBezTo>
                      <a:pt x="66" y="148"/>
                      <a:pt x="66" y="148"/>
                      <a:pt x="66" y="148"/>
                    </a:cubicBezTo>
                    <a:cubicBezTo>
                      <a:pt x="63" y="149"/>
                      <a:pt x="63" y="149"/>
                      <a:pt x="61" y="151"/>
                    </a:cubicBezTo>
                    <a:cubicBezTo>
                      <a:pt x="55" y="151"/>
                      <a:pt x="55" y="151"/>
                      <a:pt x="55" y="151"/>
                    </a:cubicBezTo>
                    <a:cubicBezTo>
                      <a:pt x="55" y="146"/>
                      <a:pt x="55" y="146"/>
                      <a:pt x="55" y="146"/>
                    </a:cubicBezTo>
                    <a:cubicBezTo>
                      <a:pt x="58" y="138"/>
                      <a:pt x="61" y="134"/>
                      <a:pt x="68" y="131"/>
                    </a:cubicBezTo>
                    <a:cubicBezTo>
                      <a:pt x="79" y="128"/>
                      <a:pt x="92" y="132"/>
                      <a:pt x="92" y="119"/>
                    </a:cubicBezTo>
                    <a:cubicBezTo>
                      <a:pt x="92" y="105"/>
                      <a:pt x="62" y="105"/>
                      <a:pt x="62" y="97"/>
                    </a:cubicBezTo>
                    <a:cubicBezTo>
                      <a:pt x="62" y="93"/>
                      <a:pt x="69" y="94"/>
                      <a:pt x="73" y="94"/>
                    </a:cubicBezTo>
                    <a:cubicBezTo>
                      <a:pt x="68" y="94"/>
                      <a:pt x="67" y="92"/>
                      <a:pt x="67" y="89"/>
                    </a:cubicBezTo>
                    <a:cubicBezTo>
                      <a:pt x="69" y="88"/>
                      <a:pt x="71" y="89"/>
                      <a:pt x="73" y="89"/>
                    </a:cubicBezTo>
                    <a:cubicBezTo>
                      <a:pt x="78" y="89"/>
                      <a:pt x="88" y="87"/>
                      <a:pt x="97" y="90"/>
                    </a:cubicBezTo>
                    <a:cubicBezTo>
                      <a:pt x="108" y="93"/>
                      <a:pt x="112" y="106"/>
                      <a:pt x="124" y="104"/>
                    </a:cubicBezTo>
                    <a:cubicBezTo>
                      <a:pt x="122" y="102"/>
                      <a:pt x="108" y="93"/>
                      <a:pt x="108" y="91"/>
                    </a:cubicBezTo>
                    <a:cubicBezTo>
                      <a:pt x="108" y="89"/>
                      <a:pt x="110" y="88"/>
                      <a:pt x="111" y="86"/>
                    </a:cubicBezTo>
                    <a:cubicBezTo>
                      <a:pt x="133" y="86"/>
                      <a:pt x="133" y="86"/>
                      <a:pt x="133" y="86"/>
                    </a:cubicBezTo>
                    <a:cubicBezTo>
                      <a:pt x="141" y="83"/>
                      <a:pt x="149" y="81"/>
                      <a:pt x="154" y="74"/>
                    </a:cubicBezTo>
                    <a:cubicBezTo>
                      <a:pt x="147" y="74"/>
                      <a:pt x="147" y="74"/>
                      <a:pt x="147" y="74"/>
                    </a:cubicBezTo>
                    <a:cubicBezTo>
                      <a:pt x="138" y="81"/>
                      <a:pt x="128" y="84"/>
                      <a:pt x="114" y="84"/>
                    </a:cubicBezTo>
                    <a:cubicBezTo>
                      <a:pt x="106" y="84"/>
                      <a:pt x="103" y="81"/>
                      <a:pt x="99" y="81"/>
                    </a:cubicBezTo>
                    <a:cubicBezTo>
                      <a:pt x="95" y="81"/>
                      <a:pt x="93" y="85"/>
                      <a:pt x="90" y="85"/>
                    </a:cubicBezTo>
                    <a:cubicBezTo>
                      <a:pt x="81" y="85"/>
                      <a:pt x="70" y="82"/>
                      <a:pt x="72" y="76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3" y="78"/>
                      <a:pt x="61" y="81"/>
                      <a:pt x="57" y="81"/>
                    </a:cubicBezTo>
                    <a:cubicBezTo>
                      <a:pt x="48" y="81"/>
                      <a:pt x="36" y="75"/>
                      <a:pt x="33" y="71"/>
                    </a:cubicBezTo>
                    <a:cubicBezTo>
                      <a:pt x="36" y="69"/>
                      <a:pt x="39" y="67"/>
                      <a:pt x="44" y="67"/>
                    </a:cubicBezTo>
                    <a:cubicBezTo>
                      <a:pt x="36" y="67"/>
                      <a:pt x="27" y="66"/>
                      <a:pt x="24" y="67"/>
                    </a:cubicBezTo>
                    <a:cubicBezTo>
                      <a:pt x="29" y="55"/>
                      <a:pt x="40" y="56"/>
                      <a:pt x="51" y="53"/>
                    </a:cubicBezTo>
                    <a:cubicBezTo>
                      <a:pt x="47" y="52"/>
                      <a:pt x="46" y="52"/>
                      <a:pt x="42" y="52"/>
                    </a:cubicBezTo>
                    <a:cubicBezTo>
                      <a:pt x="33" y="52"/>
                      <a:pt x="33" y="60"/>
                      <a:pt x="25" y="60"/>
                    </a:cubicBezTo>
                    <a:cubicBezTo>
                      <a:pt x="22" y="60"/>
                      <a:pt x="18" y="57"/>
                      <a:pt x="17" y="56"/>
                    </a:cubicBezTo>
                    <a:cubicBezTo>
                      <a:pt x="21" y="52"/>
                      <a:pt x="24" y="51"/>
                      <a:pt x="29" y="49"/>
                    </a:cubicBezTo>
                    <a:cubicBezTo>
                      <a:pt x="16" y="49"/>
                      <a:pt x="16" y="49"/>
                      <a:pt x="16" y="49"/>
                    </a:cubicBezTo>
                    <a:cubicBezTo>
                      <a:pt x="13" y="50"/>
                      <a:pt x="11" y="51"/>
                      <a:pt x="9" y="52"/>
                    </a:cubicBezTo>
                    <a:cubicBezTo>
                      <a:pt x="7" y="52"/>
                      <a:pt x="2" y="52"/>
                      <a:pt x="0" y="52"/>
                    </a:cubicBezTo>
                    <a:cubicBezTo>
                      <a:pt x="2" y="41"/>
                      <a:pt x="31" y="36"/>
                      <a:pt x="44" y="36"/>
                    </a:cubicBezTo>
                    <a:cubicBezTo>
                      <a:pt x="49" y="36"/>
                      <a:pt x="52" y="36"/>
                      <a:pt x="53" y="36"/>
                    </a:cubicBezTo>
                    <a:cubicBezTo>
                      <a:pt x="55" y="36"/>
                      <a:pt x="57" y="34"/>
                      <a:pt x="57" y="32"/>
                    </a:cubicBezTo>
                    <a:cubicBezTo>
                      <a:pt x="71" y="32"/>
                      <a:pt x="65" y="22"/>
                      <a:pt x="74" y="22"/>
                    </a:cubicBezTo>
                    <a:cubicBezTo>
                      <a:pt x="83" y="22"/>
                      <a:pt x="100" y="31"/>
                      <a:pt x="104" y="32"/>
                    </a:cubicBezTo>
                    <a:cubicBezTo>
                      <a:pt x="108" y="22"/>
                      <a:pt x="113" y="12"/>
                      <a:pt x="126" y="12"/>
                    </a:cubicBezTo>
                    <a:cubicBezTo>
                      <a:pt x="134" y="12"/>
                      <a:pt x="129" y="16"/>
                      <a:pt x="135" y="11"/>
                    </a:cubicBezTo>
                    <a:cubicBezTo>
                      <a:pt x="137" y="7"/>
                      <a:pt x="141" y="6"/>
                      <a:pt x="145" y="6"/>
                    </a:cubicBezTo>
                    <a:cubicBezTo>
                      <a:pt x="168" y="6"/>
                      <a:pt x="173" y="6"/>
                      <a:pt x="196" y="6"/>
                    </a:cubicBezTo>
                    <a:cubicBezTo>
                      <a:pt x="197" y="4"/>
                      <a:pt x="199" y="3"/>
                      <a:pt x="201" y="3"/>
                    </a:cubicBezTo>
                    <a:cubicBezTo>
                      <a:pt x="209" y="3"/>
                      <a:pt x="211" y="8"/>
                      <a:pt x="218" y="8"/>
                    </a:cubicBezTo>
                    <a:cubicBezTo>
                      <a:pt x="224" y="8"/>
                      <a:pt x="226" y="0"/>
                      <a:pt x="232" y="0"/>
                    </a:cubicBezTo>
                    <a:cubicBezTo>
                      <a:pt x="239" y="0"/>
                      <a:pt x="241" y="3"/>
                      <a:pt x="245" y="3"/>
                    </a:cubicBezTo>
                    <a:cubicBezTo>
                      <a:pt x="250" y="3"/>
                      <a:pt x="253" y="3"/>
                      <a:pt x="258" y="3"/>
                    </a:cubicBezTo>
                    <a:cubicBezTo>
                      <a:pt x="268" y="3"/>
                      <a:pt x="306" y="2"/>
                      <a:pt x="315" y="1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78" name="îṩļíḓé"/>
              <p:cNvSpPr/>
              <p:nvPr/>
            </p:nvSpPr>
            <p:spPr bwMode="auto">
              <a:xfrm>
                <a:off x="4026673" y="1183105"/>
                <a:ext cx="1258264" cy="956564"/>
              </a:xfrm>
              <a:custGeom>
                <a:avLst/>
                <a:gdLst/>
                <a:ahLst/>
                <a:cxnLst>
                  <a:cxn ang="0">
                    <a:pos x="280" y="372"/>
                  </a:cxn>
                  <a:cxn ang="0">
                    <a:pos x="267" y="360"/>
                  </a:cxn>
                  <a:cxn ang="0">
                    <a:pos x="228" y="336"/>
                  </a:cxn>
                  <a:cxn ang="0">
                    <a:pos x="215" y="302"/>
                  </a:cxn>
                  <a:cxn ang="0">
                    <a:pos x="109" y="219"/>
                  </a:cxn>
                  <a:cxn ang="0">
                    <a:pos x="73" y="223"/>
                  </a:cxn>
                  <a:cxn ang="0">
                    <a:pos x="43" y="217"/>
                  </a:cxn>
                  <a:cxn ang="0">
                    <a:pos x="19" y="202"/>
                  </a:cxn>
                  <a:cxn ang="0">
                    <a:pos x="51" y="190"/>
                  </a:cxn>
                  <a:cxn ang="0">
                    <a:pos x="64" y="180"/>
                  </a:cxn>
                  <a:cxn ang="0">
                    <a:pos x="0" y="166"/>
                  </a:cxn>
                  <a:cxn ang="0">
                    <a:pos x="84" y="141"/>
                  </a:cxn>
                  <a:cxn ang="0">
                    <a:pos x="72" y="102"/>
                  </a:cxn>
                  <a:cxn ang="0">
                    <a:pos x="144" y="59"/>
                  </a:cxn>
                  <a:cxn ang="0">
                    <a:pos x="237" y="56"/>
                  </a:cxn>
                  <a:cxn ang="0">
                    <a:pos x="260" y="53"/>
                  </a:cxn>
                  <a:cxn ang="0">
                    <a:pos x="274" y="38"/>
                  </a:cxn>
                  <a:cxn ang="0">
                    <a:pos x="309" y="36"/>
                  </a:cxn>
                  <a:cxn ang="0">
                    <a:pos x="355" y="15"/>
                  </a:cxn>
                  <a:cxn ang="0">
                    <a:pos x="391" y="13"/>
                  </a:cxn>
                  <a:cxn ang="0">
                    <a:pos x="534" y="0"/>
                  </a:cxn>
                  <a:cxn ang="0">
                    <a:pos x="594" y="48"/>
                  </a:cxn>
                  <a:cxn ang="0">
                    <a:pos x="570" y="75"/>
                  </a:cxn>
                  <a:cxn ang="0">
                    <a:pos x="603" y="102"/>
                  </a:cxn>
                  <a:cxn ang="0">
                    <a:pos x="684" y="66"/>
                  </a:cxn>
                  <a:cxn ang="0">
                    <a:pos x="730" y="51"/>
                  </a:cxn>
                  <a:cxn ang="0">
                    <a:pos x="702" y="94"/>
                  </a:cxn>
                  <a:cxn ang="0">
                    <a:pos x="691" y="114"/>
                  </a:cxn>
                  <a:cxn ang="0">
                    <a:pos x="654" y="150"/>
                  </a:cxn>
                  <a:cxn ang="0">
                    <a:pos x="677" y="178"/>
                  </a:cxn>
                  <a:cxn ang="0">
                    <a:pos x="657" y="202"/>
                  </a:cxn>
                  <a:cxn ang="0">
                    <a:pos x="669" y="236"/>
                  </a:cxn>
                  <a:cxn ang="0">
                    <a:pos x="673" y="260"/>
                  </a:cxn>
                  <a:cxn ang="0">
                    <a:pos x="633" y="295"/>
                  </a:cxn>
                  <a:cxn ang="0">
                    <a:pos x="637" y="305"/>
                  </a:cxn>
                  <a:cxn ang="0">
                    <a:pos x="601" y="297"/>
                  </a:cxn>
                  <a:cxn ang="0">
                    <a:pos x="633" y="358"/>
                  </a:cxn>
                  <a:cxn ang="0">
                    <a:pos x="596" y="347"/>
                  </a:cxn>
                  <a:cxn ang="0">
                    <a:pos x="616" y="375"/>
                  </a:cxn>
                  <a:cxn ang="0">
                    <a:pos x="518" y="408"/>
                  </a:cxn>
                  <a:cxn ang="0">
                    <a:pos x="483" y="445"/>
                  </a:cxn>
                  <a:cxn ang="0">
                    <a:pos x="443" y="449"/>
                  </a:cxn>
                  <a:cxn ang="0">
                    <a:pos x="402" y="485"/>
                  </a:cxn>
                  <a:cxn ang="0">
                    <a:pos x="384" y="523"/>
                  </a:cxn>
                  <a:cxn ang="0">
                    <a:pos x="362" y="571"/>
                  </a:cxn>
                  <a:cxn ang="0">
                    <a:pos x="313" y="560"/>
                  </a:cxn>
                  <a:cxn ang="0">
                    <a:pos x="270" y="499"/>
                  </a:cxn>
                  <a:cxn ang="0">
                    <a:pos x="256" y="475"/>
                  </a:cxn>
                  <a:cxn ang="0">
                    <a:pos x="237" y="438"/>
                  </a:cxn>
                  <a:cxn ang="0">
                    <a:pos x="255" y="403"/>
                  </a:cxn>
                </a:cxnLst>
                <a:rect l="0" t="0" r="r" b="b"/>
                <a:pathLst>
                  <a:path w="756" h="575">
                    <a:moveTo>
                      <a:pt x="255" y="403"/>
                    </a:moveTo>
                    <a:cubicBezTo>
                      <a:pt x="261" y="400"/>
                      <a:pt x="261" y="400"/>
                      <a:pt x="267" y="402"/>
                    </a:cubicBezTo>
                    <a:cubicBezTo>
                      <a:pt x="270" y="389"/>
                      <a:pt x="276" y="385"/>
                      <a:pt x="280" y="372"/>
                    </a:cubicBezTo>
                    <a:cubicBezTo>
                      <a:pt x="266" y="368"/>
                      <a:pt x="234" y="366"/>
                      <a:pt x="233" y="353"/>
                    </a:cubicBezTo>
                    <a:cubicBezTo>
                      <a:pt x="237" y="352"/>
                      <a:pt x="236" y="353"/>
                      <a:pt x="240" y="353"/>
                    </a:cubicBezTo>
                    <a:cubicBezTo>
                      <a:pt x="250" y="353"/>
                      <a:pt x="256" y="360"/>
                      <a:pt x="267" y="360"/>
                    </a:cubicBezTo>
                    <a:cubicBezTo>
                      <a:pt x="271" y="360"/>
                      <a:pt x="271" y="356"/>
                      <a:pt x="271" y="353"/>
                    </a:cubicBezTo>
                    <a:cubicBezTo>
                      <a:pt x="258" y="349"/>
                      <a:pt x="254" y="328"/>
                      <a:pt x="239" y="328"/>
                    </a:cubicBezTo>
                    <a:cubicBezTo>
                      <a:pt x="235" y="328"/>
                      <a:pt x="234" y="336"/>
                      <a:pt x="228" y="336"/>
                    </a:cubicBezTo>
                    <a:cubicBezTo>
                      <a:pt x="220" y="336"/>
                      <a:pt x="216" y="335"/>
                      <a:pt x="216" y="328"/>
                    </a:cubicBezTo>
                    <a:cubicBezTo>
                      <a:pt x="216" y="318"/>
                      <a:pt x="226" y="319"/>
                      <a:pt x="226" y="309"/>
                    </a:cubicBezTo>
                    <a:cubicBezTo>
                      <a:pt x="226" y="303"/>
                      <a:pt x="219" y="302"/>
                      <a:pt x="215" y="302"/>
                    </a:cubicBezTo>
                    <a:cubicBezTo>
                      <a:pt x="215" y="295"/>
                      <a:pt x="215" y="295"/>
                      <a:pt x="215" y="295"/>
                    </a:cubicBezTo>
                    <a:cubicBezTo>
                      <a:pt x="203" y="257"/>
                      <a:pt x="172" y="219"/>
                      <a:pt x="122" y="219"/>
                    </a:cubicBezTo>
                    <a:cubicBezTo>
                      <a:pt x="115" y="219"/>
                      <a:pt x="113" y="219"/>
                      <a:pt x="109" y="219"/>
                    </a:cubicBezTo>
                    <a:cubicBezTo>
                      <a:pt x="103" y="219"/>
                      <a:pt x="101" y="224"/>
                      <a:pt x="95" y="224"/>
                    </a:cubicBezTo>
                    <a:cubicBezTo>
                      <a:pt x="91" y="224"/>
                      <a:pt x="87" y="221"/>
                      <a:pt x="82" y="221"/>
                    </a:cubicBezTo>
                    <a:cubicBezTo>
                      <a:pt x="77" y="221"/>
                      <a:pt x="75" y="222"/>
                      <a:pt x="73" y="223"/>
                    </a:cubicBezTo>
                    <a:cubicBezTo>
                      <a:pt x="74" y="224"/>
                      <a:pt x="76" y="226"/>
                      <a:pt x="77" y="226"/>
                    </a:cubicBezTo>
                    <a:cubicBezTo>
                      <a:pt x="75" y="229"/>
                      <a:pt x="75" y="228"/>
                      <a:pt x="72" y="228"/>
                    </a:cubicBezTo>
                    <a:cubicBezTo>
                      <a:pt x="62" y="228"/>
                      <a:pt x="48" y="224"/>
                      <a:pt x="43" y="217"/>
                    </a:cubicBezTo>
                    <a:cubicBezTo>
                      <a:pt x="47" y="214"/>
                      <a:pt x="50" y="214"/>
                      <a:pt x="52" y="210"/>
                    </a:cubicBezTo>
                    <a:cubicBezTo>
                      <a:pt x="45" y="207"/>
                      <a:pt x="39" y="202"/>
                      <a:pt x="34" y="202"/>
                    </a:cubicBezTo>
                    <a:cubicBezTo>
                      <a:pt x="24" y="202"/>
                      <a:pt x="27" y="206"/>
                      <a:pt x="19" y="202"/>
                    </a:cubicBezTo>
                    <a:cubicBezTo>
                      <a:pt x="19" y="196"/>
                      <a:pt x="28" y="194"/>
                      <a:pt x="32" y="194"/>
                    </a:cubicBezTo>
                    <a:cubicBezTo>
                      <a:pt x="37" y="194"/>
                      <a:pt x="40" y="194"/>
                      <a:pt x="43" y="194"/>
                    </a:cubicBezTo>
                    <a:cubicBezTo>
                      <a:pt x="47" y="194"/>
                      <a:pt x="49" y="193"/>
                      <a:pt x="51" y="190"/>
                    </a:cubicBezTo>
                    <a:cubicBezTo>
                      <a:pt x="76" y="190"/>
                      <a:pt x="76" y="190"/>
                      <a:pt x="76" y="190"/>
                    </a:cubicBezTo>
                    <a:cubicBezTo>
                      <a:pt x="80" y="187"/>
                      <a:pt x="80" y="185"/>
                      <a:pt x="82" y="180"/>
                    </a:cubicBezTo>
                    <a:cubicBezTo>
                      <a:pt x="64" y="180"/>
                      <a:pt x="64" y="180"/>
                      <a:pt x="64" y="180"/>
                    </a:cubicBezTo>
                    <a:cubicBezTo>
                      <a:pt x="63" y="183"/>
                      <a:pt x="62" y="185"/>
                      <a:pt x="60" y="185"/>
                    </a:cubicBezTo>
                    <a:cubicBezTo>
                      <a:pt x="53" y="185"/>
                      <a:pt x="50" y="185"/>
                      <a:pt x="44" y="185"/>
                    </a:cubicBezTo>
                    <a:cubicBezTo>
                      <a:pt x="42" y="185"/>
                      <a:pt x="0" y="173"/>
                      <a:pt x="0" y="166"/>
                    </a:cubicBezTo>
                    <a:cubicBezTo>
                      <a:pt x="0" y="152"/>
                      <a:pt x="16" y="157"/>
                      <a:pt x="25" y="154"/>
                    </a:cubicBezTo>
                    <a:cubicBezTo>
                      <a:pt x="33" y="151"/>
                      <a:pt x="38" y="146"/>
                      <a:pt x="46" y="144"/>
                    </a:cubicBezTo>
                    <a:cubicBezTo>
                      <a:pt x="58" y="140"/>
                      <a:pt x="74" y="146"/>
                      <a:pt x="84" y="141"/>
                    </a:cubicBezTo>
                    <a:cubicBezTo>
                      <a:pt x="91" y="136"/>
                      <a:pt x="96" y="128"/>
                      <a:pt x="96" y="117"/>
                    </a:cubicBezTo>
                    <a:cubicBezTo>
                      <a:pt x="88" y="116"/>
                      <a:pt x="63" y="117"/>
                      <a:pt x="63" y="109"/>
                    </a:cubicBezTo>
                    <a:cubicBezTo>
                      <a:pt x="63" y="105"/>
                      <a:pt x="69" y="102"/>
                      <a:pt x="72" y="102"/>
                    </a:cubicBezTo>
                    <a:cubicBezTo>
                      <a:pt x="87" y="97"/>
                      <a:pt x="106" y="86"/>
                      <a:pt x="115" y="78"/>
                    </a:cubicBezTo>
                    <a:cubicBezTo>
                      <a:pt x="119" y="80"/>
                      <a:pt x="122" y="81"/>
                      <a:pt x="127" y="81"/>
                    </a:cubicBezTo>
                    <a:cubicBezTo>
                      <a:pt x="142" y="81"/>
                      <a:pt x="130" y="61"/>
                      <a:pt x="144" y="59"/>
                    </a:cubicBezTo>
                    <a:cubicBezTo>
                      <a:pt x="162" y="57"/>
                      <a:pt x="169" y="52"/>
                      <a:pt x="185" y="52"/>
                    </a:cubicBezTo>
                    <a:cubicBezTo>
                      <a:pt x="198" y="49"/>
                      <a:pt x="206" y="42"/>
                      <a:pt x="218" y="42"/>
                    </a:cubicBezTo>
                    <a:cubicBezTo>
                      <a:pt x="226" y="42"/>
                      <a:pt x="229" y="56"/>
                      <a:pt x="237" y="56"/>
                    </a:cubicBezTo>
                    <a:cubicBezTo>
                      <a:pt x="237" y="52"/>
                      <a:pt x="235" y="50"/>
                      <a:pt x="235" y="47"/>
                    </a:cubicBezTo>
                    <a:cubicBezTo>
                      <a:pt x="239" y="42"/>
                      <a:pt x="239" y="42"/>
                      <a:pt x="239" y="42"/>
                    </a:cubicBezTo>
                    <a:cubicBezTo>
                      <a:pt x="244" y="51"/>
                      <a:pt x="252" y="50"/>
                      <a:pt x="260" y="53"/>
                    </a:cubicBezTo>
                    <a:cubicBezTo>
                      <a:pt x="262" y="53"/>
                      <a:pt x="267" y="53"/>
                      <a:pt x="267" y="53"/>
                    </a:cubicBezTo>
                    <a:cubicBezTo>
                      <a:pt x="266" y="50"/>
                      <a:pt x="263" y="47"/>
                      <a:pt x="263" y="44"/>
                    </a:cubicBezTo>
                    <a:cubicBezTo>
                      <a:pt x="263" y="38"/>
                      <a:pt x="270" y="38"/>
                      <a:pt x="274" y="38"/>
                    </a:cubicBezTo>
                    <a:cubicBezTo>
                      <a:pt x="293" y="38"/>
                      <a:pt x="303" y="48"/>
                      <a:pt x="314" y="53"/>
                    </a:cubicBezTo>
                    <a:cubicBezTo>
                      <a:pt x="334" y="53"/>
                      <a:pt x="334" y="53"/>
                      <a:pt x="334" y="53"/>
                    </a:cubicBezTo>
                    <a:cubicBezTo>
                      <a:pt x="327" y="50"/>
                      <a:pt x="309" y="44"/>
                      <a:pt x="309" y="36"/>
                    </a:cubicBezTo>
                    <a:cubicBezTo>
                      <a:pt x="309" y="29"/>
                      <a:pt x="322" y="31"/>
                      <a:pt x="326" y="30"/>
                    </a:cubicBezTo>
                    <a:cubicBezTo>
                      <a:pt x="323" y="27"/>
                      <a:pt x="320" y="27"/>
                      <a:pt x="318" y="24"/>
                    </a:cubicBezTo>
                    <a:cubicBezTo>
                      <a:pt x="330" y="18"/>
                      <a:pt x="341" y="15"/>
                      <a:pt x="355" y="15"/>
                    </a:cubicBezTo>
                    <a:cubicBezTo>
                      <a:pt x="366" y="15"/>
                      <a:pt x="373" y="15"/>
                      <a:pt x="382" y="18"/>
                    </a:cubicBezTo>
                    <a:cubicBezTo>
                      <a:pt x="391" y="18"/>
                      <a:pt x="391" y="18"/>
                      <a:pt x="391" y="18"/>
                    </a:cubicBezTo>
                    <a:cubicBezTo>
                      <a:pt x="391" y="13"/>
                      <a:pt x="391" y="13"/>
                      <a:pt x="391" y="13"/>
                    </a:cubicBezTo>
                    <a:cubicBezTo>
                      <a:pt x="398" y="12"/>
                      <a:pt x="402" y="13"/>
                      <a:pt x="409" y="13"/>
                    </a:cubicBezTo>
                    <a:cubicBezTo>
                      <a:pt x="430" y="13"/>
                      <a:pt x="447" y="0"/>
                      <a:pt x="470" y="0"/>
                    </a:cubicBezTo>
                    <a:cubicBezTo>
                      <a:pt x="495" y="0"/>
                      <a:pt x="512" y="0"/>
                      <a:pt x="534" y="0"/>
                    </a:cubicBezTo>
                    <a:cubicBezTo>
                      <a:pt x="560" y="0"/>
                      <a:pt x="579" y="17"/>
                      <a:pt x="600" y="26"/>
                    </a:cubicBezTo>
                    <a:cubicBezTo>
                      <a:pt x="612" y="31"/>
                      <a:pt x="627" y="28"/>
                      <a:pt x="638" y="30"/>
                    </a:cubicBezTo>
                    <a:cubicBezTo>
                      <a:pt x="636" y="46"/>
                      <a:pt x="606" y="44"/>
                      <a:pt x="594" y="48"/>
                    </a:cubicBezTo>
                    <a:cubicBezTo>
                      <a:pt x="497" y="53"/>
                      <a:pt x="497" y="53"/>
                      <a:pt x="497" y="53"/>
                    </a:cubicBezTo>
                    <a:cubicBezTo>
                      <a:pt x="505" y="59"/>
                      <a:pt x="579" y="50"/>
                      <a:pt x="587" y="53"/>
                    </a:cubicBezTo>
                    <a:cubicBezTo>
                      <a:pt x="586" y="57"/>
                      <a:pt x="567" y="75"/>
                      <a:pt x="570" y="75"/>
                    </a:cubicBezTo>
                    <a:cubicBezTo>
                      <a:pt x="581" y="75"/>
                      <a:pt x="607" y="50"/>
                      <a:pt x="622" y="50"/>
                    </a:cubicBezTo>
                    <a:cubicBezTo>
                      <a:pt x="630" y="50"/>
                      <a:pt x="633" y="57"/>
                      <a:pt x="633" y="64"/>
                    </a:cubicBezTo>
                    <a:cubicBezTo>
                      <a:pt x="633" y="67"/>
                      <a:pt x="605" y="97"/>
                      <a:pt x="603" y="102"/>
                    </a:cubicBezTo>
                    <a:cubicBezTo>
                      <a:pt x="615" y="99"/>
                      <a:pt x="637" y="70"/>
                      <a:pt x="644" y="64"/>
                    </a:cubicBezTo>
                    <a:cubicBezTo>
                      <a:pt x="655" y="64"/>
                      <a:pt x="674" y="64"/>
                      <a:pt x="674" y="64"/>
                    </a:cubicBezTo>
                    <a:cubicBezTo>
                      <a:pt x="674" y="64"/>
                      <a:pt x="682" y="66"/>
                      <a:pt x="684" y="66"/>
                    </a:cubicBezTo>
                    <a:cubicBezTo>
                      <a:pt x="692" y="63"/>
                      <a:pt x="693" y="60"/>
                      <a:pt x="700" y="57"/>
                    </a:cubicBezTo>
                    <a:cubicBezTo>
                      <a:pt x="721" y="57"/>
                      <a:pt x="721" y="57"/>
                      <a:pt x="721" y="57"/>
                    </a:cubicBezTo>
                    <a:cubicBezTo>
                      <a:pt x="723" y="52"/>
                      <a:pt x="726" y="51"/>
                      <a:pt x="730" y="51"/>
                    </a:cubicBezTo>
                    <a:cubicBezTo>
                      <a:pt x="736" y="51"/>
                      <a:pt x="756" y="61"/>
                      <a:pt x="756" y="67"/>
                    </a:cubicBezTo>
                    <a:cubicBezTo>
                      <a:pt x="756" y="72"/>
                      <a:pt x="748" y="76"/>
                      <a:pt x="745" y="77"/>
                    </a:cubicBezTo>
                    <a:cubicBezTo>
                      <a:pt x="731" y="82"/>
                      <a:pt x="722" y="94"/>
                      <a:pt x="702" y="94"/>
                    </a:cubicBezTo>
                    <a:cubicBezTo>
                      <a:pt x="707" y="97"/>
                      <a:pt x="708" y="97"/>
                      <a:pt x="711" y="94"/>
                    </a:cubicBezTo>
                    <a:cubicBezTo>
                      <a:pt x="711" y="107"/>
                      <a:pt x="699" y="107"/>
                      <a:pt x="691" y="109"/>
                    </a:cubicBezTo>
                    <a:cubicBezTo>
                      <a:pt x="694" y="115"/>
                      <a:pt x="691" y="110"/>
                      <a:pt x="691" y="114"/>
                    </a:cubicBezTo>
                    <a:cubicBezTo>
                      <a:pt x="691" y="121"/>
                      <a:pt x="680" y="123"/>
                      <a:pt x="671" y="125"/>
                    </a:cubicBezTo>
                    <a:cubicBezTo>
                      <a:pt x="672" y="130"/>
                      <a:pt x="671" y="130"/>
                      <a:pt x="671" y="132"/>
                    </a:cubicBezTo>
                    <a:cubicBezTo>
                      <a:pt x="671" y="141"/>
                      <a:pt x="662" y="144"/>
                      <a:pt x="654" y="150"/>
                    </a:cubicBezTo>
                    <a:cubicBezTo>
                      <a:pt x="648" y="154"/>
                      <a:pt x="649" y="165"/>
                      <a:pt x="646" y="169"/>
                    </a:cubicBezTo>
                    <a:cubicBezTo>
                      <a:pt x="651" y="172"/>
                      <a:pt x="655" y="169"/>
                      <a:pt x="659" y="169"/>
                    </a:cubicBezTo>
                    <a:cubicBezTo>
                      <a:pt x="667" y="169"/>
                      <a:pt x="673" y="174"/>
                      <a:pt x="677" y="178"/>
                    </a:cubicBezTo>
                    <a:cubicBezTo>
                      <a:pt x="675" y="179"/>
                      <a:pt x="672" y="180"/>
                      <a:pt x="669" y="180"/>
                    </a:cubicBezTo>
                    <a:cubicBezTo>
                      <a:pt x="671" y="187"/>
                      <a:pt x="688" y="185"/>
                      <a:pt x="688" y="196"/>
                    </a:cubicBezTo>
                    <a:cubicBezTo>
                      <a:pt x="688" y="206"/>
                      <a:pt x="665" y="202"/>
                      <a:pt x="657" y="202"/>
                    </a:cubicBezTo>
                    <a:cubicBezTo>
                      <a:pt x="652" y="202"/>
                      <a:pt x="648" y="206"/>
                      <a:pt x="648" y="209"/>
                    </a:cubicBezTo>
                    <a:cubicBezTo>
                      <a:pt x="648" y="217"/>
                      <a:pt x="656" y="217"/>
                      <a:pt x="663" y="217"/>
                    </a:cubicBezTo>
                    <a:cubicBezTo>
                      <a:pt x="663" y="226"/>
                      <a:pt x="669" y="229"/>
                      <a:pt x="669" y="236"/>
                    </a:cubicBezTo>
                    <a:cubicBezTo>
                      <a:pt x="669" y="239"/>
                      <a:pt x="667" y="243"/>
                      <a:pt x="669" y="245"/>
                    </a:cubicBezTo>
                    <a:cubicBezTo>
                      <a:pt x="662" y="245"/>
                      <a:pt x="655" y="245"/>
                      <a:pt x="655" y="251"/>
                    </a:cubicBezTo>
                    <a:cubicBezTo>
                      <a:pt x="655" y="258"/>
                      <a:pt x="667" y="258"/>
                      <a:pt x="673" y="260"/>
                    </a:cubicBezTo>
                    <a:cubicBezTo>
                      <a:pt x="670" y="267"/>
                      <a:pt x="661" y="271"/>
                      <a:pt x="653" y="272"/>
                    </a:cubicBezTo>
                    <a:cubicBezTo>
                      <a:pt x="653" y="275"/>
                      <a:pt x="655" y="277"/>
                      <a:pt x="657" y="278"/>
                    </a:cubicBezTo>
                    <a:cubicBezTo>
                      <a:pt x="654" y="292"/>
                      <a:pt x="637" y="286"/>
                      <a:pt x="633" y="295"/>
                    </a:cubicBezTo>
                    <a:cubicBezTo>
                      <a:pt x="628" y="292"/>
                      <a:pt x="623" y="290"/>
                      <a:pt x="620" y="285"/>
                    </a:cubicBezTo>
                    <a:cubicBezTo>
                      <a:pt x="613" y="285"/>
                      <a:pt x="613" y="285"/>
                      <a:pt x="613" y="285"/>
                    </a:cubicBezTo>
                    <a:cubicBezTo>
                      <a:pt x="618" y="297"/>
                      <a:pt x="637" y="293"/>
                      <a:pt x="637" y="305"/>
                    </a:cubicBezTo>
                    <a:cubicBezTo>
                      <a:pt x="637" y="310"/>
                      <a:pt x="636" y="317"/>
                      <a:pt x="631" y="317"/>
                    </a:cubicBezTo>
                    <a:cubicBezTo>
                      <a:pt x="623" y="317"/>
                      <a:pt x="609" y="306"/>
                      <a:pt x="607" y="297"/>
                    </a:cubicBezTo>
                    <a:cubicBezTo>
                      <a:pt x="603" y="298"/>
                      <a:pt x="602" y="297"/>
                      <a:pt x="601" y="297"/>
                    </a:cubicBezTo>
                    <a:cubicBezTo>
                      <a:pt x="601" y="304"/>
                      <a:pt x="601" y="304"/>
                      <a:pt x="601" y="304"/>
                    </a:cubicBezTo>
                    <a:cubicBezTo>
                      <a:pt x="617" y="320"/>
                      <a:pt x="645" y="327"/>
                      <a:pt x="645" y="352"/>
                    </a:cubicBezTo>
                    <a:cubicBezTo>
                      <a:pt x="645" y="357"/>
                      <a:pt x="638" y="358"/>
                      <a:pt x="633" y="358"/>
                    </a:cubicBezTo>
                    <a:cubicBezTo>
                      <a:pt x="612" y="358"/>
                      <a:pt x="617" y="336"/>
                      <a:pt x="599" y="336"/>
                    </a:cubicBezTo>
                    <a:cubicBezTo>
                      <a:pt x="596" y="336"/>
                      <a:pt x="594" y="337"/>
                      <a:pt x="592" y="336"/>
                    </a:cubicBezTo>
                    <a:cubicBezTo>
                      <a:pt x="592" y="342"/>
                      <a:pt x="596" y="343"/>
                      <a:pt x="596" y="347"/>
                    </a:cubicBezTo>
                    <a:cubicBezTo>
                      <a:pt x="596" y="351"/>
                      <a:pt x="589" y="352"/>
                      <a:pt x="587" y="352"/>
                    </a:cubicBezTo>
                    <a:cubicBezTo>
                      <a:pt x="587" y="366"/>
                      <a:pt x="626" y="364"/>
                      <a:pt x="635" y="367"/>
                    </a:cubicBezTo>
                    <a:cubicBezTo>
                      <a:pt x="629" y="372"/>
                      <a:pt x="624" y="373"/>
                      <a:pt x="616" y="375"/>
                    </a:cubicBezTo>
                    <a:cubicBezTo>
                      <a:pt x="602" y="380"/>
                      <a:pt x="597" y="393"/>
                      <a:pt x="584" y="397"/>
                    </a:cubicBezTo>
                    <a:cubicBezTo>
                      <a:pt x="569" y="402"/>
                      <a:pt x="556" y="400"/>
                      <a:pt x="539" y="408"/>
                    </a:cubicBezTo>
                    <a:cubicBezTo>
                      <a:pt x="518" y="408"/>
                      <a:pt x="518" y="408"/>
                      <a:pt x="518" y="408"/>
                    </a:cubicBezTo>
                    <a:cubicBezTo>
                      <a:pt x="514" y="410"/>
                      <a:pt x="510" y="412"/>
                      <a:pt x="510" y="415"/>
                    </a:cubicBezTo>
                    <a:cubicBezTo>
                      <a:pt x="498" y="423"/>
                      <a:pt x="498" y="423"/>
                      <a:pt x="498" y="423"/>
                    </a:cubicBezTo>
                    <a:cubicBezTo>
                      <a:pt x="490" y="430"/>
                      <a:pt x="490" y="438"/>
                      <a:pt x="483" y="445"/>
                    </a:cubicBezTo>
                    <a:cubicBezTo>
                      <a:pt x="474" y="454"/>
                      <a:pt x="459" y="452"/>
                      <a:pt x="450" y="458"/>
                    </a:cubicBezTo>
                    <a:cubicBezTo>
                      <a:pt x="443" y="458"/>
                      <a:pt x="443" y="458"/>
                      <a:pt x="443" y="458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37" y="452"/>
                      <a:pt x="438" y="457"/>
                      <a:pt x="435" y="460"/>
                    </a:cubicBezTo>
                    <a:cubicBezTo>
                      <a:pt x="425" y="470"/>
                      <a:pt x="401" y="466"/>
                      <a:pt x="401" y="480"/>
                    </a:cubicBezTo>
                    <a:cubicBezTo>
                      <a:pt x="401" y="482"/>
                      <a:pt x="402" y="483"/>
                      <a:pt x="402" y="485"/>
                    </a:cubicBezTo>
                    <a:cubicBezTo>
                      <a:pt x="401" y="486"/>
                      <a:pt x="399" y="488"/>
                      <a:pt x="399" y="490"/>
                    </a:cubicBezTo>
                    <a:cubicBezTo>
                      <a:pt x="399" y="493"/>
                      <a:pt x="405" y="495"/>
                      <a:pt x="405" y="500"/>
                    </a:cubicBezTo>
                    <a:cubicBezTo>
                      <a:pt x="405" y="515"/>
                      <a:pt x="384" y="510"/>
                      <a:pt x="384" y="523"/>
                    </a:cubicBezTo>
                    <a:cubicBezTo>
                      <a:pt x="384" y="531"/>
                      <a:pt x="383" y="543"/>
                      <a:pt x="384" y="547"/>
                    </a:cubicBezTo>
                    <a:cubicBezTo>
                      <a:pt x="374" y="552"/>
                      <a:pt x="379" y="575"/>
                      <a:pt x="367" y="575"/>
                    </a:cubicBezTo>
                    <a:cubicBezTo>
                      <a:pt x="364" y="575"/>
                      <a:pt x="363" y="573"/>
                      <a:pt x="362" y="571"/>
                    </a:cubicBezTo>
                    <a:cubicBezTo>
                      <a:pt x="356" y="571"/>
                      <a:pt x="356" y="574"/>
                      <a:pt x="353" y="574"/>
                    </a:cubicBezTo>
                    <a:cubicBezTo>
                      <a:pt x="342" y="574"/>
                      <a:pt x="343" y="554"/>
                      <a:pt x="332" y="554"/>
                    </a:cubicBezTo>
                    <a:cubicBezTo>
                      <a:pt x="326" y="554"/>
                      <a:pt x="319" y="559"/>
                      <a:pt x="313" y="560"/>
                    </a:cubicBezTo>
                    <a:cubicBezTo>
                      <a:pt x="310" y="550"/>
                      <a:pt x="306" y="553"/>
                      <a:pt x="299" y="547"/>
                    </a:cubicBezTo>
                    <a:cubicBezTo>
                      <a:pt x="296" y="546"/>
                      <a:pt x="297" y="539"/>
                      <a:pt x="296" y="539"/>
                    </a:cubicBezTo>
                    <a:cubicBezTo>
                      <a:pt x="287" y="531"/>
                      <a:pt x="270" y="512"/>
                      <a:pt x="270" y="499"/>
                    </a:cubicBezTo>
                    <a:cubicBezTo>
                      <a:pt x="270" y="493"/>
                      <a:pt x="274" y="494"/>
                      <a:pt x="277" y="490"/>
                    </a:cubicBezTo>
                    <a:cubicBezTo>
                      <a:pt x="270" y="482"/>
                      <a:pt x="268" y="493"/>
                      <a:pt x="260" y="489"/>
                    </a:cubicBezTo>
                    <a:cubicBezTo>
                      <a:pt x="259" y="487"/>
                      <a:pt x="257" y="479"/>
                      <a:pt x="256" y="475"/>
                    </a:cubicBezTo>
                    <a:cubicBezTo>
                      <a:pt x="253" y="466"/>
                      <a:pt x="241" y="461"/>
                      <a:pt x="241" y="449"/>
                    </a:cubicBezTo>
                    <a:cubicBezTo>
                      <a:pt x="241" y="445"/>
                      <a:pt x="244" y="443"/>
                      <a:pt x="246" y="438"/>
                    </a:cubicBezTo>
                    <a:cubicBezTo>
                      <a:pt x="243" y="437"/>
                      <a:pt x="240" y="436"/>
                      <a:pt x="237" y="438"/>
                    </a:cubicBezTo>
                    <a:cubicBezTo>
                      <a:pt x="237" y="428"/>
                      <a:pt x="237" y="428"/>
                      <a:pt x="237" y="428"/>
                    </a:cubicBezTo>
                    <a:cubicBezTo>
                      <a:pt x="243" y="420"/>
                      <a:pt x="246" y="411"/>
                      <a:pt x="255" y="404"/>
                    </a:cubicBezTo>
                    <a:lnTo>
                      <a:pt x="255" y="40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79" name="íṩḻídé"/>
              <p:cNvSpPr/>
              <p:nvPr/>
            </p:nvSpPr>
            <p:spPr bwMode="auto">
              <a:xfrm>
                <a:off x="4401770" y="1786415"/>
                <a:ext cx="59539" cy="39691"/>
              </a:xfrm>
              <a:custGeom>
                <a:avLst/>
                <a:gdLst/>
                <a:ahLst/>
                <a:cxnLst>
                  <a:cxn ang="0">
                    <a:pos x="9" y="24"/>
                  </a:cxn>
                  <a:cxn ang="0">
                    <a:pos x="0" y="9"/>
                  </a:cxn>
                  <a:cxn ang="0">
                    <a:pos x="10" y="0"/>
                  </a:cxn>
                  <a:cxn ang="0">
                    <a:pos x="36" y="16"/>
                  </a:cxn>
                  <a:cxn ang="0">
                    <a:pos x="19" y="24"/>
                  </a:cxn>
                  <a:cxn ang="0">
                    <a:pos x="9" y="24"/>
                  </a:cxn>
                </a:cxnLst>
                <a:rect l="0" t="0" r="r" b="b"/>
                <a:pathLst>
                  <a:path w="36" h="24">
                    <a:moveTo>
                      <a:pt x="9" y="24"/>
                    </a:moveTo>
                    <a:cubicBezTo>
                      <a:pt x="5" y="24"/>
                      <a:pt x="0" y="14"/>
                      <a:pt x="0" y="9"/>
                    </a:cubicBezTo>
                    <a:cubicBezTo>
                      <a:pt x="0" y="2"/>
                      <a:pt x="6" y="0"/>
                      <a:pt x="10" y="0"/>
                    </a:cubicBezTo>
                    <a:cubicBezTo>
                      <a:pt x="21" y="0"/>
                      <a:pt x="25" y="12"/>
                      <a:pt x="36" y="16"/>
                    </a:cubicBezTo>
                    <a:cubicBezTo>
                      <a:pt x="35" y="23"/>
                      <a:pt x="26" y="24"/>
                      <a:pt x="19" y="24"/>
                    </a:cubicBezTo>
                    <a:lnTo>
                      <a:pt x="9" y="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80" name="išlíḍè"/>
              <p:cNvSpPr/>
              <p:nvPr/>
            </p:nvSpPr>
            <p:spPr bwMode="auto">
              <a:xfrm>
                <a:off x="5151965" y="1580020"/>
                <a:ext cx="33739" cy="19846"/>
              </a:xfrm>
              <a:custGeom>
                <a:avLst/>
                <a:gdLst/>
                <a:ahLst/>
                <a:cxnLst>
                  <a:cxn ang="0">
                    <a:pos x="6" y="12"/>
                  </a:cxn>
                  <a:cxn ang="0">
                    <a:pos x="0" y="5"/>
                  </a:cxn>
                  <a:cxn ang="0">
                    <a:pos x="4" y="0"/>
                  </a:cxn>
                  <a:cxn ang="0">
                    <a:pos x="12" y="0"/>
                  </a:cxn>
                  <a:cxn ang="0">
                    <a:pos x="12" y="5"/>
                  </a:cxn>
                  <a:cxn ang="0">
                    <a:pos x="20" y="5"/>
                  </a:cxn>
                  <a:cxn ang="0">
                    <a:pos x="6" y="12"/>
                  </a:cxn>
                </a:cxnLst>
                <a:rect l="0" t="0" r="r" b="b"/>
                <a:pathLst>
                  <a:path w="20" h="12">
                    <a:moveTo>
                      <a:pt x="6" y="12"/>
                    </a:moveTo>
                    <a:cubicBezTo>
                      <a:pt x="2" y="12"/>
                      <a:pt x="0" y="8"/>
                      <a:pt x="0" y="5"/>
                    </a:cubicBezTo>
                    <a:cubicBezTo>
                      <a:pt x="0" y="3"/>
                      <a:pt x="3" y="1"/>
                      <a:pt x="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"/>
                      <a:pt x="12" y="4"/>
                      <a:pt x="12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7" y="7"/>
                      <a:pt x="10" y="12"/>
                      <a:pt x="6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81" name="iṧļïďé"/>
              <p:cNvSpPr/>
              <p:nvPr/>
            </p:nvSpPr>
            <p:spPr bwMode="auto">
              <a:xfrm>
                <a:off x="4310477" y="2393694"/>
                <a:ext cx="136941" cy="132967"/>
              </a:xfrm>
              <a:custGeom>
                <a:avLst/>
                <a:gdLst/>
                <a:ahLst/>
                <a:cxnLst>
                  <a:cxn ang="0">
                    <a:pos x="4" y="67"/>
                  </a:cxn>
                  <a:cxn ang="0">
                    <a:pos x="0" y="62"/>
                  </a:cxn>
                  <a:cxn ang="0">
                    <a:pos x="8" y="54"/>
                  </a:cxn>
                  <a:cxn ang="0">
                    <a:pos x="8" y="51"/>
                  </a:cxn>
                  <a:cxn ang="0">
                    <a:pos x="4" y="49"/>
                  </a:cxn>
                  <a:cxn ang="0">
                    <a:pos x="28" y="13"/>
                  </a:cxn>
                  <a:cxn ang="0">
                    <a:pos x="41" y="0"/>
                  </a:cxn>
                  <a:cxn ang="0">
                    <a:pos x="44" y="4"/>
                  </a:cxn>
                  <a:cxn ang="0">
                    <a:pos x="32" y="27"/>
                  </a:cxn>
                  <a:cxn ang="0">
                    <a:pos x="32" y="31"/>
                  </a:cxn>
                  <a:cxn ang="0">
                    <a:pos x="39" y="27"/>
                  </a:cxn>
                  <a:cxn ang="0">
                    <a:pos x="46" y="29"/>
                  </a:cxn>
                  <a:cxn ang="0">
                    <a:pos x="44" y="32"/>
                  </a:cxn>
                  <a:cxn ang="0">
                    <a:pos x="44" y="36"/>
                  </a:cxn>
                  <a:cxn ang="0">
                    <a:pos x="52" y="36"/>
                  </a:cxn>
                  <a:cxn ang="0">
                    <a:pos x="52" y="38"/>
                  </a:cxn>
                  <a:cxn ang="0">
                    <a:pos x="57" y="36"/>
                  </a:cxn>
                  <a:cxn ang="0">
                    <a:pos x="70" y="36"/>
                  </a:cxn>
                  <a:cxn ang="0">
                    <a:pos x="69" y="51"/>
                  </a:cxn>
                  <a:cxn ang="0">
                    <a:pos x="74" y="49"/>
                  </a:cxn>
                  <a:cxn ang="0">
                    <a:pos x="70" y="56"/>
                  </a:cxn>
                  <a:cxn ang="0">
                    <a:pos x="73" y="63"/>
                  </a:cxn>
                  <a:cxn ang="0">
                    <a:pos x="79" y="60"/>
                  </a:cxn>
                  <a:cxn ang="0">
                    <a:pos x="82" y="70"/>
                  </a:cxn>
                  <a:cxn ang="0">
                    <a:pos x="75" y="80"/>
                  </a:cxn>
                  <a:cxn ang="0">
                    <a:pos x="71" y="75"/>
                  </a:cxn>
                  <a:cxn ang="0">
                    <a:pos x="67" y="74"/>
                  </a:cxn>
                  <a:cxn ang="0">
                    <a:pos x="63" y="62"/>
                  </a:cxn>
                  <a:cxn ang="0">
                    <a:pos x="50" y="74"/>
                  </a:cxn>
                  <a:cxn ang="0">
                    <a:pos x="47" y="74"/>
                  </a:cxn>
                  <a:cxn ang="0">
                    <a:pos x="52" y="67"/>
                  </a:cxn>
                  <a:cxn ang="0">
                    <a:pos x="40" y="65"/>
                  </a:cxn>
                  <a:cxn ang="0">
                    <a:pos x="31" y="67"/>
                  </a:cxn>
                  <a:cxn ang="0">
                    <a:pos x="18" y="64"/>
                  </a:cxn>
                  <a:cxn ang="0">
                    <a:pos x="4" y="67"/>
                  </a:cxn>
                </a:cxnLst>
                <a:rect l="0" t="0" r="r" b="b"/>
                <a:pathLst>
                  <a:path w="82" h="80">
                    <a:moveTo>
                      <a:pt x="4" y="67"/>
                    </a:moveTo>
                    <a:cubicBezTo>
                      <a:pt x="2" y="67"/>
                      <a:pt x="0" y="64"/>
                      <a:pt x="0" y="62"/>
                    </a:cubicBezTo>
                    <a:cubicBezTo>
                      <a:pt x="0" y="61"/>
                      <a:pt x="8" y="55"/>
                      <a:pt x="8" y="54"/>
                    </a:cubicBezTo>
                    <a:cubicBezTo>
                      <a:pt x="8" y="51"/>
                      <a:pt x="8" y="51"/>
                      <a:pt x="8" y="51"/>
                    </a:cubicBezTo>
                    <a:cubicBezTo>
                      <a:pt x="6" y="51"/>
                      <a:pt x="5" y="51"/>
                      <a:pt x="4" y="49"/>
                    </a:cubicBezTo>
                    <a:cubicBezTo>
                      <a:pt x="17" y="43"/>
                      <a:pt x="21" y="23"/>
                      <a:pt x="28" y="13"/>
                    </a:cubicBezTo>
                    <a:cubicBezTo>
                      <a:pt x="32" y="7"/>
                      <a:pt x="34" y="0"/>
                      <a:pt x="41" y="0"/>
                    </a:cubicBezTo>
                    <a:cubicBezTo>
                      <a:pt x="43" y="0"/>
                      <a:pt x="44" y="3"/>
                      <a:pt x="44" y="4"/>
                    </a:cubicBezTo>
                    <a:cubicBezTo>
                      <a:pt x="44" y="14"/>
                      <a:pt x="35" y="19"/>
                      <a:pt x="32" y="27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6" y="30"/>
                      <a:pt x="36" y="27"/>
                      <a:pt x="39" y="27"/>
                    </a:cubicBezTo>
                    <a:cubicBezTo>
                      <a:pt x="42" y="27"/>
                      <a:pt x="44" y="28"/>
                      <a:pt x="46" y="29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36"/>
                      <a:pt x="44" y="36"/>
                      <a:pt x="44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36"/>
                      <a:pt x="52" y="38"/>
                      <a:pt x="52" y="38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62" y="37"/>
                      <a:pt x="68" y="37"/>
                      <a:pt x="70" y="36"/>
                    </a:cubicBezTo>
                    <a:cubicBezTo>
                      <a:pt x="70" y="40"/>
                      <a:pt x="69" y="44"/>
                      <a:pt x="69" y="51"/>
                    </a:cubicBezTo>
                    <a:cubicBezTo>
                      <a:pt x="70" y="50"/>
                      <a:pt x="73" y="49"/>
                      <a:pt x="74" y="49"/>
                    </a:cubicBezTo>
                    <a:cubicBezTo>
                      <a:pt x="74" y="53"/>
                      <a:pt x="70" y="54"/>
                      <a:pt x="70" y="56"/>
                    </a:cubicBezTo>
                    <a:cubicBezTo>
                      <a:pt x="70" y="58"/>
                      <a:pt x="73" y="60"/>
                      <a:pt x="73" y="63"/>
                    </a:cubicBezTo>
                    <a:cubicBezTo>
                      <a:pt x="77" y="63"/>
                      <a:pt x="76" y="62"/>
                      <a:pt x="79" y="60"/>
                    </a:cubicBezTo>
                    <a:cubicBezTo>
                      <a:pt x="79" y="66"/>
                      <a:pt x="82" y="65"/>
                      <a:pt x="82" y="70"/>
                    </a:cubicBezTo>
                    <a:cubicBezTo>
                      <a:pt x="82" y="75"/>
                      <a:pt x="79" y="80"/>
                      <a:pt x="75" y="80"/>
                    </a:cubicBezTo>
                    <a:cubicBezTo>
                      <a:pt x="72" y="80"/>
                      <a:pt x="71" y="77"/>
                      <a:pt x="71" y="75"/>
                    </a:cubicBezTo>
                    <a:cubicBezTo>
                      <a:pt x="69" y="75"/>
                      <a:pt x="69" y="74"/>
                      <a:pt x="67" y="74"/>
                    </a:cubicBezTo>
                    <a:cubicBezTo>
                      <a:pt x="64" y="74"/>
                      <a:pt x="66" y="66"/>
                      <a:pt x="63" y="62"/>
                    </a:cubicBezTo>
                    <a:cubicBezTo>
                      <a:pt x="59" y="67"/>
                      <a:pt x="55" y="74"/>
                      <a:pt x="50" y="74"/>
                    </a:cubicBezTo>
                    <a:cubicBezTo>
                      <a:pt x="49" y="74"/>
                      <a:pt x="47" y="75"/>
                      <a:pt x="47" y="74"/>
                    </a:cubicBezTo>
                    <a:cubicBezTo>
                      <a:pt x="47" y="70"/>
                      <a:pt x="51" y="70"/>
                      <a:pt x="52" y="67"/>
                    </a:cubicBezTo>
                    <a:cubicBezTo>
                      <a:pt x="48" y="67"/>
                      <a:pt x="42" y="70"/>
                      <a:pt x="40" y="65"/>
                    </a:cubicBezTo>
                    <a:cubicBezTo>
                      <a:pt x="37" y="66"/>
                      <a:pt x="34" y="67"/>
                      <a:pt x="31" y="67"/>
                    </a:cubicBezTo>
                    <a:cubicBezTo>
                      <a:pt x="25" y="67"/>
                      <a:pt x="23" y="64"/>
                      <a:pt x="18" y="64"/>
                    </a:cubicBezTo>
                    <a:cubicBezTo>
                      <a:pt x="11" y="64"/>
                      <a:pt x="9" y="67"/>
                      <a:pt x="4" y="6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82" name="îslîḑe"/>
              <p:cNvSpPr/>
              <p:nvPr/>
            </p:nvSpPr>
            <p:spPr bwMode="auto">
              <a:xfrm>
                <a:off x="3097860" y="2875944"/>
                <a:ext cx="839505" cy="563618"/>
              </a:xfrm>
              <a:custGeom>
                <a:avLst/>
                <a:gdLst/>
                <a:ahLst/>
                <a:cxnLst>
                  <a:cxn ang="0">
                    <a:pos x="250" y="98"/>
                  </a:cxn>
                  <a:cxn ang="0">
                    <a:pos x="246" y="141"/>
                  </a:cxn>
                  <a:cxn ang="0">
                    <a:pos x="251" y="160"/>
                  </a:cxn>
                  <a:cxn ang="0">
                    <a:pos x="281" y="192"/>
                  </a:cxn>
                  <a:cxn ang="0">
                    <a:pos x="312" y="191"/>
                  </a:cxn>
                  <a:cxn ang="0">
                    <a:pos x="327" y="187"/>
                  </a:cxn>
                  <a:cxn ang="0">
                    <a:pos x="363" y="152"/>
                  </a:cxn>
                  <a:cxn ang="0">
                    <a:pos x="382" y="154"/>
                  </a:cxn>
                  <a:cxn ang="0">
                    <a:pos x="374" y="180"/>
                  </a:cxn>
                  <a:cxn ang="0">
                    <a:pos x="369" y="192"/>
                  </a:cxn>
                  <a:cxn ang="0">
                    <a:pos x="365" y="213"/>
                  </a:cxn>
                  <a:cxn ang="0">
                    <a:pos x="357" y="224"/>
                  </a:cxn>
                  <a:cxn ang="0">
                    <a:pos x="405" y="226"/>
                  </a:cxn>
                  <a:cxn ang="0">
                    <a:pos x="426" y="242"/>
                  </a:cxn>
                  <a:cxn ang="0">
                    <a:pos x="423" y="289"/>
                  </a:cxn>
                  <a:cxn ang="0">
                    <a:pos x="451" y="316"/>
                  </a:cxn>
                  <a:cxn ang="0">
                    <a:pos x="504" y="322"/>
                  </a:cxn>
                  <a:cxn ang="0">
                    <a:pos x="488" y="329"/>
                  </a:cxn>
                  <a:cxn ang="0">
                    <a:pos x="480" y="316"/>
                  </a:cxn>
                  <a:cxn ang="0">
                    <a:pos x="468" y="332"/>
                  </a:cxn>
                  <a:cxn ang="0">
                    <a:pos x="446" y="326"/>
                  </a:cxn>
                  <a:cxn ang="0">
                    <a:pos x="431" y="323"/>
                  </a:cxn>
                  <a:cxn ang="0">
                    <a:pos x="406" y="302"/>
                  </a:cxn>
                  <a:cxn ang="0">
                    <a:pos x="402" y="306"/>
                  </a:cxn>
                  <a:cxn ang="0">
                    <a:pos x="391" y="281"/>
                  </a:cxn>
                  <a:cxn ang="0">
                    <a:pos x="372" y="260"/>
                  </a:cxn>
                  <a:cxn ang="0">
                    <a:pos x="345" y="255"/>
                  </a:cxn>
                  <a:cxn ang="0">
                    <a:pos x="294" y="226"/>
                  </a:cxn>
                  <a:cxn ang="0">
                    <a:pos x="282" y="222"/>
                  </a:cxn>
                  <a:cxn ang="0">
                    <a:pos x="256" y="227"/>
                  </a:cxn>
                  <a:cxn ang="0">
                    <a:pos x="221" y="214"/>
                  </a:cxn>
                  <a:cxn ang="0">
                    <a:pos x="195" y="203"/>
                  </a:cxn>
                  <a:cxn ang="0">
                    <a:pos x="175" y="195"/>
                  </a:cxn>
                  <a:cxn ang="0">
                    <a:pos x="148" y="172"/>
                  </a:cxn>
                  <a:cxn ang="0">
                    <a:pos x="148" y="150"/>
                  </a:cxn>
                  <a:cxn ang="0">
                    <a:pos x="102" y="101"/>
                  </a:cxn>
                  <a:cxn ang="0">
                    <a:pos x="82" y="68"/>
                  </a:cxn>
                  <a:cxn ang="0">
                    <a:pos x="62" y="53"/>
                  </a:cxn>
                  <a:cxn ang="0">
                    <a:pos x="49" y="22"/>
                  </a:cxn>
                  <a:cxn ang="0">
                    <a:pos x="28" y="19"/>
                  </a:cxn>
                  <a:cxn ang="0">
                    <a:pos x="49" y="53"/>
                  </a:cxn>
                  <a:cxn ang="0">
                    <a:pos x="73" y="95"/>
                  </a:cxn>
                  <a:cxn ang="0">
                    <a:pos x="96" y="130"/>
                  </a:cxn>
                  <a:cxn ang="0">
                    <a:pos x="86" y="127"/>
                  </a:cxn>
                  <a:cxn ang="0">
                    <a:pos x="65" y="109"/>
                  </a:cxn>
                  <a:cxn ang="0">
                    <a:pos x="52" y="84"/>
                  </a:cxn>
                  <a:cxn ang="0">
                    <a:pos x="40" y="69"/>
                  </a:cxn>
                  <a:cxn ang="0">
                    <a:pos x="11" y="24"/>
                  </a:cxn>
                  <a:cxn ang="0">
                    <a:pos x="0" y="0"/>
                  </a:cxn>
                  <a:cxn ang="0">
                    <a:pos x="76" y="16"/>
                  </a:cxn>
                  <a:cxn ang="0">
                    <a:pos x="113" y="10"/>
                  </a:cxn>
                  <a:cxn ang="0">
                    <a:pos x="152" y="29"/>
                  </a:cxn>
                  <a:cxn ang="0">
                    <a:pos x="188" y="38"/>
                  </a:cxn>
                  <a:cxn ang="0">
                    <a:pos x="249" y="90"/>
                  </a:cxn>
                  <a:cxn ang="0">
                    <a:pos x="247" y="86"/>
                  </a:cxn>
                </a:cxnLst>
                <a:rect l="0" t="0" r="r" b="b"/>
                <a:pathLst>
                  <a:path w="504" h="338">
                    <a:moveTo>
                      <a:pt x="248" y="91"/>
                    </a:moveTo>
                    <a:cubicBezTo>
                      <a:pt x="249" y="94"/>
                      <a:pt x="250" y="96"/>
                      <a:pt x="250" y="98"/>
                    </a:cubicBezTo>
                    <a:cubicBezTo>
                      <a:pt x="250" y="106"/>
                      <a:pt x="247" y="109"/>
                      <a:pt x="246" y="116"/>
                    </a:cubicBezTo>
                    <a:cubicBezTo>
                      <a:pt x="246" y="141"/>
                      <a:pt x="246" y="141"/>
                      <a:pt x="246" y="141"/>
                    </a:cubicBezTo>
                    <a:cubicBezTo>
                      <a:pt x="245" y="144"/>
                      <a:pt x="248" y="148"/>
                      <a:pt x="249" y="150"/>
                    </a:cubicBezTo>
                    <a:cubicBezTo>
                      <a:pt x="251" y="154"/>
                      <a:pt x="249" y="156"/>
                      <a:pt x="251" y="160"/>
                    </a:cubicBezTo>
                    <a:cubicBezTo>
                      <a:pt x="252" y="164"/>
                      <a:pt x="258" y="170"/>
                      <a:pt x="261" y="173"/>
                    </a:cubicBezTo>
                    <a:cubicBezTo>
                      <a:pt x="269" y="181"/>
                      <a:pt x="269" y="188"/>
                      <a:pt x="281" y="192"/>
                    </a:cubicBezTo>
                    <a:cubicBezTo>
                      <a:pt x="285" y="193"/>
                      <a:pt x="285" y="197"/>
                      <a:pt x="288" y="197"/>
                    </a:cubicBezTo>
                    <a:cubicBezTo>
                      <a:pt x="297" y="197"/>
                      <a:pt x="304" y="191"/>
                      <a:pt x="312" y="191"/>
                    </a:cubicBezTo>
                    <a:cubicBezTo>
                      <a:pt x="317" y="191"/>
                      <a:pt x="319" y="194"/>
                      <a:pt x="321" y="194"/>
                    </a:cubicBezTo>
                    <a:cubicBezTo>
                      <a:pt x="324" y="194"/>
                      <a:pt x="327" y="188"/>
                      <a:pt x="327" y="187"/>
                    </a:cubicBezTo>
                    <a:cubicBezTo>
                      <a:pt x="329" y="181"/>
                      <a:pt x="336" y="176"/>
                      <a:pt x="336" y="169"/>
                    </a:cubicBezTo>
                    <a:cubicBezTo>
                      <a:pt x="336" y="156"/>
                      <a:pt x="351" y="152"/>
                      <a:pt x="363" y="152"/>
                    </a:cubicBezTo>
                    <a:cubicBezTo>
                      <a:pt x="367" y="152"/>
                      <a:pt x="370" y="152"/>
                      <a:pt x="372" y="153"/>
                    </a:cubicBezTo>
                    <a:cubicBezTo>
                      <a:pt x="373" y="154"/>
                      <a:pt x="379" y="154"/>
                      <a:pt x="382" y="154"/>
                    </a:cubicBezTo>
                    <a:cubicBezTo>
                      <a:pt x="382" y="155"/>
                      <a:pt x="382" y="157"/>
                      <a:pt x="382" y="158"/>
                    </a:cubicBezTo>
                    <a:cubicBezTo>
                      <a:pt x="382" y="164"/>
                      <a:pt x="374" y="172"/>
                      <a:pt x="374" y="180"/>
                    </a:cubicBezTo>
                    <a:cubicBezTo>
                      <a:pt x="374" y="188"/>
                      <a:pt x="372" y="191"/>
                      <a:pt x="369" y="195"/>
                    </a:cubicBezTo>
                    <a:cubicBezTo>
                      <a:pt x="369" y="194"/>
                      <a:pt x="369" y="193"/>
                      <a:pt x="369" y="192"/>
                    </a:cubicBezTo>
                    <a:cubicBezTo>
                      <a:pt x="368" y="192"/>
                      <a:pt x="367" y="192"/>
                      <a:pt x="365" y="192"/>
                    </a:cubicBezTo>
                    <a:cubicBezTo>
                      <a:pt x="365" y="197"/>
                      <a:pt x="365" y="207"/>
                      <a:pt x="365" y="213"/>
                    </a:cubicBezTo>
                    <a:cubicBezTo>
                      <a:pt x="365" y="217"/>
                      <a:pt x="360" y="219"/>
                      <a:pt x="357" y="222"/>
                    </a:cubicBezTo>
                    <a:cubicBezTo>
                      <a:pt x="357" y="223"/>
                      <a:pt x="357" y="223"/>
                      <a:pt x="357" y="224"/>
                    </a:cubicBezTo>
                    <a:cubicBezTo>
                      <a:pt x="357" y="227"/>
                      <a:pt x="360" y="229"/>
                      <a:pt x="363" y="229"/>
                    </a:cubicBezTo>
                    <a:cubicBezTo>
                      <a:pt x="377" y="229"/>
                      <a:pt x="389" y="226"/>
                      <a:pt x="405" y="226"/>
                    </a:cubicBezTo>
                    <a:cubicBezTo>
                      <a:pt x="415" y="226"/>
                      <a:pt x="418" y="234"/>
                      <a:pt x="426" y="236"/>
                    </a:cubicBezTo>
                    <a:cubicBezTo>
                      <a:pt x="426" y="238"/>
                      <a:pt x="426" y="240"/>
                      <a:pt x="426" y="242"/>
                    </a:cubicBezTo>
                    <a:cubicBezTo>
                      <a:pt x="426" y="246"/>
                      <a:pt x="425" y="257"/>
                      <a:pt x="423" y="262"/>
                    </a:cubicBezTo>
                    <a:cubicBezTo>
                      <a:pt x="423" y="272"/>
                      <a:pt x="423" y="281"/>
                      <a:pt x="423" y="289"/>
                    </a:cubicBezTo>
                    <a:cubicBezTo>
                      <a:pt x="423" y="298"/>
                      <a:pt x="432" y="302"/>
                      <a:pt x="439" y="306"/>
                    </a:cubicBezTo>
                    <a:cubicBezTo>
                      <a:pt x="444" y="308"/>
                      <a:pt x="444" y="316"/>
                      <a:pt x="451" y="316"/>
                    </a:cubicBezTo>
                    <a:cubicBezTo>
                      <a:pt x="463" y="316"/>
                      <a:pt x="469" y="307"/>
                      <a:pt x="479" y="307"/>
                    </a:cubicBezTo>
                    <a:cubicBezTo>
                      <a:pt x="491" y="307"/>
                      <a:pt x="497" y="316"/>
                      <a:pt x="504" y="322"/>
                    </a:cubicBezTo>
                    <a:cubicBezTo>
                      <a:pt x="503" y="323"/>
                      <a:pt x="494" y="333"/>
                      <a:pt x="493" y="332"/>
                    </a:cubicBezTo>
                    <a:cubicBezTo>
                      <a:pt x="492" y="331"/>
                      <a:pt x="488" y="330"/>
                      <a:pt x="488" y="329"/>
                    </a:cubicBezTo>
                    <a:cubicBezTo>
                      <a:pt x="488" y="327"/>
                      <a:pt x="490" y="326"/>
                      <a:pt x="491" y="324"/>
                    </a:cubicBezTo>
                    <a:cubicBezTo>
                      <a:pt x="486" y="322"/>
                      <a:pt x="484" y="316"/>
                      <a:pt x="480" y="316"/>
                    </a:cubicBezTo>
                    <a:cubicBezTo>
                      <a:pt x="476" y="316"/>
                      <a:pt x="464" y="325"/>
                      <a:pt x="464" y="328"/>
                    </a:cubicBezTo>
                    <a:cubicBezTo>
                      <a:pt x="464" y="330"/>
                      <a:pt x="467" y="331"/>
                      <a:pt x="468" y="332"/>
                    </a:cubicBezTo>
                    <a:cubicBezTo>
                      <a:pt x="467" y="336"/>
                      <a:pt x="465" y="338"/>
                      <a:pt x="461" y="338"/>
                    </a:cubicBezTo>
                    <a:cubicBezTo>
                      <a:pt x="454" y="338"/>
                      <a:pt x="450" y="330"/>
                      <a:pt x="446" y="326"/>
                    </a:cubicBezTo>
                    <a:cubicBezTo>
                      <a:pt x="443" y="323"/>
                      <a:pt x="436" y="326"/>
                      <a:pt x="433" y="326"/>
                    </a:cubicBezTo>
                    <a:cubicBezTo>
                      <a:pt x="432" y="326"/>
                      <a:pt x="431" y="324"/>
                      <a:pt x="431" y="323"/>
                    </a:cubicBezTo>
                    <a:cubicBezTo>
                      <a:pt x="424" y="322"/>
                      <a:pt x="424" y="318"/>
                      <a:pt x="423" y="314"/>
                    </a:cubicBezTo>
                    <a:cubicBezTo>
                      <a:pt x="421" y="311"/>
                      <a:pt x="406" y="302"/>
                      <a:pt x="406" y="302"/>
                    </a:cubicBezTo>
                    <a:cubicBezTo>
                      <a:pt x="405" y="304"/>
                      <a:pt x="405" y="305"/>
                      <a:pt x="406" y="306"/>
                    </a:cubicBezTo>
                    <a:cubicBezTo>
                      <a:pt x="402" y="306"/>
                      <a:pt x="402" y="306"/>
                      <a:pt x="402" y="306"/>
                    </a:cubicBezTo>
                    <a:cubicBezTo>
                      <a:pt x="395" y="302"/>
                      <a:pt x="399" y="296"/>
                      <a:pt x="397" y="289"/>
                    </a:cubicBezTo>
                    <a:cubicBezTo>
                      <a:pt x="396" y="285"/>
                      <a:pt x="394" y="284"/>
                      <a:pt x="391" y="281"/>
                    </a:cubicBezTo>
                    <a:cubicBezTo>
                      <a:pt x="384" y="274"/>
                      <a:pt x="377" y="270"/>
                      <a:pt x="374" y="260"/>
                    </a:cubicBezTo>
                    <a:cubicBezTo>
                      <a:pt x="373" y="260"/>
                      <a:pt x="372" y="260"/>
                      <a:pt x="372" y="260"/>
                    </a:cubicBezTo>
                    <a:cubicBezTo>
                      <a:pt x="368" y="260"/>
                      <a:pt x="366" y="262"/>
                      <a:pt x="363" y="262"/>
                    </a:cubicBezTo>
                    <a:cubicBezTo>
                      <a:pt x="355" y="262"/>
                      <a:pt x="350" y="257"/>
                      <a:pt x="345" y="255"/>
                    </a:cubicBezTo>
                    <a:cubicBezTo>
                      <a:pt x="336" y="251"/>
                      <a:pt x="330" y="253"/>
                      <a:pt x="321" y="248"/>
                    </a:cubicBezTo>
                    <a:cubicBezTo>
                      <a:pt x="308" y="242"/>
                      <a:pt x="306" y="232"/>
                      <a:pt x="294" y="226"/>
                    </a:cubicBezTo>
                    <a:cubicBezTo>
                      <a:pt x="291" y="226"/>
                      <a:pt x="291" y="226"/>
                      <a:pt x="291" y="226"/>
                    </a:cubicBezTo>
                    <a:cubicBezTo>
                      <a:pt x="288" y="224"/>
                      <a:pt x="285" y="222"/>
                      <a:pt x="282" y="222"/>
                    </a:cubicBezTo>
                    <a:cubicBezTo>
                      <a:pt x="274" y="222"/>
                      <a:pt x="272" y="231"/>
                      <a:pt x="265" y="231"/>
                    </a:cubicBezTo>
                    <a:cubicBezTo>
                      <a:pt x="261" y="231"/>
                      <a:pt x="258" y="228"/>
                      <a:pt x="256" y="227"/>
                    </a:cubicBezTo>
                    <a:cubicBezTo>
                      <a:pt x="252" y="225"/>
                      <a:pt x="249" y="226"/>
                      <a:pt x="246" y="226"/>
                    </a:cubicBezTo>
                    <a:cubicBezTo>
                      <a:pt x="241" y="226"/>
                      <a:pt x="226" y="216"/>
                      <a:pt x="221" y="214"/>
                    </a:cubicBezTo>
                    <a:cubicBezTo>
                      <a:pt x="216" y="211"/>
                      <a:pt x="213" y="214"/>
                      <a:pt x="208" y="213"/>
                    </a:cubicBezTo>
                    <a:cubicBezTo>
                      <a:pt x="202" y="211"/>
                      <a:pt x="201" y="206"/>
                      <a:pt x="195" y="203"/>
                    </a:cubicBezTo>
                    <a:cubicBezTo>
                      <a:pt x="189" y="200"/>
                      <a:pt x="186" y="201"/>
                      <a:pt x="180" y="198"/>
                    </a:cubicBezTo>
                    <a:cubicBezTo>
                      <a:pt x="177" y="197"/>
                      <a:pt x="177" y="196"/>
                      <a:pt x="175" y="195"/>
                    </a:cubicBezTo>
                    <a:cubicBezTo>
                      <a:pt x="170" y="190"/>
                      <a:pt x="156" y="187"/>
                      <a:pt x="155" y="181"/>
                    </a:cubicBezTo>
                    <a:cubicBezTo>
                      <a:pt x="151" y="181"/>
                      <a:pt x="148" y="176"/>
                      <a:pt x="148" y="172"/>
                    </a:cubicBezTo>
                    <a:cubicBezTo>
                      <a:pt x="148" y="167"/>
                      <a:pt x="153" y="165"/>
                      <a:pt x="153" y="160"/>
                    </a:cubicBezTo>
                    <a:cubicBezTo>
                      <a:pt x="153" y="154"/>
                      <a:pt x="149" y="153"/>
                      <a:pt x="148" y="150"/>
                    </a:cubicBezTo>
                    <a:cubicBezTo>
                      <a:pt x="143" y="134"/>
                      <a:pt x="128" y="121"/>
                      <a:pt x="118" y="111"/>
                    </a:cubicBezTo>
                    <a:cubicBezTo>
                      <a:pt x="114" y="107"/>
                      <a:pt x="107" y="105"/>
                      <a:pt x="102" y="101"/>
                    </a:cubicBezTo>
                    <a:cubicBezTo>
                      <a:pt x="99" y="97"/>
                      <a:pt x="102" y="93"/>
                      <a:pt x="100" y="88"/>
                    </a:cubicBezTo>
                    <a:cubicBezTo>
                      <a:pt x="96" y="80"/>
                      <a:pt x="82" y="79"/>
                      <a:pt x="82" y="68"/>
                    </a:cubicBezTo>
                    <a:cubicBezTo>
                      <a:pt x="78" y="68"/>
                      <a:pt x="79" y="67"/>
                      <a:pt x="77" y="68"/>
                    </a:cubicBezTo>
                    <a:cubicBezTo>
                      <a:pt x="72" y="63"/>
                      <a:pt x="67" y="58"/>
                      <a:pt x="62" y="53"/>
                    </a:cubicBezTo>
                    <a:cubicBezTo>
                      <a:pt x="58" y="49"/>
                      <a:pt x="60" y="42"/>
                      <a:pt x="56" y="38"/>
                    </a:cubicBezTo>
                    <a:cubicBezTo>
                      <a:pt x="52" y="34"/>
                      <a:pt x="53" y="24"/>
                      <a:pt x="49" y="22"/>
                    </a:cubicBezTo>
                    <a:cubicBezTo>
                      <a:pt x="42" y="19"/>
                      <a:pt x="35" y="19"/>
                      <a:pt x="29" y="13"/>
                    </a:cubicBezTo>
                    <a:cubicBezTo>
                      <a:pt x="27" y="15"/>
                      <a:pt x="28" y="18"/>
                      <a:pt x="28" y="19"/>
                    </a:cubicBezTo>
                    <a:cubicBezTo>
                      <a:pt x="28" y="28"/>
                      <a:pt x="32" y="34"/>
                      <a:pt x="36" y="41"/>
                    </a:cubicBezTo>
                    <a:cubicBezTo>
                      <a:pt x="39" y="48"/>
                      <a:pt x="45" y="48"/>
                      <a:pt x="49" y="53"/>
                    </a:cubicBezTo>
                    <a:cubicBezTo>
                      <a:pt x="55" y="59"/>
                      <a:pt x="56" y="63"/>
                      <a:pt x="58" y="71"/>
                    </a:cubicBezTo>
                    <a:cubicBezTo>
                      <a:pt x="61" y="81"/>
                      <a:pt x="70" y="86"/>
                      <a:pt x="73" y="95"/>
                    </a:cubicBezTo>
                    <a:cubicBezTo>
                      <a:pt x="77" y="106"/>
                      <a:pt x="80" y="117"/>
                      <a:pt x="87" y="122"/>
                    </a:cubicBezTo>
                    <a:cubicBezTo>
                      <a:pt x="91" y="119"/>
                      <a:pt x="96" y="126"/>
                      <a:pt x="96" y="130"/>
                    </a:cubicBezTo>
                    <a:cubicBezTo>
                      <a:pt x="96" y="132"/>
                      <a:pt x="95" y="136"/>
                      <a:pt x="93" y="136"/>
                    </a:cubicBezTo>
                    <a:cubicBezTo>
                      <a:pt x="92" y="136"/>
                      <a:pt x="86" y="129"/>
                      <a:pt x="86" y="127"/>
                    </a:cubicBezTo>
                    <a:cubicBezTo>
                      <a:pt x="78" y="127"/>
                      <a:pt x="74" y="117"/>
                      <a:pt x="69" y="113"/>
                    </a:cubicBezTo>
                    <a:cubicBezTo>
                      <a:pt x="66" y="112"/>
                      <a:pt x="66" y="112"/>
                      <a:pt x="65" y="109"/>
                    </a:cubicBezTo>
                    <a:cubicBezTo>
                      <a:pt x="65" y="98"/>
                      <a:pt x="65" y="98"/>
                      <a:pt x="65" y="98"/>
                    </a:cubicBezTo>
                    <a:cubicBezTo>
                      <a:pt x="60" y="93"/>
                      <a:pt x="56" y="88"/>
                      <a:pt x="52" y="84"/>
                    </a:cubicBezTo>
                    <a:cubicBezTo>
                      <a:pt x="46" y="78"/>
                      <a:pt x="36" y="79"/>
                      <a:pt x="31" y="72"/>
                    </a:cubicBezTo>
                    <a:cubicBezTo>
                      <a:pt x="34" y="72"/>
                      <a:pt x="44" y="74"/>
                      <a:pt x="40" y="69"/>
                    </a:cubicBezTo>
                    <a:cubicBezTo>
                      <a:pt x="34" y="59"/>
                      <a:pt x="26" y="50"/>
                      <a:pt x="19" y="45"/>
                    </a:cubicBezTo>
                    <a:cubicBezTo>
                      <a:pt x="14" y="41"/>
                      <a:pt x="14" y="29"/>
                      <a:pt x="11" y="24"/>
                    </a:cubicBezTo>
                    <a:cubicBezTo>
                      <a:pt x="7" y="16"/>
                      <a:pt x="3" y="13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1" y="10"/>
                      <a:pt x="121" y="10"/>
                      <a:pt x="121" y="10"/>
                    </a:cubicBezTo>
                    <a:cubicBezTo>
                      <a:pt x="136" y="14"/>
                      <a:pt x="145" y="16"/>
                      <a:pt x="152" y="29"/>
                    </a:cubicBezTo>
                    <a:cubicBezTo>
                      <a:pt x="156" y="35"/>
                      <a:pt x="163" y="50"/>
                      <a:pt x="172" y="50"/>
                    </a:cubicBezTo>
                    <a:cubicBezTo>
                      <a:pt x="181" y="50"/>
                      <a:pt x="178" y="38"/>
                      <a:pt x="188" y="38"/>
                    </a:cubicBezTo>
                    <a:cubicBezTo>
                      <a:pt x="214" y="38"/>
                      <a:pt x="213" y="70"/>
                      <a:pt x="227" y="84"/>
                    </a:cubicBezTo>
                    <a:cubicBezTo>
                      <a:pt x="231" y="87"/>
                      <a:pt x="242" y="90"/>
                      <a:pt x="249" y="90"/>
                    </a:cubicBezTo>
                    <a:cubicBezTo>
                      <a:pt x="249" y="89"/>
                      <a:pt x="247" y="87"/>
                      <a:pt x="247" y="86"/>
                    </a:cubicBezTo>
                    <a:cubicBezTo>
                      <a:pt x="247" y="86"/>
                      <a:pt x="247" y="86"/>
                      <a:pt x="247" y="86"/>
                    </a:cubicBezTo>
                    <a:lnTo>
                      <a:pt x="248" y="9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83" name="ïṩľíḓé"/>
              <p:cNvSpPr/>
              <p:nvPr/>
            </p:nvSpPr>
            <p:spPr bwMode="auto">
              <a:xfrm>
                <a:off x="3834162" y="2352017"/>
                <a:ext cx="25801" cy="1190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7"/>
                  </a:cxn>
                  <a:cxn ang="0">
                    <a:pos x="12" y="7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15" h="8">
                    <a:moveTo>
                      <a:pt x="0" y="0"/>
                    </a:moveTo>
                    <a:cubicBezTo>
                      <a:pt x="7" y="0"/>
                      <a:pt x="15" y="1"/>
                      <a:pt x="15" y="7"/>
                    </a:cubicBezTo>
                    <a:cubicBezTo>
                      <a:pt x="15" y="8"/>
                      <a:pt x="13" y="7"/>
                      <a:pt x="12" y="7"/>
                    </a:cubicBezTo>
                    <a:cubicBezTo>
                      <a:pt x="8" y="7"/>
                      <a:pt x="2" y="5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84" name="iṩľïďè"/>
              <p:cNvSpPr/>
              <p:nvPr/>
            </p:nvSpPr>
            <p:spPr bwMode="auto">
              <a:xfrm>
                <a:off x="2863673" y="2421478"/>
                <a:ext cx="99232" cy="6350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6" y="0"/>
                  </a:cxn>
                  <a:cxn ang="0">
                    <a:pos x="18" y="6"/>
                  </a:cxn>
                  <a:cxn ang="0">
                    <a:pos x="59" y="34"/>
                  </a:cxn>
                  <a:cxn ang="0">
                    <a:pos x="59" y="38"/>
                  </a:cxn>
                  <a:cxn ang="0">
                    <a:pos x="55" y="38"/>
                  </a:cxn>
                  <a:cxn ang="0">
                    <a:pos x="22" y="22"/>
                  </a:cxn>
                  <a:cxn ang="0">
                    <a:pos x="27" y="17"/>
                  </a:cxn>
                  <a:cxn ang="0">
                    <a:pos x="4" y="8"/>
                  </a:cxn>
                  <a:cxn ang="0">
                    <a:pos x="8" y="4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59" h="38">
                    <a:moveTo>
                      <a:pt x="0" y="2"/>
                    </a:moveTo>
                    <a:cubicBezTo>
                      <a:pt x="2" y="1"/>
                      <a:pt x="4" y="0"/>
                      <a:pt x="6" y="0"/>
                    </a:cubicBezTo>
                    <a:cubicBezTo>
                      <a:pt x="11" y="0"/>
                      <a:pt x="15" y="5"/>
                      <a:pt x="18" y="6"/>
                    </a:cubicBezTo>
                    <a:cubicBezTo>
                      <a:pt x="37" y="12"/>
                      <a:pt x="48" y="23"/>
                      <a:pt x="59" y="34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58" y="38"/>
                      <a:pt x="56" y="38"/>
                      <a:pt x="55" y="38"/>
                    </a:cubicBezTo>
                    <a:cubicBezTo>
                      <a:pt x="45" y="38"/>
                      <a:pt x="29" y="26"/>
                      <a:pt x="22" y="22"/>
                    </a:cubicBezTo>
                    <a:cubicBezTo>
                      <a:pt x="23" y="19"/>
                      <a:pt x="25" y="19"/>
                      <a:pt x="27" y="17"/>
                    </a:cubicBezTo>
                    <a:cubicBezTo>
                      <a:pt x="18" y="17"/>
                      <a:pt x="6" y="13"/>
                      <a:pt x="4" y="8"/>
                    </a:cubicBezTo>
                    <a:cubicBezTo>
                      <a:pt x="6" y="7"/>
                      <a:pt x="8" y="5"/>
                      <a:pt x="8" y="4"/>
                    </a:cubicBezTo>
                    <a:cubicBezTo>
                      <a:pt x="6" y="3"/>
                      <a:pt x="2" y="2"/>
                      <a:pt x="2" y="2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85" name="îṩlídé"/>
              <p:cNvSpPr/>
              <p:nvPr/>
            </p:nvSpPr>
            <p:spPr bwMode="auto">
              <a:xfrm>
                <a:off x="2766424" y="2328203"/>
                <a:ext cx="35724" cy="49615"/>
              </a:xfrm>
              <a:custGeom>
                <a:avLst/>
                <a:gdLst/>
                <a:ahLst/>
                <a:cxnLst>
                  <a:cxn ang="0">
                    <a:pos x="5" y="12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10" y="3"/>
                  </a:cxn>
                  <a:cxn ang="0">
                    <a:pos x="7" y="8"/>
                  </a:cxn>
                  <a:cxn ang="0">
                    <a:pos x="13" y="3"/>
                  </a:cxn>
                  <a:cxn ang="0">
                    <a:pos x="13" y="12"/>
                  </a:cxn>
                  <a:cxn ang="0">
                    <a:pos x="15" y="18"/>
                  </a:cxn>
                  <a:cxn ang="0">
                    <a:pos x="13" y="22"/>
                  </a:cxn>
                  <a:cxn ang="0">
                    <a:pos x="17" y="30"/>
                  </a:cxn>
                  <a:cxn ang="0">
                    <a:pos x="10" y="22"/>
                  </a:cxn>
                  <a:cxn ang="0">
                    <a:pos x="12" y="17"/>
                  </a:cxn>
                  <a:cxn ang="0">
                    <a:pos x="5" y="12"/>
                  </a:cxn>
                </a:cxnLst>
                <a:rect l="0" t="0" r="r" b="b"/>
                <a:pathLst>
                  <a:path w="21" h="30">
                    <a:moveTo>
                      <a:pt x="5" y="12"/>
                    </a:moveTo>
                    <a:cubicBezTo>
                      <a:pt x="3" y="12"/>
                      <a:pt x="2" y="6"/>
                      <a:pt x="0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6" y="3"/>
                      <a:pt x="10" y="3"/>
                    </a:cubicBezTo>
                    <a:cubicBezTo>
                      <a:pt x="10" y="4"/>
                      <a:pt x="5" y="8"/>
                      <a:pt x="7" y="8"/>
                    </a:cubicBezTo>
                    <a:cubicBezTo>
                      <a:pt x="10" y="8"/>
                      <a:pt x="12" y="5"/>
                      <a:pt x="13" y="3"/>
                    </a:cubicBezTo>
                    <a:cubicBezTo>
                      <a:pt x="14" y="5"/>
                      <a:pt x="13" y="8"/>
                      <a:pt x="13" y="12"/>
                    </a:cubicBezTo>
                    <a:cubicBezTo>
                      <a:pt x="13" y="15"/>
                      <a:pt x="15" y="15"/>
                      <a:pt x="15" y="18"/>
                    </a:cubicBezTo>
                    <a:cubicBezTo>
                      <a:pt x="15" y="19"/>
                      <a:pt x="13" y="20"/>
                      <a:pt x="13" y="22"/>
                    </a:cubicBezTo>
                    <a:cubicBezTo>
                      <a:pt x="13" y="24"/>
                      <a:pt x="21" y="30"/>
                      <a:pt x="17" y="30"/>
                    </a:cubicBezTo>
                    <a:cubicBezTo>
                      <a:pt x="13" y="30"/>
                      <a:pt x="10" y="26"/>
                      <a:pt x="10" y="22"/>
                    </a:cubicBezTo>
                    <a:cubicBezTo>
                      <a:pt x="10" y="19"/>
                      <a:pt x="12" y="18"/>
                      <a:pt x="12" y="17"/>
                    </a:cubicBezTo>
                    <a:cubicBezTo>
                      <a:pt x="9" y="16"/>
                      <a:pt x="8" y="12"/>
                      <a:pt x="5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86" name="iSlïďê"/>
              <p:cNvSpPr/>
              <p:nvPr/>
            </p:nvSpPr>
            <p:spPr bwMode="auto">
              <a:xfrm>
                <a:off x="2317895" y="2217066"/>
                <a:ext cx="43662" cy="29769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7" y="0"/>
                  </a:cxn>
                  <a:cxn ang="0">
                    <a:pos x="27" y="6"/>
                  </a:cxn>
                  <a:cxn ang="0">
                    <a:pos x="10" y="18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21" y="0"/>
                  </a:cxn>
                </a:cxnLst>
                <a:rect l="0" t="0" r="r" b="b"/>
                <a:pathLst>
                  <a:path w="27" h="18">
                    <a:moveTo>
                      <a:pt x="21" y="0"/>
                    </a:moveTo>
                    <a:cubicBezTo>
                      <a:pt x="25" y="0"/>
                      <a:pt x="25" y="0"/>
                      <a:pt x="27" y="0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19" y="10"/>
                      <a:pt x="16" y="13"/>
                      <a:pt x="10" y="18"/>
                    </a:cubicBezTo>
                    <a:cubicBezTo>
                      <a:pt x="6" y="15"/>
                      <a:pt x="3" y="15"/>
                      <a:pt x="0" y="12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8" y="5"/>
                      <a:pt x="14" y="0"/>
                      <a:pt x="21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87" name="ïṧļiḓé"/>
              <p:cNvSpPr/>
              <p:nvPr/>
            </p:nvSpPr>
            <p:spPr bwMode="auto">
              <a:xfrm>
                <a:off x="4203306" y="2437355"/>
                <a:ext cx="53586" cy="27784"/>
              </a:xfrm>
              <a:custGeom>
                <a:avLst/>
                <a:gdLst/>
                <a:ahLst/>
                <a:cxnLst>
                  <a:cxn ang="0">
                    <a:pos x="26" y="17"/>
                  </a:cxn>
                  <a:cxn ang="0">
                    <a:pos x="32" y="14"/>
                  </a:cxn>
                  <a:cxn ang="0">
                    <a:pos x="0" y="3"/>
                  </a:cxn>
                  <a:cxn ang="0">
                    <a:pos x="26" y="17"/>
                  </a:cxn>
                </a:cxnLst>
                <a:rect l="0" t="0" r="r" b="b"/>
                <a:pathLst>
                  <a:path w="32" h="17">
                    <a:moveTo>
                      <a:pt x="26" y="17"/>
                    </a:moveTo>
                    <a:cubicBezTo>
                      <a:pt x="29" y="17"/>
                      <a:pt x="30" y="16"/>
                      <a:pt x="32" y="14"/>
                    </a:cubicBezTo>
                    <a:cubicBezTo>
                      <a:pt x="22" y="9"/>
                      <a:pt x="14" y="0"/>
                      <a:pt x="0" y="3"/>
                    </a:cubicBezTo>
                    <a:cubicBezTo>
                      <a:pt x="6" y="7"/>
                      <a:pt x="18" y="17"/>
                      <a:pt x="26" y="1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88" name="íṣḷîḑé"/>
              <p:cNvSpPr/>
              <p:nvPr/>
            </p:nvSpPr>
            <p:spPr bwMode="auto">
              <a:xfrm>
                <a:off x="4207275" y="2520707"/>
                <a:ext cx="39693" cy="2580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1" y="7"/>
                  </a:cxn>
                  <a:cxn ang="0">
                    <a:pos x="24" y="7"/>
                  </a:cxn>
                  <a:cxn ang="0">
                    <a:pos x="24" y="10"/>
                  </a:cxn>
                  <a:cxn ang="0">
                    <a:pos x="19" y="15"/>
                  </a:cxn>
                  <a:cxn ang="0">
                    <a:pos x="0" y="3"/>
                  </a:cxn>
                  <a:cxn ang="0">
                    <a:pos x="1" y="0"/>
                  </a:cxn>
                </a:cxnLst>
                <a:rect l="0" t="0" r="r" b="b"/>
                <a:pathLst>
                  <a:path w="24" h="15">
                    <a:moveTo>
                      <a:pt x="1" y="0"/>
                    </a:moveTo>
                    <a:cubicBezTo>
                      <a:pt x="4" y="4"/>
                      <a:pt x="7" y="6"/>
                      <a:pt x="11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8"/>
                      <a:pt x="24" y="9"/>
                      <a:pt x="24" y="10"/>
                    </a:cubicBezTo>
                    <a:cubicBezTo>
                      <a:pt x="24" y="12"/>
                      <a:pt x="20" y="15"/>
                      <a:pt x="19" y="15"/>
                    </a:cubicBezTo>
                    <a:cubicBezTo>
                      <a:pt x="16" y="15"/>
                      <a:pt x="0" y="6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89" name="íš1îḍê"/>
              <p:cNvSpPr/>
              <p:nvPr/>
            </p:nvSpPr>
            <p:spPr bwMode="auto">
              <a:xfrm>
                <a:off x="4266814" y="2520707"/>
                <a:ext cx="27785" cy="33739"/>
              </a:xfrm>
              <a:custGeom>
                <a:avLst/>
                <a:gdLst/>
                <a:ahLst/>
                <a:cxnLst>
                  <a:cxn ang="0">
                    <a:pos x="17" y="12"/>
                  </a:cxn>
                  <a:cxn ang="0">
                    <a:pos x="17" y="15"/>
                  </a:cxn>
                  <a:cxn ang="0">
                    <a:pos x="7" y="20"/>
                  </a:cxn>
                  <a:cxn ang="0">
                    <a:pos x="0" y="15"/>
                  </a:cxn>
                  <a:cxn ang="0">
                    <a:pos x="10" y="0"/>
                  </a:cxn>
                  <a:cxn ang="0">
                    <a:pos x="14" y="5"/>
                  </a:cxn>
                  <a:cxn ang="0">
                    <a:pos x="17" y="12"/>
                  </a:cxn>
                </a:cxnLst>
                <a:rect l="0" t="0" r="r" b="b"/>
                <a:pathLst>
                  <a:path w="17" h="20">
                    <a:moveTo>
                      <a:pt x="17" y="12"/>
                    </a:moveTo>
                    <a:cubicBezTo>
                      <a:pt x="17" y="12"/>
                      <a:pt x="17" y="14"/>
                      <a:pt x="17" y="15"/>
                    </a:cubicBezTo>
                    <a:cubicBezTo>
                      <a:pt x="17" y="18"/>
                      <a:pt x="12" y="20"/>
                      <a:pt x="7" y="20"/>
                    </a:cubicBezTo>
                    <a:cubicBezTo>
                      <a:pt x="3" y="20"/>
                      <a:pt x="0" y="18"/>
                      <a:pt x="0" y="15"/>
                    </a:cubicBezTo>
                    <a:cubicBezTo>
                      <a:pt x="0" y="13"/>
                      <a:pt x="6" y="2"/>
                      <a:pt x="10" y="0"/>
                    </a:cubicBezTo>
                    <a:cubicBezTo>
                      <a:pt x="11" y="2"/>
                      <a:pt x="14" y="3"/>
                      <a:pt x="14" y="5"/>
                    </a:cubicBezTo>
                    <a:cubicBezTo>
                      <a:pt x="14" y="9"/>
                      <a:pt x="7" y="12"/>
                      <a:pt x="17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90" name="ïsḷidè"/>
              <p:cNvSpPr/>
              <p:nvPr/>
            </p:nvSpPr>
            <p:spPr bwMode="auto">
              <a:xfrm>
                <a:off x="2055922" y="2137684"/>
                <a:ext cx="33739" cy="15877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13" y="1"/>
                  </a:cxn>
                  <a:cxn ang="0">
                    <a:pos x="20" y="9"/>
                  </a:cxn>
                  <a:cxn ang="0">
                    <a:pos x="5" y="9"/>
                  </a:cxn>
                  <a:cxn ang="0">
                    <a:pos x="0" y="4"/>
                  </a:cxn>
                  <a:cxn ang="0">
                    <a:pos x="6" y="4"/>
                  </a:cxn>
                </a:cxnLst>
                <a:rect l="0" t="0" r="r" b="b"/>
                <a:pathLst>
                  <a:path w="20" h="9">
                    <a:moveTo>
                      <a:pt x="6" y="4"/>
                    </a:moveTo>
                    <a:cubicBezTo>
                      <a:pt x="8" y="0"/>
                      <a:pt x="10" y="1"/>
                      <a:pt x="13" y="1"/>
                    </a:cubicBezTo>
                    <a:cubicBezTo>
                      <a:pt x="18" y="1"/>
                      <a:pt x="19" y="4"/>
                      <a:pt x="20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7"/>
                      <a:pt x="1" y="6"/>
                      <a:pt x="0" y="4"/>
                    </a:cubicBez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91" name="ís1íḑé"/>
              <p:cNvSpPr/>
              <p:nvPr/>
            </p:nvSpPr>
            <p:spPr bwMode="auto">
              <a:xfrm>
                <a:off x="5775036" y="2252838"/>
                <a:ext cx="33739" cy="49616"/>
              </a:xfrm>
              <a:custGeom>
                <a:avLst/>
                <a:gdLst/>
                <a:ahLst/>
                <a:cxnLst>
                  <a:cxn ang="0">
                    <a:pos x="3" y="27"/>
                  </a:cxn>
                  <a:cxn ang="0">
                    <a:pos x="9" y="21"/>
                  </a:cxn>
                  <a:cxn ang="0">
                    <a:pos x="0" y="14"/>
                  </a:cxn>
                  <a:cxn ang="0">
                    <a:pos x="9" y="0"/>
                  </a:cxn>
                  <a:cxn ang="0">
                    <a:pos x="20" y="12"/>
                  </a:cxn>
                  <a:cxn ang="0">
                    <a:pos x="6" y="30"/>
                  </a:cxn>
                  <a:cxn ang="0">
                    <a:pos x="0" y="27"/>
                  </a:cxn>
                  <a:cxn ang="0">
                    <a:pos x="2" y="25"/>
                  </a:cxn>
                  <a:cxn ang="0">
                    <a:pos x="3" y="27"/>
                  </a:cxn>
                </a:cxnLst>
                <a:rect l="0" t="0" r="r" b="b"/>
                <a:pathLst>
                  <a:path w="20" h="30">
                    <a:moveTo>
                      <a:pt x="3" y="27"/>
                    </a:moveTo>
                    <a:cubicBezTo>
                      <a:pt x="6" y="26"/>
                      <a:pt x="9" y="23"/>
                      <a:pt x="9" y="21"/>
                    </a:cubicBezTo>
                    <a:cubicBezTo>
                      <a:pt x="5" y="20"/>
                      <a:pt x="0" y="16"/>
                      <a:pt x="0" y="14"/>
                    </a:cubicBezTo>
                    <a:cubicBezTo>
                      <a:pt x="0" y="12"/>
                      <a:pt x="5" y="0"/>
                      <a:pt x="9" y="0"/>
                    </a:cubicBezTo>
                    <a:cubicBezTo>
                      <a:pt x="17" y="0"/>
                      <a:pt x="18" y="4"/>
                      <a:pt x="20" y="12"/>
                    </a:cubicBezTo>
                    <a:cubicBezTo>
                      <a:pt x="12" y="14"/>
                      <a:pt x="16" y="30"/>
                      <a:pt x="6" y="30"/>
                    </a:cubicBezTo>
                    <a:cubicBezTo>
                      <a:pt x="3" y="30"/>
                      <a:pt x="1" y="27"/>
                      <a:pt x="0" y="27"/>
                    </a:cubicBezTo>
                    <a:cubicBezTo>
                      <a:pt x="1" y="26"/>
                      <a:pt x="2" y="25"/>
                      <a:pt x="2" y="25"/>
                    </a:cubicBezTo>
                    <a:lnTo>
                      <a:pt x="3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92" name="ïSľíḍê"/>
              <p:cNvSpPr/>
              <p:nvPr/>
            </p:nvSpPr>
            <p:spPr bwMode="auto">
              <a:xfrm>
                <a:off x="5352316" y="2211162"/>
                <a:ext cx="807735" cy="577525"/>
              </a:xfrm>
              <a:custGeom>
                <a:avLst/>
                <a:gdLst/>
                <a:ahLst/>
                <a:cxnLst>
                  <a:cxn ang="0">
                    <a:pos x="473" y="233"/>
                  </a:cxn>
                  <a:cxn ang="0">
                    <a:pos x="470" y="273"/>
                  </a:cxn>
                  <a:cxn ang="0">
                    <a:pos x="427" y="274"/>
                  </a:cxn>
                  <a:cxn ang="0">
                    <a:pos x="401" y="283"/>
                  </a:cxn>
                  <a:cxn ang="0">
                    <a:pos x="403" y="303"/>
                  </a:cxn>
                  <a:cxn ang="0">
                    <a:pos x="413" y="322"/>
                  </a:cxn>
                  <a:cxn ang="0">
                    <a:pos x="401" y="319"/>
                  </a:cxn>
                  <a:cxn ang="0">
                    <a:pos x="397" y="336"/>
                  </a:cxn>
                  <a:cxn ang="0">
                    <a:pos x="382" y="315"/>
                  </a:cxn>
                  <a:cxn ang="0">
                    <a:pos x="358" y="278"/>
                  </a:cxn>
                  <a:cxn ang="0">
                    <a:pos x="329" y="238"/>
                  </a:cxn>
                  <a:cxn ang="0">
                    <a:pos x="289" y="213"/>
                  </a:cxn>
                  <a:cxn ang="0">
                    <a:pos x="270" y="212"/>
                  </a:cxn>
                  <a:cxn ang="0">
                    <a:pos x="289" y="244"/>
                  </a:cxn>
                  <a:cxn ang="0">
                    <a:pos x="315" y="264"/>
                  </a:cxn>
                  <a:cxn ang="0">
                    <a:pos x="330" y="283"/>
                  </a:cxn>
                  <a:cxn ang="0">
                    <a:pos x="323" y="305"/>
                  </a:cxn>
                  <a:cxn ang="0">
                    <a:pos x="316" y="303"/>
                  </a:cxn>
                  <a:cxn ang="0">
                    <a:pos x="291" y="273"/>
                  </a:cxn>
                  <a:cxn ang="0">
                    <a:pos x="229" y="223"/>
                  </a:cxn>
                  <a:cxn ang="0">
                    <a:pos x="168" y="237"/>
                  </a:cxn>
                  <a:cxn ang="0">
                    <a:pos x="135" y="272"/>
                  </a:cxn>
                  <a:cxn ang="0">
                    <a:pos x="101" y="326"/>
                  </a:cxn>
                  <a:cxn ang="0">
                    <a:pos x="72" y="338"/>
                  </a:cxn>
                  <a:cxn ang="0">
                    <a:pos x="10" y="334"/>
                  </a:cxn>
                  <a:cxn ang="0">
                    <a:pos x="0" y="306"/>
                  </a:cxn>
                  <a:cxn ang="0">
                    <a:pos x="4" y="246"/>
                  </a:cxn>
                  <a:cxn ang="0">
                    <a:pos x="48" y="235"/>
                  </a:cxn>
                  <a:cxn ang="0">
                    <a:pos x="89" y="240"/>
                  </a:cxn>
                  <a:cxn ang="0">
                    <a:pos x="105" y="206"/>
                  </a:cxn>
                  <a:cxn ang="0">
                    <a:pos x="103" y="193"/>
                  </a:cxn>
                  <a:cxn ang="0">
                    <a:pos x="60" y="163"/>
                  </a:cxn>
                  <a:cxn ang="0">
                    <a:pos x="88" y="157"/>
                  </a:cxn>
                  <a:cxn ang="0">
                    <a:pos x="96" y="143"/>
                  </a:cxn>
                  <a:cxn ang="0">
                    <a:pos x="114" y="145"/>
                  </a:cxn>
                  <a:cxn ang="0">
                    <a:pos x="147" y="118"/>
                  </a:cxn>
                  <a:cxn ang="0">
                    <a:pos x="176" y="89"/>
                  </a:cxn>
                  <a:cxn ang="0">
                    <a:pos x="208" y="73"/>
                  </a:cxn>
                  <a:cxn ang="0">
                    <a:pos x="225" y="54"/>
                  </a:cxn>
                  <a:cxn ang="0">
                    <a:pos x="245" y="5"/>
                  </a:cxn>
                  <a:cxn ang="0">
                    <a:pos x="251" y="25"/>
                  </a:cxn>
                  <a:cxn ang="0">
                    <a:pos x="240" y="54"/>
                  </a:cxn>
                  <a:cxn ang="0">
                    <a:pos x="254" y="66"/>
                  </a:cxn>
                  <a:cxn ang="0">
                    <a:pos x="289" y="68"/>
                  </a:cxn>
                  <a:cxn ang="0">
                    <a:pos x="333" y="50"/>
                  </a:cxn>
                  <a:cxn ang="0">
                    <a:pos x="378" y="55"/>
                  </a:cxn>
                  <a:cxn ang="0">
                    <a:pos x="408" y="95"/>
                  </a:cxn>
                  <a:cxn ang="0">
                    <a:pos x="399" y="153"/>
                  </a:cxn>
                  <a:cxn ang="0">
                    <a:pos x="470" y="180"/>
                  </a:cxn>
                  <a:cxn ang="0">
                    <a:pos x="474" y="204"/>
                  </a:cxn>
                  <a:cxn ang="0">
                    <a:pos x="476" y="216"/>
                  </a:cxn>
                </a:cxnLst>
                <a:rect l="0" t="0" r="r" b="b"/>
                <a:pathLst>
                  <a:path w="485" h="347">
                    <a:moveTo>
                      <a:pt x="476" y="216"/>
                    </a:moveTo>
                    <a:cubicBezTo>
                      <a:pt x="474" y="223"/>
                      <a:pt x="475" y="219"/>
                      <a:pt x="473" y="222"/>
                    </a:cubicBezTo>
                    <a:cubicBezTo>
                      <a:pt x="473" y="233"/>
                      <a:pt x="473" y="233"/>
                      <a:pt x="473" y="233"/>
                    </a:cubicBezTo>
                    <a:cubicBezTo>
                      <a:pt x="469" y="238"/>
                      <a:pt x="461" y="246"/>
                      <a:pt x="461" y="253"/>
                    </a:cubicBezTo>
                    <a:cubicBezTo>
                      <a:pt x="461" y="261"/>
                      <a:pt x="473" y="268"/>
                      <a:pt x="476" y="272"/>
                    </a:cubicBezTo>
                    <a:cubicBezTo>
                      <a:pt x="474" y="273"/>
                      <a:pt x="472" y="273"/>
                      <a:pt x="470" y="273"/>
                    </a:cubicBezTo>
                    <a:cubicBezTo>
                      <a:pt x="466" y="275"/>
                      <a:pt x="463" y="273"/>
                      <a:pt x="459" y="275"/>
                    </a:cubicBezTo>
                    <a:cubicBezTo>
                      <a:pt x="453" y="277"/>
                      <a:pt x="452" y="283"/>
                      <a:pt x="446" y="283"/>
                    </a:cubicBezTo>
                    <a:cubicBezTo>
                      <a:pt x="439" y="283"/>
                      <a:pt x="435" y="274"/>
                      <a:pt x="427" y="274"/>
                    </a:cubicBezTo>
                    <a:cubicBezTo>
                      <a:pt x="420" y="274"/>
                      <a:pt x="419" y="278"/>
                      <a:pt x="413" y="280"/>
                    </a:cubicBezTo>
                    <a:cubicBezTo>
                      <a:pt x="414" y="284"/>
                      <a:pt x="414" y="286"/>
                      <a:pt x="413" y="290"/>
                    </a:cubicBezTo>
                    <a:cubicBezTo>
                      <a:pt x="406" y="290"/>
                      <a:pt x="405" y="283"/>
                      <a:pt x="401" y="283"/>
                    </a:cubicBezTo>
                    <a:cubicBezTo>
                      <a:pt x="399" y="283"/>
                      <a:pt x="397" y="286"/>
                      <a:pt x="397" y="288"/>
                    </a:cubicBezTo>
                    <a:cubicBezTo>
                      <a:pt x="405" y="298"/>
                      <a:pt x="405" y="298"/>
                      <a:pt x="405" y="298"/>
                    </a:cubicBezTo>
                    <a:cubicBezTo>
                      <a:pt x="405" y="300"/>
                      <a:pt x="403" y="302"/>
                      <a:pt x="403" y="303"/>
                    </a:cubicBezTo>
                    <a:cubicBezTo>
                      <a:pt x="403" y="304"/>
                      <a:pt x="415" y="315"/>
                      <a:pt x="419" y="315"/>
                    </a:cubicBezTo>
                    <a:cubicBezTo>
                      <a:pt x="419" y="317"/>
                      <a:pt x="420" y="318"/>
                      <a:pt x="420" y="319"/>
                    </a:cubicBezTo>
                    <a:cubicBezTo>
                      <a:pt x="418" y="321"/>
                      <a:pt x="414" y="319"/>
                      <a:pt x="413" y="322"/>
                    </a:cubicBezTo>
                    <a:cubicBezTo>
                      <a:pt x="412" y="322"/>
                      <a:pt x="412" y="322"/>
                      <a:pt x="412" y="322"/>
                    </a:cubicBezTo>
                    <a:cubicBezTo>
                      <a:pt x="407" y="321"/>
                      <a:pt x="403" y="317"/>
                      <a:pt x="401" y="315"/>
                    </a:cubicBezTo>
                    <a:cubicBezTo>
                      <a:pt x="401" y="319"/>
                      <a:pt x="401" y="319"/>
                      <a:pt x="401" y="319"/>
                    </a:cubicBezTo>
                    <a:cubicBezTo>
                      <a:pt x="402" y="321"/>
                      <a:pt x="403" y="323"/>
                      <a:pt x="403" y="326"/>
                    </a:cubicBezTo>
                    <a:cubicBezTo>
                      <a:pt x="403" y="329"/>
                      <a:pt x="399" y="334"/>
                      <a:pt x="403" y="336"/>
                    </a:cubicBezTo>
                    <a:cubicBezTo>
                      <a:pt x="401" y="336"/>
                      <a:pt x="397" y="336"/>
                      <a:pt x="397" y="336"/>
                    </a:cubicBezTo>
                    <a:cubicBezTo>
                      <a:pt x="390" y="336"/>
                      <a:pt x="384" y="329"/>
                      <a:pt x="384" y="322"/>
                    </a:cubicBezTo>
                    <a:cubicBezTo>
                      <a:pt x="384" y="319"/>
                      <a:pt x="388" y="317"/>
                      <a:pt x="390" y="315"/>
                    </a:cubicBezTo>
                    <a:cubicBezTo>
                      <a:pt x="387" y="315"/>
                      <a:pt x="385" y="315"/>
                      <a:pt x="382" y="315"/>
                    </a:cubicBezTo>
                    <a:cubicBezTo>
                      <a:pt x="380" y="315"/>
                      <a:pt x="379" y="311"/>
                      <a:pt x="379" y="310"/>
                    </a:cubicBezTo>
                    <a:cubicBezTo>
                      <a:pt x="378" y="304"/>
                      <a:pt x="374" y="300"/>
                      <a:pt x="370" y="296"/>
                    </a:cubicBezTo>
                    <a:cubicBezTo>
                      <a:pt x="365" y="291"/>
                      <a:pt x="358" y="287"/>
                      <a:pt x="358" y="278"/>
                    </a:cubicBezTo>
                    <a:cubicBezTo>
                      <a:pt x="358" y="272"/>
                      <a:pt x="358" y="270"/>
                      <a:pt x="358" y="266"/>
                    </a:cubicBezTo>
                    <a:cubicBezTo>
                      <a:pt x="358" y="260"/>
                      <a:pt x="348" y="251"/>
                      <a:pt x="342" y="248"/>
                    </a:cubicBezTo>
                    <a:cubicBezTo>
                      <a:pt x="336" y="245"/>
                      <a:pt x="329" y="244"/>
                      <a:pt x="329" y="238"/>
                    </a:cubicBezTo>
                    <a:cubicBezTo>
                      <a:pt x="326" y="238"/>
                      <a:pt x="325" y="238"/>
                      <a:pt x="323" y="238"/>
                    </a:cubicBezTo>
                    <a:cubicBezTo>
                      <a:pt x="313" y="238"/>
                      <a:pt x="302" y="223"/>
                      <a:pt x="302" y="213"/>
                    </a:cubicBezTo>
                    <a:cubicBezTo>
                      <a:pt x="297" y="213"/>
                      <a:pt x="293" y="213"/>
                      <a:pt x="289" y="213"/>
                    </a:cubicBezTo>
                    <a:cubicBezTo>
                      <a:pt x="283" y="213"/>
                      <a:pt x="285" y="204"/>
                      <a:pt x="283" y="201"/>
                    </a:cubicBezTo>
                    <a:cubicBezTo>
                      <a:pt x="278" y="204"/>
                      <a:pt x="268" y="204"/>
                      <a:pt x="268" y="209"/>
                    </a:cubicBezTo>
                    <a:cubicBezTo>
                      <a:pt x="268" y="210"/>
                      <a:pt x="270" y="212"/>
                      <a:pt x="270" y="212"/>
                    </a:cubicBezTo>
                    <a:cubicBezTo>
                      <a:pt x="270" y="214"/>
                      <a:pt x="269" y="217"/>
                      <a:pt x="269" y="220"/>
                    </a:cubicBezTo>
                    <a:cubicBezTo>
                      <a:pt x="269" y="226"/>
                      <a:pt x="273" y="229"/>
                      <a:pt x="278" y="231"/>
                    </a:cubicBezTo>
                    <a:cubicBezTo>
                      <a:pt x="285" y="233"/>
                      <a:pt x="288" y="240"/>
                      <a:pt x="289" y="244"/>
                    </a:cubicBezTo>
                    <a:cubicBezTo>
                      <a:pt x="291" y="250"/>
                      <a:pt x="294" y="257"/>
                      <a:pt x="298" y="259"/>
                    </a:cubicBezTo>
                    <a:cubicBezTo>
                      <a:pt x="304" y="262"/>
                      <a:pt x="309" y="260"/>
                      <a:pt x="315" y="260"/>
                    </a:cubicBezTo>
                    <a:cubicBezTo>
                      <a:pt x="315" y="261"/>
                      <a:pt x="315" y="263"/>
                      <a:pt x="315" y="264"/>
                    </a:cubicBezTo>
                    <a:cubicBezTo>
                      <a:pt x="313" y="269"/>
                      <a:pt x="323" y="271"/>
                      <a:pt x="326" y="272"/>
                    </a:cubicBezTo>
                    <a:cubicBezTo>
                      <a:pt x="335" y="277"/>
                      <a:pt x="345" y="280"/>
                      <a:pt x="344" y="290"/>
                    </a:cubicBezTo>
                    <a:cubicBezTo>
                      <a:pt x="340" y="289"/>
                      <a:pt x="337" y="283"/>
                      <a:pt x="330" y="283"/>
                    </a:cubicBezTo>
                    <a:cubicBezTo>
                      <a:pt x="325" y="283"/>
                      <a:pt x="320" y="286"/>
                      <a:pt x="320" y="290"/>
                    </a:cubicBezTo>
                    <a:cubicBezTo>
                      <a:pt x="320" y="296"/>
                      <a:pt x="328" y="297"/>
                      <a:pt x="328" y="303"/>
                    </a:cubicBezTo>
                    <a:cubicBezTo>
                      <a:pt x="328" y="305"/>
                      <a:pt x="323" y="305"/>
                      <a:pt x="323" y="305"/>
                    </a:cubicBezTo>
                    <a:cubicBezTo>
                      <a:pt x="319" y="309"/>
                      <a:pt x="319" y="318"/>
                      <a:pt x="313" y="318"/>
                    </a:cubicBezTo>
                    <a:cubicBezTo>
                      <a:pt x="310" y="318"/>
                      <a:pt x="308" y="317"/>
                      <a:pt x="308" y="315"/>
                    </a:cubicBezTo>
                    <a:cubicBezTo>
                      <a:pt x="314" y="315"/>
                      <a:pt x="316" y="309"/>
                      <a:pt x="316" y="303"/>
                    </a:cubicBezTo>
                    <a:cubicBezTo>
                      <a:pt x="316" y="297"/>
                      <a:pt x="312" y="295"/>
                      <a:pt x="311" y="291"/>
                    </a:cubicBezTo>
                    <a:cubicBezTo>
                      <a:pt x="310" y="291"/>
                      <a:pt x="300" y="281"/>
                      <a:pt x="299" y="278"/>
                    </a:cubicBezTo>
                    <a:cubicBezTo>
                      <a:pt x="297" y="278"/>
                      <a:pt x="291" y="276"/>
                      <a:pt x="291" y="273"/>
                    </a:cubicBezTo>
                    <a:cubicBezTo>
                      <a:pt x="277" y="270"/>
                      <a:pt x="274" y="266"/>
                      <a:pt x="266" y="259"/>
                    </a:cubicBezTo>
                    <a:cubicBezTo>
                      <a:pt x="263" y="256"/>
                      <a:pt x="257" y="254"/>
                      <a:pt x="256" y="251"/>
                    </a:cubicBezTo>
                    <a:cubicBezTo>
                      <a:pt x="248" y="241"/>
                      <a:pt x="245" y="223"/>
                      <a:pt x="229" y="223"/>
                    </a:cubicBezTo>
                    <a:cubicBezTo>
                      <a:pt x="221" y="223"/>
                      <a:pt x="220" y="228"/>
                      <a:pt x="216" y="230"/>
                    </a:cubicBezTo>
                    <a:cubicBezTo>
                      <a:pt x="208" y="234"/>
                      <a:pt x="202" y="242"/>
                      <a:pt x="192" y="242"/>
                    </a:cubicBezTo>
                    <a:cubicBezTo>
                      <a:pt x="183" y="242"/>
                      <a:pt x="177" y="237"/>
                      <a:pt x="168" y="237"/>
                    </a:cubicBezTo>
                    <a:cubicBezTo>
                      <a:pt x="161" y="237"/>
                      <a:pt x="154" y="242"/>
                      <a:pt x="154" y="248"/>
                    </a:cubicBezTo>
                    <a:cubicBezTo>
                      <a:pt x="157" y="258"/>
                      <a:pt x="157" y="258"/>
                      <a:pt x="157" y="258"/>
                    </a:cubicBezTo>
                    <a:cubicBezTo>
                      <a:pt x="154" y="267"/>
                      <a:pt x="144" y="270"/>
                      <a:pt x="135" y="272"/>
                    </a:cubicBezTo>
                    <a:cubicBezTo>
                      <a:pt x="127" y="274"/>
                      <a:pt x="114" y="292"/>
                      <a:pt x="114" y="302"/>
                    </a:cubicBezTo>
                    <a:cubicBezTo>
                      <a:pt x="114" y="305"/>
                      <a:pt x="117" y="306"/>
                      <a:pt x="119" y="307"/>
                    </a:cubicBezTo>
                    <a:cubicBezTo>
                      <a:pt x="113" y="316"/>
                      <a:pt x="110" y="321"/>
                      <a:pt x="101" y="326"/>
                    </a:cubicBezTo>
                    <a:cubicBezTo>
                      <a:pt x="96" y="328"/>
                      <a:pt x="95" y="340"/>
                      <a:pt x="86" y="337"/>
                    </a:cubicBezTo>
                    <a:cubicBezTo>
                      <a:pt x="86" y="337"/>
                      <a:pt x="86" y="337"/>
                      <a:pt x="86" y="337"/>
                    </a:cubicBezTo>
                    <a:cubicBezTo>
                      <a:pt x="82" y="336"/>
                      <a:pt x="75" y="338"/>
                      <a:pt x="72" y="338"/>
                    </a:cubicBezTo>
                    <a:cubicBezTo>
                      <a:pt x="62" y="338"/>
                      <a:pt x="56" y="347"/>
                      <a:pt x="46" y="347"/>
                    </a:cubicBezTo>
                    <a:cubicBezTo>
                      <a:pt x="40" y="347"/>
                      <a:pt x="39" y="331"/>
                      <a:pt x="29" y="331"/>
                    </a:cubicBezTo>
                    <a:cubicBezTo>
                      <a:pt x="22" y="331"/>
                      <a:pt x="17" y="334"/>
                      <a:pt x="10" y="334"/>
                    </a:cubicBezTo>
                    <a:cubicBezTo>
                      <a:pt x="8" y="334"/>
                      <a:pt x="7" y="332"/>
                      <a:pt x="7" y="330"/>
                    </a:cubicBezTo>
                    <a:cubicBezTo>
                      <a:pt x="7" y="321"/>
                      <a:pt x="7" y="318"/>
                      <a:pt x="7" y="313"/>
                    </a:cubicBezTo>
                    <a:cubicBezTo>
                      <a:pt x="3" y="313"/>
                      <a:pt x="0" y="310"/>
                      <a:pt x="0" y="306"/>
                    </a:cubicBezTo>
                    <a:cubicBezTo>
                      <a:pt x="0" y="301"/>
                      <a:pt x="4" y="299"/>
                      <a:pt x="4" y="296"/>
                    </a:cubicBezTo>
                    <a:cubicBezTo>
                      <a:pt x="4" y="285"/>
                      <a:pt x="8" y="274"/>
                      <a:pt x="8" y="262"/>
                    </a:cubicBezTo>
                    <a:cubicBezTo>
                      <a:pt x="8" y="256"/>
                      <a:pt x="4" y="250"/>
                      <a:pt x="4" y="246"/>
                    </a:cubicBezTo>
                    <a:cubicBezTo>
                      <a:pt x="4" y="243"/>
                      <a:pt x="19" y="234"/>
                      <a:pt x="21" y="234"/>
                    </a:cubicBezTo>
                    <a:cubicBezTo>
                      <a:pt x="23" y="234"/>
                      <a:pt x="25" y="236"/>
                      <a:pt x="28" y="235"/>
                    </a:cubicBezTo>
                    <a:cubicBezTo>
                      <a:pt x="48" y="235"/>
                      <a:pt x="48" y="235"/>
                      <a:pt x="48" y="235"/>
                    </a:cubicBezTo>
                    <a:cubicBezTo>
                      <a:pt x="49" y="237"/>
                      <a:pt x="53" y="238"/>
                      <a:pt x="55" y="238"/>
                    </a:cubicBezTo>
                    <a:cubicBezTo>
                      <a:pt x="76" y="238"/>
                      <a:pt x="76" y="238"/>
                      <a:pt x="76" y="238"/>
                    </a:cubicBezTo>
                    <a:cubicBezTo>
                      <a:pt x="82" y="237"/>
                      <a:pt x="84" y="240"/>
                      <a:pt x="89" y="240"/>
                    </a:cubicBezTo>
                    <a:cubicBezTo>
                      <a:pt x="92" y="240"/>
                      <a:pt x="98" y="238"/>
                      <a:pt x="100" y="238"/>
                    </a:cubicBezTo>
                    <a:cubicBezTo>
                      <a:pt x="100" y="229"/>
                      <a:pt x="105" y="226"/>
                      <a:pt x="105" y="218"/>
                    </a:cubicBezTo>
                    <a:cubicBezTo>
                      <a:pt x="105" y="216"/>
                      <a:pt x="105" y="208"/>
                      <a:pt x="105" y="206"/>
                    </a:cubicBezTo>
                    <a:cubicBezTo>
                      <a:pt x="104" y="206"/>
                      <a:pt x="104" y="206"/>
                      <a:pt x="104" y="206"/>
                    </a:cubicBezTo>
                    <a:cubicBezTo>
                      <a:pt x="105" y="205"/>
                      <a:pt x="106" y="201"/>
                      <a:pt x="106" y="200"/>
                    </a:cubicBezTo>
                    <a:cubicBezTo>
                      <a:pt x="106" y="196"/>
                      <a:pt x="103" y="197"/>
                      <a:pt x="103" y="193"/>
                    </a:cubicBezTo>
                    <a:cubicBezTo>
                      <a:pt x="94" y="193"/>
                      <a:pt x="92" y="185"/>
                      <a:pt x="92" y="178"/>
                    </a:cubicBezTo>
                    <a:cubicBezTo>
                      <a:pt x="89" y="178"/>
                      <a:pt x="89" y="175"/>
                      <a:pt x="87" y="175"/>
                    </a:cubicBezTo>
                    <a:cubicBezTo>
                      <a:pt x="79" y="173"/>
                      <a:pt x="60" y="169"/>
                      <a:pt x="60" y="163"/>
                    </a:cubicBezTo>
                    <a:cubicBezTo>
                      <a:pt x="60" y="163"/>
                      <a:pt x="60" y="161"/>
                      <a:pt x="60" y="161"/>
                    </a:cubicBezTo>
                    <a:cubicBezTo>
                      <a:pt x="60" y="157"/>
                      <a:pt x="72" y="154"/>
                      <a:pt x="76" y="153"/>
                    </a:cubicBezTo>
                    <a:cubicBezTo>
                      <a:pt x="78" y="156"/>
                      <a:pt x="85" y="157"/>
                      <a:pt x="88" y="157"/>
                    </a:cubicBezTo>
                    <a:cubicBezTo>
                      <a:pt x="92" y="157"/>
                      <a:pt x="97" y="156"/>
                      <a:pt x="98" y="155"/>
                    </a:cubicBezTo>
                    <a:cubicBezTo>
                      <a:pt x="98" y="152"/>
                      <a:pt x="98" y="152"/>
                      <a:pt x="98" y="152"/>
                    </a:cubicBezTo>
                    <a:cubicBezTo>
                      <a:pt x="95" y="151"/>
                      <a:pt x="97" y="145"/>
                      <a:pt x="96" y="143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101" y="140"/>
                      <a:pt x="101" y="140"/>
                      <a:pt x="101" y="140"/>
                    </a:cubicBezTo>
                    <a:cubicBezTo>
                      <a:pt x="104" y="143"/>
                      <a:pt x="109" y="145"/>
                      <a:pt x="114" y="145"/>
                    </a:cubicBezTo>
                    <a:cubicBezTo>
                      <a:pt x="117" y="145"/>
                      <a:pt x="120" y="142"/>
                      <a:pt x="121" y="139"/>
                    </a:cubicBezTo>
                    <a:cubicBezTo>
                      <a:pt x="135" y="139"/>
                      <a:pt x="138" y="129"/>
                      <a:pt x="141" y="119"/>
                    </a:cubicBezTo>
                    <a:cubicBezTo>
                      <a:pt x="143" y="119"/>
                      <a:pt x="145" y="118"/>
                      <a:pt x="147" y="118"/>
                    </a:cubicBezTo>
                    <a:cubicBezTo>
                      <a:pt x="150" y="117"/>
                      <a:pt x="167" y="110"/>
                      <a:pt x="169" y="108"/>
                    </a:cubicBezTo>
                    <a:cubicBezTo>
                      <a:pt x="173" y="104"/>
                      <a:pt x="171" y="99"/>
                      <a:pt x="171" y="94"/>
                    </a:cubicBezTo>
                    <a:cubicBezTo>
                      <a:pt x="171" y="92"/>
                      <a:pt x="175" y="89"/>
                      <a:pt x="176" y="89"/>
                    </a:cubicBezTo>
                    <a:cubicBezTo>
                      <a:pt x="182" y="83"/>
                      <a:pt x="188" y="76"/>
                      <a:pt x="198" y="76"/>
                    </a:cubicBezTo>
                    <a:cubicBezTo>
                      <a:pt x="204" y="76"/>
                      <a:pt x="201" y="77"/>
                      <a:pt x="204" y="76"/>
                    </a:cubicBezTo>
                    <a:cubicBezTo>
                      <a:pt x="206" y="77"/>
                      <a:pt x="207" y="74"/>
                      <a:pt x="208" y="73"/>
                    </a:cubicBezTo>
                    <a:cubicBezTo>
                      <a:pt x="211" y="70"/>
                      <a:pt x="215" y="72"/>
                      <a:pt x="219" y="72"/>
                    </a:cubicBezTo>
                    <a:cubicBezTo>
                      <a:pt x="221" y="72"/>
                      <a:pt x="229" y="68"/>
                      <a:pt x="229" y="65"/>
                    </a:cubicBezTo>
                    <a:cubicBezTo>
                      <a:pt x="229" y="63"/>
                      <a:pt x="225" y="54"/>
                      <a:pt x="225" y="54"/>
                    </a:cubicBezTo>
                    <a:cubicBezTo>
                      <a:pt x="224" y="42"/>
                      <a:pt x="217" y="38"/>
                      <a:pt x="217" y="28"/>
                    </a:cubicBezTo>
                    <a:cubicBezTo>
                      <a:pt x="217" y="9"/>
                      <a:pt x="234" y="8"/>
                      <a:pt x="245" y="0"/>
                    </a:cubicBezTo>
                    <a:cubicBezTo>
                      <a:pt x="245" y="5"/>
                      <a:pt x="245" y="5"/>
                      <a:pt x="245" y="5"/>
                    </a:cubicBezTo>
                    <a:cubicBezTo>
                      <a:pt x="243" y="10"/>
                      <a:pt x="242" y="12"/>
                      <a:pt x="242" y="17"/>
                    </a:cubicBezTo>
                    <a:cubicBezTo>
                      <a:pt x="242" y="21"/>
                      <a:pt x="247" y="22"/>
                      <a:pt x="251" y="22"/>
                    </a:cubicBezTo>
                    <a:cubicBezTo>
                      <a:pt x="251" y="23"/>
                      <a:pt x="251" y="24"/>
                      <a:pt x="251" y="25"/>
                    </a:cubicBezTo>
                    <a:cubicBezTo>
                      <a:pt x="251" y="27"/>
                      <a:pt x="247" y="28"/>
                      <a:pt x="245" y="29"/>
                    </a:cubicBezTo>
                    <a:cubicBezTo>
                      <a:pt x="241" y="34"/>
                      <a:pt x="236" y="38"/>
                      <a:pt x="236" y="46"/>
                    </a:cubicBezTo>
                    <a:cubicBezTo>
                      <a:pt x="236" y="50"/>
                      <a:pt x="238" y="53"/>
                      <a:pt x="240" y="54"/>
                    </a:cubicBezTo>
                    <a:cubicBezTo>
                      <a:pt x="240" y="56"/>
                      <a:pt x="241" y="57"/>
                      <a:pt x="240" y="59"/>
                    </a:cubicBezTo>
                    <a:cubicBezTo>
                      <a:pt x="245" y="59"/>
                      <a:pt x="247" y="60"/>
                      <a:pt x="251" y="60"/>
                    </a:cubicBezTo>
                    <a:cubicBezTo>
                      <a:pt x="252" y="63"/>
                      <a:pt x="253" y="66"/>
                      <a:pt x="254" y="66"/>
                    </a:cubicBezTo>
                    <a:cubicBezTo>
                      <a:pt x="266" y="66"/>
                      <a:pt x="274" y="56"/>
                      <a:pt x="285" y="57"/>
                    </a:cubicBezTo>
                    <a:cubicBezTo>
                      <a:pt x="284" y="59"/>
                      <a:pt x="282" y="60"/>
                      <a:pt x="282" y="62"/>
                    </a:cubicBezTo>
                    <a:cubicBezTo>
                      <a:pt x="282" y="63"/>
                      <a:pt x="289" y="68"/>
                      <a:pt x="289" y="68"/>
                    </a:cubicBezTo>
                    <a:cubicBezTo>
                      <a:pt x="294" y="68"/>
                      <a:pt x="295" y="65"/>
                      <a:pt x="297" y="64"/>
                    </a:cubicBezTo>
                    <a:cubicBezTo>
                      <a:pt x="304" y="60"/>
                      <a:pt x="310" y="62"/>
                      <a:pt x="317" y="59"/>
                    </a:cubicBezTo>
                    <a:cubicBezTo>
                      <a:pt x="321" y="57"/>
                      <a:pt x="328" y="50"/>
                      <a:pt x="333" y="50"/>
                    </a:cubicBezTo>
                    <a:cubicBezTo>
                      <a:pt x="339" y="50"/>
                      <a:pt x="345" y="51"/>
                      <a:pt x="348" y="52"/>
                    </a:cubicBezTo>
                    <a:cubicBezTo>
                      <a:pt x="347" y="54"/>
                      <a:pt x="346" y="56"/>
                      <a:pt x="346" y="57"/>
                    </a:cubicBezTo>
                    <a:cubicBezTo>
                      <a:pt x="358" y="57"/>
                      <a:pt x="370" y="55"/>
                      <a:pt x="378" y="55"/>
                    </a:cubicBezTo>
                    <a:cubicBezTo>
                      <a:pt x="386" y="55"/>
                      <a:pt x="392" y="54"/>
                      <a:pt x="401" y="54"/>
                    </a:cubicBezTo>
                    <a:cubicBezTo>
                      <a:pt x="410" y="54"/>
                      <a:pt x="414" y="70"/>
                      <a:pt x="414" y="80"/>
                    </a:cubicBezTo>
                    <a:cubicBezTo>
                      <a:pt x="414" y="86"/>
                      <a:pt x="408" y="89"/>
                      <a:pt x="408" y="95"/>
                    </a:cubicBezTo>
                    <a:cubicBezTo>
                      <a:pt x="408" y="104"/>
                      <a:pt x="416" y="110"/>
                      <a:pt x="416" y="118"/>
                    </a:cubicBezTo>
                    <a:cubicBezTo>
                      <a:pt x="416" y="123"/>
                      <a:pt x="408" y="125"/>
                      <a:pt x="406" y="128"/>
                    </a:cubicBezTo>
                    <a:cubicBezTo>
                      <a:pt x="401" y="136"/>
                      <a:pt x="399" y="143"/>
                      <a:pt x="399" y="153"/>
                    </a:cubicBezTo>
                    <a:cubicBezTo>
                      <a:pt x="399" y="166"/>
                      <a:pt x="408" y="163"/>
                      <a:pt x="418" y="163"/>
                    </a:cubicBezTo>
                    <a:cubicBezTo>
                      <a:pt x="432" y="163"/>
                      <a:pt x="439" y="157"/>
                      <a:pt x="450" y="157"/>
                    </a:cubicBezTo>
                    <a:cubicBezTo>
                      <a:pt x="461" y="157"/>
                      <a:pt x="459" y="180"/>
                      <a:pt x="470" y="180"/>
                    </a:cubicBezTo>
                    <a:cubicBezTo>
                      <a:pt x="470" y="198"/>
                      <a:pt x="470" y="198"/>
                      <a:pt x="470" y="198"/>
                    </a:cubicBezTo>
                    <a:cubicBezTo>
                      <a:pt x="470" y="200"/>
                      <a:pt x="471" y="201"/>
                      <a:pt x="472" y="201"/>
                    </a:cubicBezTo>
                    <a:cubicBezTo>
                      <a:pt x="474" y="204"/>
                      <a:pt x="474" y="204"/>
                      <a:pt x="474" y="204"/>
                    </a:cubicBezTo>
                    <a:cubicBezTo>
                      <a:pt x="476" y="204"/>
                      <a:pt x="482" y="202"/>
                      <a:pt x="485" y="201"/>
                    </a:cubicBezTo>
                    <a:cubicBezTo>
                      <a:pt x="485" y="204"/>
                      <a:pt x="485" y="206"/>
                      <a:pt x="485" y="208"/>
                    </a:cubicBezTo>
                    <a:cubicBezTo>
                      <a:pt x="481" y="209"/>
                      <a:pt x="476" y="211"/>
                      <a:pt x="476" y="21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93" name="isḷïḑè"/>
              <p:cNvSpPr/>
              <p:nvPr/>
            </p:nvSpPr>
            <p:spPr bwMode="auto">
              <a:xfrm>
                <a:off x="5651990" y="1752714"/>
                <a:ext cx="545767" cy="529894"/>
              </a:xfrm>
              <a:custGeom>
                <a:avLst/>
                <a:gdLst/>
                <a:ahLst/>
                <a:cxnLst>
                  <a:cxn ang="0">
                    <a:pos x="66" y="236"/>
                  </a:cxn>
                  <a:cxn ang="0">
                    <a:pos x="4" y="254"/>
                  </a:cxn>
                  <a:cxn ang="0">
                    <a:pos x="12" y="241"/>
                  </a:cxn>
                  <a:cxn ang="0">
                    <a:pos x="8" y="231"/>
                  </a:cxn>
                  <a:cxn ang="0">
                    <a:pos x="10" y="190"/>
                  </a:cxn>
                  <a:cxn ang="0">
                    <a:pos x="55" y="163"/>
                  </a:cxn>
                  <a:cxn ang="0">
                    <a:pos x="85" y="129"/>
                  </a:cxn>
                  <a:cxn ang="0">
                    <a:pos x="97" y="102"/>
                  </a:cxn>
                  <a:cxn ang="0">
                    <a:pos x="142" y="55"/>
                  </a:cxn>
                  <a:cxn ang="0">
                    <a:pos x="124" y="57"/>
                  </a:cxn>
                  <a:cxn ang="0">
                    <a:pos x="124" y="49"/>
                  </a:cxn>
                  <a:cxn ang="0">
                    <a:pos x="132" y="44"/>
                  </a:cxn>
                  <a:cxn ang="0">
                    <a:pos x="148" y="57"/>
                  </a:cxn>
                  <a:cxn ang="0">
                    <a:pos x="149" y="45"/>
                  </a:cxn>
                  <a:cxn ang="0">
                    <a:pos x="168" y="37"/>
                  </a:cxn>
                  <a:cxn ang="0">
                    <a:pos x="183" y="28"/>
                  </a:cxn>
                  <a:cxn ang="0">
                    <a:pos x="199" y="21"/>
                  </a:cxn>
                  <a:cxn ang="0">
                    <a:pos x="221" y="17"/>
                  </a:cxn>
                  <a:cxn ang="0">
                    <a:pos x="223" y="5"/>
                  </a:cxn>
                  <a:cxn ang="0">
                    <a:pos x="256" y="6"/>
                  </a:cxn>
                  <a:cxn ang="0">
                    <a:pos x="266" y="7"/>
                  </a:cxn>
                  <a:cxn ang="0">
                    <a:pos x="285" y="2"/>
                  </a:cxn>
                  <a:cxn ang="0">
                    <a:pos x="296" y="6"/>
                  </a:cxn>
                  <a:cxn ang="0">
                    <a:pos x="293" y="24"/>
                  </a:cxn>
                  <a:cxn ang="0">
                    <a:pos x="315" y="32"/>
                  </a:cxn>
                  <a:cxn ang="0">
                    <a:pos x="309" y="72"/>
                  </a:cxn>
                  <a:cxn ang="0">
                    <a:pos x="310" y="113"/>
                  </a:cxn>
                  <a:cxn ang="0">
                    <a:pos x="318" y="148"/>
                  </a:cxn>
                  <a:cxn ang="0">
                    <a:pos x="327" y="172"/>
                  </a:cxn>
                  <a:cxn ang="0">
                    <a:pos x="255" y="224"/>
                  </a:cxn>
                  <a:cxn ang="0">
                    <a:pos x="218" y="225"/>
                  </a:cxn>
                  <a:cxn ang="0">
                    <a:pos x="206" y="200"/>
                  </a:cxn>
                  <a:cxn ang="0">
                    <a:pos x="197" y="174"/>
                  </a:cxn>
                  <a:cxn ang="0">
                    <a:pos x="254" y="130"/>
                  </a:cxn>
                  <a:cxn ang="0">
                    <a:pos x="202" y="135"/>
                  </a:cxn>
                  <a:cxn ang="0">
                    <a:pos x="172" y="169"/>
                  </a:cxn>
                  <a:cxn ang="0">
                    <a:pos x="146" y="201"/>
                  </a:cxn>
                  <a:cxn ang="0">
                    <a:pos x="150" y="218"/>
                  </a:cxn>
                  <a:cxn ang="0">
                    <a:pos x="152" y="253"/>
                  </a:cxn>
                  <a:cxn ang="0">
                    <a:pos x="146" y="283"/>
                  </a:cxn>
                  <a:cxn ang="0">
                    <a:pos x="121" y="304"/>
                  </a:cxn>
                  <a:cxn ang="0">
                    <a:pos x="90" y="297"/>
                  </a:cxn>
                  <a:cxn ang="0">
                    <a:pos x="82" y="269"/>
                  </a:cxn>
                  <a:cxn ang="0">
                    <a:pos x="76" y="245"/>
                  </a:cxn>
                </a:cxnLst>
                <a:rect l="0" t="0" r="r" b="b"/>
                <a:pathLst>
                  <a:path w="327" h="318">
                    <a:moveTo>
                      <a:pt x="76" y="247"/>
                    </a:moveTo>
                    <a:cubicBezTo>
                      <a:pt x="70" y="245"/>
                      <a:pt x="69" y="241"/>
                      <a:pt x="66" y="236"/>
                    </a:cubicBezTo>
                    <a:cubicBezTo>
                      <a:pt x="57" y="249"/>
                      <a:pt x="43" y="266"/>
                      <a:pt x="24" y="266"/>
                    </a:cubicBezTo>
                    <a:cubicBezTo>
                      <a:pt x="22" y="266"/>
                      <a:pt x="4" y="256"/>
                      <a:pt x="4" y="254"/>
                    </a:cubicBezTo>
                    <a:cubicBezTo>
                      <a:pt x="4" y="250"/>
                      <a:pt x="10" y="248"/>
                      <a:pt x="12" y="247"/>
                    </a:cubicBezTo>
                    <a:cubicBezTo>
                      <a:pt x="12" y="241"/>
                      <a:pt x="12" y="241"/>
                      <a:pt x="12" y="241"/>
                    </a:cubicBezTo>
                    <a:cubicBezTo>
                      <a:pt x="6" y="241"/>
                      <a:pt x="6" y="241"/>
                      <a:pt x="0" y="243"/>
                    </a:cubicBezTo>
                    <a:cubicBezTo>
                      <a:pt x="0" y="240"/>
                      <a:pt x="5" y="234"/>
                      <a:pt x="8" y="231"/>
                    </a:cubicBezTo>
                    <a:cubicBezTo>
                      <a:pt x="1" y="223"/>
                      <a:pt x="0" y="212"/>
                      <a:pt x="0" y="200"/>
                    </a:cubicBezTo>
                    <a:cubicBezTo>
                      <a:pt x="0" y="193"/>
                      <a:pt x="7" y="194"/>
                      <a:pt x="10" y="190"/>
                    </a:cubicBezTo>
                    <a:cubicBezTo>
                      <a:pt x="15" y="182"/>
                      <a:pt x="20" y="177"/>
                      <a:pt x="30" y="174"/>
                    </a:cubicBezTo>
                    <a:cubicBezTo>
                      <a:pt x="38" y="172"/>
                      <a:pt x="39" y="162"/>
                      <a:pt x="55" y="163"/>
                    </a:cubicBezTo>
                    <a:cubicBezTo>
                      <a:pt x="50" y="162"/>
                      <a:pt x="49" y="161"/>
                      <a:pt x="45" y="160"/>
                    </a:cubicBezTo>
                    <a:cubicBezTo>
                      <a:pt x="64" y="155"/>
                      <a:pt x="71" y="140"/>
                      <a:pt x="85" y="129"/>
                    </a:cubicBezTo>
                    <a:cubicBezTo>
                      <a:pt x="90" y="126"/>
                      <a:pt x="89" y="112"/>
                      <a:pt x="93" y="112"/>
                    </a:cubicBezTo>
                    <a:cubicBezTo>
                      <a:pt x="93" y="112"/>
                      <a:pt x="97" y="102"/>
                      <a:pt x="97" y="102"/>
                    </a:cubicBezTo>
                    <a:cubicBezTo>
                      <a:pt x="102" y="93"/>
                      <a:pt x="109" y="87"/>
                      <a:pt x="118" y="83"/>
                    </a:cubicBezTo>
                    <a:cubicBezTo>
                      <a:pt x="127" y="80"/>
                      <a:pt x="139" y="65"/>
                      <a:pt x="142" y="55"/>
                    </a:cubicBezTo>
                    <a:cubicBezTo>
                      <a:pt x="131" y="58"/>
                      <a:pt x="126" y="63"/>
                      <a:pt x="116" y="63"/>
                    </a:cubicBezTo>
                    <a:cubicBezTo>
                      <a:pt x="118" y="60"/>
                      <a:pt x="123" y="58"/>
                      <a:pt x="124" y="57"/>
                    </a:cubicBezTo>
                    <a:cubicBezTo>
                      <a:pt x="122" y="57"/>
                      <a:pt x="118" y="56"/>
                      <a:pt x="118" y="56"/>
                    </a:cubicBezTo>
                    <a:cubicBezTo>
                      <a:pt x="119" y="51"/>
                      <a:pt x="121" y="49"/>
                      <a:pt x="124" y="49"/>
                    </a:cubicBezTo>
                    <a:cubicBezTo>
                      <a:pt x="126" y="49"/>
                      <a:pt x="127" y="50"/>
                      <a:pt x="128" y="50"/>
                    </a:cubicBezTo>
                    <a:cubicBezTo>
                      <a:pt x="129" y="47"/>
                      <a:pt x="131" y="46"/>
                      <a:pt x="132" y="44"/>
                    </a:cubicBezTo>
                    <a:cubicBezTo>
                      <a:pt x="134" y="47"/>
                      <a:pt x="135" y="49"/>
                      <a:pt x="133" y="52"/>
                    </a:cubicBezTo>
                    <a:cubicBezTo>
                      <a:pt x="140" y="52"/>
                      <a:pt x="142" y="57"/>
                      <a:pt x="148" y="57"/>
                    </a:cubicBezTo>
                    <a:cubicBezTo>
                      <a:pt x="150" y="57"/>
                      <a:pt x="155" y="46"/>
                      <a:pt x="156" y="46"/>
                    </a:cubicBezTo>
                    <a:cubicBezTo>
                      <a:pt x="153" y="45"/>
                      <a:pt x="153" y="44"/>
                      <a:pt x="149" y="45"/>
                    </a:cubicBezTo>
                    <a:cubicBezTo>
                      <a:pt x="151" y="41"/>
                      <a:pt x="154" y="38"/>
                      <a:pt x="159" y="38"/>
                    </a:cubicBezTo>
                    <a:cubicBezTo>
                      <a:pt x="162" y="38"/>
                      <a:pt x="165" y="39"/>
                      <a:pt x="168" y="37"/>
                    </a:cubicBezTo>
                    <a:cubicBezTo>
                      <a:pt x="165" y="35"/>
                      <a:pt x="166" y="35"/>
                      <a:pt x="164" y="33"/>
                    </a:cubicBezTo>
                    <a:cubicBezTo>
                      <a:pt x="169" y="29"/>
                      <a:pt x="176" y="29"/>
                      <a:pt x="183" y="28"/>
                    </a:cubicBezTo>
                    <a:cubicBezTo>
                      <a:pt x="183" y="33"/>
                      <a:pt x="183" y="33"/>
                      <a:pt x="183" y="33"/>
                    </a:cubicBezTo>
                    <a:cubicBezTo>
                      <a:pt x="189" y="32"/>
                      <a:pt x="190" y="22"/>
                      <a:pt x="199" y="21"/>
                    </a:cubicBezTo>
                    <a:cubicBezTo>
                      <a:pt x="199" y="29"/>
                      <a:pt x="199" y="29"/>
                      <a:pt x="199" y="29"/>
                    </a:cubicBezTo>
                    <a:cubicBezTo>
                      <a:pt x="205" y="18"/>
                      <a:pt x="213" y="21"/>
                      <a:pt x="221" y="17"/>
                    </a:cubicBezTo>
                    <a:cubicBezTo>
                      <a:pt x="217" y="15"/>
                      <a:pt x="214" y="14"/>
                      <a:pt x="214" y="11"/>
                    </a:cubicBezTo>
                    <a:cubicBezTo>
                      <a:pt x="214" y="9"/>
                      <a:pt x="222" y="7"/>
                      <a:pt x="223" y="5"/>
                    </a:cubicBezTo>
                    <a:cubicBezTo>
                      <a:pt x="226" y="8"/>
                      <a:pt x="228" y="11"/>
                      <a:pt x="232" y="11"/>
                    </a:cubicBezTo>
                    <a:cubicBezTo>
                      <a:pt x="239" y="11"/>
                      <a:pt x="256" y="0"/>
                      <a:pt x="256" y="6"/>
                    </a:cubicBezTo>
                    <a:cubicBezTo>
                      <a:pt x="256" y="12"/>
                      <a:pt x="248" y="14"/>
                      <a:pt x="247" y="20"/>
                    </a:cubicBezTo>
                    <a:cubicBezTo>
                      <a:pt x="255" y="21"/>
                      <a:pt x="258" y="11"/>
                      <a:pt x="266" y="7"/>
                    </a:cubicBezTo>
                    <a:cubicBezTo>
                      <a:pt x="267" y="10"/>
                      <a:pt x="267" y="12"/>
                      <a:pt x="268" y="15"/>
                    </a:cubicBezTo>
                    <a:cubicBezTo>
                      <a:pt x="274" y="9"/>
                      <a:pt x="277" y="7"/>
                      <a:pt x="285" y="2"/>
                    </a:cubicBezTo>
                    <a:cubicBezTo>
                      <a:pt x="285" y="8"/>
                      <a:pt x="284" y="12"/>
                      <a:pt x="289" y="13"/>
                    </a:cubicBezTo>
                    <a:cubicBezTo>
                      <a:pt x="290" y="9"/>
                      <a:pt x="292" y="6"/>
                      <a:pt x="296" y="6"/>
                    </a:cubicBezTo>
                    <a:cubicBezTo>
                      <a:pt x="298" y="6"/>
                      <a:pt x="307" y="11"/>
                      <a:pt x="311" y="13"/>
                    </a:cubicBezTo>
                    <a:cubicBezTo>
                      <a:pt x="307" y="24"/>
                      <a:pt x="303" y="20"/>
                      <a:pt x="293" y="24"/>
                    </a:cubicBezTo>
                    <a:cubicBezTo>
                      <a:pt x="298" y="27"/>
                      <a:pt x="301" y="28"/>
                      <a:pt x="301" y="30"/>
                    </a:cubicBezTo>
                    <a:cubicBezTo>
                      <a:pt x="305" y="31"/>
                      <a:pt x="314" y="32"/>
                      <a:pt x="315" y="32"/>
                    </a:cubicBezTo>
                    <a:cubicBezTo>
                      <a:pt x="309" y="36"/>
                      <a:pt x="293" y="44"/>
                      <a:pt x="293" y="55"/>
                    </a:cubicBezTo>
                    <a:cubicBezTo>
                      <a:pt x="293" y="63"/>
                      <a:pt x="309" y="62"/>
                      <a:pt x="309" y="72"/>
                    </a:cubicBezTo>
                    <a:cubicBezTo>
                      <a:pt x="309" y="80"/>
                      <a:pt x="301" y="83"/>
                      <a:pt x="301" y="91"/>
                    </a:cubicBezTo>
                    <a:cubicBezTo>
                      <a:pt x="301" y="99"/>
                      <a:pt x="310" y="104"/>
                      <a:pt x="310" y="113"/>
                    </a:cubicBezTo>
                    <a:cubicBezTo>
                      <a:pt x="310" y="118"/>
                      <a:pt x="305" y="121"/>
                      <a:pt x="305" y="126"/>
                    </a:cubicBezTo>
                    <a:cubicBezTo>
                      <a:pt x="305" y="136"/>
                      <a:pt x="318" y="138"/>
                      <a:pt x="318" y="148"/>
                    </a:cubicBezTo>
                    <a:cubicBezTo>
                      <a:pt x="318" y="151"/>
                      <a:pt x="314" y="153"/>
                      <a:pt x="313" y="154"/>
                    </a:cubicBezTo>
                    <a:cubicBezTo>
                      <a:pt x="317" y="161"/>
                      <a:pt x="327" y="163"/>
                      <a:pt x="327" y="172"/>
                    </a:cubicBezTo>
                    <a:cubicBezTo>
                      <a:pt x="327" y="187"/>
                      <a:pt x="297" y="203"/>
                      <a:pt x="288" y="215"/>
                    </a:cubicBezTo>
                    <a:cubicBezTo>
                      <a:pt x="283" y="224"/>
                      <a:pt x="263" y="226"/>
                      <a:pt x="255" y="224"/>
                    </a:cubicBezTo>
                    <a:cubicBezTo>
                      <a:pt x="246" y="227"/>
                      <a:pt x="236" y="231"/>
                      <a:pt x="228" y="231"/>
                    </a:cubicBezTo>
                    <a:cubicBezTo>
                      <a:pt x="222" y="231"/>
                      <a:pt x="218" y="230"/>
                      <a:pt x="218" y="225"/>
                    </a:cubicBezTo>
                    <a:cubicBezTo>
                      <a:pt x="209" y="225"/>
                      <a:pt x="199" y="219"/>
                      <a:pt x="199" y="210"/>
                    </a:cubicBezTo>
                    <a:cubicBezTo>
                      <a:pt x="199" y="205"/>
                      <a:pt x="204" y="202"/>
                      <a:pt x="206" y="200"/>
                    </a:cubicBezTo>
                    <a:cubicBezTo>
                      <a:pt x="201" y="198"/>
                      <a:pt x="197" y="188"/>
                      <a:pt x="197" y="183"/>
                    </a:cubicBezTo>
                    <a:cubicBezTo>
                      <a:pt x="197" y="180"/>
                      <a:pt x="198" y="178"/>
                      <a:pt x="197" y="174"/>
                    </a:cubicBezTo>
                    <a:cubicBezTo>
                      <a:pt x="216" y="174"/>
                      <a:pt x="225" y="150"/>
                      <a:pt x="237" y="144"/>
                    </a:cubicBezTo>
                    <a:cubicBezTo>
                      <a:pt x="243" y="140"/>
                      <a:pt x="254" y="138"/>
                      <a:pt x="254" y="130"/>
                    </a:cubicBezTo>
                    <a:cubicBezTo>
                      <a:pt x="254" y="119"/>
                      <a:pt x="239" y="117"/>
                      <a:pt x="228" y="117"/>
                    </a:cubicBezTo>
                    <a:cubicBezTo>
                      <a:pt x="213" y="117"/>
                      <a:pt x="202" y="122"/>
                      <a:pt x="202" y="135"/>
                    </a:cubicBezTo>
                    <a:cubicBezTo>
                      <a:pt x="202" y="140"/>
                      <a:pt x="203" y="142"/>
                      <a:pt x="202" y="145"/>
                    </a:cubicBezTo>
                    <a:cubicBezTo>
                      <a:pt x="202" y="155"/>
                      <a:pt x="181" y="164"/>
                      <a:pt x="172" y="169"/>
                    </a:cubicBezTo>
                    <a:cubicBezTo>
                      <a:pt x="165" y="174"/>
                      <a:pt x="157" y="175"/>
                      <a:pt x="152" y="183"/>
                    </a:cubicBezTo>
                    <a:cubicBezTo>
                      <a:pt x="149" y="189"/>
                      <a:pt x="153" y="198"/>
                      <a:pt x="146" y="201"/>
                    </a:cubicBezTo>
                    <a:cubicBezTo>
                      <a:pt x="146" y="210"/>
                      <a:pt x="146" y="210"/>
                      <a:pt x="146" y="210"/>
                    </a:cubicBezTo>
                    <a:cubicBezTo>
                      <a:pt x="149" y="212"/>
                      <a:pt x="150" y="215"/>
                      <a:pt x="150" y="218"/>
                    </a:cubicBezTo>
                    <a:cubicBezTo>
                      <a:pt x="158" y="219"/>
                      <a:pt x="170" y="227"/>
                      <a:pt x="170" y="235"/>
                    </a:cubicBezTo>
                    <a:cubicBezTo>
                      <a:pt x="170" y="242"/>
                      <a:pt x="157" y="253"/>
                      <a:pt x="152" y="253"/>
                    </a:cubicBezTo>
                    <a:cubicBezTo>
                      <a:pt x="143" y="253"/>
                      <a:pt x="140" y="266"/>
                      <a:pt x="140" y="275"/>
                    </a:cubicBezTo>
                    <a:cubicBezTo>
                      <a:pt x="140" y="280"/>
                      <a:pt x="144" y="282"/>
                      <a:pt x="146" y="283"/>
                    </a:cubicBezTo>
                    <a:cubicBezTo>
                      <a:pt x="145" y="294"/>
                      <a:pt x="135" y="295"/>
                      <a:pt x="133" y="304"/>
                    </a:cubicBezTo>
                    <a:cubicBezTo>
                      <a:pt x="127" y="304"/>
                      <a:pt x="125" y="304"/>
                      <a:pt x="121" y="304"/>
                    </a:cubicBezTo>
                    <a:cubicBezTo>
                      <a:pt x="114" y="304"/>
                      <a:pt x="111" y="318"/>
                      <a:pt x="100" y="318"/>
                    </a:cubicBezTo>
                    <a:cubicBezTo>
                      <a:pt x="97" y="318"/>
                      <a:pt x="90" y="299"/>
                      <a:pt x="90" y="297"/>
                    </a:cubicBezTo>
                    <a:cubicBezTo>
                      <a:pt x="90" y="296"/>
                      <a:pt x="91" y="294"/>
                      <a:pt x="91" y="293"/>
                    </a:cubicBezTo>
                    <a:cubicBezTo>
                      <a:pt x="84" y="285"/>
                      <a:pt x="85" y="279"/>
                      <a:pt x="82" y="269"/>
                    </a:cubicBezTo>
                    <a:cubicBezTo>
                      <a:pt x="79" y="263"/>
                      <a:pt x="73" y="261"/>
                      <a:pt x="73" y="253"/>
                    </a:cubicBezTo>
                    <a:cubicBezTo>
                      <a:pt x="73" y="250"/>
                      <a:pt x="75" y="246"/>
                      <a:pt x="76" y="245"/>
                    </a:cubicBezTo>
                    <a:lnTo>
                      <a:pt x="76" y="24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94" name="îşḻíde"/>
              <p:cNvSpPr/>
              <p:nvPr/>
            </p:nvSpPr>
            <p:spPr bwMode="auto">
              <a:xfrm>
                <a:off x="5763128" y="1369684"/>
                <a:ext cx="293722" cy="160755"/>
              </a:xfrm>
              <a:custGeom>
                <a:avLst/>
                <a:gdLst/>
                <a:ahLst/>
                <a:cxnLst>
                  <a:cxn ang="0">
                    <a:pos x="148" y="79"/>
                  </a:cxn>
                  <a:cxn ang="0">
                    <a:pos x="148" y="71"/>
                  </a:cxn>
                  <a:cxn ang="0">
                    <a:pos x="128" y="71"/>
                  </a:cxn>
                  <a:cxn ang="0">
                    <a:pos x="135" y="58"/>
                  </a:cxn>
                  <a:cxn ang="0">
                    <a:pos x="126" y="46"/>
                  </a:cxn>
                  <a:cxn ang="0">
                    <a:pos x="132" y="45"/>
                  </a:cxn>
                  <a:cxn ang="0">
                    <a:pos x="121" y="38"/>
                  </a:cxn>
                  <a:cxn ang="0">
                    <a:pos x="97" y="69"/>
                  </a:cxn>
                  <a:cxn ang="0">
                    <a:pos x="90" y="73"/>
                  </a:cxn>
                  <a:cxn ang="0">
                    <a:pos x="78" y="97"/>
                  </a:cxn>
                  <a:cxn ang="0">
                    <a:pos x="43" y="69"/>
                  </a:cxn>
                  <a:cxn ang="0">
                    <a:pos x="60" y="70"/>
                  </a:cxn>
                  <a:cxn ang="0">
                    <a:pos x="74" y="66"/>
                  </a:cxn>
                  <a:cxn ang="0">
                    <a:pos x="54" y="64"/>
                  </a:cxn>
                  <a:cxn ang="0">
                    <a:pos x="38" y="58"/>
                  </a:cxn>
                  <a:cxn ang="0">
                    <a:pos x="50" y="54"/>
                  </a:cxn>
                  <a:cxn ang="0">
                    <a:pos x="72" y="43"/>
                  </a:cxn>
                  <a:cxn ang="0">
                    <a:pos x="61" y="43"/>
                  </a:cxn>
                  <a:cxn ang="0">
                    <a:pos x="54" y="39"/>
                  </a:cxn>
                  <a:cxn ang="0">
                    <a:pos x="51" y="39"/>
                  </a:cxn>
                  <a:cxn ang="0">
                    <a:pos x="38" y="51"/>
                  </a:cxn>
                  <a:cxn ang="0">
                    <a:pos x="23" y="44"/>
                  </a:cxn>
                  <a:cxn ang="0">
                    <a:pos x="27" y="43"/>
                  </a:cxn>
                  <a:cxn ang="0">
                    <a:pos x="15" y="28"/>
                  </a:cxn>
                  <a:cxn ang="0">
                    <a:pos x="11" y="26"/>
                  </a:cxn>
                  <a:cxn ang="0">
                    <a:pos x="0" y="16"/>
                  </a:cxn>
                  <a:cxn ang="0">
                    <a:pos x="16" y="5"/>
                  </a:cxn>
                  <a:cxn ang="0">
                    <a:pos x="38" y="7"/>
                  </a:cxn>
                  <a:cxn ang="0">
                    <a:pos x="32" y="13"/>
                  </a:cxn>
                  <a:cxn ang="0">
                    <a:pos x="44" y="20"/>
                  </a:cxn>
                  <a:cxn ang="0">
                    <a:pos x="41" y="14"/>
                  </a:cxn>
                  <a:cxn ang="0">
                    <a:pos x="49" y="7"/>
                  </a:cxn>
                  <a:cxn ang="0">
                    <a:pos x="68" y="26"/>
                  </a:cxn>
                  <a:cxn ang="0">
                    <a:pos x="63" y="7"/>
                  </a:cxn>
                  <a:cxn ang="0">
                    <a:pos x="72" y="0"/>
                  </a:cxn>
                  <a:cxn ang="0">
                    <a:pos x="90" y="9"/>
                  </a:cxn>
                  <a:cxn ang="0">
                    <a:pos x="88" y="18"/>
                  </a:cxn>
                  <a:cxn ang="0">
                    <a:pos x="96" y="12"/>
                  </a:cxn>
                  <a:cxn ang="0">
                    <a:pos x="102" y="23"/>
                  </a:cxn>
                  <a:cxn ang="0">
                    <a:pos x="106" y="23"/>
                  </a:cxn>
                  <a:cxn ang="0">
                    <a:pos x="141" y="41"/>
                  </a:cxn>
                  <a:cxn ang="0">
                    <a:pos x="137" y="42"/>
                  </a:cxn>
                  <a:cxn ang="0">
                    <a:pos x="145" y="42"/>
                  </a:cxn>
                  <a:cxn ang="0">
                    <a:pos x="145" y="49"/>
                  </a:cxn>
                  <a:cxn ang="0">
                    <a:pos x="159" y="49"/>
                  </a:cxn>
                  <a:cxn ang="0">
                    <a:pos x="176" y="64"/>
                  </a:cxn>
                  <a:cxn ang="0">
                    <a:pos x="148" y="79"/>
                  </a:cxn>
                </a:cxnLst>
                <a:rect l="0" t="0" r="r" b="b"/>
                <a:pathLst>
                  <a:path w="176" h="97">
                    <a:moveTo>
                      <a:pt x="148" y="79"/>
                    </a:moveTo>
                    <a:cubicBezTo>
                      <a:pt x="147" y="76"/>
                      <a:pt x="147" y="74"/>
                      <a:pt x="148" y="71"/>
                    </a:cubicBezTo>
                    <a:cubicBezTo>
                      <a:pt x="143" y="71"/>
                      <a:pt x="134" y="71"/>
                      <a:pt x="128" y="71"/>
                    </a:cubicBezTo>
                    <a:cubicBezTo>
                      <a:pt x="129" y="63"/>
                      <a:pt x="134" y="65"/>
                      <a:pt x="135" y="58"/>
                    </a:cubicBezTo>
                    <a:cubicBezTo>
                      <a:pt x="132" y="57"/>
                      <a:pt x="128" y="49"/>
                      <a:pt x="126" y="46"/>
                    </a:cubicBezTo>
                    <a:cubicBezTo>
                      <a:pt x="128" y="45"/>
                      <a:pt x="130" y="45"/>
                      <a:pt x="132" y="45"/>
                    </a:cubicBezTo>
                    <a:cubicBezTo>
                      <a:pt x="125" y="44"/>
                      <a:pt x="121" y="38"/>
                      <a:pt x="121" y="38"/>
                    </a:cubicBezTo>
                    <a:cubicBezTo>
                      <a:pt x="106" y="38"/>
                      <a:pt x="102" y="58"/>
                      <a:pt x="97" y="69"/>
                    </a:cubicBezTo>
                    <a:cubicBezTo>
                      <a:pt x="96" y="72"/>
                      <a:pt x="93" y="71"/>
                      <a:pt x="90" y="73"/>
                    </a:cubicBezTo>
                    <a:cubicBezTo>
                      <a:pt x="83" y="79"/>
                      <a:pt x="84" y="91"/>
                      <a:pt x="78" y="97"/>
                    </a:cubicBezTo>
                    <a:cubicBezTo>
                      <a:pt x="67" y="90"/>
                      <a:pt x="43" y="84"/>
                      <a:pt x="43" y="69"/>
                    </a:cubicBezTo>
                    <a:cubicBezTo>
                      <a:pt x="49" y="68"/>
                      <a:pt x="60" y="70"/>
                      <a:pt x="60" y="70"/>
                    </a:cubicBezTo>
                    <a:cubicBezTo>
                      <a:pt x="64" y="66"/>
                      <a:pt x="69" y="67"/>
                      <a:pt x="74" y="66"/>
                    </a:cubicBezTo>
                    <a:cubicBezTo>
                      <a:pt x="72" y="64"/>
                      <a:pt x="57" y="64"/>
                      <a:pt x="54" y="64"/>
                    </a:cubicBezTo>
                    <a:cubicBezTo>
                      <a:pt x="49" y="64"/>
                      <a:pt x="38" y="69"/>
                      <a:pt x="38" y="58"/>
                    </a:cubicBezTo>
                    <a:cubicBezTo>
                      <a:pt x="38" y="54"/>
                      <a:pt x="48" y="54"/>
                      <a:pt x="50" y="54"/>
                    </a:cubicBezTo>
                    <a:cubicBezTo>
                      <a:pt x="56" y="52"/>
                      <a:pt x="68" y="47"/>
                      <a:pt x="72" y="43"/>
                    </a:cubicBezTo>
                    <a:cubicBezTo>
                      <a:pt x="66" y="43"/>
                      <a:pt x="63" y="43"/>
                      <a:pt x="61" y="43"/>
                    </a:cubicBezTo>
                    <a:cubicBezTo>
                      <a:pt x="60" y="43"/>
                      <a:pt x="56" y="40"/>
                      <a:pt x="54" y="39"/>
                    </a:cubicBezTo>
                    <a:cubicBezTo>
                      <a:pt x="53" y="39"/>
                      <a:pt x="52" y="39"/>
                      <a:pt x="51" y="39"/>
                    </a:cubicBezTo>
                    <a:cubicBezTo>
                      <a:pt x="47" y="41"/>
                      <a:pt x="47" y="51"/>
                      <a:pt x="38" y="51"/>
                    </a:cubicBezTo>
                    <a:cubicBezTo>
                      <a:pt x="31" y="51"/>
                      <a:pt x="26" y="48"/>
                      <a:pt x="23" y="44"/>
                    </a:cubicBezTo>
                    <a:cubicBezTo>
                      <a:pt x="25" y="43"/>
                      <a:pt x="26" y="43"/>
                      <a:pt x="27" y="43"/>
                    </a:cubicBezTo>
                    <a:cubicBezTo>
                      <a:pt x="19" y="39"/>
                      <a:pt x="13" y="35"/>
                      <a:pt x="15" y="28"/>
                    </a:cubicBezTo>
                    <a:cubicBezTo>
                      <a:pt x="13" y="28"/>
                      <a:pt x="12" y="26"/>
                      <a:pt x="11" y="26"/>
                    </a:cubicBezTo>
                    <a:cubicBezTo>
                      <a:pt x="8" y="26"/>
                      <a:pt x="3" y="19"/>
                      <a:pt x="0" y="16"/>
                    </a:cubicBezTo>
                    <a:cubicBezTo>
                      <a:pt x="2" y="14"/>
                      <a:pt x="11" y="5"/>
                      <a:pt x="16" y="5"/>
                    </a:cubicBezTo>
                    <a:cubicBezTo>
                      <a:pt x="23" y="5"/>
                      <a:pt x="27" y="5"/>
                      <a:pt x="38" y="7"/>
                    </a:cubicBezTo>
                    <a:cubicBezTo>
                      <a:pt x="35" y="10"/>
                      <a:pt x="34" y="11"/>
                      <a:pt x="32" y="13"/>
                    </a:cubicBezTo>
                    <a:cubicBezTo>
                      <a:pt x="37" y="17"/>
                      <a:pt x="41" y="17"/>
                      <a:pt x="44" y="20"/>
                    </a:cubicBezTo>
                    <a:cubicBezTo>
                      <a:pt x="42" y="19"/>
                      <a:pt x="41" y="17"/>
                      <a:pt x="41" y="14"/>
                    </a:cubicBezTo>
                    <a:cubicBezTo>
                      <a:pt x="41" y="10"/>
                      <a:pt x="45" y="7"/>
                      <a:pt x="49" y="7"/>
                    </a:cubicBezTo>
                    <a:cubicBezTo>
                      <a:pt x="60" y="7"/>
                      <a:pt x="57" y="22"/>
                      <a:pt x="68" y="26"/>
                    </a:cubicBezTo>
                    <a:cubicBezTo>
                      <a:pt x="66" y="19"/>
                      <a:pt x="63" y="15"/>
                      <a:pt x="63" y="7"/>
                    </a:cubicBezTo>
                    <a:cubicBezTo>
                      <a:pt x="63" y="0"/>
                      <a:pt x="66" y="0"/>
                      <a:pt x="72" y="0"/>
                    </a:cubicBezTo>
                    <a:cubicBezTo>
                      <a:pt x="78" y="0"/>
                      <a:pt x="90" y="4"/>
                      <a:pt x="90" y="9"/>
                    </a:cubicBezTo>
                    <a:cubicBezTo>
                      <a:pt x="90" y="12"/>
                      <a:pt x="88" y="15"/>
                      <a:pt x="88" y="18"/>
                    </a:cubicBezTo>
                    <a:cubicBezTo>
                      <a:pt x="92" y="16"/>
                      <a:pt x="93" y="12"/>
                      <a:pt x="96" y="12"/>
                    </a:cubicBezTo>
                    <a:cubicBezTo>
                      <a:pt x="103" y="12"/>
                      <a:pt x="102" y="19"/>
                      <a:pt x="102" y="23"/>
                    </a:cubicBezTo>
                    <a:cubicBezTo>
                      <a:pt x="103" y="23"/>
                      <a:pt x="105" y="23"/>
                      <a:pt x="106" y="23"/>
                    </a:cubicBezTo>
                    <a:cubicBezTo>
                      <a:pt x="113" y="23"/>
                      <a:pt x="137" y="36"/>
                      <a:pt x="141" y="41"/>
                    </a:cubicBezTo>
                    <a:cubicBezTo>
                      <a:pt x="140" y="42"/>
                      <a:pt x="138" y="42"/>
                      <a:pt x="137" y="42"/>
                    </a:cubicBezTo>
                    <a:cubicBezTo>
                      <a:pt x="140" y="43"/>
                      <a:pt x="142" y="42"/>
                      <a:pt x="145" y="42"/>
                    </a:cubicBezTo>
                    <a:cubicBezTo>
                      <a:pt x="146" y="44"/>
                      <a:pt x="146" y="47"/>
                      <a:pt x="145" y="49"/>
                    </a:cubicBezTo>
                    <a:cubicBezTo>
                      <a:pt x="151" y="49"/>
                      <a:pt x="154" y="49"/>
                      <a:pt x="159" y="49"/>
                    </a:cubicBezTo>
                    <a:cubicBezTo>
                      <a:pt x="159" y="62"/>
                      <a:pt x="172" y="59"/>
                      <a:pt x="176" y="64"/>
                    </a:cubicBezTo>
                    <a:cubicBezTo>
                      <a:pt x="164" y="68"/>
                      <a:pt x="159" y="76"/>
                      <a:pt x="148" y="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95" name="îṩḷíḓê"/>
              <p:cNvSpPr/>
              <p:nvPr/>
            </p:nvSpPr>
            <p:spPr bwMode="auto">
              <a:xfrm>
                <a:off x="5917927" y="1343883"/>
                <a:ext cx="188538" cy="69462"/>
              </a:xfrm>
              <a:custGeom>
                <a:avLst/>
                <a:gdLst/>
                <a:ahLst/>
                <a:cxnLst>
                  <a:cxn ang="0">
                    <a:pos x="114" y="19"/>
                  </a:cxn>
                  <a:cxn ang="0">
                    <a:pos x="69" y="41"/>
                  </a:cxn>
                  <a:cxn ang="0">
                    <a:pos x="54" y="34"/>
                  </a:cxn>
                  <a:cxn ang="0">
                    <a:pos x="28" y="34"/>
                  </a:cxn>
                  <a:cxn ang="0">
                    <a:pos x="23" y="26"/>
                  </a:cxn>
                  <a:cxn ang="0">
                    <a:pos x="32" y="26"/>
                  </a:cxn>
                  <a:cxn ang="0">
                    <a:pos x="43" y="24"/>
                  </a:cxn>
                  <a:cxn ang="0">
                    <a:pos x="22" y="23"/>
                  </a:cxn>
                  <a:cxn ang="0">
                    <a:pos x="6" y="18"/>
                  </a:cxn>
                  <a:cxn ang="0">
                    <a:pos x="0" y="7"/>
                  </a:cxn>
                  <a:cxn ang="0">
                    <a:pos x="6" y="7"/>
                  </a:cxn>
                  <a:cxn ang="0">
                    <a:pos x="15" y="8"/>
                  </a:cxn>
                  <a:cxn ang="0">
                    <a:pos x="15" y="6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33" y="2"/>
                  </a:cxn>
                  <a:cxn ang="0">
                    <a:pos x="51" y="11"/>
                  </a:cxn>
                  <a:cxn ang="0">
                    <a:pos x="62" y="0"/>
                  </a:cxn>
                  <a:cxn ang="0">
                    <a:pos x="67" y="0"/>
                  </a:cxn>
                  <a:cxn ang="0">
                    <a:pos x="67" y="12"/>
                  </a:cxn>
                  <a:cxn ang="0">
                    <a:pos x="80" y="7"/>
                  </a:cxn>
                  <a:cxn ang="0">
                    <a:pos x="95" y="7"/>
                  </a:cxn>
                  <a:cxn ang="0">
                    <a:pos x="114" y="19"/>
                  </a:cxn>
                </a:cxnLst>
                <a:rect l="0" t="0" r="r" b="b"/>
                <a:pathLst>
                  <a:path w="114" h="41">
                    <a:moveTo>
                      <a:pt x="114" y="19"/>
                    </a:moveTo>
                    <a:cubicBezTo>
                      <a:pt x="104" y="26"/>
                      <a:pt x="82" y="41"/>
                      <a:pt x="69" y="41"/>
                    </a:cubicBezTo>
                    <a:cubicBezTo>
                      <a:pt x="61" y="41"/>
                      <a:pt x="57" y="39"/>
                      <a:pt x="54" y="34"/>
                    </a:cubicBezTo>
                    <a:cubicBezTo>
                      <a:pt x="28" y="34"/>
                      <a:pt x="28" y="34"/>
                      <a:pt x="28" y="34"/>
                    </a:cubicBezTo>
                    <a:cubicBezTo>
                      <a:pt x="25" y="32"/>
                      <a:pt x="23" y="30"/>
                      <a:pt x="23" y="26"/>
                    </a:cubicBezTo>
                    <a:cubicBezTo>
                      <a:pt x="26" y="26"/>
                      <a:pt x="31" y="26"/>
                      <a:pt x="32" y="26"/>
                    </a:cubicBezTo>
                    <a:cubicBezTo>
                      <a:pt x="36" y="25"/>
                      <a:pt x="40" y="25"/>
                      <a:pt x="43" y="24"/>
                    </a:cubicBezTo>
                    <a:cubicBezTo>
                      <a:pt x="41" y="24"/>
                      <a:pt x="23" y="23"/>
                      <a:pt x="22" y="23"/>
                    </a:cubicBezTo>
                    <a:cubicBezTo>
                      <a:pt x="14" y="23"/>
                      <a:pt x="6" y="28"/>
                      <a:pt x="6" y="18"/>
                    </a:cubicBezTo>
                    <a:cubicBezTo>
                      <a:pt x="3" y="15"/>
                      <a:pt x="0" y="12"/>
                      <a:pt x="0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9" y="9"/>
                      <a:pt x="13" y="10"/>
                      <a:pt x="15" y="8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6" y="4"/>
                      <a:pt x="48" y="11"/>
                      <a:pt x="51" y="11"/>
                    </a:cubicBezTo>
                    <a:cubicBezTo>
                      <a:pt x="56" y="11"/>
                      <a:pt x="59" y="2"/>
                      <a:pt x="6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6"/>
                      <a:pt x="66" y="8"/>
                      <a:pt x="67" y="12"/>
                    </a:cubicBezTo>
                    <a:cubicBezTo>
                      <a:pt x="71" y="12"/>
                      <a:pt x="73" y="7"/>
                      <a:pt x="80" y="7"/>
                    </a:cubicBezTo>
                    <a:cubicBezTo>
                      <a:pt x="91" y="7"/>
                      <a:pt x="88" y="7"/>
                      <a:pt x="95" y="7"/>
                    </a:cubicBezTo>
                    <a:cubicBezTo>
                      <a:pt x="103" y="7"/>
                      <a:pt x="112" y="14"/>
                      <a:pt x="114" y="1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96" name="iṧḷiḑé"/>
              <p:cNvSpPr/>
              <p:nvPr/>
            </p:nvSpPr>
            <p:spPr bwMode="auto">
              <a:xfrm>
                <a:off x="5338422" y="2284592"/>
                <a:ext cx="91292" cy="109155"/>
              </a:xfrm>
              <a:custGeom>
                <a:avLst/>
                <a:gdLst/>
                <a:ahLst/>
                <a:cxnLst>
                  <a:cxn ang="0">
                    <a:pos x="9" y="19"/>
                  </a:cxn>
                  <a:cxn ang="0">
                    <a:pos x="22" y="14"/>
                  </a:cxn>
                  <a:cxn ang="0">
                    <a:pos x="19" y="8"/>
                  </a:cxn>
                  <a:cxn ang="0">
                    <a:pos x="32" y="0"/>
                  </a:cxn>
                  <a:cxn ang="0">
                    <a:pos x="40" y="0"/>
                  </a:cxn>
                  <a:cxn ang="0">
                    <a:pos x="55" y="18"/>
                  </a:cxn>
                  <a:cxn ang="0">
                    <a:pos x="47" y="24"/>
                  </a:cxn>
                  <a:cxn ang="0">
                    <a:pos x="47" y="39"/>
                  </a:cxn>
                  <a:cxn ang="0">
                    <a:pos x="47" y="52"/>
                  </a:cxn>
                  <a:cxn ang="0">
                    <a:pos x="35" y="54"/>
                  </a:cxn>
                  <a:cxn ang="0">
                    <a:pos x="19" y="64"/>
                  </a:cxn>
                  <a:cxn ang="0">
                    <a:pos x="11" y="65"/>
                  </a:cxn>
                  <a:cxn ang="0">
                    <a:pos x="0" y="55"/>
                  </a:cxn>
                  <a:cxn ang="0">
                    <a:pos x="13" y="33"/>
                  </a:cxn>
                  <a:cxn ang="0">
                    <a:pos x="4" y="23"/>
                  </a:cxn>
                  <a:cxn ang="0">
                    <a:pos x="9" y="19"/>
                  </a:cxn>
                </a:cxnLst>
                <a:rect l="0" t="0" r="r" b="b"/>
                <a:pathLst>
                  <a:path w="55" h="65">
                    <a:moveTo>
                      <a:pt x="9" y="19"/>
                    </a:moveTo>
                    <a:cubicBezTo>
                      <a:pt x="12" y="19"/>
                      <a:pt x="19" y="16"/>
                      <a:pt x="22" y="14"/>
                    </a:cubicBezTo>
                    <a:cubicBezTo>
                      <a:pt x="20" y="11"/>
                      <a:pt x="19" y="10"/>
                      <a:pt x="19" y="8"/>
                    </a:cubicBezTo>
                    <a:cubicBezTo>
                      <a:pt x="19" y="5"/>
                      <a:pt x="28" y="0"/>
                      <a:pt x="32" y="0"/>
                    </a:cubicBezTo>
                    <a:cubicBezTo>
                      <a:pt x="35" y="0"/>
                      <a:pt x="37" y="0"/>
                      <a:pt x="40" y="0"/>
                    </a:cubicBezTo>
                    <a:cubicBezTo>
                      <a:pt x="50" y="0"/>
                      <a:pt x="55" y="10"/>
                      <a:pt x="55" y="18"/>
                    </a:cubicBezTo>
                    <a:cubicBezTo>
                      <a:pt x="55" y="21"/>
                      <a:pt x="47" y="21"/>
                      <a:pt x="47" y="24"/>
                    </a:cubicBezTo>
                    <a:cubicBezTo>
                      <a:pt x="47" y="27"/>
                      <a:pt x="47" y="39"/>
                      <a:pt x="47" y="39"/>
                    </a:cubicBezTo>
                    <a:cubicBezTo>
                      <a:pt x="47" y="43"/>
                      <a:pt x="50" y="48"/>
                      <a:pt x="47" y="52"/>
                    </a:cubicBezTo>
                    <a:cubicBezTo>
                      <a:pt x="44" y="54"/>
                      <a:pt x="40" y="54"/>
                      <a:pt x="35" y="54"/>
                    </a:cubicBezTo>
                    <a:cubicBezTo>
                      <a:pt x="28" y="54"/>
                      <a:pt x="23" y="61"/>
                      <a:pt x="19" y="64"/>
                    </a:cubicBezTo>
                    <a:cubicBezTo>
                      <a:pt x="17" y="65"/>
                      <a:pt x="13" y="65"/>
                      <a:pt x="11" y="65"/>
                    </a:cubicBezTo>
                    <a:cubicBezTo>
                      <a:pt x="6" y="65"/>
                      <a:pt x="0" y="60"/>
                      <a:pt x="0" y="55"/>
                    </a:cubicBezTo>
                    <a:cubicBezTo>
                      <a:pt x="0" y="44"/>
                      <a:pt x="11" y="43"/>
                      <a:pt x="13" y="33"/>
                    </a:cubicBezTo>
                    <a:cubicBezTo>
                      <a:pt x="8" y="30"/>
                      <a:pt x="4" y="28"/>
                      <a:pt x="4" y="23"/>
                    </a:cubicBezTo>
                    <a:cubicBezTo>
                      <a:pt x="4" y="18"/>
                      <a:pt x="8" y="19"/>
                      <a:pt x="9" y="1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97" name="îş1íḓè"/>
              <p:cNvSpPr/>
              <p:nvPr/>
            </p:nvSpPr>
            <p:spPr bwMode="auto">
              <a:xfrm>
                <a:off x="5409868" y="2181392"/>
                <a:ext cx="174645" cy="254031"/>
              </a:xfrm>
              <a:custGeom>
                <a:avLst/>
                <a:gdLst/>
                <a:ahLst/>
                <a:cxnLst>
                  <a:cxn ang="0">
                    <a:pos x="96" y="102"/>
                  </a:cxn>
                  <a:cxn ang="0">
                    <a:pos x="91" y="128"/>
                  </a:cxn>
                  <a:cxn ang="0">
                    <a:pos x="100" y="133"/>
                  </a:cxn>
                  <a:cxn ang="0">
                    <a:pos x="70" y="139"/>
                  </a:cxn>
                  <a:cxn ang="0">
                    <a:pos x="39" y="141"/>
                  </a:cxn>
                  <a:cxn ang="0">
                    <a:pos x="26" y="148"/>
                  </a:cxn>
                  <a:cxn ang="0">
                    <a:pos x="16" y="152"/>
                  </a:cxn>
                  <a:cxn ang="0">
                    <a:pos x="32" y="133"/>
                  </a:cxn>
                  <a:cxn ang="0">
                    <a:pos x="46" y="124"/>
                  </a:cxn>
                  <a:cxn ang="0">
                    <a:pos x="26" y="123"/>
                  </a:cxn>
                  <a:cxn ang="0">
                    <a:pos x="19" y="123"/>
                  </a:cxn>
                  <a:cxn ang="0">
                    <a:pos x="28" y="96"/>
                  </a:cxn>
                  <a:cxn ang="0">
                    <a:pos x="48" y="81"/>
                  </a:cxn>
                  <a:cxn ang="0">
                    <a:pos x="40" y="70"/>
                  </a:cxn>
                  <a:cxn ang="0">
                    <a:pos x="26" y="72"/>
                  </a:cxn>
                  <a:cxn ang="0">
                    <a:pos x="23" y="59"/>
                  </a:cxn>
                  <a:cxn ang="0">
                    <a:pos x="16" y="49"/>
                  </a:cxn>
                  <a:cxn ang="0">
                    <a:pos x="12" y="55"/>
                  </a:cxn>
                  <a:cxn ang="0">
                    <a:pos x="14" y="45"/>
                  </a:cxn>
                  <a:cxn ang="0">
                    <a:pos x="8" y="38"/>
                  </a:cxn>
                  <a:cxn ang="0">
                    <a:pos x="11" y="29"/>
                  </a:cxn>
                  <a:cxn ang="0">
                    <a:pos x="8" y="20"/>
                  </a:cxn>
                  <a:cxn ang="0">
                    <a:pos x="12" y="21"/>
                  </a:cxn>
                  <a:cxn ang="0">
                    <a:pos x="16" y="14"/>
                  </a:cxn>
                  <a:cxn ang="0">
                    <a:pos x="25" y="0"/>
                  </a:cxn>
                  <a:cxn ang="0">
                    <a:pos x="42" y="4"/>
                  </a:cxn>
                  <a:cxn ang="0">
                    <a:pos x="33" y="19"/>
                  </a:cxn>
                  <a:cxn ang="0">
                    <a:pos x="47" y="46"/>
                  </a:cxn>
                  <a:cxn ang="0">
                    <a:pos x="53" y="50"/>
                  </a:cxn>
                  <a:cxn ang="0">
                    <a:pos x="84" y="89"/>
                  </a:cxn>
                  <a:cxn ang="0">
                    <a:pos x="87" y="102"/>
                  </a:cxn>
                  <a:cxn ang="0">
                    <a:pos x="92" y="102"/>
                  </a:cxn>
                </a:cxnLst>
                <a:rect l="0" t="0" r="r" b="b"/>
                <a:pathLst>
                  <a:path w="105" h="152">
                    <a:moveTo>
                      <a:pt x="90" y="103"/>
                    </a:moveTo>
                    <a:cubicBezTo>
                      <a:pt x="93" y="101"/>
                      <a:pt x="92" y="102"/>
                      <a:pt x="96" y="102"/>
                    </a:cubicBezTo>
                    <a:cubicBezTo>
                      <a:pt x="101" y="102"/>
                      <a:pt x="105" y="106"/>
                      <a:pt x="105" y="110"/>
                    </a:cubicBezTo>
                    <a:cubicBezTo>
                      <a:pt x="105" y="118"/>
                      <a:pt x="94" y="122"/>
                      <a:pt x="91" y="128"/>
                    </a:cubicBezTo>
                    <a:cubicBezTo>
                      <a:pt x="95" y="129"/>
                      <a:pt x="97" y="130"/>
                      <a:pt x="100" y="130"/>
                    </a:cubicBezTo>
                    <a:cubicBezTo>
                      <a:pt x="100" y="133"/>
                      <a:pt x="100" y="133"/>
                      <a:pt x="100" y="133"/>
                    </a:cubicBezTo>
                    <a:cubicBezTo>
                      <a:pt x="96" y="137"/>
                      <a:pt x="93" y="139"/>
                      <a:pt x="87" y="139"/>
                    </a:cubicBezTo>
                    <a:cubicBezTo>
                      <a:pt x="82" y="139"/>
                      <a:pt x="72" y="139"/>
                      <a:pt x="70" y="139"/>
                    </a:cubicBezTo>
                    <a:cubicBezTo>
                      <a:pt x="65" y="139"/>
                      <a:pt x="53" y="143"/>
                      <a:pt x="47" y="143"/>
                    </a:cubicBezTo>
                    <a:cubicBezTo>
                      <a:pt x="44" y="143"/>
                      <a:pt x="42" y="141"/>
                      <a:pt x="39" y="141"/>
                    </a:cubicBezTo>
                    <a:cubicBezTo>
                      <a:pt x="34" y="141"/>
                      <a:pt x="32" y="144"/>
                      <a:pt x="32" y="148"/>
                    </a:cubicBezTo>
                    <a:cubicBezTo>
                      <a:pt x="26" y="148"/>
                      <a:pt x="26" y="148"/>
                      <a:pt x="26" y="148"/>
                    </a:cubicBezTo>
                    <a:cubicBezTo>
                      <a:pt x="23" y="148"/>
                      <a:pt x="21" y="150"/>
                      <a:pt x="19" y="152"/>
                    </a:cubicBezTo>
                    <a:cubicBezTo>
                      <a:pt x="16" y="152"/>
                      <a:pt x="16" y="152"/>
                      <a:pt x="16" y="152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7" y="147"/>
                      <a:pt x="30" y="133"/>
                      <a:pt x="32" y="133"/>
                    </a:cubicBezTo>
                    <a:cubicBezTo>
                      <a:pt x="38" y="131"/>
                      <a:pt x="47" y="133"/>
                      <a:pt x="47" y="127"/>
                    </a:cubicBezTo>
                    <a:cubicBezTo>
                      <a:pt x="47" y="126"/>
                      <a:pt x="46" y="125"/>
                      <a:pt x="46" y="124"/>
                    </a:cubicBezTo>
                    <a:cubicBezTo>
                      <a:pt x="44" y="126"/>
                      <a:pt x="41" y="128"/>
                      <a:pt x="38" y="128"/>
                    </a:cubicBezTo>
                    <a:cubicBezTo>
                      <a:pt x="32" y="128"/>
                      <a:pt x="30" y="123"/>
                      <a:pt x="26" y="123"/>
                    </a:cubicBezTo>
                    <a:cubicBezTo>
                      <a:pt x="23" y="123"/>
                      <a:pt x="23" y="125"/>
                      <a:pt x="21" y="125"/>
                    </a:cubicBezTo>
                    <a:cubicBezTo>
                      <a:pt x="20" y="125"/>
                      <a:pt x="19" y="124"/>
                      <a:pt x="19" y="123"/>
                    </a:cubicBezTo>
                    <a:cubicBezTo>
                      <a:pt x="19" y="116"/>
                      <a:pt x="31" y="116"/>
                      <a:pt x="31" y="109"/>
                    </a:cubicBezTo>
                    <a:cubicBezTo>
                      <a:pt x="31" y="103"/>
                      <a:pt x="28" y="101"/>
                      <a:pt x="28" y="96"/>
                    </a:cubicBezTo>
                    <a:cubicBezTo>
                      <a:pt x="36" y="96"/>
                      <a:pt x="45" y="92"/>
                      <a:pt x="48" y="88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3" y="82"/>
                      <a:pt x="37" y="81"/>
                      <a:pt x="37" y="77"/>
                    </a:cubicBezTo>
                    <a:cubicBezTo>
                      <a:pt x="37" y="73"/>
                      <a:pt x="39" y="72"/>
                      <a:pt x="40" y="70"/>
                    </a:cubicBezTo>
                    <a:cubicBezTo>
                      <a:pt x="39" y="70"/>
                      <a:pt x="38" y="70"/>
                      <a:pt x="36" y="70"/>
                    </a:cubicBezTo>
                    <a:cubicBezTo>
                      <a:pt x="32" y="70"/>
                      <a:pt x="30" y="72"/>
                      <a:pt x="26" y="72"/>
                    </a:cubicBezTo>
                    <a:cubicBezTo>
                      <a:pt x="22" y="72"/>
                      <a:pt x="19" y="72"/>
                      <a:pt x="19" y="69"/>
                    </a:cubicBezTo>
                    <a:cubicBezTo>
                      <a:pt x="19" y="65"/>
                      <a:pt x="23" y="63"/>
                      <a:pt x="23" y="59"/>
                    </a:cubicBezTo>
                    <a:cubicBezTo>
                      <a:pt x="23" y="55"/>
                      <a:pt x="22" y="55"/>
                      <a:pt x="23" y="51"/>
                    </a:cubicBezTo>
                    <a:cubicBezTo>
                      <a:pt x="20" y="51"/>
                      <a:pt x="17" y="50"/>
                      <a:pt x="16" y="49"/>
                    </a:cubicBezTo>
                    <a:cubicBezTo>
                      <a:pt x="14" y="52"/>
                      <a:pt x="15" y="54"/>
                      <a:pt x="16" y="55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2" y="52"/>
                      <a:pt x="12" y="51"/>
                      <a:pt x="12" y="48"/>
                    </a:cubicBezTo>
                    <a:cubicBezTo>
                      <a:pt x="12" y="47"/>
                      <a:pt x="13" y="46"/>
                      <a:pt x="14" y="45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2" y="41"/>
                      <a:pt x="8" y="40"/>
                      <a:pt x="8" y="38"/>
                    </a:cubicBezTo>
                    <a:cubicBezTo>
                      <a:pt x="8" y="36"/>
                      <a:pt x="11" y="32"/>
                      <a:pt x="11" y="32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4" y="27"/>
                      <a:pt x="0" y="26"/>
                      <a:pt x="0" y="20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3"/>
                      <a:pt x="10" y="24"/>
                      <a:pt x="11" y="24"/>
                    </a:cubicBezTo>
                    <a:cubicBezTo>
                      <a:pt x="12" y="24"/>
                      <a:pt x="12" y="22"/>
                      <a:pt x="12" y="21"/>
                    </a:cubicBezTo>
                    <a:cubicBezTo>
                      <a:pt x="12" y="21"/>
                      <a:pt x="10" y="20"/>
                      <a:pt x="10" y="19"/>
                    </a:cubicBezTo>
                    <a:cubicBezTo>
                      <a:pt x="10" y="15"/>
                      <a:pt x="13" y="14"/>
                      <a:pt x="16" y="14"/>
                    </a:cubicBezTo>
                    <a:cubicBezTo>
                      <a:pt x="16" y="10"/>
                      <a:pt x="18" y="8"/>
                      <a:pt x="18" y="6"/>
                    </a:cubicBezTo>
                    <a:cubicBezTo>
                      <a:pt x="18" y="4"/>
                      <a:pt x="23" y="0"/>
                      <a:pt x="25" y="0"/>
                    </a:cubicBezTo>
                    <a:cubicBezTo>
                      <a:pt x="30" y="0"/>
                      <a:pt x="35" y="0"/>
                      <a:pt x="38" y="0"/>
                    </a:cubicBezTo>
                    <a:cubicBezTo>
                      <a:pt x="40" y="0"/>
                      <a:pt x="42" y="3"/>
                      <a:pt x="42" y="4"/>
                    </a:cubicBezTo>
                    <a:cubicBezTo>
                      <a:pt x="42" y="10"/>
                      <a:pt x="33" y="10"/>
                      <a:pt x="31" y="16"/>
                    </a:cubicBezTo>
                    <a:cubicBezTo>
                      <a:pt x="31" y="17"/>
                      <a:pt x="32" y="18"/>
                      <a:pt x="33" y="19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60" y="32"/>
                      <a:pt x="47" y="37"/>
                      <a:pt x="47" y="46"/>
                    </a:cubicBezTo>
                    <a:cubicBezTo>
                      <a:pt x="45" y="47"/>
                      <a:pt x="44" y="48"/>
                      <a:pt x="43" y="50"/>
                    </a:cubicBezTo>
                    <a:cubicBezTo>
                      <a:pt x="48" y="51"/>
                      <a:pt x="50" y="49"/>
                      <a:pt x="53" y="50"/>
                    </a:cubicBezTo>
                    <a:cubicBezTo>
                      <a:pt x="62" y="53"/>
                      <a:pt x="60" y="63"/>
                      <a:pt x="66" y="69"/>
                    </a:cubicBezTo>
                    <a:cubicBezTo>
                      <a:pt x="73" y="76"/>
                      <a:pt x="84" y="79"/>
                      <a:pt x="84" y="89"/>
                    </a:cubicBezTo>
                    <a:cubicBezTo>
                      <a:pt x="84" y="93"/>
                      <a:pt x="89" y="95"/>
                      <a:pt x="89" y="99"/>
                    </a:cubicBezTo>
                    <a:cubicBezTo>
                      <a:pt x="89" y="100"/>
                      <a:pt x="88" y="101"/>
                      <a:pt x="87" y="102"/>
                    </a:cubicBezTo>
                    <a:cubicBezTo>
                      <a:pt x="87" y="105"/>
                      <a:pt x="87" y="105"/>
                      <a:pt x="87" y="105"/>
                    </a:cubicBezTo>
                    <a:cubicBezTo>
                      <a:pt x="90" y="104"/>
                      <a:pt x="90" y="103"/>
                      <a:pt x="92" y="102"/>
                    </a:cubicBezTo>
                    <a:lnTo>
                      <a:pt x="90" y="10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98" name="išľiḍe"/>
              <p:cNvSpPr/>
              <p:nvPr/>
            </p:nvSpPr>
            <p:spPr bwMode="auto">
              <a:xfrm>
                <a:off x="5804805" y="2737085"/>
                <a:ext cx="57554" cy="37709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8"/>
                  </a:cxn>
                  <a:cxn ang="0">
                    <a:pos x="7" y="10"/>
                  </a:cxn>
                  <a:cxn ang="0">
                    <a:pos x="27" y="21"/>
                  </a:cxn>
                  <a:cxn ang="0">
                    <a:pos x="30" y="23"/>
                  </a:cxn>
                  <a:cxn ang="0">
                    <a:pos x="33" y="20"/>
                  </a:cxn>
                  <a:cxn ang="0">
                    <a:pos x="31" y="13"/>
                  </a:cxn>
                  <a:cxn ang="0">
                    <a:pos x="33" y="8"/>
                  </a:cxn>
                  <a:cxn ang="0">
                    <a:pos x="35" y="3"/>
                  </a:cxn>
                  <a:cxn ang="0">
                    <a:pos x="20" y="6"/>
                  </a:cxn>
                  <a:cxn ang="0">
                    <a:pos x="0" y="5"/>
                  </a:cxn>
                </a:cxnLst>
                <a:rect l="0" t="0" r="r" b="b"/>
                <a:pathLst>
                  <a:path w="35" h="23">
                    <a:moveTo>
                      <a:pt x="0" y="5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2" y="10"/>
                      <a:pt x="5" y="10"/>
                      <a:pt x="7" y="10"/>
                    </a:cubicBezTo>
                    <a:cubicBezTo>
                      <a:pt x="14" y="12"/>
                      <a:pt x="19" y="20"/>
                      <a:pt x="27" y="21"/>
                    </a:cubicBezTo>
                    <a:cubicBezTo>
                      <a:pt x="27" y="23"/>
                      <a:pt x="29" y="23"/>
                      <a:pt x="30" y="23"/>
                    </a:cubicBezTo>
                    <a:cubicBezTo>
                      <a:pt x="32" y="23"/>
                      <a:pt x="33" y="21"/>
                      <a:pt x="33" y="20"/>
                    </a:cubicBezTo>
                    <a:cubicBezTo>
                      <a:pt x="33" y="17"/>
                      <a:pt x="31" y="16"/>
                      <a:pt x="31" y="13"/>
                    </a:cubicBezTo>
                    <a:cubicBezTo>
                      <a:pt x="31" y="11"/>
                      <a:pt x="33" y="8"/>
                      <a:pt x="33" y="8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28" y="2"/>
                      <a:pt x="25" y="6"/>
                      <a:pt x="20" y="6"/>
                    </a:cubicBezTo>
                    <a:cubicBezTo>
                      <a:pt x="14" y="6"/>
                      <a:pt x="10" y="0"/>
                      <a:pt x="0" y="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99" name="i$ļíḑe"/>
              <p:cNvSpPr/>
              <p:nvPr/>
            </p:nvSpPr>
            <p:spPr bwMode="auto">
              <a:xfrm>
                <a:off x="5723436" y="2621977"/>
                <a:ext cx="19846" cy="37709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10" y="0"/>
                  </a:cxn>
                  <a:cxn ang="0">
                    <a:pos x="12" y="5"/>
                  </a:cxn>
                  <a:cxn ang="0">
                    <a:pos x="8" y="23"/>
                  </a:cxn>
                  <a:cxn ang="0">
                    <a:pos x="0" y="6"/>
                  </a:cxn>
                  <a:cxn ang="0">
                    <a:pos x="3" y="5"/>
                  </a:cxn>
                </a:cxnLst>
                <a:rect l="0" t="0" r="r" b="b"/>
                <a:pathLst>
                  <a:path w="12" h="23">
                    <a:moveTo>
                      <a:pt x="3" y="5"/>
                    </a:moveTo>
                    <a:cubicBezTo>
                      <a:pt x="6" y="5"/>
                      <a:pt x="8" y="1"/>
                      <a:pt x="10" y="0"/>
                    </a:cubicBezTo>
                    <a:cubicBezTo>
                      <a:pt x="10" y="3"/>
                      <a:pt x="11" y="5"/>
                      <a:pt x="12" y="5"/>
                    </a:cubicBezTo>
                    <a:cubicBezTo>
                      <a:pt x="11" y="11"/>
                      <a:pt x="10" y="20"/>
                      <a:pt x="8" y="23"/>
                    </a:cubicBezTo>
                    <a:cubicBezTo>
                      <a:pt x="4" y="22"/>
                      <a:pt x="2" y="9"/>
                      <a:pt x="0" y="6"/>
                    </a:cubicBezTo>
                    <a:cubicBezTo>
                      <a:pt x="1" y="6"/>
                      <a:pt x="2" y="5"/>
                      <a:pt x="3" y="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00" name="îšḻïďe"/>
              <p:cNvSpPr/>
              <p:nvPr/>
            </p:nvSpPr>
            <p:spPr bwMode="auto">
              <a:xfrm>
                <a:off x="5719467" y="2663655"/>
                <a:ext cx="31753" cy="55570"/>
              </a:xfrm>
              <a:custGeom>
                <a:avLst/>
                <a:gdLst/>
                <a:ahLst/>
                <a:cxnLst>
                  <a:cxn ang="0">
                    <a:pos x="5" y="15"/>
                  </a:cxn>
                  <a:cxn ang="0">
                    <a:pos x="0" y="6"/>
                  </a:cxn>
                  <a:cxn ang="0">
                    <a:pos x="9" y="0"/>
                  </a:cxn>
                  <a:cxn ang="0">
                    <a:pos x="15" y="3"/>
                  </a:cxn>
                  <a:cxn ang="0">
                    <a:pos x="18" y="21"/>
                  </a:cxn>
                  <a:cxn ang="0">
                    <a:pos x="6" y="33"/>
                  </a:cxn>
                  <a:cxn ang="0">
                    <a:pos x="2" y="24"/>
                  </a:cxn>
                  <a:cxn ang="0">
                    <a:pos x="5" y="15"/>
                  </a:cxn>
                </a:cxnLst>
                <a:rect l="0" t="0" r="r" b="b"/>
                <a:pathLst>
                  <a:path w="19" h="33">
                    <a:moveTo>
                      <a:pt x="5" y="15"/>
                    </a:moveTo>
                    <a:cubicBezTo>
                      <a:pt x="5" y="12"/>
                      <a:pt x="1" y="9"/>
                      <a:pt x="0" y="6"/>
                    </a:cubicBezTo>
                    <a:cubicBezTo>
                      <a:pt x="5" y="4"/>
                      <a:pt x="5" y="0"/>
                      <a:pt x="9" y="0"/>
                    </a:cubicBezTo>
                    <a:cubicBezTo>
                      <a:pt x="13" y="0"/>
                      <a:pt x="14" y="3"/>
                      <a:pt x="15" y="3"/>
                    </a:cubicBezTo>
                    <a:cubicBezTo>
                      <a:pt x="19" y="10"/>
                      <a:pt x="18" y="14"/>
                      <a:pt x="18" y="21"/>
                    </a:cubicBezTo>
                    <a:cubicBezTo>
                      <a:pt x="18" y="27"/>
                      <a:pt x="10" y="33"/>
                      <a:pt x="6" y="33"/>
                    </a:cubicBezTo>
                    <a:cubicBezTo>
                      <a:pt x="2" y="33"/>
                      <a:pt x="2" y="27"/>
                      <a:pt x="2" y="24"/>
                    </a:cubicBezTo>
                    <a:cubicBezTo>
                      <a:pt x="2" y="20"/>
                      <a:pt x="5" y="18"/>
                      <a:pt x="5" y="1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01" name="ïṥlîḋé"/>
              <p:cNvSpPr/>
              <p:nvPr/>
            </p:nvSpPr>
            <p:spPr bwMode="auto">
              <a:xfrm>
                <a:off x="5600390" y="2697392"/>
                <a:ext cx="15877" cy="11907"/>
              </a:xfrm>
              <a:custGeom>
                <a:avLst/>
                <a:gdLst/>
                <a:ahLst/>
                <a:cxnLst>
                  <a:cxn ang="0">
                    <a:pos x="9" y="5"/>
                  </a:cxn>
                  <a:cxn ang="0">
                    <a:pos x="6" y="7"/>
                  </a:cxn>
                  <a:cxn ang="0">
                    <a:pos x="0" y="3"/>
                  </a:cxn>
                  <a:cxn ang="0">
                    <a:pos x="7" y="0"/>
                  </a:cxn>
                  <a:cxn ang="0">
                    <a:pos x="9" y="5"/>
                  </a:cxn>
                </a:cxnLst>
                <a:rect l="0" t="0" r="r" b="b"/>
                <a:pathLst>
                  <a:path w="9" h="7">
                    <a:moveTo>
                      <a:pt x="9" y="5"/>
                    </a:moveTo>
                    <a:cubicBezTo>
                      <a:pt x="9" y="6"/>
                      <a:pt x="7" y="7"/>
                      <a:pt x="6" y="7"/>
                    </a:cubicBezTo>
                    <a:cubicBezTo>
                      <a:pt x="4" y="7"/>
                      <a:pt x="1" y="3"/>
                      <a:pt x="0" y="3"/>
                    </a:cubicBezTo>
                    <a:cubicBezTo>
                      <a:pt x="3" y="2"/>
                      <a:pt x="5" y="0"/>
                      <a:pt x="7" y="0"/>
                    </a:cubicBezTo>
                    <a:cubicBezTo>
                      <a:pt x="7" y="1"/>
                      <a:pt x="9" y="3"/>
                      <a:pt x="9" y="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02" name="íSľiḋé"/>
              <p:cNvSpPr/>
              <p:nvPr/>
            </p:nvSpPr>
            <p:spPr bwMode="auto">
              <a:xfrm>
                <a:off x="5753205" y="2274669"/>
                <a:ext cx="19846" cy="23815"/>
              </a:xfrm>
              <a:custGeom>
                <a:avLst/>
                <a:gdLst/>
                <a:ahLst/>
                <a:cxnLst>
                  <a:cxn ang="0">
                    <a:pos x="11" y="10"/>
                  </a:cxn>
                  <a:cxn ang="0">
                    <a:pos x="0" y="5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12" y="9"/>
                  </a:cxn>
                  <a:cxn ang="0">
                    <a:pos x="11" y="14"/>
                  </a:cxn>
                  <a:cxn ang="0">
                    <a:pos x="11" y="10"/>
                  </a:cxn>
                </a:cxnLst>
                <a:rect l="0" t="0" r="r" b="b"/>
                <a:pathLst>
                  <a:path w="12" h="14">
                    <a:moveTo>
                      <a:pt x="11" y="10"/>
                    </a:moveTo>
                    <a:cubicBezTo>
                      <a:pt x="5" y="10"/>
                      <a:pt x="0" y="9"/>
                      <a:pt x="0" y="5"/>
                    </a:cubicBezTo>
                    <a:cubicBezTo>
                      <a:pt x="0" y="3"/>
                      <a:pt x="0" y="2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6"/>
                      <a:pt x="12" y="5"/>
                      <a:pt x="12" y="9"/>
                    </a:cubicBezTo>
                    <a:cubicBezTo>
                      <a:pt x="12" y="13"/>
                      <a:pt x="11" y="12"/>
                      <a:pt x="11" y="14"/>
                    </a:cubicBezTo>
                    <a:cubicBezTo>
                      <a:pt x="11" y="13"/>
                      <a:pt x="11" y="12"/>
                      <a:pt x="11" y="1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03" name="íślíḋe"/>
              <p:cNvSpPr/>
              <p:nvPr/>
            </p:nvSpPr>
            <p:spPr bwMode="auto">
              <a:xfrm>
                <a:off x="5919913" y="2199254"/>
                <a:ext cx="19846" cy="29770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1" y="17"/>
                  </a:cxn>
                  <a:cxn ang="0">
                    <a:pos x="1" y="11"/>
                  </a:cxn>
                  <a:cxn ang="0">
                    <a:pos x="11" y="0"/>
                  </a:cxn>
                  <a:cxn ang="0">
                    <a:pos x="8" y="6"/>
                  </a:cxn>
                </a:cxnLst>
                <a:rect l="0" t="0" r="r" b="b"/>
                <a:pathLst>
                  <a:path w="11" h="17">
                    <a:moveTo>
                      <a:pt x="8" y="6"/>
                    </a:moveTo>
                    <a:cubicBezTo>
                      <a:pt x="8" y="11"/>
                      <a:pt x="4" y="13"/>
                      <a:pt x="1" y="17"/>
                    </a:cubicBezTo>
                    <a:cubicBezTo>
                      <a:pt x="0" y="15"/>
                      <a:pt x="1" y="14"/>
                      <a:pt x="1" y="11"/>
                    </a:cubicBezTo>
                    <a:cubicBezTo>
                      <a:pt x="1" y="9"/>
                      <a:pt x="3" y="1"/>
                      <a:pt x="11" y="0"/>
                    </a:cubicBezTo>
                    <a:cubicBezTo>
                      <a:pt x="10" y="2"/>
                      <a:pt x="8" y="4"/>
                      <a:pt x="8" y="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04" name="ïṥ1íḋé"/>
              <p:cNvSpPr/>
              <p:nvPr/>
            </p:nvSpPr>
            <p:spPr bwMode="auto">
              <a:xfrm>
                <a:off x="5997311" y="2163531"/>
                <a:ext cx="25801" cy="33739"/>
              </a:xfrm>
              <a:custGeom>
                <a:avLst/>
                <a:gdLst/>
                <a:ahLst/>
                <a:cxnLst>
                  <a:cxn ang="0">
                    <a:pos x="12" y="10"/>
                  </a:cxn>
                  <a:cxn ang="0">
                    <a:pos x="12" y="16"/>
                  </a:cxn>
                  <a:cxn ang="0">
                    <a:pos x="5" y="20"/>
                  </a:cxn>
                  <a:cxn ang="0">
                    <a:pos x="0" y="13"/>
                  </a:cxn>
                  <a:cxn ang="0">
                    <a:pos x="10" y="10"/>
                  </a:cxn>
                  <a:cxn ang="0">
                    <a:pos x="7" y="5"/>
                  </a:cxn>
                  <a:cxn ang="0">
                    <a:pos x="11" y="0"/>
                  </a:cxn>
                  <a:cxn ang="0">
                    <a:pos x="16" y="5"/>
                  </a:cxn>
                  <a:cxn ang="0">
                    <a:pos x="12" y="10"/>
                  </a:cxn>
                </a:cxnLst>
                <a:rect l="0" t="0" r="r" b="b"/>
                <a:pathLst>
                  <a:path w="16" h="20">
                    <a:moveTo>
                      <a:pt x="12" y="10"/>
                    </a:moveTo>
                    <a:cubicBezTo>
                      <a:pt x="12" y="12"/>
                      <a:pt x="12" y="14"/>
                      <a:pt x="12" y="16"/>
                    </a:cubicBezTo>
                    <a:cubicBezTo>
                      <a:pt x="12" y="17"/>
                      <a:pt x="6" y="20"/>
                      <a:pt x="5" y="20"/>
                    </a:cubicBezTo>
                    <a:cubicBezTo>
                      <a:pt x="1" y="20"/>
                      <a:pt x="0" y="16"/>
                      <a:pt x="0" y="13"/>
                    </a:cubicBezTo>
                    <a:cubicBezTo>
                      <a:pt x="4" y="13"/>
                      <a:pt x="6" y="10"/>
                      <a:pt x="10" y="10"/>
                    </a:cubicBezTo>
                    <a:cubicBezTo>
                      <a:pt x="9" y="8"/>
                      <a:pt x="7" y="7"/>
                      <a:pt x="7" y="5"/>
                    </a:cubicBezTo>
                    <a:cubicBezTo>
                      <a:pt x="7" y="2"/>
                      <a:pt x="11" y="0"/>
                      <a:pt x="11" y="0"/>
                    </a:cubicBezTo>
                    <a:cubicBezTo>
                      <a:pt x="13" y="3"/>
                      <a:pt x="14" y="4"/>
                      <a:pt x="16" y="5"/>
                    </a:cubicBezTo>
                    <a:cubicBezTo>
                      <a:pt x="15" y="7"/>
                      <a:pt x="13" y="10"/>
                      <a:pt x="12" y="1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05" name="iŝlîḑé"/>
              <p:cNvSpPr/>
              <p:nvPr/>
            </p:nvSpPr>
            <p:spPr bwMode="auto">
              <a:xfrm>
                <a:off x="8273655" y="3582497"/>
                <a:ext cx="424706" cy="220290"/>
              </a:xfrm>
              <a:custGeom>
                <a:avLst/>
                <a:gdLst/>
                <a:ahLst/>
                <a:cxnLst>
                  <a:cxn ang="0">
                    <a:pos x="128" y="28"/>
                  </a:cxn>
                  <a:cxn ang="0">
                    <a:pos x="160" y="39"/>
                  </a:cxn>
                  <a:cxn ang="0">
                    <a:pos x="173" y="45"/>
                  </a:cxn>
                  <a:cxn ang="0">
                    <a:pos x="179" y="49"/>
                  </a:cxn>
                  <a:cxn ang="0">
                    <a:pos x="203" y="71"/>
                  </a:cxn>
                  <a:cxn ang="0">
                    <a:pos x="217" y="78"/>
                  </a:cxn>
                  <a:cxn ang="0">
                    <a:pos x="208" y="85"/>
                  </a:cxn>
                  <a:cxn ang="0">
                    <a:pos x="217" y="96"/>
                  </a:cxn>
                  <a:cxn ang="0">
                    <a:pos x="224" y="108"/>
                  </a:cxn>
                  <a:cxn ang="0">
                    <a:pos x="233" y="113"/>
                  </a:cxn>
                  <a:cxn ang="0">
                    <a:pos x="237" y="118"/>
                  </a:cxn>
                  <a:cxn ang="0">
                    <a:pos x="242" y="119"/>
                  </a:cxn>
                  <a:cxn ang="0">
                    <a:pos x="247" y="124"/>
                  </a:cxn>
                  <a:cxn ang="0">
                    <a:pos x="255" y="126"/>
                  </a:cxn>
                  <a:cxn ang="0">
                    <a:pos x="250" y="133"/>
                  </a:cxn>
                  <a:cxn ang="0">
                    <a:pos x="247" y="133"/>
                  </a:cxn>
                  <a:cxn ang="0">
                    <a:pos x="239" y="127"/>
                  </a:cxn>
                  <a:cxn ang="0">
                    <a:pos x="227" y="127"/>
                  </a:cxn>
                  <a:cxn ang="0">
                    <a:pos x="210" y="116"/>
                  </a:cxn>
                  <a:cxn ang="0">
                    <a:pos x="206" y="113"/>
                  </a:cxn>
                  <a:cxn ang="0">
                    <a:pos x="175" y="92"/>
                  </a:cxn>
                  <a:cxn ang="0">
                    <a:pos x="158" y="103"/>
                  </a:cxn>
                  <a:cxn ang="0">
                    <a:pos x="156" y="113"/>
                  </a:cxn>
                  <a:cxn ang="0">
                    <a:pos x="139" y="113"/>
                  </a:cxn>
                  <a:cxn ang="0">
                    <a:pos x="113" y="100"/>
                  </a:cxn>
                  <a:cxn ang="0">
                    <a:pos x="107" y="102"/>
                  </a:cxn>
                  <a:cxn ang="0">
                    <a:pos x="98" y="102"/>
                  </a:cxn>
                  <a:cxn ang="0">
                    <a:pos x="90" y="99"/>
                  </a:cxn>
                  <a:cxn ang="0">
                    <a:pos x="101" y="90"/>
                  </a:cxn>
                  <a:cxn ang="0">
                    <a:pos x="96" y="71"/>
                  </a:cxn>
                  <a:cxn ang="0">
                    <a:pos x="77" y="59"/>
                  </a:cxn>
                  <a:cxn ang="0">
                    <a:pos x="53" y="54"/>
                  </a:cxn>
                  <a:cxn ang="0">
                    <a:pos x="37" y="45"/>
                  </a:cxn>
                  <a:cxn ang="0">
                    <a:pos x="37" y="41"/>
                  </a:cxn>
                  <a:cxn ang="0">
                    <a:pos x="30" y="49"/>
                  </a:cxn>
                  <a:cxn ang="0">
                    <a:pos x="26" y="48"/>
                  </a:cxn>
                  <a:cxn ang="0">
                    <a:pos x="24" y="38"/>
                  </a:cxn>
                  <a:cxn ang="0">
                    <a:pos x="16" y="33"/>
                  </a:cxn>
                  <a:cxn ang="0">
                    <a:pos x="38" y="25"/>
                  </a:cxn>
                  <a:cxn ang="0">
                    <a:pos x="35" y="25"/>
                  </a:cxn>
                  <a:cxn ang="0">
                    <a:pos x="23" y="27"/>
                  </a:cxn>
                  <a:cxn ang="0">
                    <a:pos x="16" y="26"/>
                  </a:cxn>
                  <a:cxn ang="0">
                    <a:pos x="14" y="22"/>
                  </a:cxn>
                  <a:cxn ang="0">
                    <a:pos x="0" y="12"/>
                  </a:cxn>
                  <a:cxn ang="0">
                    <a:pos x="6" y="8"/>
                  </a:cxn>
                  <a:cxn ang="0">
                    <a:pos x="23" y="0"/>
                  </a:cxn>
                  <a:cxn ang="0">
                    <a:pos x="44" y="9"/>
                  </a:cxn>
                  <a:cxn ang="0">
                    <a:pos x="44" y="25"/>
                  </a:cxn>
                  <a:cxn ang="0">
                    <a:pos x="50" y="29"/>
                  </a:cxn>
                  <a:cxn ang="0">
                    <a:pos x="59" y="38"/>
                  </a:cxn>
                  <a:cxn ang="0">
                    <a:pos x="67" y="30"/>
                  </a:cxn>
                  <a:cxn ang="0">
                    <a:pos x="78" y="25"/>
                  </a:cxn>
                  <a:cxn ang="0">
                    <a:pos x="92" y="14"/>
                  </a:cxn>
                  <a:cxn ang="0">
                    <a:pos x="98" y="17"/>
                  </a:cxn>
                  <a:cxn ang="0">
                    <a:pos x="109" y="25"/>
                  </a:cxn>
                  <a:cxn ang="0">
                    <a:pos x="121" y="25"/>
                  </a:cxn>
                  <a:cxn ang="0">
                    <a:pos x="130" y="29"/>
                  </a:cxn>
                  <a:cxn ang="0">
                    <a:pos x="130" y="30"/>
                  </a:cxn>
                  <a:cxn ang="0">
                    <a:pos x="128" y="28"/>
                  </a:cxn>
                </a:cxnLst>
                <a:rect l="0" t="0" r="r" b="b"/>
                <a:pathLst>
                  <a:path w="255" h="133">
                    <a:moveTo>
                      <a:pt x="128" y="28"/>
                    </a:moveTo>
                    <a:cubicBezTo>
                      <a:pt x="133" y="33"/>
                      <a:pt x="149" y="39"/>
                      <a:pt x="160" y="39"/>
                    </a:cubicBezTo>
                    <a:cubicBezTo>
                      <a:pt x="165" y="39"/>
                      <a:pt x="168" y="45"/>
                      <a:pt x="173" y="45"/>
                    </a:cubicBezTo>
                    <a:cubicBezTo>
                      <a:pt x="173" y="48"/>
                      <a:pt x="176" y="49"/>
                      <a:pt x="179" y="49"/>
                    </a:cubicBezTo>
                    <a:cubicBezTo>
                      <a:pt x="193" y="54"/>
                      <a:pt x="192" y="66"/>
                      <a:pt x="203" y="71"/>
                    </a:cubicBezTo>
                    <a:cubicBezTo>
                      <a:pt x="207" y="73"/>
                      <a:pt x="217" y="68"/>
                      <a:pt x="217" y="78"/>
                    </a:cubicBezTo>
                    <a:cubicBezTo>
                      <a:pt x="217" y="83"/>
                      <a:pt x="208" y="81"/>
                      <a:pt x="208" y="85"/>
                    </a:cubicBezTo>
                    <a:cubicBezTo>
                      <a:pt x="208" y="87"/>
                      <a:pt x="216" y="95"/>
                      <a:pt x="217" y="96"/>
                    </a:cubicBezTo>
                    <a:cubicBezTo>
                      <a:pt x="221" y="100"/>
                      <a:pt x="220" y="103"/>
                      <a:pt x="224" y="108"/>
                    </a:cubicBezTo>
                    <a:cubicBezTo>
                      <a:pt x="225" y="111"/>
                      <a:pt x="230" y="113"/>
                      <a:pt x="233" y="113"/>
                    </a:cubicBezTo>
                    <a:cubicBezTo>
                      <a:pt x="235" y="113"/>
                      <a:pt x="236" y="116"/>
                      <a:pt x="237" y="118"/>
                    </a:cubicBezTo>
                    <a:cubicBezTo>
                      <a:pt x="238" y="120"/>
                      <a:pt x="240" y="118"/>
                      <a:pt x="242" y="119"/>
                    </a:cubicBezTo>
                    <a:cubicBezTo>
                      <a:pt x="245" y="119"/>
                      <a:pt x="246" y="122"/>
                      <a:pt x="247" y="124"/>
                    </a:cubicBezTo>
                    <a:cubicBezTo>
                      <a:pt x="247" y="126"/>
                      <a:pt x="254" y="125"/>
                      <a:pt x="255" y="126"/>
                    </a:cubicBezTo>
                    <a:cubicBezTo>
                      <a:pt x="253" y="127"/>
                      <a:pt x="250" y="130"/>
                      <a:pt x="250" y="133"/>
                    </a:cubicBezTo>
                    <a:cubicBezTo>
                      <a:pt x="249" y="133"/>
                      <a:pt x="248" y="133"/>
                      <a:pt x="247" y="133"/>
                    </a:cubicBezTo>
                    <a:cubicBezTo>
                      <a:pt x="246" y="133"/>
                      <a:pt x="240" y="128"/>
                      <a:pt x="239" y="127"/>
                    </a:cubicBezTo>
                    <a:cubicBezTo>
                      <a:pt x="227" y="127"/>
                      <a:pt x="227" y="127"/>
                      <a:pt x="227" y="127"/>
                    </a:cubicBezTo>
                    <a:cubicBezTo>
                      <a:pt x="221" y="126"/>
                      <a:pt x="210" y="121"/>
                      <a:pt x="210" y="116"/>
                    </a:cubicBezTo>
                    <a:cubicBezTo>
                      <a:pt x="210" y="115"/>
                      <a:pt x="207" y="114"/>
                      <a:pt x="206" y="113"/>
                    </a:cubicBezTo>
                    <a:cubicBezTo>
                      <a:pt x="197" y="104"/>
                      <a:pt x="189" y="92"/>
                      <a:pt x="175" y="92"/>
                    </a:cubicBezTo>
                    <a:cubicBezTo>
                      <a:pt x="164" y="92"/>
                      <a:pt x="165" y="100"/>
                      <a:pt x="158" y="103"/>
                    </a:cubicBezTo>
                    <a:cubicBezTo>
                      <a:pt x="160" y="108"/>
                      <a:pt x="156" y="110"/>
                      <a:pt x="156" y="113"/>
                    </a:cubicBezTo>
                    <a:cubicBezTo>
                      <a:pt x="146" y="113"/>
                      <a:pt x="144" y="113"/>
                      <a:pt x="139" y="113"/>
                    </a:cubicBezTo>
                    <a:cubicBezTo>
                      <a:pt x="128" y="113"/>
                      <a:pt x="125" y="100"/>
                      <a:pt x="113" y="100"/>
                    </a:cubicBezTo>
                    <a:cubicBezTo>
                      <a:pt x="112" y="100"/>
                      <a:pt x="107" y="100"/>
                      <a:pt x="107" y="102"/>
                    </a:cubicBezTo>
                    <a:cubicBezTo>
                      <a:pt x="98" y="102"/>
                      <a:pt x="98" y="102"/>
                      <a:pt x="98" y="102"/>
                    </a:cubicBezTo>
                    <a:cubicBezTo>
                      <a:pt x="94" y="102"/>
                      <a:pt x="90" y="102"/>
                      <a:pt x="90" y="99"/>
                    </a:cubicBezTo>
                    <a:cubicBezTo>
                      <a:pt x="90" y="93"/>
                      <a:pt x="99" y="91"/>
                      <a:pt x="101" y="90"/>
                    </a:cubicBezTo>
                    <a:cubicBezTo>
                      <a:pt x="95" y="84"/>
                      <a:pt x="98" y="78"/>
                      <a:pt x="96" y="71"/>
                    </a:cubicBezTo>
                    <a:cubicBezTo>
                      <a:pt x="94" y="66"/>
                      <a:pt x="82" y="61"/>
                      <a:pt x="77" y="59"/>
                    </a:cubicBezTo>
                    <a:cubicBezTo>
                      <a:pt x="72" y="56"/>
                      <a:pt x="60" y="54"/>
                      <a:pt x="53" y="54"/>
                    </a:cubicBezTo>
                    <a:cubicBezTo>
                      <a:pt x="47" y="54"/>
                      <a:pt x="44" y="43"/>
                      <a:pt x="37" y="45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6" y="44"/>
                      <a:pt x="34" y="49"/>
                      <a:pt x="30" y="49"/>
                    </a:cubicBezTo>
                    <a:cubicBezTo>
                      <a:pt x="29" y="49"/>
                      <a:pt x="26" y="49"/>
                      <a:pt x="26" y="48"/>
                    </a:cubicBezTo>
                    <a:cubicBezTo>
                      <a:pt x="24" y="43"/>
                      <a:pt x="26" y="41"/>
                      <a:pt x="24" y="38"/>
                    </a:cubicBezTo>
                    <a:cubicBezTo>
                      <a:pt x="22" y="34"/>
                      <a:pt x="17" y="36"/>
                      <a:pt x="16" y="33"/>
                    </a:cubicBezTo>
                    <a:cubicBezTo>
                      <a:pt x="22" y="29"/>
                      <a:pt x="35" y="30"/>
                      <a:pt x="38" y="25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0" y="26"/>
                      <a:pt x="27" y="27"/>
                      <a:pt x="23" y="27"/>
                    </a:cubicBezTo>
                    <a:cubicBezTo>
                      <a:pt x="20" y="27"/>
                      <a:pt x="19" y="26"/>
                      <a:pt x="16" y="26"/>
                    </a:cubicBezTo>
                    <a:cubicBezTo>
                      <a:pt x="15" y="25"/>
                      <a:pt x="14" y="23"/>
                      <a:pt x="14" y="22"/>
                    </a:cubicBezTo>
                    <a:cubicBezTo>
                      <a:pt x="11" y="15"/>
                      <a:pt x="0" y="18"/>
                      <a:pt x="0" y="12"/>
                    </a:cubicBezTo>
                    <a:cubicBezTo>
                      <a:pt x="0" y="9"/>
                      <a:pt x="4" y="8"/>
                      <a:pt x="6" y="8"/>
                    </a:cubicBezTo>
                    <a:cubicBezTo>
                      <a:pt x="12" y="8"/>
                      <a:pt x="15" y="0"/>
                      <a:pt x="23" y="0"/>
                    </a:cubicBezTo>
                    <a:cubicBezTo>
                      <a:pt x="30" y="0"/>
                      <a:pt x="36" y="7"/>
                      <a:pt x="44" y="9"/>
                    </a:cubicBezTo>
                    <a:cubicBezTo>
                      <a:pt x="44" y="15"/>
                      <a:pt x="44" y="22"/>
                      <a:pt x="44" y="25"/>
                    </a:cubicBezTo>
                    <a:cubicBezTo>
                      <a:pt x="44" y="27"/>
                      <a:pt x="46" y="29"/>
                      <a:pt x="50" y="29"/>
                    </a:cubicBezTo>
                    <a:cubicBezTo>
                      <a:pt x="50" y="31"/>
                      <a:pt x="56" y="38"/>
                      <a:pt x="59" y="38"/>
                    </a:cubicBezTo>
                    <a:cubicBezTo>
                      <a:pt x="62" y="38"/>
                      <a:pt x="66" y="31"/>
                      <a:pt x="67" y="30"/>
                    </a:cubicBezTo>
                    <a:cubicBezTo>
                      <a:pt x="71" y="27"/>
                      <a:pt x="71" y="26"/>
                      <a:pt x="78" y="25"/>
                    </a:cubicBezTo>
                    <a:cubicBezTo>
                      <a:pt x="82" y="23"/>
                      <a:pt x="87" y="15"/>
                      <a:pt x="92" y="14"/>
                    </a:cubicBezTo>
                    <a:cubicBezTo>
                      <a:pt x="93" y="17"/>
                      <a:pt x="96" y="16"/>
                      <a:pt x="98" y="17"/>
                    </a:cubicBezTo>
                    <a:cubicBezTo>
                      <a:pt x="103" y="18"/>
                      <a:pt x="106" y="24"/>
                      <a:pt x="109" y="25"/>
                    </a:cubicBezTo>
                    <a:cubicBezTo>
                      <a:pt x="121" y="25"/>
                      <a:pt x="121" y="25"/>
                      <a:pt x="121" y="25"/>
                    </a:cubicBezTo>
                    <a:cubicBezTo>
                      <a:pt x="123" y="27"/>
                      <a:pt x="128" y="29"/>
                      <a:pt x="130" y="29"/>
                    </a:cubicBezTo>
                    <a:cubicBezTo>
                      <a:pt x="130" y="30"/>
                      <a:pt x="130" y="30"/>
                      <a:pt x="130" y="30"/>
                    </a:cubicBezTo>
                    <a:lnTo>
                      <a:pt x="128" y="2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06" name="îṥ1ïḍè"/>
              <p:cNvSpPr/>
              <p:nvPr/>
            </p:nvSpPr>
            <p:spPr bwMode="auto">
              <a:xfrm>
                <a:off x="8343116" y="3693634"/>
                <a:ext cx="13893" cy="31753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8" y="5"/>
                  </a:cxn>
                  <a:cxn ang="0">
                    <a:pos x="5" y="9"/>
                  </a:cxn>
                  <a:cxn ang="0">
                    <a:pos x="2" y="19"/>
                  </a:cxn>
                  <a:cxn ang="0">
                    <a:pos x="0" y="15"/>
                  </a:cxn>
                  <a:cxn ang="0">
                    <a:pos x="4" y="8"/>
                  </a:cxn>
                  <a:cxn ang="0">
                    <a:pos x="7" y="0"/>
                  </a:cxn>
                </a:cxnLst>
                <a:rect l="0" t="0" r="r" b="b"/>
                <a:pathLst>
                  <a:path w="8" h="19">
                    <a:moveTo>
                      <a:pt x="7" y="0"/>
                    </a:moveTo>
                    <a:cubicBezTo>
                      <a:pt x="7" y="4"/>
                      <a:pt x="8" y="2"/>
                      <a:pt x="8" y="5"/>
                    </a:cubicBezTo>
                    <a:cubicBezTo>
                      <a:pt x="8" y="8"/>
                      <a:pt x="7" y="9"/>
                      <a:pt x="5" y="9"/>
                    </a:cubicBezTo>
                    <a:cubicBezTo>
                      <a:pt x="5" y="14"/>
                      <a:pt x="6" y="19"/>
                      <a:pt x="2" y="19"/>
                    </a:cubicBezTo>
                    <a:cubicBezTo>
                      <a:pt x="1" y="19"/>
                      <a:pt x="0" y="16"/>
                      <a:pt x="0" y="15"/>
                    </a:cubicBezTo>
                    <a:cubicBezTo>
                      <a:pt x="0" y="11"/>
                      <a:pt x="4" y="10"/>
                      <a:pt x="4" y="8"/>
                    </a:cubicBezTo>
                    <a:cubicBezTo>
                      <a:pt x="4" y="4"/>
                      <a:pt x="3" y="0"/>
                      <a:pt x="7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07" name="íṥļïḓè"/>
              <p:cNvSpPr/>
              <p:nvPr/>
            </p:nvSpPr>
            <p:spPr bwMode="auto">
              <a:xfrm>
                <a:off x="8648746" y="3663866"/>
                <a:ext cx="81369" cy="47630"/>
              </a:xfrm>
              <a:custGeom>
                <a:avLst/>
                <a:gdLst/>
                <a:ahLst/>
                <a:cxnLst>
                  <a:cxn ang="0">
                    <a:pos x="13" y="27"/>
                  </a:cxn>
                  <a:cxn ang="0">
                    <a:pos x="0" y="18"/>
                  </a:cxn>
                  <a:cxn ang="0">
                    <a:pos x="13" y="18"/>
                  </a:cxn>
                  <a:cxn ang="0">
                    <a:pos x="18" y="17"/>
                  </a:cxn>
                  <a:cxn ang="0">
                    <a:pos x="35" y="13"/>
                  </a:cxn>
                  <a:cxn ang="0">
                    <a:pos x="45" y="0"/>
                  </a:cxn>
                  <a:cxn ang="0">
                    <a:pos x="49" y="7"/>
                  </a:cxn>
                  <a:cxn ang="0">
                    <a:pos x="40" y="22"/>
                  </a:cxn>
                  <a:cxn ang="0">
                    <a:pos x="19" y="29"/>
                  </a:cxn>
                  <a:cxn ang="0">
                    <a:pos x="11" y="25"/>
                  </a:cxn>
                  <a:cxn ang="0">
                    <a:pos x="13" y="27"/>
                  </a:cxn>
                </a:cxnLst>
                <a:rect l="0" t="0" r="r" b="b"/>
                <a:pathLst>
                  <a:path w="49" h="29">
                    <a:moveTo>
                      <a:pt x="13" y="27"/>
                    </a:moveTo>
                    <a:cubicBezTo>
                      <a:pt x="9" y="22"/>
                      <a:pt x="1" y="24"/>
                      <a:pt x="0" y="18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18"/>
                      <a:pt x="18" y="17"/>
                      <a:pt x="18" y="17"/>
                    </a:cubicBezTo>
                    <a:cubicBezTo>
                      <a:pt x="25" y="14"/>
                      <a:pt x="31" y="15"/>
                      <a:pt x="35" y="13"/>
                    </a:cubicBezTo>
                    <a:cubicBezTo>
                      <a:pt x="41" y="10"/>
                      <a:pt x="39" y="0"/>
                      <a:pt x="45" y="0"/>
                    </a:cubicBezTo>
                    <a:cubicBezTo>
                      <a:pt x="48" y="0"/>
                      <a:pt x="49" y="4"/>
                      <a:pt x="49" y="7"/>
                    </a:cubicBezTo>
                    <a:cubicBezTo>
                      <a:pt x="49" y="16"/>
                      <a:pt x="40" y="14"/>
                      <a:pt x="40" y="22"/>
                    </a:cubicBezTo>
                    <a:cubicBezTo>
                      <a:pt x="32" y="24"/>
                      <a:pt x="28" y="29"/>
                      <a:pt x="19" y="29"/>
                    </a:cubicBezTo>
                    <a:cubicBezTo>
                      <a:pt x="17" y="29"/>
                      <a:pt x="11" y="26"/>
                      <a:pt x="11" y="25"/>
                    </a:cubicBezTo>
                    <a:lnTo>
                      <a:pt x="13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08" name="ïsḻiḋe"/>
              <p:cNvSpPr/>
              <p:nvPr/>
            </p:nvSpPr>
            <p:spPr bwMode="auto">
              <a:xfrm>
                <a:off x="8704315" y="3630127"/>
                <a:ext cx="43662" cy="43661"/>
              </a:xfrm>
              <a:custGeom>
                <a:avLst/>
                <a:gdLst/>
                <a:ahLst/>
                <a:cxnLst>
                  <a:cxn ang="0">
                    <a:pos x="23" y="25"/>
                  </a:cxn>
                  <a:cxn ang="0">
                    <a:pos x="19" y="17"/>
                  </a:cxn>
                  <a:cxn ang="0">
                    <a:pos x="8" y="6"/>
                  </a:cxn>
                  <a:cxn ang="0">
                    <a:pos x="0" y="0"/>
                  </a:cxn>
                  <a:cxn ang="0">
                    <a:pos x="18" y="13"/>
                  </a:cxn>
                  <a:cxn ang="0">
                    <a:pos x="26" y="22"/>
                  </a:cxn>
                  <a:cxn ang="0">
                    <a:pos x="26" y="25"/>
                  </a:cxn>
                  <a:cxn ang="0">
                    <a:pos x="23" y="25"/>
                  </a:cxn>
                </a:cxnLst>
                <a:rect l="0" t="0" r="r" b="b"/>
                <a:pathLst>
                  <a:path w="26" h="26">
                    <a:moveTo>
                      <a:pt x="23" y="25"/>
                    </a:moveTo>
                    <a:cubicBezTo>
                      <a:pt x="18" y="24"/>
                      <a:pt x="18" y="21"/>
                      <a:pt x="19" y="17"/>
                    </a:cubicBezTo>
                    <a:cubicBezTo>
                      <a:pt x="13" y="14"/>
                      <a:pt x="14" y="9"/>
                      <a:pt x="8" y="6"/>
                    </a:cubicBezTo>
                    <a:cubicBezTo>
                      <a:pt x="5" y="4"/>
                      <a:pt x="2" y="4"/>
                      <a:pt x="0" y="0"/>
                    </a:cubicBezTo>
                    <a:cubicBezTo>
                      <a:pt x="9" y="3"/>
                      <a:pt x="13" y="8"/>
                      <a:pt x="18" y="13"/>
                    </a:cubicBezTo>
                    <a:cubicBezTo>
                      <a:pt x="21" y="17"/>
                      <a:pt x="26" y="16"/>
                      <a:pt x="26" y="22"/>
                    </a:cubicBezTo>
                    <a:cubicBezTo>
                      <a:pt x="26" y="23"/>
                      <a:pt x="26" y="24"/>
                      <a:pt x="26" y="25"/>
                    </a:cubicBezTo>
                    <a:cubicBezTo>
                      <a:pt x="25" y="25"/>
                      <a:pt x="24" y="26"/>
                      <a:pt x="23" y="2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09" name="ïsļïḋè"/>
              <p:cNvSpPr/>
              <p:nvPr/>
            </p:nvSpPr>
            <p:spPr bwMode="auto">
              <a:xfrm>
                <a:off x="8779730" y="3691650"/>
                <a:ext cx="21831" cy="25801"/>
              </a:xfrm>
              <a:custGeom>
                <a:avLst/>
                <a:gdLst/>
                <a:ahLst/>
                <a:cxnLst>
                  <a:cxn ang="0">
                    <a:pos x="7" y="9"/>
                  </a:cxn>
                  <a:cxn ang="0">
                    <a:pos x="1" y="0"/>
                  </a:cxn>
                  <a:cxn ang="0">
                    <a:pos x="13" y="12"/>
                  </a:cxn>
                  <a:cxn ang="0">
                    <a:pos x="10" y="16"/>
                  </a:cxn>
                  <a:cxn ang="0">
                    <a:pos x="7" y="13"/>
                  </a:cxn>
                  <a:cxn ang="0">
                    <a:pos x="7" y="9"/>
                  </a:cxn>
                </a:cxnLst>
                <a:rect l="0" t="0" r="r" b="b"/>
                <a:pathLst>
                  <a:path w="13" h="16">
                    <a:moveTo>
                      <a:pt x="7" y="9"/>
                    </a:moveTo>
                    <a:cubicBezTo>
                      <a:pt x="2" y="9"/>
                      <a:pt x="0" y="4"/>
                      <a:pt x="1" y="0"/>
                    </a:cubicBezTo>
                    <a:cubicBezTo>
                      <a:pt x="4" y="1"/>
                      <a:pt x="13" y="11"/>
                      <a:pt x="13" y="12"/>
                    </a:cubicBezTo>
                    <a:cubicBezTo>
                      <a:pt x="13" y="14"/>
                      <a:pt x="11" y="16"/>
                      <a:pt x="10" y="16"/>
                    </a:cubicBezTo>
                    <a:cubicBezTo>
                      <a:pt x="9" y="16"/>
                      <a:pt x="7" y="14"/>
                      <a:pt x="7" y="13"/>
                    </a:cubicBezTo>
                    <a:cubicBezTo>
                      <a:pt x="7" y="12"/>
                      <a:pt x="7" y="11"/>
                      <a:pt x="7" y="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10" name="iṩlîḍé"/>
              <p:cNvSpPr/>
              <p:nvPr/>
            </p:nvSpPr>
            <p:spPr bwMode="auto">
              <a:xfrm>
                <a:off x="8922621" y="3790880"/>
                <a:ext cx="11907" cy="13893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9"/>
                  </a:cxn>
                  <a:cxn ang="0">
                    <a:pos x="0" y="0"/>
                  </a:cxn>
                  <a:cxn ang="0">
                    <a:pos x="7" y="6"/>
                  </a:cxn>
                </a:cxnLst>
                <a:rect l="0" t="0" r="r" b="b"/>
                <a:pathLst>
                  <a:path w="7" h="9">
                    <a:moveTo>
                      <a:pt x="7" y="6"/>
                    </a:moveTo>
                    <a:cubicBezTo>
                      <a:pt x="7" y="7"/>
                      <a:pt x="7" y="8"/>
                      <a:pt x="7" y="9"/>
                    </a:cubicBezTo>
                    <a:cubicBezTo>
                      <a:pt x="3" y="9"/>
                      <a:pt x="0" y="2"/>
                      <a:pt x="0" y="0"/>
                    </a:cubicBezTo>
                    <a:cubicBezTo>
                      <a:pt x="4" y="2"/>
                      <a:pt x="7" y="3"/>
                      <a:pt x="7" y="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11" name="íṧľîḍé"/>
              <p:cNvSpPr/>
              <p:nvPr/>
            </p:nvSpPr>
            <p:spPr bwMode="auto">
              <a:xfrm>
                <a:off x="8890867" y="3778973"/>
                <a:ext cx="25801" cy="11907"/>
              </a:xfrm>
              <a:custGeom>
                <a:avLst/>
                <a:gdLst/>
                <a:ahLst/>
                <a:cxnLst>
                  <a:cxn ang="0">
                    <a:pos x="15" y="6"/>
                  </a:cxn>
                  <a:cxn ang="0">
                    <a:pos x="12" y="7"/>
                  </a:cxn>
                  <a:cxn ang="0">
                    <a:pos x="0" y="0"/>
                  </a:cxn>
                  <a:cxn ang="0">
                    <a:pos x="15" y="6"/>
                  </a:cxn>
                </a:cxnLst>
                <a:rect l="0" t="0" r="r" b="b"/>
                <a:pathLst>
                  <a:path w="15" h="7">
                    <a:moveTo>
                      <a:pt x="15" y="6"/>
                    </a:moveTo>
                    <a:cubicBezTo>
                      <a:pt x="14" y="6"/>
                      <a:pt x="13" y="7"/>
                      <a:pt x="12" y="7"/>
                    </a:cubicBezTo>
                    <a:cubicBezTo>
                      <a:pt x="7" y="7"/>
                      <a:pt x="0" y="5"/>
                      <a:pt x="0" y="0"/>
                    </a:cubicBezTo>
                    <a:cubicBezTo>
                      <a:pt x="7" y="0"/>
                      <a:pt x="11" y="1"/>
                      <a:pt x="15" y="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12" name="íśḻïdé"/>
              <p:cNvSpPr/>
              <p:nvPr/>
            </p:nvSpPr>
            <p:spPr bwMode="auto">
              <a:xfrm>
                <a:off x="8894837" y="3749203"/>
                <a:ext cx="21831" cy="23815"/>
              </a:xfrm>
              <a:custGeom>
                <a:avLst/>
                <a:gdLst/>
                <a:ahLst/>
                <a:cxnLst>
                  <a:cxn ang="0">
                    <a:pos x="13" y="14"/>
                  </a:cxn>
                  <a:cxn ang="0">
                    <a:pos x="0" y="0"/>
                  </a:cxn>
                  <a:cxn ang="0">
                    <a:pos x="13" y="14"/>
                  </a:cxn>
                </a:cxnLst>
                <a:rect l="0" t="0" r="r" b="b"/>
                <a:pathLst>
                  <a:path w="13" h="14">
                    <a:moveTo>
                      <a:pt x="13" y="14"/>
                    </a:moveTo>
                    <a:cubicBezTo>
                      <a:pt x="9" y="14"/>
                      <a:pt x="1" y="3"/>
                      <a:pt x="0" y="0"/>
                    </a:cubicBezTo>
                    <a:cubicBezTo>
                      <a:pt x="6" y="3"/>
                      <a:pt x="11" y="7"/>
                      <a:pt x="13" y="1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13" name="îşḷîḓe"/>
              <p:cNvSpPr/>
              <p:nvPr/>
            </p:nvSpPr>
            <p:spPr bwMode="auto">
              <a:xfrm>
                <a:off x="8849191" y="3731342"/>
                <a:ext cx="29770" cy="178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7" y="9"/>
                  </a:cxn>
                  <a:cxn ang="0">
                    <a:pos x="14" y="1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</a:cxnLst>
                <a:rect l="0" t="0" r="r" b="b"/>
                <a:pathLst>
                  <a:path w="17" h="10">
                    <a:moveTo>
                      <a:pt x="2" y="0"/>
                    </a:moveTo>
                    <a:cubicBezTo>
                      <a:pt x="6" y="2"/>
                      <a:pt x="15" y="5"/>
                      <a:pt x="17" y="9"/>
                    </a:cubicBezTo>
                    <a:cubicBezTo>
                      <a:pt x="17" y="9"/>
                      <a:pt x="15" y="10"/>
                      <a:pt x="14" y="10"/>
                    </a:cubicBezTo>
                    <a:cubicBezTo>
                      <a:pt x="10" y="10"/>
                      <a:pt x="0" y="6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14" name="îsľiḑé"/>
              <p:cNvSpPr/>
              <p:nvPr/>
            </p:nvSpPr>
            <p:spPr bwMode="auto">
              <a:xfrm>
                <a:off x="8817438" y="3713480"/>
                <a:ext cx="17862" cy="992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" y="6"/>
                  </a:cxn>
                  <a:cxn ang="0">
                    <a:pos x="7" y="6"/>
                  </a:cxn>
                  <a:cxn ang="0">
                    <a:pos x="0" y="2"/>
                  </a:cxn>
                  <a:cxn ang="0">
                    <a:pos x="3" y="1"/>
                  </a:cxn>
                  <a:cxn ang="0">
                    <a:pos x="0" y="0"/>
                  </a:cxn>
                </a:cxnLst>
                <a:rect l="0" t="0" r="r" b="b"/>
                <a:pathLst>
                  <a:path w="11" h="6">
                    <a:moveTo>
                      <a:pt x="0" y="0"/>
                    </a:moveTo>
                    <a:cubicBezTo>
                      <a:pt x="5" y="3"/>
                      <a:pt x="8" y="2"/>
                      <a:pt x="11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3" y="2"/>
                      <a:pt x="3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15" name="išľïďê"/>
              <p:cNvSpPr/>
              <p:nvPr/>
            </p:nvSpPr>
            <p:spPr bwMode="auto">
              <a:xfrm>
                <a:off x="8565392" y="4475565"/>
                <a:ext cx="79384" cy="81369"/>
              </a:xfrm>
              <a:custGeom>
                <a:avLst/>
                <a:gdLst/>
                <a:ahLst/>
                <a:cxnLst>
                  <a:cxn ang="0">
                    <a:pos x="24" y="7"/>
                  </a:cxn>
                  <a:cxn ang="0">
                    <a:pos x="43" y="3"/>
                  </a:cxn>
                  <a:cxn ang="0">
                    <a:pos x="48" y="16"/>
                  </a:cxn>
                  <a:cxn ang="0">
                    <a:pos x="27" y="49"/>
                  </a:cxn>
                  <a:cxn ang="0">
                    <a:pos x="0" y="7"/>
                  </a:cxn>
                  <a:cxn ang="0">
                    <a:pos x="24" y="7"/>
                  </a:cxn>
                </a:cxnLst>
                <a:rect l="0" t="0" r="r" b="b"/>
                <a:pathLst>
                  <a:path w="48" h="49">
                    <a:moveTo>
                      <a:pt x="24" y="7"/>
                    </a:moveTo>
                    <a:cubicBezTo>
                      <a:pt x="30" y="7"/>
                      <a:pt x="37" y="5"/>
                      <a:pt x="43" y="3"/>
                    </a:cubicBezTo>
                    <a:cubicBezTo>
                      <a:pt x="45" y="8"/>
                      <a:pt x="48" y="11"/>
                      <a:pt x="48" y="16"/>
                    </a:cubicBezTo>
                    <a:cubicBezTo>
                      <a:pt x="48" y="26"/>
                      <a:pt x="36" y="49"/>
                      <a:pt x="27" y="49"/>
                    </a:cubicBezTo>
                    <a:cubicBezTo>
                      <a:pt x="14" y="49"/>
                      <a:pt x="0" y="16"/>
                      <a:pt x="0" y="7"/>
                    </a:cubicBezTo>
                    <a:cubicBezTo>
                      <a:pt x="0" y="0"/>
                      <a:pt x="24" y="7"/>
                      <a:pt x="24" y="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16" name="ïṣ1ïḍê"/>
              <p:cNvSpPr/>
              <p:nvPr/>
            </p:nvSpPr>
            <p:spPr bwMode="auto">
              <a:xfrm>
                <a:off x="7908488" y="3804772"/>
                <a:ext cx="845442" cy="637056"/>
              </a:xfrm>
              <a:custGeom>
                <a:avLst/>
                <a:gdLst/>
                <a:ahLst/>
                <a:cxnLst>
                  <a:cxn ang="0">
                    <a:pos x="508" y="232"/>
                  </a:cxn>
                  <a:cxn ang="0">
                    <a:pos x="501" y="272"/>
                  </a:cxn>
                  <a:cxn ang="0">
                    <a:pos x="478" y="312"/>
                  </a:cxn>
                  <a:cxn ang="0">
                    <a:pos x="465" y="351"/>
                  </a:cxn>
                  <a:cxn ang="0">
                    <a:pos x="398" y="370"/>
                  </a:cxn>
                  <a:cxn ang="0">
                    <a:pos x="335" y="350"/>
                  </a:cxn>
                  <a:cxn ang="0">
                    <a:pos x="329" y="330"/>
                  </a:cxn>
                  <a:cxn ang="0">
                    <a:pos x="314" y="333"/>
                  </a:cxn>
                  <a:cxn ang="0">
                    <a:pos x="313" y="315"/>
                  </a:cxn>
                  <a:cxn ang="0">
                    <a:pos x="301" y="329"/>
                  </a:cxn>
                  <a:cxn ang="0">
                    <a:pos x="310" y="292"/>
                  </a:cxn>
                  <a:cxn ang="0">
                    <a:pos x="278" y="315"/>
                  </a:cxn>
                  <a:cxn ang="0">
                    <a:pos x="214" y="276"/>
                  </a:cxn>
                  <a:cxn ang="0">
                    <a:pos x="131" y="308"/>
                  </a:cxn>
                  <a:cxn ang="0">
                    <a:pos x="93" y="311"/>
                  </a:cxn>
                  <a:cxn ang="0">
                    <a:pos x="22" y="310"/>
                  </a:cxn>
                  <a:cxn ang="0">
                    <a:pos x="23" y="262"/>
                  </a:cxn>
                  <a:cxn ang="0">
                    <a:pos x="2" y="204"/>
                  </a:cxn>
                  <a:cxn ang="0">
                    <a:pos x="9" y="204"/>
                  </a:cxn>
                  <a:cxn ang="0">
                    <a:pos x="3" y="176"/>
                  </a:cxn>
                  <a:cxn ang="0">
                    <a:pos x="8" y="145"/>
                  </a:cxn>
                  <a:cxn ang="0">
                    <a:pos x="32" y="132"/>
                  </a:cxn>
                  <a:cxn ang="0">
                    <a:pos x="114" y="95"/>
                  </a:cxn>
                  <a:cxn ang="0">
                    <a:pos x="119" y="76"/>
                  </a:cxn>
                  <a:cxn ang="0">
                    <a:pos x="131" y="71"/>
                  </a:cxn>
                  <a:cxn ang="0">
                    <a:pos x="150" y="50"/>
                  </a:cxn>
                  <a:cxn ang="0">
                    <a:pos x="187" y="58"/>
                  </a:cxn>
                  <a:cxn ang="0">
                    <a:pos x="203" y="56"/>
                  </a:cxn>
                  <a:cxn ang="0">
                    <a:pos x="211" y="30"/>
                  </a:cxn>
                  <a:cxn ang="0">
                    <a:pos x="244" y="17"/>
                  </a:cxn>
                  <a:cxn ang="0">
                    <a:pos x="276" y="19"/>
                  </a:cxn>
                  <a:cxn ang="0">
                    <a:pos x="297" y="23"/>
                  </a:cxn>
                  <a:cxn ang="0">
                    <a:pos x="281" y="54"/>
                  </a:cxn>
                  <a:cxn ang="0">
                    <a:pos x="295" y="68"/>
                  </a:cxn>
                  <a:cxn ang="0">
                    <a:pos x="341" y="90"/>
                  </a:cxn>
                  <a:cxn ang="0">
                    <a:pos x="359" y="15"/>
                  </a:cxn>
                  <a:cxn ang="0">
                    <a:pos x="381" y="28"/>
                  </a:cxn>
                  <a:cxn ang="0">
                    <a:pos x="400" y="50"/>
                  </a:cxn>
                  <a:cxn ang="0">
                    <a:pos x="419" y="104"/>
                  </a:cxn>
                  <a:cxn ang="0">
                    <a:pos x="457" y="146"/>
                  </a:cxn>
                  <a:cxn ang="0">
                    <a:pos x="497" y="185"/>
                  </a:cxn>
                </a:cxnLst>
                <a:rect l="0" t="0" r="r" b="b"/>
                <a:pathLst>
                  <a:path w="508" h="383">
                    <a:moveTo>
                      <a:pt x="496" y="186"/>
                    </a:moveTo>
                    <a:cubicBezTo>
                      <a:pt x="503" y="195"/>
                      <a:pt x="508" y="219"/>
                      <a:pt x="508" y="232"/>
                    </a:cubicBezTo>
                    <a:cubicBezTo>
                      <a:pt x="508" y="242"/>
                      <a:pt x="505" y="256"/>
                      <a:pt x="501" y="260"/>
                    </a:cubicBezTo>
                    <a:cubicBezTo>
                      <a:pt x="501" y="272"/>
                      <a:pt x="501" y="272"/>
                      <a:pt x="501" y="272"/>
                    </a:cubicBezTo>
                    <a:cubicBezTo>
                      <a:pt x="499" y="276"/>
                      <a:pt x="500" y="277"/>
                      <a:pt x="498" y="281"/>
                    </a:cubicBezTo>
                    <a:cubicBezTo>
                      <a:pt x="490" y="293"/>
                      <a:pt x="482" y="298"/>
                      <a:pt x="478" y="312"/>
                    </a:cubicBezTo>
                    <a:cubicBezTo>
                      <a:pt x="474" y="322"/>
                      <a:pt x="465" y="336"/>
                      <a:pt x="465" y="352"/>
                    </a:cubicBezTo>
                    <a:cubicBezTo>
                      <a:pt x="465" y="351"/>
                      <a:pt x="465" y="351"/>
                      <a:pt x="465" y="351"/>
                    </a:cubicBezTo>
                    <a:cubicBezTo>
                      <a:pt x="460" y="371"/>
                      <a:pt x="424" y="362"/>
                      <a:pt x="420" y="383"/>
                    </a:cubicBezTo>
                    <a:cubicBezTo>
                      <a:pt x="417" y="382"/>
                      <a:pt x="399" y="372"/>
                      <a:pt x="398" y="370"/>
                    </a:cubicBezTo>
                    <a:cubicBezTo>
                      <a:pt x="388" y="371"/>
                      <a:pt x="392" y="379"/>
                      <a:pt x="381" y="379"/>
                    </a:cubicBezTo>
                    <a:cubicBezTo>
                      <a:pt x="363" y="379"/>
                      <a:pt x="335" y="368"/>
                      <a:pt x="335" y="350"/>
                    </a:cubicBezTo>
                    <a:cubicBezTo>
                      <a:pt x="335" y="343"/>
                      <a:pt x="329" y="338"/>
                      <a:pt x="329" y="332"/>
                    </a:cubicBezTo>
                    <a:cubicBezTo>
                      <a:pt x="329" y="332"/>
                      <a:pt x="329" y="330"/>
                      <a:pt x="329" y="330"/>
                    </a:cubicBezTo>
                    <a:cubicBezTo>
                      <a:pt x="325" y="332"/>
                      <a:pt x="323" y="332"/>
                      <a:pt x="320" y="333"/>
                    </a:cubicBezTo>
                    <a:cubicBezTo>
                      <a:pt x="314" y="333"/>
                      <a:pt x="314" y="333"/>
                      <a:pt x="314" y="333"/>
                    </a:cubicBezTo>
                    <a:cubicBezTo>
                      <a:pt x="316" y="330"/>
                      <a:pt x="318" y="328"/>
                      <a:pt x="318" y="323"/>
                    </a:cubicBezTo>
                    <a:cubicBezTo>
                      <a:pt x="318" y="318"/>
                      <a:pt x="315" y="316"/>
                      <a:pt x="313" y="315"/>
                    </a:cubicBezTo>
                    <a:cubicBezTo>
                      <a:pt x="313" y="316"/>
                      <a:pt x="312" y="318"/>
                      <a:pt x="312" y="319"/>
                    </a:cubicBezTo>
                    <a:cubicBezTo>
                      <a:pt x="308" y="321"/>
                      <a:pt x="308" y="329"/>
                      <a:pt x="301" y="329"/>
                    </a:cubicBezTo>
                    <a:cubicBezTo>
                      <a:pt x="299" y="329"/>
                      <a:pt x="297" y="326"/>
                      <a:pt x="297" y="324"/>
                    </a:cubicBezTo>
                    <a:cubicBezTo>
                      <a:pt x="308" y="322"/>
                      <a:pt x="310" y="299"/>
                      <a:pt x="310" y="292"/>
                    </a:cubicBezTo>
                    <a:cubicBezTo>
                      <a:pt x="302" y="300"/>
                      <a:pt x="291" y="323"/>
                      <a:pt x="281" y="323"/>
                    </a:cubicBezTo>
                    <a:cubicBezTo>
                      <a:pt x="276" y="323"/>
                      <a:pt x="278" y="315"/>
                      <a:pt x="278" y="315"/>
                    </a:cubicBezTo>
                    <a:cubicBezTo>
                      <a:pt x="275" y="315"/>
                      <a:pt x="265" y="294"/>
                      <a:pt x="262" y="289"/>
                    </a:cubicBezTo>
                    <a:cubicBezTo>
                      <a:pt x="254" y="280"/>
                      <a:pt x="228" y="276"/>
                      <a:pt x="214" y="276"/>
                    </a:cubicBezTo>
                    <a:cubicBezTo>
                      <a:pt x="198" y="276"/>
                      <a:pt x="195" y="283"/>
                      <a:pt x="185" y="286"/>
                    </a:cubicBezTo>
                    <a:cubicBezTo>
                      <a:pt x="163" y="293"/>
                      <a:pt x="135" y="285"/>
                      <a:pt x="131" y="308"/>
                    </a:cubicBezTo>
                    <a:cubicBezTo>
                      <a:pt x="122" y="309"/>
                      <a:pt x="115" y="311"/>
                      <a:pt x="105" y="311"/>
                    </a:cubicBezTo>
                    <a:cubicBezTo>
                      <a:pt x="98" y="307"/>
                      <a:pt x="98" y="311"/>
                      <a:pt x="93" y="311"/>
                    </a:cubicBezTo>
                    <a:cubicBezTo>
                      <a:pt x="77" y="311"/>
                      <a:pt x="71" y="326"/>
                      <a:pt x="51" y="326"/>
                    </a:cubicBezTo>
                    <a:cubicBezTo>
                      <a:pt x="43" y="326"/>
                      <a:pt x="22" y="316"/>
                      <a:pt x="22" y="310"/>
                    </a:cubicBezTo>
                    <a:cubicBezTo>
                      <a:pt x="22" y="303"/>
                      <a:pt x="32" y="300"/>
                      <a:pt x="32" y="290"/>
                    </a:cubicBezTo>
                    <a:cubicBezTo>
                      <a:pt x="32" y="277"/>
                      <a:pt x="26" y="270"/>
                      <a:pt x="23" y="262"/>
                    </a:cubicBezTo>
                    <a:cubicBezTo>
                      <a:pt x="18" y="243"/>
                      <a:pt x="17" y="237"/>
                      <a:pt x="11" y="220"/>
                    </a:cubicBezTo>
                    <a:cubicBezTo>
                      <a:pt x="9" y="213"/>
                      <a:pt x="0" y="211"/>
                      <a:pt x="2" y="204"/>
                    </a:cubicBezTo>
                    <a:cubicBezTo>
                      <a:pt x="3" y="202"/>
                      <a:pt x="3" y="201"/>
                      <a:pt x="5" y="198"/>
                    </a:cubicBezTo>
                    <a:cubicBezTo>
                      <a:pt x="6" y="201"/>
                      <a:pt x="7" y="203"/>
                      <a:pt x="9" y="204"/>
                    </a:cubicBezTo>
                    <a:cubicBezTo>
                      <a:pt x="10" y="202"/>
                      <a:pt x="9" y="201"/>
                      <a:pt x="9" y="198"/>
                    </a:cubicBezTo>
                    <a:cubicBezTo>
                      <a:pt x="9" y="192"/>
                      <a:pt x="3" y="187"/>
                      <a:pt x="3" y="176"/>
                    </a:cubicBezTo>
                    <a:cubicBezTo>
                      <a:pt x="3" y="162"/>
                      <a:pt x="3" y="161"/>
                      <a:pt x="3" y="150"/>
                    </a:cubicBezTo>
                    <a:cubicBezTo>
                      <a:pt x="3" y="146"/>
                      <a:pt x="7" y="146"/>
                      <a:pt x="8" y="145"/>
                    </a:cubicBezTo>
                    <a:cubicBezTo>
                      <a:pt x="9" y="146"/>
                      <a:pt x="9" y="148"/>
                      <a:pt x="9" y="149"/>
                    </a:cubicBezTo>
                    <a:cubicBezTo>
                      <a:pt x="17" y="148"/>
                      <a:pt x="27" y="137"/>
                      <a:pt x="32" y="132"/>
                    </a:cubicBezTo>
                    <a:cubicBezTo>
                      <a:pt x="37" y="127"/>
                      <a:pt x="53" y="126"/>
                      <a:pt x="62" y="125"/>
                    </a:cubicBezTo>
                    <a:cubicBezTo>
                      <a:pt x="78" y="122"/>
                      <a:pt x="114" y="110"/>
                      <a:pt x="114" y="95"/>
                    </a:cubicBezTo>
                    <a:cubicBezTo>
                      <a:pt x="114" y="92"/>
                      <a:pt x="114" y="90"/>
                      <a:pt x="114" y="87"/>
                    </a:cubicBezTo>
                    <a:cubicBezTo>
                      <a:pt x="114" y="83"/>
                      <a:pt x="115" y="79"/>
                      <a:pt x="119" y="76"/>
                    </a:cubicBezTo>
                    <a:cubicBezTo>
                      <a:pt x="122" y="80"/>
                      <a:pt x="124" y="82"/>
                      <a:pt x="126" y="85"/>
                    </a:cubicBezTo>
                    <a:cubicBezTo>
                      <a:pt x="131" y="82"/>
                      <a:pt x="129" y="75"/>
                      <a:pt x="131" y="71"/>
                    </a:cubicBezTo>
                    <a:cubicBezTo>
                      <a:pt x="134" y="72"/>
                      <a:pt x="137" y="74"/>
                      <a:pt x="140" y="74"/>
                    </a:cubicBezTo>
                    <a:cubicBezTo>
                      <a:pt x="140" y="62"/>
                      <a:pt x="149" y="60"/>
                      <a:pt x="150" y="50"/>
                    </a:cubicBezTo>
                    <a:cubicBezTo>
                      <a:pt x="162" y="50"/>
                      <a:pt x="164" y="41"/>
                      <a:pt x="173" y="41"/>
                    </a:cubicBezTo>
                    <a:cubicBezTo>
                      <a:pt x="181" y="41"/>
                      <a:pt x="186" y="50"/>
                      <a:pt x="187" y="58"/>
                    </a:cubicBezTo>
                    <a:cubicBezTo>
                      <a:pt x="189" y="55"/>
                      <a:pt x="192" y="53"/>
                      <a:pt x="196" y="53"/>
                    </a:cubicBezTo>
                    <a:cubicBezTo>
                      <a:pt x="198" y="53"/>
                      <a:pt x="202" y="56"/>
                      <a:pt x="203" y="56"/>
                    </a:cubicBezTo>
                    <a:cubicBezTo>
                      <a:pt x="205" y="52"/>
                      <a:pt x="204" y="49"/>
                      <a:pt x="204" y="45"/>
                    </a:cubicBezTo>
                    <a:cubicBezTo>
                      <a:pt x="204" y="39"/>
                      <a:pt x="211" y="36"/>
                      <a:pt x="211" y="30"/>
                    </a:cubicBezTo>
                    <a:cubicBezTo>
                      <a:pt x="211" y="24"/>
                      <a:pt x="228" y="20"/>
                      <a:pt x="236" y="20"/>
                    </a:cubicBezTo>
                    <a:cubicBezTo>
                      <a:pt x="239" y="20"/>
                      <a:pt x="243" y="17"/>
                      <a:pt x="244" y="17"/>
                    </a:cubicBezTo>
                    <a:cubicBezTo>
                      <a:pt x="241" y="13"/>
                      <a:pt x="237" y="11"/>
                      <a:pt x="236" y="7"/>
                    </a:cubicBezTo>
                    <a:cubicBezTo>
                      <a:pt x="251" y="13"/>
                      <a:pt x="260" y="19"/>
                      <a:pt x="276" y="19"/>
                    </a:cubicBezTo>
                    <a:cubicBezTo>
                      <a:pt x="281" y="19"/>
                      <a:pt x="283" y="15"/>
                      <a:pt x="288" y="15"/>
                    </a:cubicBezTo>
                    <a:cubicBezTo>
                      <a:pt x="291" y="15"/>
                      <a:pt x="297" y="20"/>
                      <a:pt x="297" y="23"/>
                    </a:cubicBezTo>
                    <a:cubicBezTo>
                      <a:pt x="297" y="29"/>
                      <a:pt x="290" y="30"/>
                      <a:pt x="287" y="32"/>
                    </a:cubicBezTo>
                    <a:cubicBezTo>
                      <a:pt x="281" y="54"/>
                      <a:pt x="281" y="54"/>
                      <a:pt x="281" y="54"/>
                    </a:cubicBezTo>
                    <a:cubicBezTo>
                      <a:pt x="281" y="58"/>
                      <a:pt x="288" y="57"/>
                      <a:pt x="290" y="59"/>
                    </a:cubicBezTo>
                    <a:cubicBezTo>
                      <a:pt x="293" y="60"/>
                      <a:pt x="293" y="67"/>
                      <a:pt x="295" y="68"/>
                    </a:cubicBezTo>
                    <a:cubicBezTo>
                      <a:pt x="306" y="72"/>
                      <a:pt x="313" y="74"/>
                      <a:pt x="324" y="79"/>
                    </a:cubicBezTo>
                    <a:cubicBezTo>
                      <a:pt x="330" y="81"/>
                      <a:pt x="333" y="90"/>
                      <a:pt x="341" y="90"/>
                    </a:cubicBezTo>
                    <a:cubicBezTo>
                      <a:pt x="355" y="90"/>
                      <a:pt x="357" y="64"/>
                      <a:pt x="359" y="54"/>
                    </a:cubicBezTo>
                    <a:cubicBezTo>
                      <a:pt x="359" y="15"/>
                      <a:pt x="359" y="15"/>
                      <a:pt x="359" y="15"/>
                    </a:cubicBezTo>
                    <a:cubicBezTo>
                      <a:pt x="366" y="9"/>
                      <a:pt x="364" y="4"/>
                      <a:pt x="372" y="0"/>
                    </a:cubicBezTo>
                    <a:cubicBezTo>
                      <a:pt x="373" y="11"/>
                      <a:pt x="379" y="19"/>
                      <a:pt x="381" y="28"/>
                    </a:cubicBezTo>
                    <a:cubicBezTo>
                      <a:pt x="383" y="34"/>
                      <a:pt x="381" y="42"/>
                      <a:pt x="386" y="45"/>
                    </a:cubicBezTo>
                    <a:cubicBezTo>
                      <a:pt x="390" y="47"/>
                      <a:pt x="399" y="49"/>
                      <a:pt x="400" y="50"/>
                    </a:cubicBezTo>
                    <a:cubicBezTo>
                      <a:pt x="406" y="54"/>
                      <a:pt x="406" y="68"/>
                      <a:pt x="408" y="75"/>
                    </a:cubicBezTo>
                    <a:cubicBezTo>
                      <a:pt x="412" y="87"/>
                      <a:pt x="415" y="93"/>
                      <a:pt x="419" y="104"/>
                    </a:cubicBezTo>
                    <a:cubicBezTo>
                      <a:pt x="422" y="114"/>
                      <a:pt x="441" y="118"/>
                      <a:pt x="449" y="126"/>
                    </a:cubicBezTo>
                    <a:cubicBezTo>
                      <a:pt x="454" y="131"/>
                      <a:pt x="455" y="139"/>
                      <a:pt x="457" y="146"/>
                    </a:cubicBezTo>
                    <a:cubicBezTo>
                      <a:pt x="459" y="151"/>
                      <a:pt x="466" y="151"/>
                      <a:pt x="471" y="151"/>
                    </a:cubicBezTo>
                    <a:cubicBezTo>
                      <a:pt x="471" y="169"/>
                      <a:pt x="488" y="176"/>
                      <a:pt x="497" y="185"/>
                    </a:cubicBezTo>
                    <a:lnTo>
                      <a:pt x="496" y="18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17" name="ïSḷiḑê"/>
              <p:cNvSpPr/>
              <p:nvPr/>
            </p:nvSpPr>
            <p:spPr bwMode="auto">
              <a:xfrm>
                <a:off x="8869037" y="4481520"/>
                <a:ext cx="158769" cy="156784"/>
              </a:xfrm>
              <a:custGeom>
                <a:avLst/>
                <a:gdLst/>
                <a:ahLst/>
                <a:cxnLst>
                  <a:cxn ang="0">
                    <a:pos x="58" y="26"/>
                  </a:cxn>
                  <a:cxn ang="0">
                    <a:pos x="59" y="22"/>
                  </a:cxn>
                  <a:cxn ang="0">
                    <a:pos x="67" y="17"/>
                  </a:cxn>
                  <a:cxn ang="0">
                    <a:pos x="67" y="14"/>
                  </a:cxn>
                  <a:cxn ang="0">
                    <a:pos x="78" y="0"/>
                  </a:cxn>
                  <a:cxn ang="0">
                    <a:pos x="81" y="4"/>
                  </a:cxn>
                  <a:cxn ang="0">
                    <a:pos x="83" y="10"/>
                  </a:cxn>
                  <a:cxn ang="0">
                    <a:pos x="90" y="6"/>
                  </a:cxn>
                  <a:cxn ang="0">
                    <a:pos x="94" y="8"/>
                  </a:cxn>
                  <a:cxn ang="0">
                    <a:pos x="96" y="15"/>
                  </a:cxn>
                  <a:cxn ang="0">
                    <a:pos x="79" y="37"/>
                  </a:cxn>
                  <a:cxn ang="0">
                    <a:pos x="79" y="50"/>
                  </a:cxn>
                  <a:cxn ang="0">
                    <a:pos x="63" y="53"/>
                  </a:cxn>
                  <a:cxn ang="0">
                    <a:pos x="49" y="84"/>
                  </a:cxn>
                  <a:cxn ang="0">
                    <a:pos x="32" y="94"/>
                  </a:cxn>
                  <a:cxn ang="0">
                    <a:pos x="23" y="92"/>
                  </a:cxn>
                  <a:cxn ang="0">
                    <a:pos x="3" y="83"/>
                  </a:cxn>
                  <a:cxn ang="0">
                    <a:pos x="0" y="81"/>
                  </a:cxn>
                  <a:cxn ang="0">
                    <a:pos x="18" y="57"/>
                  </a:cxn>
                  <a:cxn ang="0">
                    <a:pos x="25" y="51"/>
                  </a:cxn>
                  <a:cxn ang="0">
                    <a:pos x="50" y="37"/>
                  </a:cxn>
                  <a:cxn ang="0">
                    <a:pos x="58" y="26"/>
                  </a:cxn>
                </a:cxnLst>
                <a:rect l="0" t="0" r="r" b="b"/>
                <a:pathLst>
                  <a:path w="96" h="94">
                    <a:moveTo>
                      <a:pt x="58" y="26"/>
                    </a:moveTo>
                    <a:cubicBezTo>
                      <a:pt x="58" y="26"/>
                      <a:pt x="58" y="23"/>
                      <a:pt x="59" y="22"/>
                    </a:cubicBezTo>
                    <a:cubicBezTo>
                      <a:pt x="60" y="18"/>
                      <a:pt x="63" y="17"/>
                      <a:pt x="67" y="17"/>
                    </a:cubicBezTo>
                    <a:cubicBezTo>
                      <a:pt x="67" y="16"/>
                      <a:pt x="67" y="15"/>
                      <a:pt x="67" y="14"/>
                    </a:cubicBezTo>
                    <a:cubicBezTo>
                      <a:pt x="67" y="8"/>
                      <a:pt x="74" y="2"/>
                      <a:pt x="78" y="0"/>
                    </a:cubicBezTo>
                    <a:cubicBezTo>
                      <a:pt x="78" y="3"/>
                      <a:pt x="79" y="4"/>
                      <a:pt x="81" y="4"/>
                    </a:cubicBezTo>
                    <a:cubicBezTo>
                      <a:pt x="81" y="7"/>
                      <a:pt x="80" y="10"/>
                      <a:pt x="83" y="10"/>
                    </a:cubicBezTo>
                    <a:cubicBezTo>
                      <a:pt x="86" y="10"/>
                      <a:pt x="88" y="7"/>
                      <a:pt x="90" y="6"/>
                    </a:cubicBezTo>
                    <a:cubicBezTo>
                      <a:pt x="91" y="8"/>
                      <a:pt x="92" y="8"/>
                      <a:pt x="94" y="8"/>
                    </a:cubicBezTo>
                    <a:cubicBezTo>
                      <a:pt x="94" y="12"/>
                      <a:pt x="94" y="14"/>
                      <a:pt x="96" y="15"/>
                    </a:cubicBezTo>
                    <a:cubicBezTo>
                      <a:pt x="95" y="21"/>
                      <a:pt x="86" y="37"/>
                      <a:pt x="79" y="37"/>
                    </a:cubicBezTo>
                    <a:cubicBezTo>
                      <a:pt x="78" y="43"/>
                      <a:pt x="80" y="45"/>
                      <a:pt x="79" y="50"/>
                    </a:cubicBezTo>
                    <a:cubicBezTo>
                      <a:pt x="77" y="50"/>
                      <a:pt x="66" y="53"/>
                      <a:pt x="63" y="53"/>
                    </a:cubicBezTo>
                    <a:cubicBezTo>
                      <a:pt x="61" y="58"/>
                      <a:pt x="49" y="84"/>
                      <a:pt x="49" y="84"/>
                    </a:cubicBezTo>
                    <a:cubicBezTo>
                      <a:pt x="45" y="88"/>
                      <a:pt x="37" y="94"/>
                      <a:pt x="32" y="94"/>
                    </a:cubicBezTo>
                    <a:cubicBezTo>
                      <a:pt x="30" y="94"/>
                      <a:pt x="25" y="92"/>
                      <a:pt x="23" y="92"/>
                    </a:cubicBezTo>
                    <a:cubicBezTo>
                      <a:pt x="20" y="92"/>
                      <a:pt x="3" y="85"/>
                      <a:pt x="3" y="83"/>
                    </a:cubicBezTo>
                    <a:cubicBezTo>
                      <a:pt x="2" y="83"/>
                      <a:pt x="0" y="82"/>
                      <a:pt x="0" y="81"/>
                    </a:cubicBezTo>
                    <a:cubicBezTo>
                      <a:pt x="0" y="70"/>
                      <a:pt x="14" y="64"/>
                      <a:pt x="18" y="57"/>
                    </a:cubicBezTo>
                    <a:cubicBezTo>
                      <a:pt x="20" y="54"/>
                      <a:pt x="22" y="51"/>
                      <a:pt x="25" y="51"/>
                    </a:cubicBezTo>
                    <a:cubicBezTo>
                      <a:pt x="36" y="51"/>
                      <a:pt x="42" y="40"/>
                      <a:pt x="50" y="37"/>
                    </a:cubicBezTo>
                    <a:cubicBezTo>
                      <a:pt x="52" y="36"/>
                      <a:pt x="58" y="26"/>
                      <a:pt x="58" y="2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18" name="íşḻïde"/>
              <p:cNvSpPr/>
              <p:nvPr/>
            </p:nvSpPr>
            <p:spPr bwMode="auto">
              <a:xfrm>
                <a:off x="9000022" y="4328705"/>
                <a:ext cx="117092" cy="174645"/>
              </a:xfrm>
              <a:custGeom>
                <a:avLst/>
                <a:gdLst/>
                <a:ahLst/>
                <a:cxnLst>
                  <a:cxn ang="0">
                    <a:pos x="22" y="40"/>
                  </a:cxn>
                  <a:cxn ang="0">
                    <a:pos x="17" y="31"/>
                  </a:cxn>
                  <a:cxn ang="0">
                    <a:pos x="19" y="27"/>
                  </a:cxn>
                  <a:cxn ang="0">
                    <a:pos x="0" y="0"/>
                  </a:cxn>
                  <a:cxn ang="0">
                    <a:pos x="16" y="12"/>
                  </a:cxn>
                  <a:cxn ang="0">
                    <a:pos x="22" y="19"/>
                  </a:cxn>
                  <a:cxn ang="0">
                    <a:pos x="20" y="22"/>
                  </a:cxn>
                  <a:cxn ang="0">
                    <a:pos x="27" y="37"/>
                  </a:cxn>
                  <a:cxn ang="0">
                    <a:pos x="30" y="37"/>
                  </a:cxn>
                  <a:cxn ang="0">
                    <a:pos x="34" y="32"/>
                  </a:cxn>
                  <a:cxn ang="0">
                    <a:pos x="37" y="32"/>
                  </a:cxn>
                  <a:cxn ang="0">
                    <a:pos x="53" y="50"/>
                  </a:cxn>
                  <a:cxn ang="0">
                    <a:pos x="68" y="46"/>
                  </a:cxn>
                  <a:cxn ang="0">
                    <a:pos x="71" y="48"/>
                  </a:cxn>
                  <a:cxn ang="0">
                    <a:pos x="63" y="71"/>
                  </a:cxn>
                  <a:cxn ang="0">
                    <a:pos x="61" y="68"/>
                  </a:cxn>
                  <a:cxn ang="0">
                    <a:pos x="60" y="70"/>
                  </a:cxn>
                  <a:cxn ang="0">
                    <a:pos x="51" y="75"/>
                  </a:cxn>
                  <a:cxn ang="0">
                    <a:pos x="52" y="80"/>
                  </a:cxn>
                  <a:cxn ang="0">
                    <a:pos x="46" y="89"/>
                  </a:cxn>
                  <a:cxn ang="0">
                    <a:pos x="30" y="104"/>
                  </a:cxn>
                  <a:cxn ang="0">
                    <a:pos x="23" y="98"/>
                  </a:cxn>
                  <a:cxn ang="0">
                    <a:pos x="29" y="86"/>
                  </a:cxn>
                  <a:cxn ang="0">
                    <a:pos x="12" y="72"/>
                  </a:cxn>
                  <a:cxn ang="0">
                    <a:pos x="19" y="65"/>
                  </a:cxn>
                  <a:cxn ang="0">
                    <a:pos x="24" y="48"/>
                  </a:cxn>
                  <a:cxn ang="0">
                    <a:pos x="22" y="38"/>
                  </a:cxn>
                  <a:cxn ang="0">
                    <a:pos x="22" y="38"/>
                  </a:cxn>
                  <a:cxn ang="0">
                    <a:pos x="22" y="40"/>
                  </a:cxn>
                </a:cxnLst>
                <a:rect l="0" t="0" r="r" b="b"/>
                <a:pathLst>
                  <a:path w="71" h="104">
                    <a:moveTo>
                      <a:pt x="22" y="40"/>
                    </a:moveTo>
                    <a:cubicBezTo>
                      <a:pt x="21" y="36"/>
                      <a:pt x="17" y="35"/>
                      <a:pt x="17" y="31"/>
                    </a:cubicBezTo>
                    <a:cubicBezTo>
                      <a:pt x="17" y="30"/>
                      <a:pt x="18" y="28"/>
                      <a:pt x="19" y="27"/>
                    </a:cubicBezTo>
                    <a:cubicBezTo>
                      <a:pt x="8" y="25"/>
                      <a:pt x="2" y="11"/>
                      <a:pt x="0" y="0"/>
                    </a:cubicBezTo>
                    <a:cubicBezTo>
                      <a:pt x="4" y="7"/>
                      <a:pt x="12" y="8"/>
                      <a:pt x="16" y="12"/>
                    </a:cubicBezTo>
                    <a:cubicBezTo>
                      <a:pt x="19" y="15"/>
                      <a:pt x="19" y="18"/>
                      <a:pt x="22" y="19"/>
                    </a:cubicBezTo>
                    <a:cubicBezTo>
                      <a:pt x="21" y="21"/>
                      <a:pt x="20" y="21"/>
                      <a:pt x="20" y="22"/>
                    </a:cubicBezTo>
                    <a:cubicBezTo>
                      <a:pt x="20" y="25"/>
                      <a:pt x="25" y="34"/>
                      <a:pt x="27" y="37"/>
                    </a:cubicBezTo>
                    <a:cubicBezTo>
                      <a:pt x="30" y="37"/>
                      <a:pt x="30" y="37"/>
                      <a:pt x="30" y="37"/>
                    </a:cubicBezTo>
                    <a:cubicBezTo>
                      <a:pt x="30" y="34"/>
                      <a:pt x="32" y="32"/>
                      <a:pt x="34" y="32"/>
                    </a:cubicBezTo>
                    <a:cubicBezTo>
                      <a:pt x="35" y="32"/>
                      <a:pt x="36" y="32"/>
                      <a:pt x="37" y="32"/>
                    </a:cubicBezTo>
                    <a:cubicBezTo>
                      <a:pt x="37" y="44"/>
                      <a:pt x="42" y="50"/>
                      <a:pt x="53" y="50"/>
                    </a:cubicBezTo>
                    <a:cubicBezTo>
                      <a:pt x="61" y="50"/>
                      <a:pt x="61" y="46"/>
                      <a:pt x="68" y="46"/>
                    </a:cubicBezTo>
                    <a:cubicBezTo>
                      <a:pt x="69" y="46"/>
                      <a:pt x="71" y="47"/>
                      <a:pt x="71" y="48"/>
                    </a:cubicBezTo>
                    <a:cubicBezTo>
                      <a:pt x="65" y="55"/>
                      <a:pt x="67" y="64"/>
                      <a:pt x="63" y="71"/>
                    </a:cubicBezTo>
                    <a:cubicBezTo>
                      <a:pt x="61" y="68"/>
                      <a:pt x="61" y="68"/>
                      <a:pt x="61" y="68"/>
                    </a:cubicBezTo>
                    <a:cubicBezTo>
                      <a:pt x="60" y="68"/>
                      <a:pt x="60" y="70"/>
                      <a:pt x="60" y="70"/>
                    </a:cubicBezTo>
                    <a:cubicBezTo>
                      <a:pt x="55" y="71"/>
                      <a:pt x="51" y="72"/>
                      <a:pt x="51" y="75"/>
                    </a:cubicBezTo>
                    <a:cubicBezTo>
                      <a:pt x="51" y="77"/>
                      <a:pt x="52" y="78"/>
                      <a:pt x="52" y="80"/>
                    </a:cubicBezTo>
                    <a:cubicBezTo>
                      <a:pt x="52" y="83"/>
                      <a:pt x="47" y="87"/>
                      <a:pt x="46" y="89"/>
                    </a:cubicBezTo>
                    <a:cubicBezTo>
                      <a:pt x="42" y="95"/>
                      <a:pt x="39" y="104"/>
                      <a:pt x="30" y="104"/>
                    </a:cubicBezTo>
                    <a:cubicBezTo>
                      <a:pt x="26" y="104"/>
                      <a:pt x="23" y="102"/>
                      <a:pt x="23" y="98"/>
                    </a:cubicBezTo>
                    <a:cubicBezTo>
                      <a:pt x="23" y="93"/>
                      <a:pt x="29" y="91"/>
                      <a:pt x="29" y="86"/>
                    </a:cubicBezTo>
                    <a:cubicBezTo>
                      <a:pt x="29" y="77"/>
                      <a:pt x="12" y="80"/>
                      <a:pt x="12" y="72"/>
                    </a:cubicBezTo>
                    <a:cubicBezTo>
                      <a:pt x="12" y="68"/>
                      <a:pt x="16" y="67"/>
                      <a:pt x="19" y="65"/>
                    </a:cubicBezTo>
                    <a:cubicBezTo>
                      <a:pt x="23" y="61"/>
                      <a:pt x="24" y="55"/>
                      <a:pt x="24" y="48"/>
                    </a:cubicBezTo>
                    <a:cubicBezTo>
                      <a:pt x="24" y="44"/>
                      <a:pt x="22" y="40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lnTo>
                      <a:pt x="22" y="4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19" name="íśḷiďè"/>
              <p:cNvSpPr/>
              <p:nvPr/>
            </p:nvSpPr>
            <p:spPr bwMode="auto">
              <a:xfrm>
                <a:off x="8634854" y="4461674"/>
                <a:ext cx="7939" cy="1190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4" y="7"/>
                  </a:cxn>
                  <a:cxn ang="0">
                    <a:pos x="0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7">
                    <a:moveTo>
                      <a:pt x="5" y="0"/>
                    </a:moveTo>
                    <a:cubicBezTo>
                      <a:pt x="5" y="4"/>
                      <a:pt x="4" y="5"/>
                      <a:pt x="4" y="7"/>
                    </a:cubicBezTo>
                    <a:cubicBezTo>
                      <a:pt x="0" y="6"/>
                      <a:pt x="0" y="3"/>
                      <a:pt x="0" y="0"/>
                    </a:cubicBezTo>
                    <a:cubicBezTo>
                      <a:pt x="2" y="0"/>
                      <a:pt x="4" y="0"/>
                      <a:pt x="5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20" name="i$1ïḑé"/>
              <p:cNvSpPr/>
              <p:nvPr/>
            </p:nvSpPr>
            <p:spPr bwMode="auto">
              <a:xfrm>
                <a:off x="8394716" y="4358475"/>
                <a:ext cx="27785" cy="13893"/>
              </a:xfrm>
              <a:custGeom>
                <a:avLst/>
                <a:gdLst/>
                <a:ahLst/>
                <a:cxnLst>
                  <a:cxn ang="0">
                    <a:pos x="16" y="4"/>
                  </a:cxn>
                  <a:cxn ang="0">
                    <a:pos x="0" y="4"/>
                  </a:cxn>
                  <a:cxn ang="0">
                    <a:pos x="16" y="4"/>
                  </a:cxn>
                </a:cxnLst>
                <a:rect l="0" t="0" r="r" b="b"/>
                <a:pathLst>
                  <a:path w="16" h="8">
                    <a:moveTo>
                      <a:pt x="16" y="4"/>
                    </a:moveTo>
                    <a:cubicBezTo>
                      <a:pt x="11" y="7"/>
                      <a:pt x="4" y="8"/>
                      <a:pt x="0" y="4"/>
                    </a:cubicBezTo>
                    <a:cubicBezTo>
                      <a:pt x="9" y="0"/>
                      <a:pt x="10" y="0"/>
                      <a:pt x="16" y="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21" name="íṣľïdé"/>
              <p:cNvSpPr/>
              <p:nvPr/>
            </p:nvSpPr>
            <p:spPr bwMode="auto">
              <a:xfrm>
                <a:off x="8259763" y="3814696"/>
                <a:ext cx="27785" cy="11907"/>
              </a:xfrm>
              <a:custGeom>
                <a:avLst/>
                <a:gdLst/>
                <a:ahLst/>
                <a:cxnLst>
                  <a:cxn ang="0">
                    <a:pos x="17" y="1"/>
                  </a:cxn>
                  <a:cxn ang="0">
                    <a:pos x="17" y="7"/>
                  </a:cxn>
                  <a:cxn ang="0">
                    <a:pos x="13" y="7"/>
                  </a:cxn>
                  <a:cxn ang="0">
                    <a:pos x="0" y="3"/>
                  </a:cxn>
                  <a:cxn ang="0">
                    <a:pos x="17" y="1"/>
                  </a:cxn>
                </a:cxnLst>
                <a:rect l="0" t="0" r="r" b="b"/>
                <a:pathLst>
                  <a:path w="17" h="7">
                    <a:moveTo>
                      <a:pt x="17" y="1"/>
                    </a:moveTo>
                    <a:cubicBezTo>
                      <a:pt x="17" y="7"/>
                      <a:pt x="17" y="7"/>
                      <a:pt x="17" y="7"/>
                    </a:cubicBezTo>
                    <a:cubicBezTo>
                      <a:pt x="16" y="7"/>
                      <a:pt x="14" y="7"/>
                      <a:pt x="13" y="7"/>
                    </a:cubicBezTo>
                    <a:cubicBezTo>
                      <a:pt x="8" y="7"/>
                      <a:pt x="2" y="5"/>
                      <a:pt x="0" y="3"/>
                    </a:cubicBezTo>
                    <a:cubicBezTo>
                      <a:pt x="8" y="1"/>
                      <a:pt x="11" y="0"/>
                      <a:pt x="17" y="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22" name="îŝļïďé"/>
              <p:cNvSpPr/>
              <p:nvPr/>
            </p:nvSpPr>
            <p:spPr bwMode="auto">
              <a:xfrm>
                <a:off x="6086604" y="2641811"/>
                <a:ext cx="777964" cy="672781"/>
              </a:xfrm>
              <a:custGeom>
                <a:avLst/>
                <a:gdLst/>
                <a:ahLst/>
                <a:cxnLst>
                  <a:cxn ang="0">
                    <a:pos x="102" y="154"/>
                  </a:cxn>
                  <a:cxn ang="0">
                    <a:pos x="113" y="126"/>
                  </a:cxn>
                  <a:cxn ang="0">
                    <a:pos x="122" y="86"/>
                  </a:cxn>
                  <a:cxn ang="0">
                    <a:pos x="125" y="77"/>
                  </a:cxn>
                  <a:cxn ang="0">
                    <a:pos x="108" y="77"/>
                  </a:cxn>
                  <a:cxn ang="0">
                    <a:pos x="64" y="77"/>
                  </a:cxn>
                  <a:cxn ang="0">
                    <a:pos x="27" y="79"/>
                  </a:cxn>
                  <a:cxn ang="0">
                    <a:pos x="26" y="77"/>
                  </a:cxn>
                  <a:cxn ang="0">
                    <a:pos x="0" y="55"/>
                  </a:cxn>
                  <a:cxn ang="0">
                    <a:pos x="9" y="37"/>
                  </a:cxn>
                  <a:cxn ang="0">
                    <a:pos x="41" y="20"/>
                  </a:cxn>
                  <a:cxn ang="0">
                    <a:pos x="48" y="13"/>
                  </a:cxn>
                  <a:cxn ang="0">
                    <a:pos x="80" y="4"/>
                  </a:cxn>
                  <a:cxn ang="0">
                    <a:pos x="127" y="7"/>
                  </a:cxn>
                  <a:cxn ang="0">
                    <a:pos x="174" y="15"/>
                  </a:cxn>
                  <a:cxn ang="0">
                    <a:pos x="223" y="21"/>
                  </a:cxn>
                  <a:cxn ang="0">
                    <a:pos x="256" y="44"/>
                  </a:cxn>
                  <a:cxn ang="0">
                    <a:pos x="278" y="33"/>
                  </a:cxn>
                  <a:cxn ang="0">
                    <a:pos x="281" y="43"/>
                  </a:cxn>
                  <a:cxn ang="0">
                    <a:pos x="289" y="65"/>
                  </a:cxn>
                  <a:cxn ang="0">
                    <a:pos x="309" y="76"/>
                  </a:cxn>
                  <a:cxn ang="0">
                    <a:pos x="350" y="76"/>
                  </a:cxn>
                  <a:cxn ang="0">
                    <a:pos x="359" y="63"/>
                  </a:cxn>
                  <a:cxn ang="0">
                    <a:pos x="387" y="51"/>
                  </a:cxn>
                  <a:cxn ang="0">
                    <a:pos x="439" y="74"/>
                  </a:cxn>
                  <a:cxn ang="0">
                    <a:pos x="445" y="96"/>
                  </a:cxn>
                  <a:cxn ang="0">
                    <a:pos x="435" y="119"/>
                  </a:cxn>
                  <a:cxn ang="0">
                    <a:pos x="436" y="138"/>
                  </a:cxn>
                  <a:cxn ang="0">
                    <a:pos x="449" y="156"/>
                  </a:cxn>
                  <a:cxn ang="0">
                    <a:pos x="445" y="179"/>
                  </a:cxn>
                  <a:cxn ang="0">
                    <a:pos x="448" y="232"/>
                  </a:cxn>
                  <a:cxn ang="0">
                    <a:pos x="448" y="240"/>
                  </a:cxn>
                  <a:cxn ang="0">
                    <a:pos x="393" y="231"/>
                  </a:cxn>
                  <a:cxn ang="0">
                    <a:pos x="370" y="220"/>
                  </a:cxn>
                  <a:cxn ang="0">
                    <a:pos x="333" y="207"/>
                  </a:cxn>
                  <a:cxn ang="0">
                    <a:pos x="313" y="192"/>
                  </a:cxn>
                  <a:cxn ang="0">
                    <a:pos x="278" y="183"/>
                  </a:cxn>
                  <a:cxn ang="0">
                    <a:pos x="304" y="224"/>
                  </a:cxn>
                  <a:cxn ang="0">
                    <a:pos x="315" y="227"/>
                  </a:cxn>
                  <a:cxn ang="0">
                    <a:pos x="313" y="246"/>
                  </a:cxn>
                  <a:cxn ang="0">
                    <a:pos x="379" y="225"/>
                  </a:cxn>
                  <a:cxn ang="0">
                    <a:pos x="406" y="260"/>
                  </a:cxn>
                  <a:cxn ang="0">
                    <a:pos x="414" y="270"/>
                  </a:cxn>
                  <a:cxn ang="0">
                    <a:pos x="410" y="302"/>
                  </a:cxn>
                  <a:cxn ang="0">
                    <a:pos x="390" y="321"/>
                  </a:cxn>
                  <a:cxn ang="0">
                    <a:pos x="365" y="347"/>
                  </a:cxn>
                  <a:cxn ang="0">
                    <a:pos x="328" y="368"/>
                  </a:cxn>
                  <a:cxn ang="0">
                    <a:pos x="265" y="395"/>
                  </a:cxn>
                  <a:cxn ang="0">
                    <a:pos x="234" y="404"/>
                  </a:cxn>
                  <a:cxn ang="0">
                    <a:pos x="217" y="399"/>
                  </a:cxn>
                  <a:cxn ang="0">
                    <a:pos x="209" y="372"/>
                  </a:cxn>
                  <a:cxn ang="0">
                    <a:pos x="198" y="340"/>
                  </a:cxn>
                  <a:cxn ang="0">
                    <a:pos x="162" y="280"/>
                  </a:cxn>
                  <a:cxn ang="0">
                    <a:pos x="154" y="259"/>
                  </a:cxn>
                  <a:cxn ang="0">
                    <a:pos x="140" y="251"/>
                  </a:cxn>
                  <a:cxn ang="0">
                    <a:pos x="131" y="229"/>
                  </a:cxn>
                  <a:cxn ang="0">
                    <a:pos x="109" y="196"/>
                  </a:cxn>
                  <a:cxn ang="0">
                    <a:pos x="112" y="177"/>
                  </a:cxn>
                </a:cxnLst>
                <a:rect l="0" t="0" r="r" b="b"/>
                <a:pathLst>
                  <a:path w="467" h="405">
                    <a:moveTo>
                      <a:pt x="112" y="177"/>
                    </a:move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2" y="151"/>
                      <a:pt x="105" y="151"/>
                      <a:pt x="106" y="149"/>
                    </a:cubicBezTo>
                    <a:cubicBezTo>
                      <a:pt x="109" y="139"/>
                      <a:pt x="110" y="134"/>
                      <a:pt x="113" y="126"/>
                    </a:cubicBezTo>
                    <a:cubicBezTo>
                      <a:pt x="115" y="117"/>
                      <a:pt x="124" y="115"/>
                      <a:pt x="124" y="104"/>
                    </a:cubicBezTo>
                    <a:cubicBezTo>
                      <a:pt x="124" y="97"/>
                      <a:pt x="122" y="91"/>
                      <a:pt x="122" y="86"/>
                    </a:cubicBezTo>
                    <a:cubicBezTo>
                      <a:pt x="122" y="83"/>
                      <a:pt x="124" y="82"/>
                      <a:pt x="125" y="81"/>
                    </a:cubicBezTo>
                    <a:cubicBezTo>
                      <a:pt x="125" y="77"/>
                      <a:pt x="125" y="77"/>
                      <a:pt x="125" y="77"/>
                    </a:cubicBezTo>
                    <a:cubicBezTo>
                      <a:pt x="121" y="78"/>
                      <a:pt x="120" y="81"/>
                      <a:pt x="117" y="81"/>
                    </a:cubicBezTo>
                    <a:cubicBezTo>
                      <a:pt x="112" y="81"/>
                      <a:pt x="110" y="79"/>
                      <a:pt x="108" y="77"/>
                    </a:cubicBezTo>
                    <a:cubicBezTo>
                      <a:pt x="101" y="82"/>
                      <a:pt x="98" y="88"/>
                      <a:pt x="86" y="88"/>
                    </a:cubicBezTo>
                    <a:cubicBezTo>
                      <a:pt x="76" y="88"/>
                      <a:pt x="73" y="77"/>
                      <a:pt x="64" y="77"/>
                    </a:cubicBezTo>
                    <a:cubicBezTo>
                      <a:pt x="54" y="77"/>
                      <a:pt x="56" y="87"/>
                      <a:pt x="48" y="87"/>
                    </a:cubicBezTo>
                    <a:cubicBezTo>
                      <a:pt x="40" y="87"/>
                      <a:pt x="35" y="75"/>
                      <a:pt x="27" y="79"/>
                    </a:cubicBezTo>
                    <a:cubicBezTo>
                      <a:pt x="22" y="79"/>
                      <a:pt x="22" y="79"/>
                      <a:pt x="22" y="79"/>
                    </a:cubicBezTo>
                    <a:cubicBezTo>
                      <a:pt x="24" y="79"/>
                      <a:pt x="25" y="78"/>
                      <a:pt x="26" y="77"/>
                    </a:cubicBezTo>
                    <a:cubicBezTo>
                      <a:pt x="23" y="74"/>
                      <a:pt x="10" y="67"/>
                      <a:pt x="15" y="63"/>
                    </a:cubicBezTo>
                    <a:cubicBezTo>
                      <a:pt x="11" y="57"/>
                      <a:pt x="6" y="58"/>
                      <a:pt x="0" y="55"/>
                    </a:cubicBezTo>
                    <a:cubicBezTo>
                      <a:pt x="4" y="50"/>
                      <a:pt x="9" y="51"/>
                      <a:pt x="9" y="43"/>
                    </a:cubicBezTo>
                    <a:cubicBezTo>
                      <a:pt x="9" y="40"/>
                      <a:pt x="8" y="40"/>
                      <a:pt x="9" y="37"/>
                    </a:cubicBezTo>
                    <a:cubicBezTo>
                      <a:pt x="6" y="37"/>
                      <a:pt x="1" y="38"/>
                      <a:pt x="1" y="35"/>
                    </a:cubicBezTo>
                    <a:cubicBezTo>
                      <a:pt x="1" y="22"/>
                      <a:pt x="33" y="24"/>
                      <a:pt x="41" y="20"/>
                    </a:cubicBezTo>
                    <a:cubicBezTo>
                      <a:pt x="40" y="17"/>
                      <a:pt x="38" y="18"/>
                      <a:pt x="38" y="15"/>
                    </a:cubicBezTo>
                    <a:cubicBezTo>
                      <a:pt x="38" y="11"/>
                      <a:pt x="46" y="13"/>
                      <a:pt x="48" y="13"/>
                    </a:cubicBezTo>
                    <a:cubicBezTo>
                      <a:pt x="53" y="13"/>
                      <a:pt x="62" y="13"/>
                      <a:pt x="62" y="13"/>
                    </a:cubicBezTo>
                    <a:cubicBezTo>
                      <a:pt x="67" y="13"/>
                      <a:pt x="75" y="7"/>
                      <a:pt x="80" y="4"/>
                    </a:cubicBezTo>
                    <a:cubicBezTo>
                      <a:pt x="86" y="0"/>
                      <a:pt x="98" y="0"/>
                      <a:pt x="106" y="0"/>
                    </a:cubicBezTo>
                    <a:cubicBezTo>
                      <a:pt x="117" y="0"/>
                      <a:pt x="117" y="7"/>
                      <a:pt x="127" y="7"/>
                    </a:cubicBezTo>
                    <a:cubicBezTo>
                      <a:pt x="127" y="12"/>
                      <a:pt x="144" y="15"/>
                      <a:pt x="149" y="15"/>
                    </a:cubicBezTo>
                    <a:cubicBezTo>
                      <a:pt x="162" y="15"/>
                      <a:pt x="170" y="15"/>
                      <a:pt x="174" y="15"/>
                    </a:cubicBezTo>
                    <a:cubicBezTo>
                      <a:pt x="186" y="15"/>
                      <a:pt x="192" y="3"/>
                      <a:pt x="205" y="3"/>
                    </a:cubicBezTo>
                    <a:cubicBezTo>
                      <a:pt x="219" y="3"/>
                      <a:pt x="218" y="12"/>
                      <a:pt x="223" y="21"/>
                    </a:cubicBezTo>
                    <a:cubicBezTo>
                      <a:pt x="224" y="23"/>
                      <a:pt x="233" y="28"/>
                      <a:pt x="233" y="28"/>
                    </a:cubicBezTo>
                    <a:cubicBezTo>
                      <a:pt x="241" y="31"/>
                      <a:pt x="243" y="44"/>
                      <a:pt x="256" y="44"/>
                    </a:cubicBezTo>
                    <a:cubicBezTo>
                      <a:pt x="265" y="44"/>
                      <a:pt x="265" y="36"/>
                      <a:pt x="271" y="34"/>
                    </a:cubicBezTo>
                    <a:cubicBezTo>
                      <a:pt x="275" y="33"/>
                      <a:pt x="274" y="33"/>
                      <a:pt x="278" y="33"/>
                    </a:cubicBezTo>
                    <a:cubicBezTo>
                      <a:pt x="279" y="35"/>
                      <a:pt x="279" y="39"/>
                      <a:pt x="281" y="41"/>
                    </a:cubicBezTo>
                    <a:cubicBezTo>
                      <a:pt x="280" y="41"/>
                      <a:pt x="281" y="42"/>
                      <a:pt x="281" y="43"/>
                    </a:cubicBezTo>
                    <a:cubicBezTo>
                      <a:pt x="281" y="48"/>
                      <a:pt x="284" y="47"/>
                      <a:pt x="286" y="51"/>
                    </a:cubicBezTo>
                    <a:cubicBezTo>
                      <a:pt x="290" y="56"/>
                      <a:pt x="286" y="59"/>
                      <a:pt x="289" y="65"/>
                    </a:cubicBezTo>
                    <a:cubicBezTo>
                      <a:pt x="291" y="70"/>
                      <a:pt x="297" y="67"/>
                      <a:pt x="301" y="68"/>
                    </a:cubicBezTo>
                    <a:cubicBezTo>
                      <a:pt x="305" y="69"/>
                      <a:pt x="306" y="73"/>
                      <a:pt x="309" y="76"/>
                    </a:cubicBezTo>
                    <a:cubicBezTo>
                      <a:pt x="312" y="79"/>
                      <a:pt x="323" y="78"/>
                      <a:pt x="329" y="78"/>
                    </a:cubicBezTo>
                    <a:cubicBezTo>
                      <a:pt x="337" y="78"/>
                      <a:pt x="345" y="77"/>
                      <a:pt x="350" y="76"/>
                    </a:cubicBezTo>
                    <a:cubicBezTo>
                      <a:pt x="350" y="72"/>
                      <a:pt x="350" y="71"/>
                      <a:pt x="350" y="68"/>
                    </a:cubicBezTo>
                    <a:cubicBezTo>
                      <a:pt x="350" y="64"/>
                      <a:pt x="355" y="64"/>
                      <a:pt x="359" y="63"/>
                    </a:cubicBezTo>
                    <a:cubicBezTo>
                      <a:pt x="364" y="61"/>
                      <a:pt x="363" y="59"/>
                      <a:pt x="368" y="57"/>
                    </a:cubicBezTo>
                    <a:cubicBezTo>
                      <a:pt x="376" y="54"/>
                      <a:pt x="381" y="56"/>
                      <a:pt x="387" y="51"/>
                    </a:cubicBezTo>
                    <a:cubicBezTo>
                      <a:pt x="397" y="57"/>
                      <a:pt x="403" y="57"/>
                      <a:pt x="412" y="60"/>
                    </a:cubicBezTo>
                    <a:cubicBezTo>
                      <a:pt x="423" y="64"/>
                      <a:pt x="426" y="74"/>
                      <a:pt x="439" y="74"/>
                    </a:cubicBezTo>
                    <a:cubicBezTo>
                      <a:pt x="439" y="76"/>
                      <a:pt x="442" y="77"/>
                      <a:pt x="443" y="79"/>
                    </a:cubicBezTo>
                    <a:cubicBezTo>
                      <a:pt x="445" y="86"/>
                      <a:pt x="442" y="92"/>
                      <a:pt x="445" y="96"/>
                    </a:cubicBezTo>
                    <a:cubicBezTo>
                      <a:pt x="442" y="98"/>
                      <a:pt x="435" y="114"/>
                      <a:pt x="435" y="115"/>
                    </a:cubicBezTo>
                    <a:cubicBezTo>
                      <a:pt x="435" y="116"/>
                      <a:pt x="436" y="118"/>
                      <a:pt x="435" y="119"/>
                    </a:cubicBezTo>
                    <a:cubicBezTo>
                      <a:pt x="436" y="121"/>
                      <a:pt x="435" y="122"/>
                      <a:pt x="436" y="124"/>
                    </a:cubicBezTo>
                    <a:cubicBezTo>
                      <a:pt x="436" y="138"/>
                      <a:pt x="436" y="138"/>
                      <a:pt x="436" y="138"/>
                    </a:cubicBezTo>
                    <a:cubicBezTo>
                      <a:pt x="438" y="142"/>
                      <a:pt x="437" y="145"/>
                      <a:pt x="439" y="149"/>
                    </a:cubicBezTo>
                    <a:cubicBezTo>
                      <a:pt x="440" y="153"/>
                      <a:pt x="449" y="149"/>
                      <a:pt x="449" y="156"/>
                    </a:cubicBezTo>
                    <a:cubicBezTo>
                      <a:pt x="449" y="165"/>
                      <a:pt x="439" y="164"/>
                      <a:pt x="439" y="171"/>
                    </a:cubicBezTo>
                    <a:cubicBezTo>
                      <a:pt x="439" y="177"/>
                      <a:pt x="443" y="177"/>
                      <a:pt x="445" y="179"/>
                    </a:cubicBezTo>
                    <a:cubicBezTo>
                      <a:pt x="452" y="194"/>
                      <a:pt x="467" y="196"/>
                      <a:pt x="467" y="215"/>
                    </a:cubicBezTo>
                    <a:cubicBezTo>
                      <a:pt x="456" y="218"/>
                      <a:pt x="448" y="220"/>
                      <a:pt x="448" y="232"/>
                    </a:cubicBezTo>
                    <a:cubicBezTo>
                      <a:pt x="448" y="235"/>
                      <a:pt x="450" y="238"/>
                      <a:pt x="450" y="240"/>
                    </a:cubicBezTo>
                    <a:cubicBezTo>
                      <a:pt x="450" y="240"/>
                      <a:pt x="448" y="240"/>
                      <a:pt x="448" y="240"/>
                    </a:cubicBezTo>
                    <a:cubicBezTo>
                      <a:pt x="439" y="240"/>
                      <a:pt x="420" y="235"/>
                      <a:pt x="408" y="235"/>
                    </a:cubicBezTo>
                    <a:cubicBezTo>
                      <a:pt x="406" y="235"/>
                      <a:pt x="393" y="231"/>
                      <a:pt x="393" y="231"/>
                    </a:cubicBezTo>
                    <a:cubicBezTo>
                      <a:pt x="388" y="226"/>
                      <a:pt x="388" y="213"/>
                      <a:pt x="379" y="213"/>
                    </a:cubicBezTo>
                    <a:cubicBezTo>
                      <a:pt x="374" y="213"/>
                      <a:pt x="372" y="217"/>
                      <a:pt x="370" y="220"/>
                    </a:cubicBezTo>
                    <a:cubicBezTo>
                      <a:pt x="348" y="220"/>
                      <a:pt x="348" y="220"/>
                      <a:pt x="348" y="220"/>
                    </a:cubicBezTo>
                    <a:cubicBezTo>
                      <a:pt x="341" y="217"/>
                      <a:pt x="337" y="212"/>
                      <a:pt x="333" y="207"/>
                    </a:cubicBezTo>
                    <a:cubicBezTo>
                      <a:pt x="327" y="202"/>
                      <a:pt x="320" y="205"/>
                      <a:pt x="315" y="200"/>
                    </a:cubicBezTo>
                    <a:cubicBezTo>
                      <a:pt x="313" y="197"/>
                      <a:pt x="314" y="194"/>
                      <a:pt x="313" y="192"/>
                    </a:cubicBezTo>
                    <a:cubicBezTo>
                      <a:pt x="308" y="182"/>
                      <a:pt x="299" y="168"/>
                      <a:pt x="286" y="168"/>
                    </a:cubicBezTo>
                    <a:cubicBezTo>
                      <a:pt x="280" y="168"/>
                      <a:pt x="278" y="176"/>
                      <a:pt x="278" y="183"/>
                    </a:cubicBezTo>
                    <a:cubicBezTo>
                      <a:pt x="278" y="187"/>
                      <a:pt x="278" y="189"/>
                      <a:pt x="278" y="193"/>
                    </a:cubicBezTo>
                    <a:cubicBezTo>
                      <a:pt x="281" y="203"/>
                      <a:pt x="293" y="222"/>
                      <a:pt x="304" y="224"/>
                    </a:cubicBezTo>
                    <a:cubicBezTo>
                      <a:pt x="304" y="229"/>
                      <a:pt x="306" y="231"/>
                      <a:pt x="307" y="235"/>
                    </a:cubicBezTo>
                    <a:cubicBezTo>
                      <a:pt x="312" y="233"/>
                      <a:pt x="311" y="228"/>
                      <a:pt x="315" y="227"/>
                    </a:cubicBezTo>
                    <a:cubicBezTo>
                      <a:pt x="316" y="228"/>
                      <a:pt x="316" y="230"/>
                      <a:pt x="316" y="231"/>
                    </a:cubicBezTo>
                    <a:cubicBezTo>
                      <a:pt x="316" y="237"/>
                      <a:pt x="313" y="240"/>
                      <a:pt x="313" y="246"/>
                    </a:cubicBezTo>
                    <a:cubicBezTo>
                      <a:pt x="313" y="252"/>
                      <a:pt x="324" y="255"/>
                      <a:pt x="331" y="255"/>
                    </a:cubicBezTo>
                    <a:cubicBezTo>
                      <a:pt x="360" y="255"/>
                      <a:pt x="363" y="237"/>
                      <a:pt x="379" y="225"/>
                    </a:cubicBezTo>
                    <a:cubicBezTo>
                      <a:pt x="379" y="241"/>
                      <a:pt x="379" y="241"/>
                      <a:pt x="379" y="241"/>
                    </a:cubicBezTo>
                    <a:cubicBezTo>
                      <a:pt x="385" y="254"/>
                      <a:pt x="393" y="256"/>
                      <a:pt x="406" y="260"/>
                    </a:cubicBezTo>
                    <a:cubicBezTo>
                      <a:pt x="411" y="261"/>
                      <a:pt x="411" y="269"/>
                      <a:pt x="414" y="271"/>
                    </a:cubicBezTo>
                    <a:cubicBezTo>
                      <a:pt x="414" y="270"/>
                      <a:pt x="414" y="270"/>
                      <a:pt x="414" y="270"/>
                    </a:cubicBezTo>
                    <a:cubicBezTo>
                      <a:pt x="416" y="274"/>
                      <a:pt x="423" y="273"/>
                      <a:pt x="423" y="277"/>
                    </a:cubicBezTo>
                    <a:cubicBezTo>
                      <a:pt x="423" y="288"/>
                      <a:pt x="410" y="291"/>
                      <a:pt x="410" y="302"/>
                    </a:cubicBezTo>
                    <a:cubicBezTo>
                      <a:pt x="403" y="302"/>
                      <a:pt x="399" y="303"/>
                      <a:pt x="397" y="309"/>
                    </a:cubicBezTo>
                    <a:cubicBezTo>
                      <a:pt x="395" y="314"/>
                      <a:pt x="396" y="321"/>
                      <a:pt x="390" y="321"/>
                    </a:cubicBezTo>
                    <a:cubicBezTo>
                      <a:pt x="384" y="321"/>
                      <a:pt x="384" y="334"/>
                      <a:pt x="378" y="334"/>
                    </a:cubicBezTo>
                    <a:cubicBezTo>
                      <a:pt x="374" y="334"/>
                      <a:pt x="365" y="342"/>
                      <a:pt x="365" y="347"/>
                    </a:cubicBezTo>
                    <a:cubicBezTo>
                      <a:pt x="353" y="349"/>
                      <a:pt x="327" y="354"/>
                      <a:pt x="327" y="364"/>
                    </a:cubicBezTo>
                    <a:cubicBezTo>
                      <a:pt x="327" y="365"/>
                      <a:pt x="327" y="367"/>
                      <a:pt x="328" y="368"/>
                    </a:cubicBezTo>
                    <a:cubicBezTo>
                      <a:pt x="318" y="373"/>
                      <a:pt x="304" y="376"/>
                      <a:pt x="294" y="378"/>
                    </a:cubicBezTo>
                    <a:cubicBezTo>
                      <a:pt x="289" y="380"/>
                      <a:pt x="271" y="392"/>
                      <a:pt x="265" y="395"/>
                    </a:cubicBezTo>
                    <a:cubicBezTo>
                      <a:pt x="252" y="395"/>
                      <a:pt x="252" y="395"/>
                      <a:pt x="252" y="395"/>
                    </a:cubicBezTo>
                    <a:cubicBezTo>
                      <a:pt x="244" y="400"/>
                      <a:pt x="243" y="404"/>
                      <a:pt x="234" y="404"/>
                    </a:cubicBezTo>
                    <a:cubicBezTo>
                      <a:pt x="231" y="405"/>
                      <a:pt x="231" y="405"/>
                      <a:pt x="231" y="405"/>
                    </a:cubicBezTo>
                    <a:cubicBezTo>
                      <a:pt x="229" y="405"/>
                      <a:pt x="218" y="400"/>
                      <a:pt x="217" y="399"/>
                    </a:cubicBezTo>
                    <a:cubicBezTo>
                      <a:pt x="216" y="399"/>
                      <a:pt x="219" y="399"/>
                      <a:pt x="217" y="394"/>
                    </a:cubicBezTo>
                    <a:cubicBezTo>
                      <a:pt x="212" y="387"/>
                      <a:pt x="209" y="380"/>
                      <a:pt x="209" y="372"/>
                    </a:cubicBezTo>
                    <a:cubicBezTo>
                      <a:pt x="204" y="371"/>
                      <a:pt x="207" y="363"/>
                      <a:pt x="208" y="359"/>
                    </a:cubicBezTo>
                    <a:cubicBezTo>
                      <a:pt x="210" y="349"/>
                      <a:pt x="203" y="345"/>
                      <a:pt x="198" y="340"/>
                    </a:cubicBezTo>
                    <a:cubicBezTo>
                      <a:pt x="193" y="335"/>
                      <a:pt x="181" y="320"/>
                      <a:pt x="181" y="309"/>
                    </a:cubicBezTo>
                    <a:cubicBezTo>
                      <a:pt x="165" y="306"/>
                      <a:pt x="162" y="297"/>
                      <a:pt x="162" y="280"/>
                    </a:cubicBezTo>
                    <a:cubicBezTo>
                      <a:pt x="162" y="270"/>
                      <a:pt x="156" y="268"/>
                      <a:pt x="154" y="259"/>
                    </a:cubicBezTo>
                    <a:cubicBezTo>
                      <a:pt x="154" y="259"/>
                      <a:pt x="154" y="259"/>
                      <a:pt x="154" y="259"/>
                    </a:cubicBezTo>
                    <a:cubicBezTo>
                      <a:pt x="152" y="258"/>
                      <a:pt x="150" y="255"/>
                      <a:pt x="148" y="254"/>
                    </a:cubicBezTo>
                    <a:cubicBezTo>
                      <a:pt x="147" y="252"/>
                      <a:pt x="141" y="253"/>
                      <a:pt x="140" y="251"/>
                    </a:cubicBezTo>
                    <a:cubicBezTo>
                      <a:pt x="137" y="249"/>
                      <a:pt x="138" y="242"/>
                      <a:pt x="137" y="239"/>
                    </a:cubicBezTo>
                    <a:cubicBezTo>
                      <a:pt x="136" y="235"/>
                      <a:pt x="132" y="231"/>
                      <a:pt x="131" y="229"/>
                    </a:cubicBezTo>
                    <a:cubicBezTo>
                      <a:pt x="125" y="221"/>
                      <a:pt x="121" y="214"/>
                      <a:pt x="116" y="207"/>
                    </a:cubicBezTo>
                    <a:cubicBezTo>
                      <a:pt x="115" y="205"/>
                      <a:pt x="109" y="198"/>
                      <a:pt x="109" y="196"/>
                    </a:cubicBezTo>
                    <a:cubicBezTo>
                      <a:pt x="109" y="192"/>
                      <a:pt x="112" y="182"/>
                      <a:pt x="112" y="175"/>
                    </a:cubicBezTo>
                    <a:lnTo>
                      <a:pt x="112" y="17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23" name="íṥļîďé"/>
              <p:cNvSpPr/>
              <p:nvPr/>
            </p:nvSpPr>
            <p:spPr bwMode="auto">
              <a:xfrm>
                <a:off x="7205921" y="3376113"/>
                <a:ext cx="41677" cy="79384"/>
              </a:xfrm>
              <a:custGeom>
                <a:avLst/>
                <a:gdLst/>
                <a:ahLst/>
                <a:cxnLst>
                  <a:cxn ang="0">
                    <a:pos x="25" y="30"/>
                  </a:cxn>
                  <a:cxn ang="0">
                    <a:pos x="11" y="48"/>
                  </a:cxn>
                  <a:cxn ang="0">
                    <a:pos x="0" y="35"/>
                  </a:cxn>
                  <a:cxn ang="0">
                    <a:pos x="6" y="0"/>
                  </a:cxn>
                  <a:cxn ang="0">
                    <a:pos x="25" y="30"/>
                  </a:cxn>
                </a:cxnLst>
                <a:rect l="0" t="0" r="r" b="b"/>
                <a:pathLst>
                  <a:path w="25" h="48">
                    <a:moveTo>
                      <a:pt x="25" y="30"/>
                    </a:moveTo>
                    <a:cubicBezTo>
                      <a:pt x="25" y="37"/>
                      <a:pt x="20" y="48"/>
                      <a:pt x="11" y="48"/>
                    </a:cubicBezTo>
                    <a:cubicBezTo>
                      <a:pt x="5" y="48"/>
                      <a:pt x="0" y="41"/>
                      <a:pt x="0" y="35"/>
                    </a:cubicBezTo>
                    <a:cubicBezTo>
                      <a:pt x="0" y="22"/>
                      <a:pt x="6" y="13"/>
                      <a:pt x="6" y="0"/>
                    </a:cubicBezTo>
                    <a:cubicBezTo>
                      <a:pt x="13" y="10"/>
                      <a:pt x="25" y="15"/>
                      <a:pt x="25" y="3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24" name="î$ḷiḍé"/>
              <p:cNvSpPr/>
              <p:nvPr/>
            </p:nvSpPr>
            <p:spPr bwMode="auto">
              <a:xfrm>
                <a:off x="6810984" y="2727149"/>
                <a:ext cx="847427" cy="680719"/>
              </a:xfrm>
              <a:custGeom>
                <a:avLst/>
                <a:gdLst/>
                <a:ahLst/>
                <a:cxnLst>
                  <a:cxn ang="0">
                    <a:pos x="148" y="270"/>
                  </a:cxn>
                  <a:cxn ang="0">
                    <a:pos x="174" y="340"/>
                  </a:cxn>
                  <a:cxn ang="0">
                    <a:pos x="200" y="401"/>
                  </a:cxn>
                  <a:cxn ang="0">
                    <a:pos x="216" y="401"/>
                  </a:cxn>
                  <a:cxn ang="0">
                    <a:pos x="237" y="379"/>
                  </a:cxn>
                  <a:cxn ang="0">
                    <a:pos x="243" y="341"/>
                  </a:cxn>
                  <a:cxn ang="0">
                    <a:pos x="268" y="298"/>
                  </a:cxn>
                  <a:cxn ang="0">
                    <a:pos x="326" y="240"/>
                  </a:cxn>
                  <a:cxn ang="0">
                    <a:pos x="374" y="218"/>
                  </a:cxn>
                  <a:cxn ang="0">
                    <a:pos x="409" y="259"/>
                  </a:cxn>
                  <a:cxn ang="0">
                    <a:pos x="423" y="302"/>
                  </a:cxn>
                  <a:cxn ang="0">
                    <a:pos x="457" y="300"/>
                  </a:cxn>
                  <a:cxn ang="0">
                    <a:pos x="476" y="367"/>
                  </a:cxn>
                  <a:cxn ang="0">
                    <a:pos x="489" y="358"/>
                  </a:cxn>
                  <a:cxn ang="0">
                    <a:pos x="472" y="316"/>
                  </a:cxn>
                  <a:cxn ang="0">
                    <a:pos x="473" y="288"/>
                  </a:cxn>
                  <a:cxn ang="0">
                    <a:pos x="483" y="254"/>
                  </a:cxn>
                  <a:cxn ang="0">
                    <a:pos x="487" y="213"/>
                  </a:cxn>
                  <a:cxn ang="0">
                    <a:pos x="467" y="197"/>
                  </a:cxn>
                  <a:cxn ang="0">
                    <a:pos x="445" y="125"/>
                  </a:cxn>
                  <a:cxn ang="0">
                    <a:pos x="423" y="130"/>
                  </a:cxn>
                  <a:cxn ang="0">
                    <a:pos x="373" y="144"/>
                  </a:cxn>
                  <a:cxn ang="0">
                    <a:pos x="341" y="147"/>
                  </a:cxn>
                  <a:cxn ang="0">
                    <a:pos x="295" y="136"/>
                  </a:cxn>
                  <a:cxn ang="0">
                    <a:pos x="254" y="116"/>
                  </a:cxn>
                  <a:cxn ang="0">
                    <a:pos x="226" y="89"/>
                  </a:cxn>
                  <a:cxn ang="0">
                    <a:pos x="229" y="69"/>
                  </a:cxn>
                  <a:cxn ang="0">
                    <a:pos x="213" y="43"/>
                  </a:cxn>
                  <a:cxn ang="0">
                    <a:pos x="178" y="16"/>
                  </a:cxn>
                  <a:cxn ang="0">
                    <a:pos x="131" y="0"/>
                  </a:cxn>
                  <a:cxn ang="0">
                    <a:pos x="94" y="21"/>
                  </a:cxn>
                  <a:cxn ang="0">
                    <a:pos x="65" y="13"/>
                  </a:cxn>
                  <a:cxn ang="0">
                    <a:pos x="23" y="46"/>
                  </a:cxn>
                  <a:cxn ang="0">
                    <a:pos x="0" y="64"/>
                  </a:cxn>
                  <a:cxn ang="0">
                    <a:pos x="1" y="87"/>
                  </a:cxn>
                  <a:cxn ang="0">
                    <a:pos x="4" y="120"/>
                  </a:cxn>
                  <a:cxn ang="0">
                    <a:pos x="13" y="181"/>
                  </a:cxn>
                  <a:cxn ang="0">
                    <a:pos x="34" y="185"/>
                  </a:cxn>
                  <a:cxn ang="0">
                    <a:pos x="70" y="185"/>
                  </a:cxn>
                  <a:cxn ang="0">
                    <a:pos x="118" y="219"/>
                  </a:cxn>
                  <a:cxn ang="0">
                    <a:pos x="127" y="248"/>
                  </a:cxn>
                  <a:cxn ang="0">
                    <a:pos x="145" y="233"/>
                  </a:cxn>
                  <a:cxn ang="0">
                    <a:pos x="149" y="265"/>
                  </a:cxn>
                </a:cxnLst>
                <a:rect l="0" t="0" r="r" b="b"/>
                <a:pathLst>
                  <a:path w="509" h="410">
                    <a:moveTo>
                      <a:pt x="149" y="265"/>
                    </a:moveTo>
                    <a:cubicBezTo>
                      <a:pt x="147" y="263"/>
                      <a:pt x="147" y="263"/>
                      <a:pt x="147" y="263"/>
                    </a:cubicBezTo>
                    <a:cubicBezTo>
                      <a:pt x="147" y="265"/>
                      <a:pt x="148" y="268"/>
                      <a:pt x="148" y="270"/>
                    </a:cubicBezTo>
                    <a:cubicBezTo>
                      <a:pt x="148" y="278"/>
                      <a:pt x="153" y="286"/>
                      <a:pt x="155" y="295"/>
                    </a:cubicBezTo>
                    <a:cubicBezTo>
                      <a:pt x="158" y="305"/>
                      <a:pt x="166" y="319"/>
                      <a:pt x="168" y="326"/>
                    </a:cubicBezTo>
                    <a:cubicBezTo>
                      <a:pt x="170" y="332"/>
                      <a:pt x="170" y="334"/>
                      <a:pt x="174" y="340"/>
                    </a:cubicBezTo>
                    <a:cubicBezTo>
                      <a:pt x="177" y="345"/>
                      <a:pt x="175" y="351"/>
                      <a:pt x="179" y="358"/>
                    </a:cubicBezTo>
                    <a:cubicBezTo>
                      <a:pt x="180" y="362"/>
                      <a:pt x="187" y="366"/>
                      <a:pt x="188" y="372"/>
                    </a:cubicBezTo>
                    <a:cubicBezTo>
                      <a:pt x="191" y="382"/>
                      <a:pt x="196" y="390"/>
                      <a:pt x="200" y="401"/>
                    </a:cubicBezTo>
                    <a:cubicBezTo>
                      <a:pt x="200" y="402"/>
                      <a:pt x="202" y="405"/>
                      <a:pt x="204" y="405"/>
                    </a:cubicBezTo>
                    <a:cubicBezTo>
                      <a:pt x="204" y="409"/>
                      <a:pt x="207" y="410"/>
                      <a:pt x="210" y="410"/>
                    </a:cubicBezTo>
                    <a:cubicBezTo>
                      <a:pt x="214" y="410"/>
                      <a:pt x="214" y="405"/>
                      <a:pt x="216" y="401"/>
                    </a:cubicBezTo>
                    <a:cubicBezTo>
                      <a:pt x="218" y="397"/>
                      <a:pt x="219" y="398"/>
                      <a:pt x="224" y="396"/>
                    </a:cubicBezTo>
                    <a:cubicBezTo>
                      <a:pt x="228" y="394"/>
                      <a:pt x="227" y="382"/>
                      <a:pt x="233" y="381"/>
                    </a:cubicBezTo>
                    <a:cubicBezTo>
                      <a:pt x="234" y="380"/>
                      <a:pt x="237" y="380"/>
                      <a:pt x="237" y="379"/>
                    </a:cubicBezTo>
                    <a:cubicBezTo>
                      <a:pt x="240" y="379"/>
                      <a:pt x="240" y="379"/>
                      <a:pt x="240" y="379"/>
                    </a:cubicBezTo>
                    <a:cubicBezTo>
                      <a:pt x="237" y="367"/>
                      <a:pt x="237" y="367"/>
                      <a:pt x="237" y="367"/>
                    </a:cubicBezTo>
                    <a:cubicBezTo>
                      <a:pt x="237" y="359"/>
                      <a:pt x="243" y="352"/>
                      <a:pt x="243" y="341"/>
                    </a:cubicBezTo>
                    <a:cubicBezTo>
                      <a:pt x="243" y="334"/>
                      <a:pt x="240" y="329"/>
                      <a:pt x="240" y="321"/>
                    </a:cubicBezTo>
                    <a:cubicBezTo>
                      <a:pt x="240" y="312"/>
                      <a:pt x="249" y="311"/>
                      <a:pt x="257" y="308"/>
                    </a:cubicBezTo>
                    <a:cubicBezTo>
                      <a:pt x="260" y="307"/>
                      <a:pt x="265" y="302"/>
                      <a:pt x="268" y="298"/>
                    </a:cubicBezTo>
                    <a:cubicBezTo>
                      <a:pt x="277" y="290"/>
                      <a:pt x="284" y="281"/>
                      <a:pt x="293" y="272"/>
                    </a:cubicBezTo>
                    <a:cubicBezTo>
                      <a:pt x="300" y="265"/>
                      <a:pt x="313" y="263"/>
                      <a:pt x="321" y="255"/>
                    </a:cubicBezTo>
                    <a:cubicBezTo>
                      <a:pt x="325" y="251"/>
                      <a:pt x="325" y="246"/>
                      <a:pt x="326" y="240"/>
                    </a:cubicBezTo>
                    <a:cubicBezTo>
                      <a:pt x="328" y="236"/>
                      <a:pt x="337" y="236"/>
                      <a:pt x="340" y="229"/>
                    </a:cubicBezTo>
                    <a:cubicBezTo>
                      <a:pt x="344" y="231"/>
                      <a:pt x="344" y="233"/>
                      <a:pt x="351" y="233"/>
                    </a:cubicBezTo>
                    <a:cubicBezTo>
                      <a:pt x="362" y="233"/>
                      <a:pt x="374" y="231"/>
                      <a:pt x="374" y="218"/>
                    </a:cubicBezTo>
                    <a:cubicBezTo>
                      <a:pt x="381" y="219"/>
                      <a:pt x="389" y="222"/>
                      <a:pt x="390" y="228"/>
                    </a:cubicBezTo>
                    <a:cubicBezTo>
                      <a:pt x="392" y="233"/>
                      <a:pt x="391" y="240"/>
                      <a:pt x="395" y="245"/>
                    </a:cubicBezTo>
                    <a:cubicBezTo>
                      <a:pt x="398" y="251"/>
                      <a:pt x="403" y="255"/>
                      <a:pt x="409" y="259"/>
                    </a:cubicBezTo>
                    <a:cubicBezTo>
                      <a:pt x="414" y="267"/>
                      <a:pt x="419" y="274"/>
                      <a:pt x="422" y="283"/>
                    </a:cubicBezTo>
                    <a:cubicBezTo>
                      <a:pt x="423" y="285"/>
                      <a:pt x="425" y="286"/>
                      <a:pt x="425" y="289"/>
                    </a:cubicBezTo>
                    <a:cubicBezTo>
                      <a:pt x="425" y="293"/>
                      <a:pt x="423" y="296"/>
                      <a:pt x="423" y="302"/>
                    </a:cubicBezTo>
                    <a:cubicBezTo>
                      <a:pt x="423" y="307"/>
                      <a:pt x="423" y="313"/>
                      <a:pt x="430" y="313"/>
                    </a:cubicBezTo>
                    <a:cubicBezTo>
                      <a:pt x="442" y="313"/>
                      <a:pt x="445" y="300"/>
                      <a:pt x="453" y="293"/>
                    </a:cubicBezTo>
                    <a:cubicBezTo>
                      <a:pt x="455" y="295"/>
                      <a:pt x="454" y="297"/>
                      <a:pt x="457" y="300"/>
                    </a:cubicBezTo>
                    <a:cubicBezTo>
                      <a:pt x="457" y="300"/>
                      <a:pt x="461" y="300"/>
                      <a:pt x="462" y="302"/>
                    </a:cubicBezTo>
                    <a:cubicBezTo>
                      <a:pt x="467" y="308"/>
                      <a:pt x="459" y="322"/>
                      <a:pt x="465" y="322"/>
                    </a:cubicBezTo>
                    <a:cubicBezTo>
                      <a:pt x="465" y="336"/>
                      <a:pt x="476" y="347"/>
                      <a:pt x="476" y="367"/>
                    </a:cubicBezTo>
                    <a:cubicBezTo>
                      <a:pt x="476" y="371"/>
                      <a:pt x="473" y="382"/>
                      <a:pt x="476" y="383"/>
                    </a:cubicBezTo>
                    <a:cubicBezTo>
                      <a:pt x="480" y="376"/>
                      <a:pt x="481" y="371"/>
                      <a:pt x="485" y="363"/>
                    </a:cubicBezTo>
                    <a:cubicBezTo>
                      <a:pt x="486" y="361"/>
                      <a:pt x="489" y="360"/>
                      <a:pt x="489" y="358"/>
                    </a:cubicBezTo>
                    <a:cubicBezTo>
                      <a:pt x="489" y="354"/>
                      <a:pt x="483" y="334"/>
                      <a:pt x="479" y="330"/>
                    </a:cubicBezTo>
                    <a:cubicBezTo>
                      <a:pt x="476" y="327"/>
                      <a:pt x="472" y="325"/>
                      <a:pt x="472" y="320"/>
                    </a:cubicBezTo>
                    <a:cubicBezTo>
                      <a:pt x="472" y="319"/>
                      <a:pt x="472" y="318"/>
                      <a:pt x="472" y="316"/>
                    </a:cubicBezTo>
                    <a:cubicBezTo>
                      <a:pt x="472" y="317"/>
                      <a:pt x="472" y="317"/>
                      <a:pt x="472" y="317"/>
                    </a:cubicBezTo>
                    <a:cubicBezTo>
                      <a:pt x="473" y="316"/>
                      <a:pt x="476" y="311"/>
                      <a:pt x="476" y="307"/>
                    </a:cubicBezTo>
                    <a:cubicBezTo>
                      <a:pt x="476" y="302"/>
                      <a:pt x="476" y="293"/>
                      <a:pt x="473" y="288"/>
                    </a:cubicBezTo>
                    <a:cubicBezTo>
                      <a:pt x="470" y="284"/>
                      <a:pt x="464" y="284"/>
                      <a:pt x="464" y="276"/>
                    </a:cubicBezTo>
                    <a:cubicBezTo>
                      <a:pt x="464" y="268"/>
                      <a:pt x="467" y="262"/>
                      <a:pt x="472" y="258"/>
                    </a:cubicBezTo>
                    <a:cubicBezTo>
                      <a:pt x="474" y="255"/>
                      <a:pt x="479" y="256"/>
                      <a:pt x="483" y="254"/>
                    </a:cubicBezTo>
                    <a:cubicBezTo>
                      <a:pt x="493" y="247"/>
                      <a:pt x="500" y="244"/>
                      <a:pt x="509" y="230"/>
                    </a:cubicBezTo>
                    <a:cubicBezTo>
                      <a:pt x="506" y="230"/>
                      <a:pt x="505" y="231"/>
                      <a:pt x="501" y="231"/>
                    </a:cubicBezTo>
                    <a:cubicBezTo>
                      <a:pt x="493" y="231"/>
                      <a:pt x="487" y="222"/>
                      <a:pt x="487" y="213"/>
                    </a:cubicBezTo>
                    <a:cubicBezTo>
                      <a:pt x="483" y="212"/>
                      <a:pt x="482" y="199"/>
                      <a:pt x="478" y="199"/>
                    </a:cubicBezTo>
                    <a:cubicBezTo>
                      <a:pt x="475" y="199"/>
                      <a:pt x="472" y="202"/>
                      <a:pt x="469" y="202"/>
                    </a:cubicBezTo>
                    <a:cubicBezTo>
                      <a:pt x="468" y="202"/>
                      <a:pt x="467" y="199"/>
                      <a:pt x="467" y="197"/>
                    </a:cubicBezTo>
                    <a:cubicBezTo>
                      <a:pt x="467" y="181"/>
                      <a:pt x="479" y="180"/>
                      <a:pt x="479" y="163"/>
                    </a:cubicBezTo>
                    <a:cubicBezTo>
                      <a:pt x="479" y="154"/>
                      <a:pt x="472" y="151"/>
                      <a:pt x="468" y="144"/>
                    </a:cubicBezTo>
                    <a:cubicBezTo>
                      <a:pt x="457" y="139"/>
                      <a:pt x="448" y="140"/>
                      <a:pt x="445" y="125"/>
                    </a:cubicBezTo>
                    <a:cubicBezTo>
                      <a:pt x="442" y="125"/>
                      <a:pt x="442" y="125"/>
                      <a:pt x="442" y="125"/>
                    </a:cubicBezTo>
                    <a:cubicBezTo>
                      <a:pt x="438" y="129"/>
                      <a:pt x="438" y="129"/>
                      <a:pt x="438" y="129"/>
                    </a:cubicBezTo>
                    <a:cubicBezTo>
                      <a:pt x="433" y="131"/>
                      <a:pt x="427" y="126"/>
                      <a:pt x="423" y="130"/>
                    </a:cubicBezTo>
                    <a:cubicBezTo>
                      <a:pt x="422" y="132"/>
                      <a:pt x="421" y="133"/>
                      <a:pt x="418" y="135"/>
                    </a:cubicBezTo>
                    <a:cubicBezTo>
                      <a:pt x="415" y="137"/>
                      <a:pt x="401" y="149"/>
                      <a:pt x="394" y="149"/>
                    </a:cubicBezTo>
                    <a:cubicBezTo>
                      <a:pt x="387" y="149"/>
                      <a:pt x="382" y="144"/>
                      <a:pt x="373" y="144"/>
                    </a:cubicBezTo>
                    <a:cubicBezTo>
                      <a:pt x="362" y="144"/>
                      <a:pt x="360" y="152"/>
                      <a:pt x="354" y="155"/>
                    </a:cubicBezTo>
                    <a:cubicBezTo>
                      <a:pt x="353" y="152"/>
                      <a:pt x="352" y="145"/>
                      <a:pt x="349" y="145"/>
                    </a:cubicBezTo>
                    <a:cubicBezTo>
                      <a:pt x="347" y="145"/>
                      <a:pt x="345" y="147"/>
                      <a:pt x="341" y="147"/>
                    </a:cubicBezTo>
                    <a:cubicBezTo>
                      <a:pt x="335" y="147"/>
                      <a:pt x="329" y="147"/>
                      <a:pt x="323" y="147"/>
                    </a:cubicBezTo>
                    <a:cubicBezTo>
                      <a:pt x="313" y="147"/>
                      <a:pt x="309" y="141"/>
                      <a:pt x="302" y="136"/>
                    </a:cubicBezTo>
                    <a:cubicBezTo>
                      <a:pt x="300" y="135"/>
                      <a:pt x="296" y="139"/>
                      <a:pt x="295" y="136"/>
                    </a:cubicBezTo>
                    <a:cubicBezTo>
                      <a:pt x="293" y="132"/>
                      <a:pt x="293" y="129"/>
                      <a:pt x="290" y="127"/>
                    </a:cubicBezTo>
                    <a:cubicBezTo>
                      <a:pt x="283" y="124"/>
                      <a:pt x="279" y="126"/>
                      <a:pt x="273" y="120"/>
                    </a:cubicBezTo>
                    <a:cubicBezTo>
                      <a:pt x="268" y="115"/>
                      <a:pt x="263" y="118"/>
                      <a:pt x="254" y="116"/>
                    </a:cubicBezTo>
                    <a:cubicBezTo>
                      <a:pt x="246" y="114"/>
                      <a:pt x="243" y="108"/>
                      <a:pt x="236" y="106"/>
                    </a:cubicBezTo>
                    <a:cubicBezTo>
                      <a:pt x="234" y="105"/>
                      <a:pt x="229" y="106"/>
                      <a:pt x="228" y="103"/>
                    </a:cubicBezTo>
                    <a:cubicBezTo>
                      <a:pt x="227" y="98"/>
                      <a:pt x="227" y="94"/>
                      <a:pt x="226" y="89"/>
                    </a:cubicBezTo>
                    <a:cubicBezTo>
                      <a:pt x="226" y="85"/>
                      <a:pt x="226" y="85"/>
                      <a:pt x="226" y="85"/>
                    </a:cubicBezTo>
                    <a:cubicBezTo>
                      <a:pt x="231" y="85"/>
                      <a:pt x="236" y="86"/>
                      <a:pt x="236" y="80"/>
                    </a:cubicBezTo>
                    <a:cubicBezTo>
                      <a:pt x="236" y="75"/>
                      <a:pt x="229" y="74"/>
                      <a:pt x="229" y="69"/>
                    </a:cubicBezTo>
                    <a:cubicBezTo>
                      <a:pt x="229" y="57"/>
                      <a:pt x="246" y="59"/>
                      <a:pt x="246" y="47"/>
                    </a:cubicBezTo>
                    <a:cubicBezTo>
                      <a:pt x="246" y="43"/>
                      <a:pt x="236" y="35"/>
                      <a:pt x="232" y="35"/>
                    </a:cubicBezTo>
                    <a:cubicBezTo>
                      <a:pt x="224" y="35"/>
                      <a:pt x="221" y="42"/>
                      <a:pt x="213" y="43"/>
                    </a:cubicBezTo>
                    <a:cubicBezTo>
                      <a:pt x="205" y="40"/>
                      <a:pt x="200" y="40"/>
                      <a:pt x="194" y="34"/>
                    </a:cubicBezTo>
                    <a:cubicBezTo>
                      <a:pt x="191" y="31"/>
                      <a:pt x="193" y="25"/>
                      <a:pt x="188" y="24"/>
                    </a:cubicBezTo>
                    <a:cubicBezTo>
                      <a:pt x="182" y="22"/>
                      <a:pt x="178" y="24"/>
                      <a:pt x="178" y="16"/>
                    </a:cubicBezTo>
                    <a:cubicBezTo>
                      <a:pt x="172" y="15"/>
                      <a:pt x="168" y="15"/>
                      <a:pt x="163" y="15"/>
                    </a:cubicBezTo>
                    <a:cubicBezTo>
                      <a:pt x="154" y="15"/>
                      <a:pt x="150" y="23"/>
                      <a:pt x="140" y="23"/>
                    </a:cubicBezTo>
                    <a:cubicBezTo>
                      <a:pt x="130" y="23"/>
                      <a:pt x="140" y="0"/>
                      <a:pt x="131" y="0"/>
                    </a:cubicBezTo>
                    <a:cubicBezTo>
                      <a:pt x="122" y="0"/>
                      <a:pt x="120" y="10"/>
                      <a:pt x="116" y="10"/>
                    </a:cubicBezTo>
                    <a:cubicBezTo>
                      <a:pt x="115" y="10"/>
                      <a:pt x="114" y="11"/>
                      <a:pt x="113" y="10"/>
                    </a:cubicBezTo>
                    <a:cubicBezTo>
                      <a:pt x="110" y="16"/>
                      <a:pt x="103" y="21"/>
                      <a:pt x="94" y="21"/>
                    </a:cubicBezTo>
                    <a:cubicBezTo>
                      <a:pt x="91" y="21"/>
                      <a:pt x="90" y="16"/>
                      <a:pt x="86" y="16"/>
                    </a:cubicBezTo>
                    <a:cubicBezTo>
                      <a:pt x="83" y="16"/>
                      <a:pt x="73" y="20"/>
                      <a:pt x="72" y="15"/>
                    </a:cubicBezTo>
                    <a:cubicBezTo>
                      <a:pt x="68" y="15"/>
                      <a:pt x="69" y="13"/>
                      <a:pt x="65" y="13"/>
                    </a:cubicBezTo>
                    <a:cubicBezTo>
                      <a:pt x="54" y="13"/>
                      <a:pt x="53" y="24"/>
                      <a:pt x="45" y="32"/>
                    </a:cubicBezTo>
                    <a:cubicBezTo>
                      <a:pt x="42" y="35"/>
                      <a:pt x="37" y="35"/>
                      <a:pt x="33" y="39"/>
                    </a:cubicBezTo>
                    <a:cubicBezTo>
                      <a:pt x="30" y="42"/>
                      <a:pt x="28" y="46"/>
                      <a:pt x="23" y="46"/>
                    </a:cubicBezTo>
                    <a:cubicBezTo>
                      <a:pt x="19" y="46"/>
                      <a:pt x="16" y="42"/>
                      <a:pt x="12" y="42"/>
                    </a:cubicBezTo>
                    <a:cubicBezTo>
                      <a:pt x="11" y="42"/>
                      <a:pt x="11" y="45"/>
                      <a:pt x="10" y="45"/>
                    </a:cubicBezTo>
                    <a:cubicBezTo>
                      <a:pt x="7" y="47"/>
                      <a:pt x="0" y="63"/>
                      <a:pt x="0" y="64"/>
                    </a:cubicBezTo>
                    <a:cubicBezTo>
                      <a:pt x="0" y="65"/>
                      <a:pt x="1" y="67"/>
                      <a:pt x="0" y="68"/>
                    </a:cubicBezTo>
                    <a:cubicBezTo>
                      <a:pt x="1" y="70"/>
                      <a:pt x="0" y="71"/>
                      <a:pt x="1" y="73"/>
                    </a:cubicBezTo>
                    <a:cubicBezTo>
                      <a:pt x="1" y="87"/>
                      <a:pt x="1" y="87"/>
                      <a:pt x="1" y="87"/>
                    </a:cubicBezTo>
                    <a:cubicBezTo>
                      <a:pt x="3" y="91"/>
                      <a:pt x="2" y="94"/>
                      <a:pt x="4" y="98"/>
                    </a:cubicBezTo>
                    <a:cubicBezTo>
                      <a:pt x="5" y="102"/>
                      <a:pt x="14" y="98"/>
                      <a:pt x="14" y="105"/>
                    </a:cubicBezTo>
                    <a:cubicBezTo>
                      <a:pt x="14" y="114"/>
                      <a:pt x="4" y="113"/>
                      <a:pt x="4" y="120"/>
                    </a:cubicBezTo>
                    <a:cubicBezTo>
                      <a:pt x="4" y="126"/>
                      <a:pt x="8" y="126"/>
                      <a:pt x="10" y="128"/>
                    </a:cubicBezTo>
                    <a:cubicBezTo>
                      <a:pt x="17" y="143"/>
                      <a:pt x="32" y="145"/>
                      <a:pt x="32" y="164"/>
                    </a:cubicBezTo>
                    <a:cubicBezTo>
                      <a:pt x="21" y="167"/>
                      <a:pt x="13" y="169"/>
                      <a:pt x="13" y="181"/>
                    </a:cubicBezTo>
                    <a:cubicBezTo>
                      <a:pt x="13" y="184"/>
                      <a:pt x="15" y="187"/>
                      <a:pt x="15" y="189"/>
                    </a:cubicBezTo>
                    <a:cubicBezTo>
                      <a:pt x="30" y="188"/>
                      <a:pt x="30" y="188"/>
                      <a:pt x="30" y="188"/>
                    </a:cubicBezTo>
                    <a:cubicBezTo>
                      <a:pt x="31" y="187"/>
                      <a:pt x="33" y="186"/>
                      <a:pt x="34" y="185"/>
                    </a:cubicBezTo>
                    <a:cubicBezTo>
                      <a:pt x="46" y="188"/>
                      <a:pt x="46" y="188"/>
                      <a:pt x="46" y="188"/>
                    </a:cubicBezTo>
                    <a:cubicBezTo>
                      <a:pt x="50" y="188"/>
                      <a:pt x="52" y="184"/>
                      <a:pt x="57" y="184"/>
                    </a:cubicBezTo>
                    <a:cubicBezTo>
                      <a:pt x="62" y="184"/>
                      <a:pt x="65" y="184"/>
                      <a:pt x="70" y="185"/>
                    </a:cubicBezTo>
                    <a:cubicBezTo>
                      <a:pt x="75" y="187"/>
                      <a:pt x="78" y="197"/>
                      <a:pt x="82" y="203"/>
                    </a:cubicBezTo>
                    <a:cubicBezTo>
                      <a:pt x="86" y="209"/>
                      <a:pt x="99" y="218"/>
                      <a:pt x="108" y="218"/>
                    </a:cubicBezTo>
                    <a:cubicBezTo>
                      <a:pt x="111" y="218"/>
                      <a:pt x="114" y="218"/>
                      <a:pt x="118" y="219"/>
                    </a:cubicBezTo>
                    <a:cubicBezTo>
                      <a:pt x="116" y="221"/>
                      <a:pt x="116" y="225"/>
                      <a:pt x="112" y="225"/>
                    </a:cubicBezTo>
                    <a:cubicBezTo>
                      <a:pt x="108" y="227"/>
                      <a:pt x="105" y="225"/>
                      <a:pt x="101" y="227"/>
                    </a:cubicBezTo>
                    <a:cubicBezTo>
                      <a:pt x="108" y="234"/>
                      <a:pt x="113" y="248"/>
                      <a:pt x="127" y="248"/>
                    </a:cubicBezTo>
                    <a:cubicBezTo>
                      <a:pt x="138" y="248"/>
                      <a:pt x="139" y="233"/>
                      <a:pt x="144" y="227"/>
                    </a:cubicBezTo>
                    <a:cubicBezTo>
                      <a:pt x="148" y="227"/>
                      <a:pt x="148" y="227"/>
                      <a:pt x="148" y="227"/>
                    </a:cubicBezTo>
                    <a:cubicBezTo>
                      <a:pt x="148" y="229"/>
                      <a:pt x="145" y="232"/>
                      <a:pt x="145" y="233"/>
                    </a:cubicBezTo>
                    <a:cubicBezTo>
                      <a:pt x="145" y="239"/>
                      <a:pt x="150" y="244"/>
                      <a:pt x="150" y="251"/>
                    </a:cubicBezTo>
                    <a:cubicBezTo>
                      <a:pt x="150" y="257"/>
                      <a:pt x="147" y="258"/>
                      <a:pt x="147" y="264"/>
                    </a:cubicBezTo>
                    <a:lnTo>
                      <a:pt x="149" y="26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25" name="iŝḷïďe"/>
              <p:cNvSpPr/>
              <p:nvPr/>
            </p:nvSpPr>
            <p:spPr bwMode="auto">
              <a:xfrm>
                <a:off x="7533379" y="3459466"/>
                <a:ext cx="222276" cy="240137"/>
              </a:xfrm>
              <a:custGeom>
                <a:avLst/>
                <a:gdLst/>
                <a:ahLst/>
                <a:cxnLst>
                  <a:cxn ang="0">
                    <a:pos x="59" y="74"/>
                  </a:cxn>
                  <a:cxn ang="0">
                    <a:pos x="58" y="70"/>
                  </a:cxn>
                  <a:cxn ang="0">
                    <a:pos x="51" y="68"/>
                  </a:cxn>
                  <a:cxn ang="0">
                    <a:pos x="45" y="53"/>
                  </a:cxn>
                  <a:cxn ang="0">
                    <a:pos x="28" y="38"/>
                  </a:cxn>
                  <a:cxn ang="0">
                    <a:pos x="22" y="25"/>
                  </a:cxn>
                  <a:cxn ang="0">
                    <a:pos x="11" y="21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11" y="4"/>
                  </a:cxn>
                  <a:cxn ang="0">
                    <a:pos x="26" y="4"/>
                  </a:cxn>
                  <a:cxn ang="0">
                    <a:pos x="42" y="20"/>
                  </a:cxn>
                  <a:cxn ang="0">
                    <a:pos x="47" y="23"/>
                  </a:cxn>
                  <a:cxn ang="0">
                    <a:pos x="61" y="35"/>
                  </a:cxn>
                  <a:cxn ang="0">
                    <a:pos x="86" y="53"/>
                  </a:cxn>
                  <a:cxn ang="0">
                    <a:pos x="101" y="64"/>
                  </a:cxn>
                  <a:cxn ang="0">
                    <a:pos x="100" y="66"/>
                  </a:cxn>
                  <a:cxn ang="0">
                    <a:pos x="103" y="66"/>
                  </a:cxn>
                  <a:cxn ang="0">
                    <a:pos x="107" y="70"/>
                  </a:cxn>
                  <a:cxn ang="0">
                    <a:pos x="105" y="74"/>
                  </a:cxn>
                  <a:cxn ang="0">
                    <a:pos x="114" y="81"/>
                  </a:cxn>
                  <a:cxn ang="0">
                    <a:pos x="124" y="98"/>
                  </a:cxn>
                  <a:cxn ang="0">
                    <a:pos x="133" y="106"/>
                  </a:cxn>
                  <a:cxn ang="0">
                    <a:pos x="133" y="125"/>
                  </a:cxn>
                  <a:cxn ang="0">
                    <a:pos x="131" y="138"/>
                  </a:cxn>
                  <a:cxn ang="0">
                    <a:pos x="119" y="144"/>
                  </a:cxn>
                  <a:cxn ang="0">
                    <a:pos x="108" y="132"/>
                  </a:cxn>
                  <a:cxn ang="0">
                    <a:pos x="84" y="112"/>
                  </a:cxn>
                  <a:cxn ang="0">
                    <a:pos x="67" y="85"/>
                  </a:cxn>
                  <a:cxn ang="0">
                    <a:pos x="59" y="74"/>
                  </a:cxn>
                </a:cxnLst>
                <a:rect l="0" t="0" r="r" b="b"/>
                <a:pathLst>
                  <a:path w="133" h="144">
                    <a:moveTo>
                      <a:pt x="59" y="74"/>
                    </a:moveTo>
                    <a:cubicBezTo>
                      <a:pt x="58" y="74"/>
                      <a:pt x="59" y="72"/>
                      <a:pt x="58" y="70"/>
                    </a:cubicBezTo>
                    <a:cubicBezTo>
                      <a:pt x="57" y="69"/>
                      <a:pt x="52" y="69"/>
                      <a:pt x="51" y="68"/>
                    </a:cubicBezTo>
                    <a:cubicBezTo>
                      <a:pt x="49" y="67"/>
                      <a:pt x="45" y="56"/>
                      <a:pt x="45" y="53"/>
                    </a:cubicBezTo>
                    <a:cubicBezTo>
                      <a:pt x="41" y="43"/>
                      <a:pt x="31" y="44"/>
                      <a:pt x="28" y="38"/>
                    </a:cubicBezTo>
                    <a:cubicBezTo>
                      <a:pt x="26" y="33"/>
                      <a:pt x="24" y="30"/>
                      <a:pt x="22" y="25"/>
                    </a:cubicBezTo>
                    <a:cubicBezTo>
                      <a:pt x="20" y="21"/>
                      <a:pt x="15" y="22"/>
                      <a:pt x="11" y="21"/>
                    </a:cubicBezTo>
                    <a:cubicBezTo>
                      <a:pt x="8" y="20"/>
                      <a:pt x="1" y="8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7" y="0"/>
                      <a:pt x="8" y="2"/>
                      <a:pt x="11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35" y="7"/>
                      <a:pt x="38" y="13"/>
                      <a:pt x="42" y="20"/>
                    </a:cubicBezTo>
                    <a:cubicBezTo>
                      <a:pt x="43" y="23"/>
                      <a:pt x="45" y="22"/>
                      <a:pt x="47" y="23"/>
                    </a:cubicBezTo>
                    <a:cubicBezTo>
                      <a:pt x="53" y="25"/>
                      <a:pt x="56" y="30"/>
                      <a:pt x="61" y="35"/>
                    </a:cubicBezTo>
                    <a:cubicBezTo>
                      <a:pt x="69" y="43"/>
                      <a:pt x="74" y="49"/>
                      <a:pt x="86" y="53"/>
                    </a:cubicBezTo>
                    <a:cubicBezTo>
                      <a:pt x="93" y="55"/>
                      <a:pt x="101" y="57"/>
                      <a:pt x="101" y="64"/>
                    </a:cubicBezTo>
                    <a:cubicBezTo>
                      <a:pt x="101" y="64"/>
                      <a:pt x="100" y="65"/>
                      <a:pt x="100" y="66"/>
                    </a:cubicBezTo>
                    <a:cubicBezTo>
                      <a:pt x="101" y="66"/>
                      <a:pt x="102" y="66"/>
                      <a:pt x="103" y="66"/>
                    </a:cubicBezTo>
                    <a:cubicBezTo>
                      <a:pt x="105" y="66"/>
                      <a:pt x="106" y="68"/>
                      <a:pt x="107" y="70"/>
                    </a:cubicBezTo>
                    <a:cubicBezTo>
                      <a:pt x="105" y="74"/>
                      <a:pt x="105" y="74"/>
                      <a:pt x="105" y="74"/>
                    </a:cubicBezTo>
                    <a:cubicBezTo>
                      <a:pt x="105" y="80"/>
                      <a:pt x="109" y="81"/>
                      <a:pt x="114" y="81"/>
                    </a:cubicBezTo>
                    <a:cubicBezTo>
                      <a:pt x="114" y="91"/>
                      <a:pt x="119" y="93"/>
                      <a:pt x="124" y="98"/>
                    </a:cubicBezTo>
                    <a:cubicBezTo>
                      <a:pt x="127" y="101"/>
                      <a:pt x="133" y="102"/>
                      <a:pt x="133" y="106"/>
                    </a:cubicBezTo>
                    <a:cubicBezTo>
                      <a:pt x="133" y="112"/>
                      <a:pt x="133" y="116"/>
                      <a:pt x="133" y="125"/>
                    </a:cubicBezTo>
                    <a:cubicBezTo>
                      <a:pt x="128" y="127"/>
                      <a:pt x="131" y="133"/>
                      <a:pt x="131" y="138"/>
                    </a:cubicBezTo>
                    <a:cubicBezTo>
                      <a:pt x="131" y="143"/>
                      <a:pt x="122" y="144"/>
                      <a:pt x="119" y="144"/>
                    </a:cubicBezTo>
                    <a:cubicBezTo>
                      <a:pt x="116" y="144"/>
                      <a:pt x="109" y="132"/>
                      <a:pt x="108" y="132"/>
                    </a:cubicBezTo>
                    <a:cubicBezTo>
                      <a:pt x="100" y="124"/>
                      <a:pt x="92" y="120"/>
                      <a:pt x="84" y="112"/>
                    </a:cubicBezTo>
                    <a:cubicBezTo>
                      <a:pt x="75" y="103"/>
                      <a:pt x="71" y="95"/>
                      <a:pt x="67" y="85"/>
                    </a:cubicBezTo>
                    <a:cubicBezTo>
                      <a:pt x="66" y="83"/>
                      <a:pt x="60" y="74"/>
                      <a:pt x="59" y="7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26" name="ïšľiḓe"/>
              <p:cNvSpPr/>
              <p:nvPr/>
            </p:nvSpPr>
            <p:spPr bwMode="auto">
              <a:xfrm>
                <a:off x="7819163" y="3429698"/>
                <a:ext cx="212353" cy="236168"/>
              </a:xfrm>
              <a:custGeom>
                <a:avLst/>
                <a:gdLst/>
                <a:ahLst/>
                <a:cxnLst>
                  <a:cxn ang="0">
                    <a:pos x="37" y="130"/>
                  </a:cxn>
                  <a:cxn ang="0">
                    <a:pos x="36" y="124"/>
                  </a:cxn>
                  <a:cxn ang="0">
                    <a:pos x="27" y="126"/>
                  </a:cxn>
                  <a:cxn ang="0">
                    <a:pos x="11" y="102"/>
                  </a:cxn>
                  <a:cxn ang="0">
                    <a:pos x="12" y="99"/>
                  </a:cxn>
                  <a:cxn ang="0">
                    <a:pos x="6" y="97"/>
                  </a:cxn>
                  <a:cxn ang="0">
                    <a:pos x="0" y="78"/>
                  </a:cxn>
                  <a:cxn ang="0">
                    <a:pos x="15" y="74"/>
                  </a:cxn>
                  <a:cxn ang="0">
                    <a:pos x="33" y="54"/>
                  </a:cxn>
                  <a:cxn ang="0">
                    <a:pos x="45" y="50"/>
                  </a:cxn>
                  <a:cxn ang="0">
                    <a:pos x="56" y="41"/>
                  </a:cxn>
                  <a:cxn ang="0">
                    <a:pos x="59" y="35"/>
                  </a:cxn>
                  <a:cxn ang="0">
                    <a:pos x="63" y="32"/>
                  </a:cxn>
                  <a:cxn ang="0">
                    <a:pos x="66" y="29"/>
                  </a:cxn>
                  <a:cxn ang="0">
                    <a:pos x="82" y="23"/>
                  </a:cxn>
                  <a:cxn ang="0">
                    <a:pos x="102" y="0"/>
                  </a:cxn>
                  <a:cxn ang="0">
                    <a:pos x="109" y="11"/>
                  </a:cxn>
                  <a:cxn ang="0">
                    <a:pos x="127" y="23"/>
                  </a:cxn>
                  <a:cxn ang="0">
                    <a:pos x="117" y="29"/>
                  </a:cxn>
                  <a:cxn ang="0">
                    <a:pos x="119" y="31"/>
                  </a:cxn>
                  <a:cxn ang="0">
                    <a:pos x="106" y="37"/>
                  </a:cxn>
                  <a:cxn ang="0">
                    <a:pos x="108" y="41"/>
                  </a:cxn>
                  <a:cxn ang="0">
                    <a:pos x="105" y="44"/>
                  </a:cxn>
                  <a:cxn ang="0">
                    <a:pos x="125" y="73"/>
                  </a:cxn>
                  <a:cxn ang="0">
                    <a:pos x="115" y="77"/>
                  </a:cxn>
                  <a:cxn ang="0">
                    <a:pos x="111" y="78"/>
                  </a:cxn>
                  <a:cxn ang="0">
                    <a:pos x="109" y="83"/>
                  </a:cxn>
                  <a:cxn ang="0">
                    <a:pos x="103" y="102"/>
                  </a:cxn>
                  <a:cxn ang="0">
                    <a:pos x="93" y="113"/>
                  </a:cxn>
                  <a:cxn ang="0">
                    <a:pos x="95" y="119"/>
                  </a:cxn>
                  <a:cxn ang="0">
                    <a:pos x="90" y="134"/>
                  </a:cxn>
                  <a:cxn ang="0">
                    <a:pos x="76" y="141"/>
                  </a:cxn>
                  <a:cxn ang="0">
                    <a:pos x="71" y="135"/>
                  </a:cxn>
                  <a:cxn ang="0">
                    <a:pos x="51" y="128"/>
                  </a:cxn>
                  <a:cxn ang="0">
                    <a:pos x="40" y="132"/>
                  </a:cxn>
                  <a:cxn ang="0">
                    <a:pos x="37" y="130"/>
                  </a:cxn>
                </a:cxnLst>
                <a:rect l="0" t="0" r="r" b="b"/>
                <a:pathLst>
                  <a:path w="127" h="141">
                    <a:moveTo>
                      <a:pt x="37" y="130"/>
                    </a:moveTo>
                    <a:cubicBezTo>
                      <a:pt x="36" y="130"/>
                      <a:pt x="36" y="125"/>
                      <a:pt x="36" y="124"/>
                    </a:cubicBezTo>
                    <a:cubicBezTo>
                      <a:pt x="32" y="123"/>
                      <a:pt x="30" y="126"/>
                      <a:pt x="27" y="126"/>
                    </a:cubicBezTo>
                    <a:cubicBezTo>
                      <a:pt x="10" y="126"/>
                      <a:pt x="17" y="110"/>
                      <a:pt x="11" y="102"/>
                    </a:cubicBezTo>
                    <a:cubicBezTo>
                      <a:pt x="11" y="101"/>
                      <a:pt x="12" y="100"/>
                      <a:pt x="12" y="99"/>
                    </a:cubicBezTo>
                    <a:cubicBezTo>
                      <a:pt x="11" y="97"/>
                      <a:pt x="8" y="97"/>
                      <a:pt x="6" y="97"/>
                    </a:cubicBezTo>
                    <a:cubicBezTo>
                      <a:pt x="4" y="96"/>
                      <a:pt x="0" y="80"/>
                      <a:pt x="0" y="78"/>
                    </a:cubicBezTo>
                    <a:cubicBezTo>
                      <a:pt x="0" y="71"/>
                      <a:pt x="9" y="74"/>
                      <a:pt x="15" y="74"/>
                    </a:cubicBezTo>
                    <a:cubicBezTo>
                      <a:pt x="29" y="74"/>
                      <a:pt x="27" y="60"/>
                      <a:pt x="33" y="54"/>
                    </a:cubicBezTo>
                    <a:cubicBezTo>
                      <a:pt x="36" y="51"/>
                      <a:pt x="41" y="51"/>
                      <a:pt x="45" y="50"/>
                    </a:cubicBezTo>
                    <a:cubicBezTo>
                      <a:pt x="52" y="49"/>
                      <a:pt x="52" y="44"/>
                      <a:pt x="56" y="41"/>
                    </a:cubicBezTo>
                    <a:cubicBezTo>
                      <a:pt x="54" y="39"/>
                      <a:pt x="59" y="35"/>
                      <a:pt x="59" y="35"/>
                    </a:cubicBezTo>
                    <a:cubicBezTo>
                      <a:pt x="61" y="34"/>
                      <a:pt x="61" y="33"/>
                      <a:pt x="63" y="32"/>
                    </a:cubicBezTo>
                    <a:cubicBezTo>
                      <a:pt x="64" y="32"/>
                      <a:pt x="65" y="30"/>
                      <a:pt x="66" y="29"/>
                    </a:cubicBezTo>
                    <a:cubicBezTo>
                      <a:pt x="70" y="25"/>
                      <a:pt x="80" y="27"/>
                      <a:pt x="82" y="23"/>
                    </a:cubicBezTo>
                    <a:cubicBezTo>
                      <a:pt x="85" y="16"/>
                      <a:pt x="95" y="0"/>
                      <a:pt x="102" y="0"/>
                    </a:cubicBezTo>
                    <a:cubicBezTo>
                      <a:pt x="109" y="0"/>
                      <a:pt x="109" y="4"/>
                      <a:pt x="109" y="11"/>
                    </a:cubicBezTo>
                    <a:cubicBezTo>
                      <a:pt x="109" y="20"/>
                      <a:pt x="127" y="15"/>
                      <a:pt x="127" y="23"/>
                    </a:cubicBezTo>
                    <a:cubicBezTo>
                      <a:pt x="127" y="27"/>
                      <a:pt x="117" y="25"/>
                      <a:pt x="117" y="29"/>
                    </a:cubicBezTo>
                    <a:cubicBezTo>
                      <a:pt x="117" y="30"/>
                      <a:pt x="118" y="31"/>
                      <a:pt x="119" y="31"/>
                    </a:cubicBezTo>
                    <a:cubicBezTo>
                      <a:pt x="118" y="32"/>
                      <a:pt x="106" y="37"/>
                      <a:pt x="106" y="37"/>
                    </a:cubicBezTo>
                    <a:cubicBezTo>
                      <a:pt x="107" y="38"/>
                      <a:pt x="108" y="40"/>
                      <a:pt x="108" y="41"/>
                    </a:cubicBezTo>
                    <a:cubicBezTo>
                      <a:pt x="107" y="42"/>
                      <a:pt x="105" y="43"/>
                      <a:pt x="105" y="44"/>
                    </a:cubicBezTo>
                    <a:cubicBezTo>
                      <a:pt x="105" y="51"/>
                      <a:pt x="117" y="73"/>
                      <a:pt x="125" y="73"/>
                    </a:cubicBezTo>
                    <a:cubicBezTo>
                      <a:pt x="124" y="79"/>
                      <a:pt x="120" y="77"/>
                      <a:pt x="115" y="77"/>
                    </a:cubicBezTo>
                    <a:cubicBezTo>
                      <a:pt x="114" y="77"/>
                      <a:pt x="112" y="78"/>
                      <a:pt x="111" y="78"/>
                    </a:cubicBezTo>
                    <a:cubicBezTo>
                      <a:pt x="109" y="83"/>
                      <a:pt x="109" y="83"/>
                      <a:pt x="109" y="83"/>
                    </a:cubicBezTo>
                    <a:cubicBezTo>
                      <a:pt x="106" y="92"/>
                      <a:pt x="103" y="95"/>
                      <a:pt x="103" y="102"/>
                    </a:cubicBezTo>
                    <a:cubicBezTo>
                      <a:pt x="98" y="103"/>
                      <a:pt x="93" y="110"/>
                      <a:pt x="93" y="113"/>
                    </a:cubicBezTo>
                    <a:cubicBezTo>
                      <a:pt x="93" y="116"/>
                      <a:pt x="95" y="117"/>
                      <a:pt x="95" y="119"/>
                    </a:cubicBezTo>
                    <a:cubicBezTo>
                      <a:pt x="95" y="122"/>
                      <a:pt x="90" y="129"/>
                      <a:pt x="90" y="134"/>
                    </a:cubicBezTo>
                    <a:cubicBezTo>
                      <a:pt x="83" y="135"/>
                      <a:pt x="82" y="141"/>
                      <a:pt x="76" y="141"/>
                    </a:cubicBezTo>
                    <a:cubicBezTo>
                      <a:pt x="72" y="141"/>
                      <a:pt x="71" y="137"/>
                      <a:pt x="71" y="135"/>
                    </a:cubicBezTo>
                    <a:cubicBezTo>
                      <a:pt x="64" y="133"/>
                      <a:pt x="59" y="128"/>
                      <a:pt x="51" y="128"/>
                    </a:cubicBezTo>
                    <a:cubicBezTo>
                      <a:pt x="48" y="128"/>
                      <a:pt x="45" y="132"/>
                      <a:pt x="40" y="132"/>
                    </a:cubicBezTo>
                    <a:cubicBezTo>
                      <a:pt x="39" y="132"/>
                      <a:pt x="38" y="130"/>
                      <a:pt x="37" y="13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27" name="îśḻíḋè"/>
              <p:cNvSpPr/>
              <p:nvPr/>
            </p:nvSpPr>
            <p:spPr bwMode="auto">
              <a:xfrm>
                <a:off x="8023578" y="3542820"/>
                <a:ext cx="132969" cy="154799"/>
              </a:xfrm>
              <a:custGeom>
                <a:avLst/>
                <a:gdLst/>
                <a:ahLst/>
                <a:cxnLst>
                  <a:cxn ang="0">
                    <a:pos x="31" y="34"/>
                  </a:cxn>
                  <a:cxn ang="0">
                    <a:pos x="27" y="38"/>
                  </a:cxn>
                  <a:cxn ang="0">
                    <a:pos x="17" y="24"/>
                  </a:cxn>
                  <a:cxn ang="0">
                    <a:pos x="32" y="16"/>
                  </a:cxn>
                  <a:cxn ang="0">
                    <a:pos x="49" y="15"/>
                  </a:cxn>
                  <a:cxn ang="0">
                    <a:pos x="64" y="18"/>
                  </a:cxn>
                  <a:cxn ang="0">
                    <a:pos x="77" y="4"/>
                  </a:cxn>
                  <a:cxn ang="0">
                    <a:pos x="79" y="0"/>
                  </a:cxn>
                  <a:cxn ang="0">
                    <a:pos x="77" y="0"/>
                  </a:cxn>
                  <a:cxn ang="0">
                    <a:pos x="63" y="10"/>
                  </a:cxn>
                  <a:cxn ang="0">
                    <a:pos x="59" y="10"/>
                  </a:cxn>
                  <a:cxn ang="0">
                    <a:pos x="28" y="5"/>
                  </a:cxn>
                  <a:cxn ang="0">
                    <a:pos x="12" y="30"/>
                  </a:cxn>
                  <a:cxn ang="0">
                    <a:pos x="8" y="37"/>
                  </a:cxn>
                  <a:cxn ang="0">
                    <a:pos x="0" y="61"/>
                  </a:cxn>
                  <a:cxn ang="0">
                    <a:pos x="8" y="66"/>
                  </a:cxn>
                  <a:cxn ang="0">
                    <a:pos x="8" y="87"/>
                  </a:cxn>
                  <a:cxn ang="0">
                    <a:pos x="16" y="93"/>
                  </a:cxn>
                  <a:cxn ang="0">
                    <a:pos x="22" y="76"/>
                  </a:cxn>
                  <a:cxn ang="0">
                    <a:pos x="18" y="61"/>
                  </a:cxn>
                  <a:cxn ang="0">
                    <a:pos x="25" y="56"/>
                  </a:cxn>
                  <a:cxn ang="0">
                    <a:pos x="28" y="56"/>
                  </a:cxn>
                  <a:cxn ang="0">
                    <a:pos x="27" y="65"/>
                  </a:cxn>
                  <a:cxn ang="0">
                    <a:pos x="34" y="79"/>
                  </a:cxn>
                  <a:cxn ang="0">
                    <a:pos x="34" y="83"/>
                  </a:cxn>
                  <a:cxn ang="0">
                    <a:pos x="39" y="83"/>
                  </a:cxn>
                  <a:cxn ang="0">
                    <a:pos x="49" y="73"/>
                  </a:cxn>
                  <a:cxn ang="0">
                    <a:pos x="43" y="65"/>
                  </a:cxn>
                  <a:cxn ang="0">
                    <a:pos x="45" y="63"/>
                  </a:cxn>
                  <a:cxn ang="0">
                    <a:pos x="34" y="44"/>
                  </a:cxn>
                  <a:cxn ang="0">
                    <a:pos x="57" y="31"/>
                  </a:cxn>
                  <a:cxn ang="0">
                    <a:pos x="57" y="28"/>
                  </a:cxn>
                  <a:cxn ang="0">
                    <a:pos x="31" y="36"/>
                  </a:cxn>
                  <a:cxn ang="0">
                    <a:pos x="31" y="34"/>
                  </a:cxn>
                </a:cxnLst>
                <a:rect l="0" t="0" r="r" b="b"/>
                <a:pathLst>
                  <a:path w="79" h="93">
                    <a:moveTo>
                      <a:pt x="31" y="34"/>
                    </a:moveTo>
                    <a:cubicBezTo>
                      <a:pt x="30" y="36"/>
                      <a:pt x="29" y="38"/>
                      <a:pt x="27" y="38"/>
                    </a:cubicBezTo>
                    <a:cubicBezTo>
                      <a:pt x="20" y="38"/>
                      <a:pt x="17" y="30"/>
                      <a:pt x="17" y="24"/>
                    </a:cubicBezTo>
                    <a:cubicBezTo>
                      <a:pt x="17" y="15"/>
                      <a:pt x="24" y="16"/>
                      <a:pt x="32" y="16"/>
                    </a:cubicBezTo>
                    <a:cubicBezTo>
                      <a:pt x="39" y="16"/>
                      <a:pt x="42" y="15"/>
                      <a:pt x="49" y="15"/>
                    </a:cubicBezTo>
                    <a:cubicBezTo>
                      <a:pt x="54" y="15"/>
                      <a:pt x="58" y="18"/>
                      <a:pt x="64" y="18"/>
                    </a:cubicBezTo>
                    <a:cubicBezTo>
                      <a:pt x="73" y="18"/>
                      <a:pt x="76" y="10"/>
                      <a:pt x="77" y="4"/>
                    </a:cubicBezTo>
                    <a:cubicBezTo>
                      <a:pt x="79" y="4"/>
                      <a:pt x="79" y="1"/>
                      <a:pt x="79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2" y="4"/>
                      <a:pt x="65" y="8"/>
                      <a:pt x="63" y="10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17" y="5"/>
                      <a:pt x="12" y="20"/>
                      <a:pt x="12" y="30"/>
                    </a:cubicBezTo>
                    <a:cubicBezTo>
                      <a:pt x="12" y="33"/>
                      <a:pt x="8" y="35"/>
                      <a:pt x="8" y="37"/>
                    </a:cubicBezTo>
                    <a:cubicBezTo>
                      <a:pt x="4" y="47"/>
                      <a:pt x="0" y="51"/>
                      <a:pt x="0" y="61"/>
                    </a:cubicBezTo>
                    <a:cubicBezTo>
                      <a:pt x="0" y="66"/>
                      <a:pt x="6" y="66"/>
                      <a:pt x="8" y="66"/>
                    </a:cubicBezTo>
                    <a:cubicBezTo>
                      <a:pt x="8" y="73"/>
                      <a:pt x="8" y="83"/>
                      <a:pt x="8" y="87"/>
                    </a:cubicBezTo>
                    <a:cubicBezTo>
                      <a:pt x="8" y="90"/>
                      <a:pt x="12" y="93"/>
                      <a:pt x="16" y="93"/>
                    </a:cubicBezTo>
                    <a:cubicBezTo>
                      <a:pt x="20" y="93"/>
                      <a:pt x="22" y="78"/>
                      <a:pt x="22" y="76"/>
                    </a:cubicBezTo>
                    <a:cubicBezTo>
                      <a:pt x="22" y="70"/>
                      <a:pt x="18" y="67"/>
                      <a:pt x="18" y="61"/>
                    </a:cubicBezTo>
                    <a:cubicBezTo>
                      <a:pt x="18" y="58"/>
                      <a:pt x="22" y="56"/>
                      <a:pt x="25" y="56"/>
                    </a:cubicBezTo>
                    <a:cubicBezTo>
                      <a:pt x="26" y="56"/>
                      <a:pt x="27" y="56"/>
                      <a:pt x="28" y="56"/>
                    </a:cubicBezTo>
                    <a:cubicBezTo>
                      <a:pt x="27" y="65"/>
                      <a:pt x="27" y="65"/>
                      <a:pt x="27" y="65"/>
                    </a:cubicBezTo>
                    <a:cubicBezTo>
                      <a:pt x="27" y="71"/>
                      <a:pt x="34" y="73"/>
                      <a:pt x="34" y="79"/>
                    </a:cubicBezTo>
                    <a:cubicBezTo>
                      <a:pt x="34" y="80"/>
                      <a:pt x="34" y="81"/>
                      <a:pt x="34" y="83"/>
                    </a:cubicBezTo>
                    <a:cubicBezTo>
                      <a:pt x="39" y="83"/>
                      <a:pt x="39" y="83"/>
                      <a:pt x="39" y="83"/>
                    </a:cubicBezTo>
                    <a:cubicBezTo>
                      <a:pt x="39" y="78"/>
                      <a:pt x="49" y="78"/>
                      <a:pt x="49" y="73"/>
                    </a:cubicBezTo>
                    <a:cubicBezTo>
                      <a:pt x="47" y="73"/>
                      <a:pt x="43" y="68"/>
                      <a:pt x="43" y="65"/>
                    </a:cubicBezTo>
                    <a:cubicBezTo>
                      <a:pt x="43" y="65"/>
                      <a:pt x="44" y="64"/>
                      <a:pt x="45" y="63"/>
                    </a:cubicBezTo>
                    <a:cubicBezTo>
                      <a:pt x="42" y="61"/>
                      <a:pt x="34" y="46"/>
                      <a:pt x="34" y="44"/>
                    </a:cubicBezTo>
                    <a:cubicBezTo>
                      <a:pt x="46" y="44"/>
                      <a:pt x="47" y="35"/>
                      <a:pt x="57" y="31"/>
                    </a:cubicBezTo>
                    <a:cubicBezTo>
                      <a:pt x="57" y="28"/>
                      <a:pt x="57" y="28"/>
                      <a:pt x="57" y="28"/>
                    </a:cubicBezTo>
                    <a:cubicBezTo>
                      <a:pt x="54" y="27"/>
                      <a:pt x="31" y="35"/>
                      <a:pt x="31" y="36"/>
                    </a:cubicBezTo>
                    <a:lnTo>
                      <a:pt x="31" y="3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28" name="îṣľiḓè"/>
              <p:cNvSpPr/>
              <p:nvPr/>
            </p:nvSpPr>
            <p:spPr bwMode="auto">
              <a:xfrm>
                <a:off x="7745733" y="3699604"/>
                <a:ext cx="214338" cy="61523"/>
              </a:xfrm>
              <a:custGeom>
                <a:avLst/>
                <a:gdLst/>
                <a:ahLst/>
                <a:cxnLst>
                  <a:cxn ang="0">
                    <a:pos x="123" y="36"/>
                  </a:cxn>
                  <a:cxn ang="0">
                    <a:pos x="114" y="33"/>
                  </a:cxn>
                  <a:cxn ang="0">
                    <a:pos x="114" y="37"/>
                  </a:cxn>
                  <a:cxn ang="0">
                    <a:pos x="67" y="31"/>
                  </a:cxn>
                  <a:cxn ang="0">
                    <a:pos x="56" y="25"/>
                  </a:cxn>
                  <a:cxn ang="0">
                    <a:pos x="32" y="22"/>
                  </a:cxn>
                  <a:cxn ang="0">
                    <a:pos x="14" y="20"/>
                  </a:cxn>
                  <a:cxn ang="0">
                    <a:pos x="0" y="10"/>
                  </a:cxn>
                  <a:cxn ang="0">
                    <a:pos x="11" y="1"/>
                  </a:cxn>
                  <a:cxn ang="0">
                    <a:pos x="14" y="3"/>
                  </a:cxn>
                  <a:cxn ang="0">
                    <a:pos x="22" y="0"/>
                  </a:cxn>
                  <a:cxn ang="0">
                    <a:pos x="55" y="14"/>
                  </a:cxn>
                  <a:cxn ang="0">
                    <a:pos x="68" y="7"/>
                  </a:cxn>
                  <a:cxn ang="0">
                    <a:pos x="88" y="15"/>
                  </a:cxn>
                  <a:cxn ang="0">
                    <a:pos x="101" y="14"/>
                  </a:cxn>
                  <a:cxn ang="0">
                    <a:pos x="105" y="14"/>
                  </a:cxn>
                  <a:cxn ang="0">
                    <a:pos x="89" y="17"/>
                  </a:cxn>
                  <a:cxn ang="0">
                    <a:pos x="107" y="22"/>
                  </a:cxn>
                  <a:cxn ang="0">
                    <a:pos x="111" y="26"/>
                  </a:cxn>
                  <a:cxn ang="0">
                    <a:pos x="121" y="27"/>
                  </a:cxn>
                  <a:cxn ang="0">
                    <a:pos x="128" y="31"/>
                  </a:cxn>
                  <a:cxn ang="0">
                    <a:pos x="123" y="36"/>
                  </a:cxn>
                </a:cxnLst>
                <a:rect l="0" t="0" r="r" b="b"/>
                <a:pathLst>
                  <a:path w="128" h="37">
                    <a:moveTo>
                      <a:pt x="123" y="36"/>
                    </a:moveTo>
                    <a:cubicBezTo>
                      <a:pt x="119" y="36"/>
                      <a:pt x="119" y="33"/>
                      <a:pt x="114" y="33"/>
                    </a:cubicBezTo>
                    <a:cubicBezTo>
                      <a:pt x="113" y="33"/>
                      <a:pt x="114" y="36"/>
                      <a:pt x="114" y="37"/>
                    </a:cubicBezTo>
                    <a:cubicBezTo>
                      <a:pt x="100" y="32"/>
                      <a:pt x="85" y="31"/>
                      <a:pt x="67" y="31"/>
                    </a:cubicBezTo>
                    <a:cubicBezTo>
                      <a:pt x="62" y="31"/>
                      <a:pt x="61" y="25"/>
                      <a:pt x="56" y="25"/>
                    </a:cubicBezTo>
                    <a:cubicBezTo>
                      <a:pt x="48" y="25"/>
                      <a:pt x="41" y="25"/>
                      <a:pt x="32" y="22"/>
                    </a:cubicBezTo>
                    <a:cubicBezTo>
                      <a:pt x="25" y="20"/>
                      <a:pt x="19" y="24"/>
                      <a:pt x="14" y="20"/>
                    </a:cubicBezTo>
                    <a:cubicBezTo>
                      <a:pt x="10" y="15"/>
                      <a:pt x="7" y="10"/>
                      <a:pt x="0" y="10"/>
                    </a:cubicBezTo>
                    <a:cubicBezTo>
                      <a:pt x="0" y="9"/>
                      <a:pt x="8" y="1"/>
                      <a:pt x="11" y="1"/>
                    </a:cubicBezTo>
                    <a:cubicBezTo>
                      <a:pt x="12" y="1"/>
                      <a:pt x="13" y="3"/>
                      <a:pt x="14" y="3"/>
                    </a:cubicBezTo>
                    <a:cubicBezTo>
                      <a:pt x="17" y="3"/>
                      <a:pt x="19" y="0"/>
                      <a:pt x="22" y="0"/>
                    </a:cubicBezTo>
                    <a:cubicBezTo>
                      <a:pt x="35" y="0"/>
                      <a:pt x="41" y="14"/>
                      <a:pt x="55" y="14"/>
                    </a:cubicBezTo>
                    <a:cubicBezTo>
                      <a:pt x="62" y="14"/>
                      <a:pt x="63" y="7"/>
                      <a:pt x="68" y="7"/>
                    </a:cubicBezTo>
                    <a:cubicBezTo>
                      <a:pt x="77" y="7"/>
                      <a:pt x="80" y="15"/>
                      <a:pt x="88" y="15"/>
                    </a:cubicBezTo>
                    <a:cubicBezTo>
                      <a:pt x="101" y="14"/>
                      <a:pt x="101" y="14"/>
                      <a:pt x="101" y="14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4" y="16"/>
                      <a:pt x="89" y="17"/>
                      <a:pt x="89" y="17"/>
                    </a:cubicBezTo>
                    <a:cubicBezTo>
                      <a:pt x="93" y="22"/>
                      <a:pt x="99" y="22"/>
                      <a:pt x="107" y="22"/>
                    </a:cubicBezTo>
                    <a:cubicBezTo>
                      <a:pt x="110" y="22"/>
                      <a:pt x="110" y="26"/>
                      <a:pt x="111" y="26"/>
                    </a:cubicBezTo>
                    <a:cubicBezTo>
                      <a:pt x="114" y="30"/>
                      <a:pt x="117" y="26"/>
                      <a:pt x="121" y="27"/>
                    </a:cubicBezTo>
                    <a:cubicBezTo>
                      <a:pt x="125" y="29"/>
                      <a:pt x="125" y="30"/>
                      <a:pt x="128" y="31"/>
                    </a:cubicBezTo>
                    <a:cubicBezTo>
                      <a:pt x="127" y="33"/>
                      <a:pt x="124" y="36"/>
                      <a:pt x="123" y="3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29" name="ïṥľíḍè"/>
              <p:cNvSpPr/>
              <p:nvPr/>
            </p:nvSpPr>
            <p:spPr bwMode="auto">
              <a:xfrm>
                <a:off x="8047393" y="3749219"/>
                <a:ext cx="65493" cy="15877"/>
              </a:xfrm>
              <a:custGeom>
                <a:avLst/>
                <a:gdLst/>
                <a:ahLst/>
                <a:cxnLst>
                  <a:cxn ang="0">
                    <a:pos x="26" y="9"/>
                  </a:cxn>
                  <a:cxn ang="0">
                    <a:pos x="10" y="9"/>
                  </a:cxn>
                  <a:cxn ang="0">
                    <a:pos x="0" y="4"/>
                  </a:cxn>
                  <a:cxn ang="0">
                    <a:pos x="8" y="1"/>
                  </a:cxn>
                  <a:cxn ang="0">
                    <a:pos x="26" y="4"/>
                  </a:cxn>
                  <a:cxn ang="0">
                    <a:pos x="39" y="0"/>
                  </a:cxn>
                  <a:cxn ang="0">
                    <a:pos x="26" y="9"/>
                  </a:cxn>
                </a:cxnLst>
                <a:rect l="0" t="0" r="r" b="b"/>
                <a:pathLst>
                  <a:path w="39" h="9">
                    <a:moveTo>
                      <a:pt x="26" y="9"/>
                    </a:moveTo>
                    <a:cubicBezTo>
                      <a:pt x="20" y="9"/>
                      <a:pt x="13" y="9"/>
                      <a:pt x="10" y="9"/>
                    </a:cubicBezTo>
                    <a:cubicBezTo>
                      <a:pt x="7" y="9"/>
                      <a:pt x="0" y="9"/>
                      <a:pt x="0" y="4"/>
                    </a:cubicBezTo>
                    <a:cubicBezTo>
                      <a:pt x="0" y="1"/>
                      <a:pt x="5" y="1"/>
                      <a:pt x="8" y="1"/>
                    </a:cubicBezTo>
                    <a:cubicBezTo>
                      <a:pt x="16" y="1"/>
                      <a:pt x="19" y="4"/>
                      <a:pt x="26" y="4"/>
                    </a:cubicBezTo>
                    <a:cubicBezTo>
                      <a:pt x="32" y="4"/>
                      <a:pt x="35" y="2"/>
                      <a:pt x="39" y="0"/>
                    </a:cubicBezTo>
                    <a:cubicBezTo>
                      <a:pt x="35" y="6"/>
                      <a:pt x="32" y="7"/>
                      <a:pt x="26" y="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30" name="îślîḓè"/>
              <p:cNvSpPr/>
              <p:nvPr/>
            </p:nvSpPr>
            <p:spPr bwMode="auto">
              <a:xfrm>
                <a:off x="7983886" y="3753188"/>
                <a:ext cx="45647" cy="15877"/>
              </a:xfrm>
              <a:custGeom>
                <a:avLst/>
                <a:gdLst/>
                <a:ahLst/>
                <a:cxnLst>
                  <a:cxn ang="0">
                    <a:pos x="27" y="6"/>
                  </a:cxn>
                  <a:cxn ang="0">
                    <a:pos x="23" y="6"/>
                  </a:cxn>
                  <a:cxn ang="0">
                    <a:pos x="19" y="5"/>
                  </a:cxn>
                  <a:cxn ang="0">
                    <a:pos x="9" y="9"/>
                  </a:cxn>
                  <a:cxn ang="0">
                    <a:pos x="0" y="6"/>
                  </a:cxn>
                  <a:cxn ang="0">
                    <a:pos x="7" y="1"/>
                  </a:cxn>
                  <a:cxn ang="0">
                    <a:pos x="16" y="3"/>
                  </a:cxn>
                  <a:cxn ang="0">
                    <a:pos x="16" y="0"/>
                  </a:cxn>
                  <a:cxn ang="0">
                    <a:pos x="27" y="0"/>
                  </a:cxn>
                  <a:cxn ang="0">
                    <a:pos x="27" y="6"/>
                  </a:cxn>
                </a:cxnLst>
                <a:rect l="0" t="0" r="r" b="b"/>
                <a:pathLst>
                  <a:path w="27" h="9">
                    <a:moveTo>
                      <a:pt x="27" y="6"/>
                    </a:moveTo>
                    <a:cubicBezTo>
                      <a:pt x="23" y="6"/>
                      <a:pt x="23" y="6"/>
                      <a:pt x="23" y="6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5" y="6"/>
                      <a:pt x="13" y="9"/>
                      <a:pt x="9" y="9"/>
                    </a:cubicBezTo>
                    <a:cubicBezTo>
                      <a:pt x="5" y="9"/>
                      <a:pt x="0" y="8"/>
                      <a:pt x="0" y="6"/>
                    </a:cubicBezTo>
                    <a:cubicBezTo>
                      <a:pt x="0" y="1"/>
                      <a:pt x="3" y="1"/>
                      <a:pt x="7" y="1"/>
                    </a:cubicBezTo>
                    <a:cubicBezTo>
                      <a:pt x="11" y="1"/>
                      <a:pt x="13" y="2"/>
                      <a:pt x="16" y="3"/>
                    </a:cubicBezTo>
                    <a:cubicBezTo>
                      <a:pt x="16" y="2"/>
                      <a:pt x="16" y="1"/>
                      <a:pt x="16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3"/>
                      <a:pt x="26" y="5"/>
                      <a:pt x="27" y="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31" name="ïšḻídê"/>
              <p:cNvSpPr/>
              <p:nvPr/>
            </p:nvSpPr>
            <p:spPr bwMode="auto">
              <a:xfrm>
                <a:off x="8031516" y="3771050"/>
                <a:ext cx="33739" cy="23815"/>
              </a:xfrm>
              <a:custGeom>
                <a:avLst/>
                <a:gdLst/>
                <a:ahLst/>
                <a:cxnLst>
                  <a:cxn ang="0">
                    <a:pos x="15" y="14"/>
                  </a:cxn>
                  <a:cxn ang="0">
                    <a:pos x="12" y="9"/>
                  </a:cxn>
                  <a:cxn ang="0">
                    <a:pos x="0" y="4"/>
                  </a:cxn>
                  <a:cxn ang="0">
                    <a:pos x="9" y="1"/>
                  </a:cxn>
                  <a:cxn ang="0">
                    <a:pos x="13" y="1"/>
                  </a:cxn>
                  <a:cxn ang="0">
                    <a:pos x="20" y="11"/>
                  </a:cxn>
                  <a:cxn ang="0">
                    <a:pos x="16" y="14"/>
                  </a:cxn>
                  <a:cxn ang="0">
                    <a:pos x="15" y="14"/>
                  </a:cxn>
                </a:cxnLst>
                <a:rect l="0" t="0" r="r" b="b"/>
                <a:pathLst>
                  <a:path w="20" h="14">
                    <a:moveTo>
                      <a:pt x="15" y="14"/>
                    </a:moveTo>
                    <a:cubicBezTo>
                      <a:pt x="12" y="14"/>
                      <a:pt x="12" y="10"/>
                      <a:pt x="12" y="9"/>
                    </a:cubicBezTo>
                    <a:cubicBezTo>
                      <a:pt x="8" y="9"/>
                      <a:pt x="0" y="8"/>
                      <a:pt x="0" y="4"/>
                    </a:cubicBezTo>
                    <a:cubicBezTo>
                      <a:pt x="0" y="0"/>
                      <a:pt x="6" y="1"/>
                      <a:pt x="9" y="1"/>
                    </a:cubicBezTo>
                    <a:cubicBezTo>
                      <a:pt x="10" y="1"/>
                      <a:pt x="12" y="1"/>
                      <a:pt x="13" y="1"/>
                    </a:cubicBezTo>
                    <a:cubicBezTo>
                      <a:pt x="13" y="7"/>
                      <a:pt x="20" y="6"/>
                      <a:pt x="20" y="11"/>
                    </a:cubicBezTo>
                    <a:cubicBezTo>
                      <a:pt x="20" y="13"/>
                      <a:pt x="18" y="14"/>
                      <a:pt x="16" y="14"/>
                    </a:cubicBezTo>
                    <a:cubicBezTo>
                      <a:pt x="16" y="14"/>
                      <a:pt x="15" y="14"/>
                      <a:pt x="15" y="1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32" name="i$ḷídé"/>
              <p:cNvSpPr/>
              <p:nvPr/>
            </p:nvSpPr>
            <p:spPr bwMode="auto">
              <a:xfrm>
                <a:off x="7968009" y="3751204"/>
                <a:ext cx="13893" cy="1389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8" y="3"/>
                  </a:cxn>
                  <a:cxn ang="0">
                    <a:pos x="3" y="8"/>
                  </a:cxn>
                  <a:cxn ang="0">
                    <a:pos x="0" y="5"/>
                  </a:cxn>
                  <a:cxn ang="0">
                    <a:pos x="0" y="0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cubicBezTo>
                      <a:pt x="1" y="0"/>
                      <a:pt x="2" y="0"/>
                      <a:pt x="4" y="0"/>
                    </a:cubicBezTo>
                    <a:cubicBezTo>
                      <a:pt x="6" y="0"/>
                      <a:pt x="6" y="2"/>
                      <a:pt x="8" y="3"/>
                    </a:cubicBezTo>
                    <a:cubicBezTo>
                      <a:pt x="7" y="6"/>
                      <a:pt x="5" y="8"/>
                      <a:pt x="3" y="8"/>
                    </a:cubicBezTo>
                    <a:cubicBezTo>
                      <a:pt x="2" y="8"/>
                      <a:pt x="0" y="6"/>
                      <a:pt x="0" y="5"/>
                    </a:cubicBezTo>
                    <a:cubicBezTo>
                      <a:pt x="0" y="3"/>
                      <a:pt x="0" y="2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33" name="î$ḻíḍê"/>
              <p:cNvSpPr/>
              <p:nvPr/>
            </p:nvSpPr>
            <p:spPr bwMode="auto">
              <a:xfrm>
                <a:off x="8124792" y="3753188"/>
                <a:ext cx="73431" cy="43662"/>
              </a:xfrm>
              <a:custGeom>
                <a:avLst/>
                <a:gdLst/>
                <a:ahLst/>
                <a:cxnLst>
                  <a:cxn ang="0">
                    <a:pos x="19" y="13"/>
                  </a:cxn>
                  <a:cxn ang="0">
                    <a:pos x="17" y="19"/>
                  </a:cxn>
                  <a:cxn ang="0">
                    <a:pos x="3" y="26"/>
                  </a:cxn>
                  <a:cxn ang="0">
                    <a:pos x="0" y="22"/>
                  </a:cxn>
                  <a:cxn ang="0">
                    <a:pos x="15" y="10"/>
                  </a:cxn>
                  <a:cxn ang="0">
                    <a:pos x="17" y="6"/>
                  </a:cxn>
                  <a:cxn ang="0">
                    <a:pos x="45" y="3"/>
                  </a:cxn>
                  <a:cxn ang="0">
                    <a:pos x="19" y="13"/>
                  </a:cxn>
                </a:cxnLst>
                <a:rect l="0" t="0" r="r" b="b"/>
                <a:pathLst>
                  <a:path w="45" h="26">
                    <a:moveTo>
                      <a:pt x="19" y="13"/>
                    </a:moveTo>
                    <a:cubicBezTo>
                      <a:pt x="16" y="13"/>
                      <a:pt x="19" y="17"/>
                      <a:pt x="17" y="19"/>
                    </a:cubicBezTo>
                    <a:cubicBezTo>
                      <a:pt x="15" y="21"/>
                      <a:pt x="8" y="26"/>
                      <a:pt x="3" y="26"/>
                    </a:cubicBezTo>
                    <a:cubicBezTo>
                      <a:pt x="1" y="26"/>
                      <a:pt x="0" y="24"/>
                      <a:pt x="0" y="22"/>
                    </a:cubicBezTo>
                    <a:cubicBezTo>
                      <a:pt x="0" y="12"/>
                      <a:pt x="8" y="12"/>
                      <a:pt x="15" y="10"/>
                    </a:cubicBezTo>
                    <a:cubicBezTo>
                      <a:pt x="16" y="10"/>
                      <a:pt x="16" y="7"/>
                      <a:pt x="17" y="6"/>
                    </a:cubicBezTo>
                    <a:cubicBezTo>
                      <a:pt x="21" y="2"/>
                      <a:pt x="41" y="0"/>
                      <a:pt x="45" y="3"/>
                    </a:cubicBezTo>
                    <a:cubicBezTo>
                      <a:pt x="40" y="9"/>
                      <a:pt x="26" y="13"/>
                      <a:pt x="19" y="1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34" name="iSḻíďè"/>
              <p:cNvSpPr/>
              <p:nvPr/>
            </p:nvSpPr>
            <p:spPr bwMode="auto">
              <a:xfrm>
                <a:off x="8176391" y="3636097"/>
                <a:ext cx="21831" cy="23815"/>
              </a:xfrm>
              <a:custGeom>
                <a:avLst/>
                <a:gdLst/>
                <a:ahLst/>
                <a:cxnLst>
                  <a:cxn ang="0">
                    <a:pos x="13" y="8"/>
                  </a:cxn>
                  <a:cxn ang="0">
                    <a:pos x="8" y="14"/>
                  </a:cxn>
                  <a:cxn ang="0">
                    <a:pos x="0" y="5"/>
                  </a:cxn>
                  <a:cxn ang="0">
                    <a:pos x="13" y="8"/>
                  </a:cxn>
                </a:cxnLst>
                <a:rect l="0" t="0" r="r" b="b"/>
                <a:pathLst>
                  <a:path w="13" h="14">
                    <a:moveTo>
                      <a:pt x="13" y="8"/>
                    </a:moveTo>
                    <a:cubicBezTo>
                      <a:pt x="13" y="9"/>
                      <a:pt x="10" y="14"/>
                      <a:pt x="8" y="14"/>
                    </a:cubicBezTo>
                    <a:cubicBezTo>
                      <a:pt x="6" y="14"/>
                      <a:pt x="0" y="9"/>
                      <a:pt x="0" y="5"/>
                    </a:cubicBezTo>
                    <a:cubicBezTo>
                      <a:pt x="0" y="0"/>
                      <a:pt x="13" y="4"/>
                      <a:pt x="13" y="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35" name="ïśļiḍé"/>
              <p:cNvSpPr/>
              <p:nvPr/>
            </p:nvSpPr>
            <p:spPr bwMode="auto">
              <a:xfrm>
                <a:off x="8214099" y="3638081"/>
                <a:ext cx="59538" cy="17862"/>
              </a:xfrm>
              <a:custGeom>
                <a:avLst/>
                <a:gdLst/>
                <a:ahLst/>
                <a:cxnLst>
                  <a:cxn ang="0">
                    <a:pos x="31" y="2"/>
                  </a:cxn>
                  <a:cxn ang="0">
                    <a:pos x="36" y="10"/>
                  </a:cxn>
                  <a:cxn ang="0">
                    <a:pos x="34" y="10"/>
                  </a:cxn>
                  <a:cxn ang="0">
                    <a:pos x="18" y="6"/>
                  </a:cxn>
                  <a:cxn ang="0">
                    <a:pos x="8" y="6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23" y="0"/>
                  </a:cxn>
                  <a:cxn ang="0">
                    <a:pos x="30" y="2"/>
                  </a:cxn>
                  <a:cxn ang="0">
                    <a:pos x="31" y="2"/>
                  </a:cxn>
                </a:cxnLst>
                <a:rect l="0" t="0" r="r" b="b"/>
                <a:pathLst>
                  <a:path w="36" h="10">
                    <a:moveTo>
                      <a:pt x="31" y="2"/>
                    </a:moveTo>
                    <a:cubicBezTo>
                      <a:pt x="32" y="5"/>
                      <a:pt x="36" y="6"/>
                      <a:pt x="36" y="10"/>
                    </a:cubicBezTo>
                    <a:cubicBezTo>
                      <a:pt x="36" y="10"/>
                      <a:pt x="35" y="10"/>
                      <a:pt x="34" y="10"/>
                    </a:cubicBezTo>
                    <a:cubicBezTo>
                      <a:pt x="28" y="10"/>
                      <a:pt x="25" y="6"/>
                      <a:pt x="18" y="6"/>
                    </a:cubicBezTo>
                    <a:cubicBezTo>
                      <a:pt x="14" y="6"/>
                      <a:pt x="12" y="6"/>
                      <a:pt x="8" y="6"/>
                    </a:cubicBezTo>
                    <a:cubicBezTo>
                      <a:pt x="6" y="6"/>
                      <a:pt x="0" y="4"/>
                      <a:pt x="0" y="4"/>
                    </a:cubicBezTo>
                    <a:cubicBezTo>
                      <a:pt x="0" y="2"/>
                      <a:pt x="3" y="1"/>
                      <a:pt x="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3"/>
                      <a:pt x="27" y="2"/>
                      <a:pt x="30" y="2"/>
                    </a:cubicBezTo>
                    <a:lnTo>
                      <a:pt x="31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36" name="ïšļîḑè"/>
              <p:cNvSpPr/>
              <p:nvPr/>
            </p:nvSpPr>
            <p:spPr bwMode="auto">
              <a:xfrm>
                <a:off x="8206161" y="3528928"/>
                <a:ext cx="23815" cy="57554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5"/>
                  </a:cxn>
                  <a:cxn ang="0">
                    <a:pos x="14" y="24"/>
                  </a:cxn>
                  <a:cxn ang="0">
                    <a:pos x="11" y="17"/>
                  </a:cxn>
                  <a:cxn ang="0">
                    <a:pos x="15" y="12"/>
                  </a:cxn>
                  <a:cxn ang="0">
                    <a:pos x="4" y="0"/>
                  </a:cxn>
                  <a:cxn ang="0">
                    <a:pos x="0" y="9"/>
                  </a:cxn>
                  <a:cxn ang="0">
                    <a:pos x="3" y="21"/>
                  </a:cxn>
                  <a:cxn ang="0">
                    <a:pos x="3" y="27"/>
                  </a:cxn>
                  <a:cxn ang="0">
                    <a:pos x="9" y="35"/>
                  </a:cxn>
                  <a:cxn ang="0">
                    <a:pos x="4" y="28"/>
                  </a:cxn>
                </a:cxnLst>
                <a:rect l="0" t="0" r="r" b="b"/>
                <a:pathLst>
                  <a:path w="15" h="35">
                    <a:moveTo>
                      <a:pt x="4" y="28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8" y="25"/>
                      <a:pt x="12" y="24"/>
                      <a:pt x="14" y="24"/>
                    </a:cubicBezTo>
                    <a:cubicBezTo>
                      <a:pt x="14" y="20"/>
                      <a:pt x="11" y="20"/>
                      <a:pt x="11" y="17"/>
                    </a:cubicBezTo>
                    <a:cubicBezTo>
                      <a:pt x="11" y="15"/>
                      <a:pt x="15" y="14"/>
                      <a:pt x="15" y="12"/>
                    </a:cubicBezTo>
                    <a:cubicBezTo>
                      <a:pt x="8" y="10"/>
                      <a:pt x="4" y="6"/>
                      <a:pt x="4" y="0"/>
                    </a:cubicBezTo>
                    <a:cubicBezTo>
                      <a:pt x="0" y="2"/>
                      <a:pt x="0" y="5"/>
                      <a:pt x="0" y="9"/>
                    </a:cubicBezTo>
                    <a:cubicBezTo>
                      <a:pt x="0" y="15"/>
                      <a:pt x="3" y="16"/>
                      <a:pt x="3" y="21"/>
                    </a:cubicBezTo>
                    <a:cubicBezTo>
                      <a:pt x="3" y="26"/>
                      <a:pt x="3" y="24"/>
                      <a:pt x="3" y="27"/>
                    </a:cubicBezTo>
                    <a:cubicBezTo>
                      <a:pt x="3" y="30"/>
                      <a:pt x="4" y="35"/>
                      <a:pt x="9" y="35"/>
                    </a:cubicBezTo>
                    <a:cubicBezTo>
                      <a:pt x="7" y="32"/>
                      <a:pt x="6" y="31"/>
                      <a:pt x="4" y="2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37" name="îṡļíďé"/>
              <p:cNvSpPr/>
              <p:nvPr/>
            </p:nvSpPr>
            <p:spPr bwMode="auto">
              <a:xfrm>
                <a:off x="8095024" y="3370161"/>
                <a:ext cx="95261" cy="89307"/>
              </a:xfrm>
              <a:custGeom>
                <a:avLst/>
                <a:gdLst/>
                <a:ahLst/>
                <a:cxnLst>
                  <a:cxn ang="0">
                    <a:pos x="48" y="38"/>
                  </a:cxn>
                  <a:cxn ang="0">
                    <a:pos x="46" y="35"/>
                  </a:cxn>
                  <a:cxn ang="0">
                    <a:pos x="42" y="40"/>
                  </a:cxn>
                  <a:cxn ang="0">
                    <a:pos x="47" y="48"/>
                  </a:cxn>
                  <a:cxn ang="0">
                    <a:pos x="42" y="53"/>
                  </a:cxn>
                  <a:cxn ang="0">
                    <a:pos x="40" y="50"/>
                  </a:cxn>
                  <a:cxn ang="0">
                    <a:pos x="36" y="51"/>
                  </a:cxn>
                  <a:cxn ang="0">
                    <a:pos x="26" y="37"/>
                  </a:cxn>
                  <a:cxn ang="0">
                    <a:pos x="28" y="32"/>
                  </a:cxn>
                  <a:cxn ang="0">
                    <a:pos x="27" y="29"/>
                  </a:cxn>
                  <a:cxn ang="0">
                    <a:pos x="21" y="28"/>
                  </a:cxn>
                  <a:cxn ang="0">
                    <a:pos x="21" y="32"/>
                  </a:cxn>
                  <a:cxn ang="0">
                    <a:pos x="17" y="30"/>
                  </a:cxn>
                  <a:cxn ang="0">
                    <a:pos x="16" y="32"/>
                  </a:cxn>
                  <a:cxn ang="0">
                    <a:pos x="12" y="28"/>
                  </a:cxn>
                  <a:cxn ang="0">
                    <a:pos x="4" y="45"/>
                  </a:cxn>
                  <a:cxn ang="0">
                    <a:pos x="4" y="36"/>
                  </a:cxn>
                  <a:cxn ang="0">
                    <a:pos x="2" y="32"/>
                  </a:cxn>
                  <a:cxn ang="0">
                    <a:pos x="5" y="22"/>
                  </a:cxn>
                  <a:cxn ang="0">
                    <a:pos x="19" y="14"/>
                  </a:cxn>
                  <a:cxn ang="0">
                    <a:pos x="26" y="20"/>
                  </a:cxn>
                  <a:cxn ang="0">
                    <a:pos x="28" y="20"/>
                  </a:cxn>
                  <a:cxn ang="0">
                    <a:pos x="32" y="15"/>
                  </a:cxn>
                  <a:cxn ang="0">
                    <a:pos x="41" y="9"/>
                  </a:cxn>
                  <a:cxn ang="0">
                    <a:pos x="42" y="0"/>
                  </a:cxn>
                  <a:cxn ang="0">
                    <a:pos x="48" y="4"/>
                  </a:cxn>
                  <a:cxn ang="0">
                    <a:pos x="58" y="33"/>
                  </a:cxn>
                  <a:cxn ang="0">
                    <a:pos x="53" y="46"/>
                  </a:cxn>
                  <a:cxn ang="0">
                    <a:pos x="48" y="36"/>
                  </a:cxn>
                  <a:cxn ang="0">
                    <a:pos x="48" y="38"/>
                  </a:cxn>
                </a:cxnLst>
                <a:rect l="0" t="0" r="r" b="b"/>
                <a:pathLst>
                  <a:path w="58" h="53">
                    <a:moveTo>
                      <a:pt x="48" y="38"/>
                    </a:moveTo>
                    <a:cubicBezTo>
                      <a:pt x="48" y="37"/>
                      <a:pt x="47" y="36"/>
                      <a:pt x="46" y="35"/>
                    </a:cubicBezTo>
                    <a:cubicBezTo>
                      <a:pt x="44" y="37"/>
                      <a:pt x="42" y="38"/>
                      <a:pt x="42" y="40"/>
                    </a:cubicBezTo>
                    <a:cubicBezTo>
                      <a:pt x="42" y="43"/>
                      <a:pt x="47" y="44"/>
                      <a:pt x="47" y="48"/>
                    </a:cubicBezTo>
                    <a:cubicBezTo>
                      <a:pt x="47" y="51"/>
                      <a:pt x="45" y="53"/>
                      <a:pt x="42" y="53"/>
                    </a:cubicBezTo>
                    <a:cubicBezTo>
                      <a:pt x="41" y="53"/>
                      <a:pt x="40" y="51"/>
                      <a:pt x="40" y="50"/>
                    </a:cubicBezTo>
                    <a:cubicBezTo>
                      <a:pt x="39" y="51"/>
                      <a:pt x="37" y="51"/>
                      <a:pt x="36" y="51"/>
                    </a:cubicBezTo>
                    <a:cubicBezTo>
                      <a:pt x="31" y="51"/>
                      <a:pt x="26" y="44"/>
                      <a:pt x="26" y="37"/>
                    </a:cubicBezTo>
                    <a:cubicBezTo>
                      <a:pt x="26" y="34"/>
                      <a:pt x="27" y="33"/>
                      <a:pt x="28" y="32"/>
                    </a:cubicBezTo>
                    <a:cubicBezTo>
                      <a:pt x="28" y="31"/>
                      <a:pt x="27" y="30"/>
                      <a:pt x="27" y="29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30"/>
                      <a:pt x="20" y="31"/>
                      <a:pt x="21" y="32"/>
                    </a:cubicBezTo>
                    <a:cubicBezTo>
                      <a:pt x="18" y="32"/>
                      <a:pt x="18" y="31"/>
                      <a:pt x="17" y="30"/>
                    </a:cubicBezTo>
                    <a:cubicBezTo>
                      <a:pt x="17" y="30"/>
                      <a:pt x="16" y="31"/>
                      <a:pt x="16" y="32"/>
                    </a:cubicBezTo>
                    <a:cubicBezTo>
                      <a:pt x="14" y="31"/>
                      <a:pt x="12" y="28"/>
                      <a:pt x="12" y="28"/>
                    </a:cubicBezTo>
                    <a:cubicBezTo>
                      <a:pt x="8" y="32"/>
                      <a:pt x="8" y="45"/>
                      <a:pt x="4" y="45"/>
                    </a:cubicBezTo>
                    <a:cubicBezTo>
                      <a:pt x="0" y="45"/>
                      <a:pt x="4" y="37"/>
                      <a:pt x="4" y="36"/>
                    </a:cubicBezTo>
                    <a:cubicBezTo>
                      <a:pt x="4" y="35"/>
                      <a:pt x="2" y="33"/>
                      <a:pt x="2" y="32"/>
                    </a:cubicBezTo>
                    <a:cubicBezTo>
                      <a:pt x="2" y="28"/>
                      <a:pt x="4" y="26"/>
                      <a:pt x="5" y="22"/>
                    </a:cubicBezTo>
                    <a:cubicBezTo>
                      <a:pt x="13" y="22"/>
                      <a:pt x="11" y="14"/>
                      <a:pt x="19" y="14"/>
                    </a:cubicBezTo>
                    <a:cubicBezTo>
                      <a:pt x="24" y="14"/>
                      <a:pt x="23" y="20"/>
                      <a:pt x="26" y="20"/>
                    </a:cubicBezTo>
                    <a:cubicBezTo>
                      <a:pt x="27" y="20"/>
                      <a:pt x="27" y="20"/>
                      <a:pt x="28" y="20"/>
                    </a:cubicBezTo>
                    <a:cubicBezTo>
                      <a:pt x="28" y="18"/>
                      <a:pt x="30" y="16"/>
                      <a:pt x="32" y="15"/>
                    </a:cubicBezTo>
                    <a:cubicBezTo>
                      <a:pt x="32" y="10"/>
                      <a:pt x="39" y="12"/>
                      <a:pt x="41" y="9"/>
                    </a:cubicBezTo>
                    <a:cubicBezTo>
                      <a:pt x="42" y="7"/>
                      <a:pt x="42" y="1"/>
                      <a:pt x="42" y="0"/>
                    </a:cubicBezTo>
                    <a:cubicBezTo>
                      <a:pt x="45" y="0"/>
                      <a:pt x="47" y="2"/>
                      <a:pt x="48" y="4"/>
                    </a:cubicBezTo>
                    <a:cubicBezTo>
                      <a:pt x="51" y="7"/>
                      <a:pt x="58" y="30"/>
                      <a:pt x="58" y="33"/>
                    </a:cubicBezTo>
                    <a:cubicBezTo>
                      <a:pt x="58" y="37"/>
                      <a:pt x="53" y="39"/>
                      <a:pt x="53" y="46"/>
                    </a:cubicBezTo>
                    <a:cubicBezTo>
                      <a:pt x="51" y="46"/>
                      <a:pt x="48" y="37"/>
                      <a:pt x="48" y="36"/>
                    </a:cubicBezTo>
                    <a:lnTo>
                      <a:pt x="48" y="3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38" name="îṡľïḓe"/>
              <p:cNvSpPr/>
              <p:nvPr/>
            </p:nvSpPr>
            <p:spPr bwMode="auto">
              <a:xfrm>
                <a:off x="8007700" y="3346345"/>
                <a:ext cx="45647" cy="49616"/>
              </a:xfrm>
              <a:custGeom>
                <a:avLst/>
                <a:gdLst/>
                <a:ahLst/>
                <a:cxnLst>
                  <a:cxn ang="0">
                    <a:pos x="3" y="29"/>
                  </a:cxn>
                  <a:cxn ang="0">
                    <a:pos x="0" y="29"/>
                  </a:cxn>
                  <a:cxn ang="0">
                    <a:pos x="22" y="5"/>
                  </a:cxn>
                  <a:cxn ang="0">
                    <a:pos x="25" y="0"/>
                  </a:cxn>
                  <a:cxn ang="0">
                    <a:pos x="28" y="6"/>
                  </a:cxn>
                  <a:cxn ang="0">
                    <a:pos x="24" y="9"/>
                  </a:cxn>
                  <a:cxn ang="0">
                    <a:pos x="17" y="13"/>
                  </a:cxn>
                  <a:cxn ang="0">
                    <a:pos x="3" y="29"/>
                  </a:cxn>
                </a:cxnLst>
                <a:rect l="0" t="0" r="r" b="b"/>
                <a:pathLst>
                  <a:path w="28" h="29">
                    <a:moveTo>
                      <a:pt x="3" y="29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4" y="18"/>
                      <a:pt x="18" y="13"/>
                      <a:pt x="22" y="5"/>
                    </a:cubicBezTo>
                    <a:cubicBezTo>
                      <a:pt x="23" y="3"/>
                      <a:pt x="23" y="1"/>
                      <a:pt x="25" y="0"/>
                    </a:cubicBezTo>
                    <a:cubicBezTo>
                      <a:pt x="24" y="4"/>
                      <a:pt x="26" y="5"/>
                      <a:pt x="28" y="6"/>
                    </a:cubicBezTo>
                    <a:cubicBezTo>
                      <a:pt x="26" y="8"/>
                      <a:pt x="26" y="9"/>
                      <a:pt x="24" y="9"/>
                    </a:cubicBezTo>
                    <a:cubicBezTo>
                      <a:pt x="23" y="12"/>
                      <a:pt x="20" y="13"/>
                      <a:pt x="17" y="13"/>
                    </a:cubicBezTo>
                    <a:cubicBezTo>
                      <a:pt x="15" y="22"/>
                      <a:pt x="8" y="26"/>
                      <a:pt x="3" y="2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39" name="íśḻíḍé"/>
              <p:cNvSpPr/>
              <p:nvPr/>
            </p:nvSpPr>
            <p:spPr bwMode="auto">
              <a:xfrm>
                <a:off x="8043424" y="3187576"/>
                <a:ext cx="89308" cy="127014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6" y="20"/>
                  </a:cxn>
                  <a:cxn ang="0">
                    <a:pos x="5" y="7"/>
                  </a:cxn>
                  <a:cxn ang="0">
                    <a:pos x="9" y="0"/>
                  </a:cxn>
                  <a:cxn ang="0">
                    <a:pos x="16" y="7"/>
                  </a:cxn>
                  <a:cxn ang="0">
                    <a:pos x="21" y="3"/>
                  </a:cxn>
                  <a:cxn ang="0">
                    <a:pos x="22" y="5"/>
                  </a:cxn>
                  <a:cxn ang="0">
                    <a:pos x="23" y="8"/>
                  </a:cxn>
                  <a:cxn ang="0">
                    <a:pos x="28" y="25"/>
                  </a:cxn>
                  <a:cxn ang="0">
                    <a:pos x="20" y="42"/>
                  </a:cxn>
                  <a:cxn ang="0">
                    <a:pos x="30" y="59"/>
                  </a:cxn>
                  <a:cxn ang="0">
                    <a:pos x="30" y="58"/>
                  </a:cxn>
                  <a:cxn ang="0">
                    <a:pos x="34" y="55"/>
                  </a:cxn>
                  <a:cxn ang="0">
                    <a:pos x="43" y="64"/>
                  </a:cxn>
                  <a:cxn ang="0">
                    <a:pos x="46" y="61"/>
                  </a:cxn>
                  <a:cxn ang="0">
                    <a:pos x="49" y="62"/>
                  </a:cxn>
                  <a:cxn ang="0">
                    <a:pos x="46" y="66"/>
                  </a:cxn>
                  <a:cxn ang="0">
                    <a:pos x="49" y="66"/>
                  </a:cxn>
                  <a:cxn ang="0">
                    <a:pos x="54" y="71"/>
                  </a:cxn>
                  <a:cxn ang="0">
                    <a:pos x="54" y="74"/>
                  </a:cxn>
                  <a:cxn ang="0">
                    <a:pos x="53" y="76"/>
                  </a:cxn>
                  <a:cxn ang="0">
                    <a:pos x="51" y="73"/>
                  </a:cxn>
                  <a:cxn ang="0">
                    <a:pos x="36" y="61"/>
                  </a:cxn>
                  <a:cxn ang="0">
                    <a:pos x="37" y="69"/>
                  </a:cxn>
                  <a:cxn ang="0">
                    <a:pos x="25" y="60"/>
                  </a:cxn>
                  <a:cxn ang="0">
                    <a:pos x="19" y="62"/>
                  </a:cxn>
                  <a:cxn ang="0">
                    <a:pos x="13" y="57"/>
                  </a:cxn>
                  <a:cxn ang="0">
                    <a:pos x="15" y="53"/>
                  </a:cxn>
                  <a:cxn ang="0">
                    <a:pos x="15" y="49"/>
                  </a:cxn>
                  <a:cxn ang="0">
                    <a:pos x="13" y="49"/>
                  </a:cxn>
                  <a:cxn ang="0">
                    <a:pos x="10" y="51"/>
                  </a:cxn>
                  <a:cxn ang="0">
                    <a:pos x="1" y="44"/>
                  </a:cxn>
                  <a:cxn ang="0">
                    <a:pos x="4" y="31"/>
                  </a:cxn>
                </a:cxnLst>
                <a:rect l="0" t="0" r="r" b="b"/>
                <a:pathLst>
                  <a:path w="54" h="76">
                    <a:moveTo>
                      <a:pt x="4" y="31"/>
                    </a:moveTo>
                    <a:cubicBezTo>
                      <a:pt x="6" y="28"/>
                      <a:pt x="6" y="23"/>
                      <a:pt x="6" y="20"/>
                    </a:cubicBezTo>
                    <a:cubicBezTo>
                      <a:pt x="7" y="15"/>
                      <a:pt x="5" y="12"/>
                      <a:pt x="5" y="7"/>
                    </a:cubicBezTo>
                    <a:cubicBezTo>
                      <a:pt x="5" y="3"/>
                      <a:pt x="6" y="0"/>
                      <a:pt x="9" y="0"/>
                    </a:cubicBezTo>
                    <a:cubicBezTo>
                      <a:pt x="13" y="0"/>
                      <a:pt x="12" y="7"/>
                      <a:pt x="16" y="7"/>
                    </a:cubicBezTo>
                    <a:cubicBezTo>
                      <a:pt x="18" y="7"/>
                      <a:pt x="20" y="4"/>
                      <a:pt x="21" y="3"/>
                    </a:cubicBezTo>
                    <a:cubicBezTo>
                      <a:pt x="21" y="3"/>
                      <a:pt x="22" y="4"/>
                      <a:pt x="22" y="5"/>
                    </a:cubicBezTo>
                    <a:cubicBezTo>
                      <a:pt x="22" y="6"/>
                      <a:pt x="23" y="7"/>
                      <a:pt x="23" y="8"/>
                    </a:cubicBezTo>
                    <a:cubicBezTo>
                      <a:pt x="23" y="13"/>
                      <a:pt x="28" y="18"/>
                      <a:pt x="28" y="25"/>
                    </a:cubicBezTo>
                    <a:cubicBezTo>
                      <a:pt x="28" y="33"/>
                      <a:pt x="20" y="34"/>
                      <a:pt x="20" y="42"/>
                    </a:cubicBezTo>
                    <a:cubicBezTo>
                      <a:pt x="20" y="48"/>
                      <a:pt x="26" y="57"/>
                      <a:pt x="30" y="59"/>
                    </a:cubicBezTo>
                    <a:cubicBezTo>
                      <a:pt x="30" y="59"/>
                      <a:pt x="30" y="58"/>
                      <a:pt x="30" y="58"/>
                    </a:cubicBezTo>
                    <a:cubicBezTo>
                      <a:pt x="30" y="56"/>
                      <a:pt x="32" y="54"/>
                      <a:pt x="34" y="55"/>
                    </a:cubicBezTo>
                    <a:cubicBezTo>
                      <a:pt x="39" y="55"/>
                      <a:pt x="40" y="63"/>
                      <a:pt x="43" y="64"/>
                    </a:cubicBezTo>
                    <a:cubicBezTo>
                      <a:pt x="44" y="64"/>
                      <a:pt x="45" y="61"/>
                      <a:pt x="46" y="61"/>
                    </a:cubicBezTo>
                    <a:cubicBezTo>
                      <a:pt x="47" y="61"/>
                      <a:pt x="48" y="62"/>
                      <a:pt x="49" y="62"/>
                    </a:cubicBezTo>
                    <a:cubicBezTo>
                      <a:pt x="48" y="64"/>
                      <a:pt x="46" y="64"/>
                      <a:pt x="46" y="66"/>
                    </a:cubicBezTo>
                    <a:cubicBezTo>
                      <a:pt x="46" y="67"/>
                      <a:pt x="48" y="67"/>
                      <a:pt x="49" y="66"/>
                    </a:cubicBezTo>
                    <a:cubicBezTo>
                      <a:pt x="49" y="69"/>
                      <a:pt x="51" y="71"/>
                      <a:pt x="54" y="71"/>
                    </a:cubicBezTo>
                    <a:cubicBezTo>
                      <a:pt x="54" y="72"/>
                      <a:pt x="54" y="73"/>
                      <a:pt x="54" y="74"/>
                    </a:cubicBezTo>
                    <a:cubicBezTo>
                      <a:pt x="54" y="75"/>
                      <a:pt x="53" y="76"/>
                      <a:pt x="53" y="76"/>
                    </a:cubicBezTo>
                    <a:cubicBezTo>
                      <a:pt x="51" y="76"/>
                      <a:pt x="51" y="74"/>
                      <a:pt x="51" y="73"/>
                    </a:cubicBezTo>
                    <a:cubicBezTo>
                      <a:pt x="48" y="69"/>
                      <a:pt x="39" y="65"/>
                      <a:pt x="36" y="61"/>
                    </a:cubicBezTo>
                    <a:cubicBezTo>
                      <a:pt x="34" y="64"/>
                      <a:pt x="35" y="66"/>
                      <a:pt x="37" y="69"/>
                    </a:cubicBezTo>
                    <a:cubicBezTo>
                      <a:pt x="31" y="69"/>
                      <a:pt x="31" y="60"/>
                      <a:pt x="25" y="60"/>
                    </a:cubicBezTo>
                    <a:cubicBezTo>
                      <a:pt x="23" y="60"/>
                      <a:pt x="21" y="62"/>
                      <a:pt x="19" y="62"/>
                    </a:cubicBezTo>
                    <a:cubicBezTo>
                      <a:pt x="16" y="62"/>
                      <a:pt x="13" y="59"/>
                      <a:pt x="13" y="57"/>
                    </a:cubicBezTo>
                    <a:cubicBezTo>
                      <a:pt x="13" y="55"/>
                      <a:pt x="14" y="53"/>
                      <a:pt x="15" y="53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3" y="49"/>
                      <a:pt x="13" y="49"/>
                      <a:pt x="13" y="49"/>
                    </a:cubicBezTo>
                    <a:cubicBezTo>
                      <a:pt x="12" y="50"/>
                      <a:pt x="11" y="51"/>
                      <a:pt x="10" y="51"/>
                    </a:cubicBezTo>
                    <a:cubicBezTo>
                      <a:pt x="8" y="51"/>
                      <a:pt x="1" y="47"/>
                      <a:pt x="1" y="44"/>
                    </a:cubicBezTo>
                    <a:cubicBezTo>
                      <a:pt x="1" y="38"/>
                      <a:pt x="0" y="30"/>
                      <a:pt x="4" y="3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40" name="íṥḻîḍé"/>
              <p:cNvSpPr/>
              <p:nvPr/>
            </p:nvSpPr>
            <p:spPr bwMode="auto">
              <a:xfrm>
                <a:off x="8136699" y="3314592"/>
                <a:ext cx="29770" cy="51600"/>
              </a:xfrm>
              <a:custGeom>
                <a:avLst/>
                <a:gdLst/>
                <a:ahLst/>
                <a:cxnLst>
                  <a:cxn ang="0">
                    <a:pos x="16" y="20"/>
                  </a:cxn>
                  <a:cxn ang="0">
                    <a:pos x="10" y="20"/>
                  </a:cxn>
                  <a:cxn ang="0">
                    <a:pos x="14" y="28"/>
                  </a:cxn>
                  <a:cxn ang="0">
                    <a:pos x="14" y="30"/>
                  </a:cxn>
                  <a:cxn ang="0">
                    <a:pos x="10" y="30"/>
                  </a:cxn>
                  <a:cxn ang="0">
                    <a:pos x="8" y="25"/>
                  </a:cxn>
                  <a:cxn ang="0">
                    <a:pos x="8" y="23"/>
                  </a:cxn>
                  <a:cxn ang="0">
                    <a:pos x="2" y="17"/>
                  </a:cxn>
                  <a:cxn ang="0">
                    <a:pos x="2" y="15"/>
                  </a:cxn>
                  <a:cxn ang="0">
                    <a:pos x="8" y="15"/>
                  </a:cxn>
                  <a:cxn ang="0">
                    <a:pos x="10" y="13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13" y="2"/>
                  </a:cxn>
                  <a:cxn ang="0">
                    <a:pos x="13" y="6"/>
                  </a:cxn>
                  <a:cxn ang="0">
                    <a:pos x="15" y="6"/>
                  </a:cxn>
                  <a:cxn ang="0">
                    <a:pos x="15" y="12"/>
                  </a:cxn>
                  <a:cxn ang="0">
                    <a:pos x="18" y="15"/>
                  </a:cxn>
                  <a:cxn ang="0">
                    <a:pos x="16" y="20"/>
                  </a:cxn>
                </a:cxnLst>
                <a:rect l="0" t="0" r="r" b="b"/>
                <a:pathLst>
                  <a:path w="18" h="30">
                    <a:moveTo>
                      <a:pt x="16" y="20"/>
                    </a:move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3"/>
                      <a:pt x="12" y="27"/>
                      <a:pt x="14" y="28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3" y="30"/>
                      <a:pt x="11" y="30"/>
                      <a:pt x="10" y="30"/>
                    </a:cubicBezTo>
                    <a:cubicBezTo>
                      <a:pt x="7" y="30"/>
                      <a:pt x="7" y="27"/>
                      <a:pt x="8" y="25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23"/>
                      <a:pt x="3" y="19"/>
                      <a:pt x="2" y="17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4" y="15"/>
                      <a:pt x="7" y="15"/>
                      <a:pt x="8" y="15"/>
                    </a:cubicBezTo>
                    <a:cubicBezTo>
                      <a:pt x="8" y="15"/>
                      <a:pt x="10" y="14"/>
                      <a:pt x="10" y="13"/>
                    </a:cubicBezTo>
                    <a:cubicBezTo>
                      <a:pt x="10" y="8"/>
                      <a:pt x="1" y="5"/>
                      <a:pt x="0" y="2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7" y="0"/>
                      <a:pt x="9" y="2"/>
                      <a:pt x="13" y="2"/>
                    </a:cubicBezTo>
                    <a:cubicBezTo>
                      <a:pt x="13" y="3"/>
                      <a:pt x="13" y="5"/>
                      <a:pt x="13" y="6"/>
                    </a:cubicBezTo>
                    <a:cubicBezTo>
                      <a:pt x="13" y="6"/>
                      <a:pt x="14" y="6"/>
                      <a:pt x="15" y="6"/>
                    </a:cubicBezTo>
                    <a:cubicBezTo>
                      <a:pt x="15" y="8"/>
                      <a:pt x="15" y="12"/>
                      <a:pt x="15" y="12"/>
                    </a:cubicBezTo>
                    <a:cubicBezTo>
                      <a:pt x="15" y="12"/>
                      <a:pt x="18" y="15"/>
                      <a:pt x="18" y="15"/>
                    </a:cubicBezTo>
                    <a:cubicBezTo>
                      <a:pt x="18" y="18"/>
                      <a:pt x="17" y="19"/>
                      <a:pt x="16" y="2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41" name="ísḷiḑe"/>
              <p:cNvSpPr/>
              <p:nvPr/>
            </p:nvSpPr>
            <p:spPr bwMode="auto">
              <a:xfrm>
                <a:off x="8093038" y="3328483"/>
                <a:ext cx="23815" cy="31753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14" y="7"/>
                  </a:cxn>
                  <a:cxn ang="0">
                    <a:pos x="1" y="19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5" y="2"/>
                  </a:cxn>
                  <a:cxn ang="0">
                    <a:pos x="3" y="1"/>
                  </a:cxn>
                </a:cxnLst>
                <a:rect l="0" t="0" r="r" b="b"/>
                <a:pathLst>
                  <a:path w="14" h="19">
                    <a:moveTo>
                      <a:pt x="3" y="1"/>
                    </a:moveTo>
                    <a:cubicBezTo>
                      <a:pt x="4" y="3"/>
                      <a:pt x="14" y="4"/>
                      <a:pt x="14" y="7"/>
                    </a:cubicBezTo>
                    <a:cubicBezTo>
                      <a:pt x="14" y="14"/>
                      <a:pt x="5" y="17"/>
                      <a:pt x="1" y="19"/>
                    </a:cubicBezTo>
                    <a:cubicBezTo>
                      <a:pt x="1" y="13"/>
                      <a:pt x="0" y="6"/>
                      <a:pt x="0" y="2"/>
                    </a:cubicBezTo>
                    <a:cubicBezTo>
                      <a:pt x="0" y="1"/>
                      <a:pt x="2" y="0"/>
                      <a:pt x="2" y="0"/>
                    </a:cubicBezTo>
                    <a:cubicBezTo>
                      <a:pt x="3" y="0"/>
                      <a:pt x="4" y="2"/>
                      <a:pt x="5" y="2"/>
                    </a:cubicBezTo>
                    <a:lnTo>
                      <a:pt x="3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42" name="iSļîďe"/>
              <p:cNvSpPr/>
              <p:nvPr/>
            </p:nvSpPr>
            <p:spPr bwMode="auto">
              <a:xfrm>
                <a:off x="8104946" y="3348329"/>
                <a:ext cx="23815" cy="39692"/>
              </a:xfrm>
              <a:custGeom>
                <a:avLst/>
                <a:gdLst/>
                <a:ahLst/>
                <a:cxnLst>
                  <a:cxn ang="0">
                    <a:pos x="14" y="5"/>
                  </a:cxn>
                  <a:cxn ang="0">
                    <a:pos x="9" y="17"/>
                  </a:cxn>
                  <a:cxn ang="0">
                    <a:pos x="11" y="22"/>
                  </a:cxn>
                  <a:cxn ang="0">
                    <a:pos x="9" y="24"/>
                  </a:cxn>
                  <a:cxn ang="0">
                    <a:pos x="0" y="14"/>
                  </a:cxn>
                  <a:cxn ang="0">
                    <a:pos x="4" y="12"/>
                  </a:cxn>
                  <a:cxn ang="0">
                    <a:pos x="8" y="1"/>
                  </a:cxn>
                  <a:cxn ang="0">
                    <a:pos x="14" y="5"/>
                  </a:cxn>
                </a:cxnLst>
                <a:rect l="0" t="0" r="r" b="b"/>
                <a:pathLst>
                  <a:path w="14" h="24">
                    <a:moveTo>
                      <a:pt x="14" y="5"/>
                    </a:moveTo>
                    <a:cubicBezTo>
                      <a:pt x="14" y="10"/>
                      <a:pt x="10" y="13"/>
                      <a:pt x="9" y="17"/>
                    </a:cubicBezTo>
                    <a:cubicBezTo>
                      <a:pt x="9" y="21"/>
                      <a:pt x="11" y="20"/>
                      <a:pt x="11" y="22"/>
                    </a:cubicBezTo>
                    <a:cubicBezTo>
                      <a:pt x="11" y="23"/>
                      <a:pt x="10" y="24"/>
                      <a:pt x="9" y="24"/>
                    </a:cubicBezTo>
                    <a:cubicBezTo>
                      <a:pt x="7" y="24"/>
                      <a:pt x="0" y="17"/>
                      <a:pt x="0" y="14"/>
                    </a:cubicBezTo>
                    <a:cubicBezTo>
                      <a:pt x="0" y="13"/>
                      <a:pt x="3" y="12"/>
                      <a:pt x="4" y="12"/>
                    </a:cubicBezTo>
                    <a:cubicBezTo>
                      <a:pt x="4" y="11"/>
                      <a:pt x="6" y="1"/>
                      <a:pt x="8" y="1"/>
                    </a:cubicBezTo>
                    <a:cubicBezTo>
                      <a:pt x="12" y="0"/>
                      <a:pt x="14" y="3"/>
                      <a:pt x="14" y="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43" name="íŝ1íḑé"/>
              <p:cNvSpPr/>
              <p:nvPr/>
            </p:nvSpPr>
            <p:spPr bwMode="auto">
              <a:xfrm>
                <a:off x="8126777" y="3350314"/>
                <a:ext cx="9924" cy="25801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15"/>
                  </a:cxn>
                  <a:cxn ang="0">
                    <a:pos x="0" y="15"/>
                  </a:cxn>
                  <a:cxn ang="0">
                    <a:pos x="4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15">
                    <a:moveTo>
                      <a:pt x="7" y="0"/>
                    </a:moveTo>
                    <a:cubicBezTo>
                      <a:pt x="7" y="7"/>
                      <a:pt x="2" y="9"/>
                      <a:pt x="2" y="15"/>
                    </a:cubicBezTo>
                    <a:cubicBezTo>
                      <a:pt x="2" y="15"/>
                      <a:pt x="0" y="15"/>
                      <a:pt x="0" y="15"/>
                    </a:cubicBezTo>
                    <a:cubicBezTo>
                      <a:pt x="1" y="10"/>
                      <a:pt x="4" y="7"/>
                      <a:pt x="4" y="0"/>
                    </a:cubicBezTo>
                    <a:cubicBezTo>
                      <a:pt x="5" y="0"/>
                      <a:pt x="6" y="0"/>
                      <a:pt x="7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44" name="ïşļíḑe"/>
              <p:cNvSpPr/>
              <p:nvPr/>
            </p:nvSpPr>
            <p:spPr bwMode="auto">
              <a:xfrm>
                <a:off x="8132731" y="3366191"/>
                <a:ext cx="13893" cy="1389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3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cubicBezTo>
                      <a:pt x="8" y="4"/>
                      <a:pt x="6" y="8"/>
                      <a:pt x="2" y="8"/>
                    </a:cubicBezTo>
                    <a:cubicBezTo>
                      <a:pt x="1" y="8"/>
                      <a:pt x="0" y="6"/>
                      <a:pt x="0" y="6"/>
                    </a:cubicBezTo>
                    <a:cubicBezTo>
                      <a:pt x="0" y="3"/>
                      <a:pt x="2" y="2"/>
                      <a:pt x="3" y="0"/>
                    </a:cubicBezTo>
                    <a:cubicBezTo>
                      <a:pt x="5" y="1"/>
                      <a:pt x="7" y="1"/>
                      <a:pt x="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45" name="îṩľïḍe"/>
              <p:cNvSpPr/>
              <p:nvPr/>
            </p:nvSpPr>
            <p:spPr bwMode="auto">
              <a:xfrm>
                <a:off x="8116853" y="3314592"/>
                <a:ext cx="15877" cy="21831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0" y="10"/>
                  </a:cxn>
                  <a:cxn ang="0">
                    <a:pos x="6" y="6"/>
                  </a:cxn>
                  <a:cxn ang="0">
                    <a:pos x="0" y="6"/>
                  </a:cxn>
                </a:cxnLst>
                <a:rect l="0" t="0" r="r" b="b"/>
                <a:pathLst>
                  <a:path w="10" h="12">
                    <a:moveTo>
                      <a:pt x="0" y="6"/>
                    </a:moveTo>
                    <a:cubicBezTo>
                      <a:pt x="0" y="3"/>
                      <a:pt x="0" y="2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4"/>
                      <a:pt x="10" y="5"/>
                      <a:pt x="10" y="10"/>
                    </a:cubicBezTo>
                    <a:cubicBezTo>
                      <a:pt x="10" y="12"/>
                      <a:pt x="6" y="8"/>
                      <a:pt x="6" y="6"/>
                    </a:cubicBezTo>
                    <a:cubicBezTo>
                      <a:pt x="4" y="5"/>
                      <a:pt x="2" y="6"/>
                      <a:pt x="0" y="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46" name="íşḻïdê"/>
              <p:cNvSpPr/>
              <p:nvPr/>
            </p:nvSpPr>
            <p:spPr bwMode="auto">
              <a:xfrm>
                <a:off x="8061284" y="3294746"/>
                <a:ext cx="23815" cy="25801"/>
              </a:xfrm>
              <a:custGeom>
                <a:avLst/>
                <a:gdLst/>
                <a:ahLst/>
                <a:cxnLst>
                  <a:cxn ang="0">
                    <a:pos x="11" y="15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4" y="7"/>
                  </a:cxn>
                  <a:cxn ang="0">
                    <a:pos x="11" y="15"/>
                  </a:cxn>
                </a:cxnLst>
                <a:rect l="0" t="0" r="r" b="b"/>
                <a:pathLst>
                  <a:path w="15" h="15">
                    <a:moveTo>
                      <a:pt x="11" y="15"/>
                    </a:moveTo>
                    <a:cubicBezTo>
                      <a:pt x="9" y="15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8" y="3"/>
                      <a:pt x="13" y="2"/>
                      <a:pt x="14" y="7"/>
                    </a:cubicBezTo>
                    <a:cubicBezTo>
                      <a:pt x="15" y="10"/>
                      <a:pt x="13" y="15"/>
                      <a:pt x="11" y="1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47" name="ïṥḷiḓé"/>
              <p:cNvSpPr/>
              <p:nvPr/>
            </p:nvSpPr>
            <p:spPr bwMode="auto">
              <a:xfrm>
                <a:off x="8085100" y="3298714"/>
                <a:ext cx="7939" cy="198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1" y="1"/>
                      <a:pt x="3" y="1"/>
                      <a:pt x="4" y="1"/>
                    </a:cubicBezTo>
                    <a:cubicBezTo>
                      <a:pt x="3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48" name="îşľïdé"/>
              <p:cNvSpPr/>
              <p:nvPr/>
            </p:nvSpPr>
            <p:spPr bwMode="auto">
              <a:xfrm>
                <a:off x="8049377" y="3034761"/>
                <a:ext cx="45647" cy="63508"/>
              </a:xfrm>
              <a:custGeom>
                <a:avLst/>
                <a:gdLst/>
                <a:ahLst/>
                <a:cxnLst>
                  <a:cxn ang="0">
                    <a:pos x="8" y="39"/>
                  </a:cxn>
                  <a:cxn ang="0">
                    <a:pos x="1" y="26"/>
                  </a:cxn>
                  <a:cxn ang="0">
                    <a:pos x="16" y="0"/>
                  </a:cxn>
                  <a:cxn ang="0">
                    <a:pos x="8" y="39"/>
                  </a:cxn>
                </a:cxnLst>
                <a:rect l="0" t="0" r="r" b="b"/>
                <a:pathLst>
                  <a:path w="27" h="39">
                    <a:moveTo>
                      <a:pt x="8" y="39"/>
                    </a:moveTo>
                    <a:cubicBezTo>
                      <a:pt x="0" y="39"/>
                      <a:pt x="1" y="33"/>
                      <a:pt x="1" y="26"/>
                    </a:cubicBezTo>
                    <a:cubicBezTo>
                      <a:pt x="1" y="17"/>
                      <a:pt x="10" y="0"/>
                      <a:pt x="16" y="0"/>
                    </a:cubicBezTo>
                    <a:cubicBezTo>
                      <a:pt x="27" y="0"/>
                      <a:pt x="18" y="39"/>
                      <a:pt x="8" y="3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49" name="îşḻíḑé"/>
              <p:cNvSpPr/>
              <p:nvPr/>
            </p:nvSpPr>
            <p:spPr bwMode="auto">
              <a:xfrm>
                <a:off x="7807255" y="3147885"/>
                <a:ext cx="51600" cy="43662"/>
              </a:xfrm>
              <a:custGeom>
                <a:avLst/>
                <a:gdLst/>
                <a:ahLst/>
                <a:cxnLst>
                  <a:cxn ang="0">
                    <a:pos x="2" y="11"/>
                  </a:cxn>
                  <a:cxn ang="0">
                    <a:pos x="26" y="0"/>
                  </a:cxn>
                  <a:cxn ang="0">
                    <a:pos x="31" y="7"/>
                  </a:cxn>
                  <a:cxn ang="0">
                    <a:pos x="11" y="27"/>
                  </a:cxn>
                  <a:cxn ang="0">
                    <a:pos x="2" y="18"/>
                  </a:cxn>
                  <a:cxn ang="0">
                    <a:pos x="2" y="11"/>
                  </a:cxn>
                </a:cxnLst>
                <a:rect l="0" t="0" r="r" b="b"/>
                <a:pathLst>
                  <a:path w="31" h="27">
                    <a:moveTo>
                      <a:pt x="2" y="11"/>
                    </a:moveTo>
                    <a:cubicBezTo>
                      <a:pt x="5" y="11"/>
                      <a:pt x="20" y="0"/>
                      <a:pt x="26" y="0"/>
                    </a:cubicBezTo>
                    <a:cubicBezTo>
                      <a:pt x="28" y="0"/>
                      <a:pt x="31" y="4"/>
                      <a:pt x="31" y="7"/>
                    </a:cubicBezTo>
                    <a:cubicBezTo>
                      <a:pt x="31" y="13"/>
                      <a:pt x="18" y="27"/>
                      <a:pt x="11" y="27"/>
                    </a:cubicBezTo>
                    <a:cubicBezTo>
                      <a:pt x="5" y="27"/>
                      <a:pt x="2" y="24"/>
                      <a:pt x="2" y="18"/>
                    </a:cubicBezTo>
                    <a:cubicBezTo>
                      <a:pt x="2" y="15"/>
                      <a:pt x="0" y="11"/>
                      <a:pt x="2" y="1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50" name="iSļîḍe"/>
              <p:cNvSpPr/>
              <p:nvPr/>
            </p:nvSpPr>
            <p:spPr bwMode="auto">
              <a:xfrm>
                <a:off x="7582995" y="3078423"/>
                <a:ext cx="244107" cy="468367"/>
              </a:xfrm>
              <a:custGeom>
                <a:avLst/>
                <a:gdLst/>
                <a:ahLst/>
                <a:cxnLst>
                  <a:cxn ang="0">
                    <a:pos x="12" y="172"/>
                  </a:cxn>
                  <a:cxn ang="0">
                    <a:pos x="21" y="152"/>
                  </a:cxn>
                  <a:cxn ang="0">
                    <a:pos x="25" y="147"/>
                  </a:cxn>
                  <a:cxn ang="0">
                    <a:pos x="15" y="119"/>
                  </a:cxn>
                  <a:cxn ang="0">
                    <a:pos x="8" y="109"/>
                  </a:cxn>
                  <a:cxn ang="0">
                    <a:pos x="8" y="105"/>
                  </a:cxn>
                  <a:cxn ang="0">
                    <a:pos x="8" y="106"/>
                  </a:cxn>
                  <a:cxn ang="0">
                    <a:pos x="12" y="96"/>
                  </a:cxn>
                  <a:cxn ang="0">
                    <a:pos x="9" y="77"/>
                  </a:cxn>
                  <a:cxn ang="0">
                    <a:pos x="0" y="65"/>
                  </a:cxn>
                  <a:cxn ang="0">
                    <a:pos x="8" y="47"/>
                  </a:cxn>
                  <a:cxn ang="0">
                    <a:pos x="19" y="43"/>
                  </a:cxn>
                  <a:cxn ang="0">
                    <a:pos x="45" y="19"/>
                  </a:cxn>
                  <a:cxn ang="0">
                    <a:pos x="47" y="19"/>
                  </a:cxn>
                  <a:cxn ang="0">
                    <a:pos x="50" y="24"/>
                  </a:cxn>
                  <a:cxn ang="0">
                    <a:pos x="52" y="20"/>
                  </a:cxn>
                  <a:cxn ang="0">
                    <a:pos x="52" y="9"/>
                  </a:cxn>
                  <a:cxn ang="0">
                    <a:pos x="64" y="6"/>
                  </a:cxn>
                  <a:cxn ang="0">
                    <a:pos x="78" y="6"/>
                  </a:cxn>
                  <a:cxn ang="0">
                    <a:pos x="96" y="0"/>
                  </a:cxn>
                  <a:cxn ang="0">
                    <a:pos x="115" y="5"/>
                  </a:cxn>
                  <a:cxn ang="0">
                    <a:pos x="130" y="22"/>
                  </a:cxn>
                  <a:cxn ang="0">
                    <a:pos x="100" y="58"/>
                  </a:cxn>
                  <a:cxn ang="0">
                    <a:pos x="104" y="64"/>
                  </a:cxn>
                  <a:cxn ang="0">
                    <a:pos x="129" y="93"/>
                  </a:cxn>
                  <a:cxn ang="0">
                    <a:pos x="147" y="134"/>
                  </a:cxn>
                  <a:cxn ang="0">
                    <a:pos x="142" y="156"/>
                  </a:cxn>
                  <a:cxn ang="0">
                    <a:pos x="115" y="170"/>
                  </a:cxn>
                  <a:cxn ang="0">
                    <a:pos x="105" y="180"/>
                  </a:cxn>
                  <a:cxn ang="0">
                    <a:pos x="104" y="176"/>
                  </a:cxn>
                  <a:cxn ang="0">
                    <a:pos x="104" y="181"/>
                  </a:cxn>
                  <a:cxn ang="0">
                    <a:pos x="93" y="192"/>
                  </a:cxn>
                  <a:cxn ang="0">
                    <a:pos x="90" y="183"/>
                  </a:cxn>
                  <a:cxn ang="0">
                    <a:pos x="91" y="177"/>
                  </a:cxn>
                  <a:cxn ang="0">
                    <a:pos x="88" y="170"/>
                  </a:cxn>
                  <a:cxn ang="0">
                    <a:pos x="73" y="161"/>
                  </a:cxn>
                  <a:cxn ang="0">
                    <a:pos x="63" y="149"/>
                  </a:cxn>
                  <a:cxn ang="0">
                    <a:pos x="43" y="141"/>
                  </a:cxn>
                  <a:cxn ang="0">
                    <a:pos x="41" y="135"/>
                  </a:cxn>
                  <a:cxn ang="0">
                    <a:pos x="30" y="129"/>
                  </a:cxn>
                  <a:cxn ang="0">
                    <a:pos x="27" y="134"/>
                  </a:cxn>
                  <a:cxn ang="0">
                    <a:pos x="29" y="142"/>
                  </a:cxn>
                  <a:cxn ang="0">
                    <a:pos x="16" y="171"/>
                  </a:cxn>
                  <a:cxn ang="0">
                    <a:pos x="31" y="192"/>
                  </a:cxn>
                  <a:cxn ang="0">
                    <a:pos x="30" y="192"/>
                  </a:cxn>
                  <a:cxn ang="0">
                    <a:pos x="35" y="206"/>
                  </a:cxn>
                  <a:cxn ang="0">
                    <a:pos x="73" y="243"/>
                  </a:cxn>
                  <a:cxn ang="0">
                    <a:pos x="71" y="251"/>
                  </a:cxn>
                  <a:cxn ang="0">
                    <a:pos x="80" y="267"/>
                  </a:cxn>
                  <a:cxn ang="0">
                    <a:pos x="84" y="280"/>
                  </a:cxn>
                  <a:cxn ang="0">
                    <a:pos x="78" y="280"/>
                  </a:cxn>
                  <a:cxn ang="0">
                    <a:pos x="75" y="282"/>
                  </a:cxn>
                  <a:cxn ang="0">
                    <a:pos x="68" y="278"/>
                  </a:cxn>
                  <a:cxn ang="0">
                    <a:pos x="37" y="246"/>
                  </a:cxn>
                  <a:cxn ang="0">
                    <a:pos x="27" y="214"/>
                  </a:cxn>
                  <a:cxn ang="0">
                    <a:pos x="14" y="192"/>
                  </a:cxn>
                  <a:cxn ang="0">
                    <a:pos x="8" y="192"/>
                  </a:cxn>
                  <a:cxn ang="0">
                    <a:pos x="8" y="189"/>
                  </a:cxn>
                  <a:cxn ang="0">
                    <a:pos x="10" y="172"/>
                  </a:cxn>
                  <a:cxn ang="0">
                    <a:pos x="11" y="172"/>
                  </a:cxn>
                  <a:cxn ang="0">
                    <a:pos x="12" y="172"/>
                  </a:cxn>
                </a:cxnLst>
                <a:rect l="0" t="0" r="r" b="b"/>
                <a:pathLst>
                  <a:path w="147" h="282">
                    <a:moveTo>
                      <a:pt x="12" y="172"/>
                    </a:moveTo>
                    <a:cubicBezTo>
                      <a:pt x="16" y="165"/>
                      <a:pt x="17" y="160"/>
                      <a:pt x="21" y="152"/>
                    </a:cubicBezTo>
                    <a:cubicBezTo>
                      <a:pt x="22" y="150"/>
                      <a:pt x="25" y="149"/>
                      <a:pt x="25" y="147"/>
                    </a:cubicBezTo>
                    <a:cubicBezTo>
                      <a:pt x="25" y="143"/>
                      <a:pt x="19" y="123"/>
                      <a:pt x="15" y="119"/>
                    </a:cubicBezTo>
                    <a:cubicBezTo>
                      <a:pt x="12" y="116"/>
                      <a:pt x="8" y="114"/>
                      <a:pt x="8" y="109"/>
                    </a:cubicBezTo>
                    <a:cubicBezTo>
                      <a:pt x="8" y="108"/>
                      <a:pt x="8" y="107"/>
                      <a:pt x="8" y="105"/>
                    </a:cubicBezTo>
                    <a:cubicBezTo>
                      <a:pt x="8" y="106"/>
                      <a:pt x="8" y="106"/>
                      <a:pt x="8" y="106"/>
                    </a:cubicBezTo>
                    <a:cubicBezTo>
                      <a:pt x="9" y="105"/>
                      <a:pt x="12" y="100"/>
                      <a:pt x="12" y="96"/>
                    </a:cubicBezTo>
                    <a:cubicBezTo>
                      <a:pt x="12" y="91"/>
                      <a:pt x="12" y="82"/>
                      <a:pt x="9" y="77"/>
                    </a:cubicBezTo>
                    <a:cubicBezTo>
                      <a:pt x="6" y="73"/>
                      <a:pt x="0" y="73"/>
                      <a:pt x="0" y="65"/>
                    </a:cubicBezTo>
                    <a:cubicBezTo>
                      <a:pt x="0" y="57"/>
                      <a:pt x="3" y="51"/>
                      <a:pt x="8" y="47"/>
                    </a:cubicBezTo>
                    <a:cubicBezTo>
                      <a:pt x="10" y="44"/>
                      <a:pt x="15" y="45"/>
                      <a:pt x="19" y="43"/>
                    </a:cubicBezTo>
                    <a:cubicBezTo>
                      <a:pt x="29" y="36"/>
                      <a:pt x="36" y="33"/>
                      <a:pt x="45" y="19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7" y="23"/>
                      <a:pt x="49" y="24"/>
                      <a:pt x="50" y="24"/>
                    </a:cubicBezTo>
                    <a:cubicBezTo>
                      <a:pt x="51" y="24"/>
                      <a:pt x="52" y="22"/>
                      <a:pt x="52" y="20"/>
                    </a:cubicBezTo>
                    <a:cubicBezTo>
                      <a:pt x="52" y="16"/>
                      <a:pt x="52" y="13"/>
                      <a:pt x="52" y="9"/>
                    </a:cubicBezTo>
                    <a:cubicBezTo>
                      <a:pt x="52" y="9"/>
                      <a:pt x="62" y="6"/>
                      <a:pt x="64" y="6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84" y="9"/>
                      <a:pt x="89" y="0"/>
                      <a:pt x="96" y="0"/>
                    </a:cubicBezTo>
                    <a:cubicBezTo>
                      <a:pt x="103" y="0"/>
                      <a:pt x="107" y="5"/>
                      <a:pt x="115" y="5"/>
                    </a:cubicBezTo>
                    <a:cubicBezTo>
                      <a:pt x="115" y="16"/>
                      <a:pt x="123" y="20"/>
                      <a:pt x="130" y="22"/>
                    </a:cubicBezTo>
                    <a:cubicBezTo>
                      <a:pt x="121" y="36"/>
                      <a:pt x="100" y="39"/>
                      <a:pt x="100" y="58"/>
                    </a:cubicBezTo>
                    <a:cubicBezTo>
                      <a:pt x="100" y="62"/>
                      <a:pt x="102" y="63"/>
                      <a:pt x="104" y="64"/>
                    </a:cubicBezTo>
                    <a:cubicBezTo>
                      <a:pt x="114" y="74"/>
                      <a:pt x="118" y="86"/>
                      <a:pt x="129" y="93"/>
                    </a:cubicBezTo>
                    <a:cubicBezTo>
                      <a:pt x="140" y="100"/>
                      <a:pt x="147" y="119"/>
                      <a:pt x="147" y="134"/>
                    </a:cubicBezTo>
                    <a:cubicBezTo>
                      <a:pt x="147" y="144"/>
                      <a:pt x="142" y="148"/>
                      <a:pt x="142" y="156"/>
                    </a:cubicBezTo>
                    <a:cubicBezTo>
                      <a:pt x="127" y="160"/>
                      <a:pt x="126" y="164"/>
                      <a:pt x="115" y="170"/>
                    </a:cubicBezTo>
                    <a:cubicBezTo>
                      <a:pt x="109" y="173"/>
                      <a:pt x="110" y="180"/>
                      <a:pt x="105" y="180"/>
                    </a:cubicBezTo>
                    <a:cubicBezTo>
                      <a:pt x="104" y="180"/>
                      <a:pt x="104" y="177"/>
                      <a:pt x="104" y="176"/>
                    </a:cubicBezTo>
                    <a:cubicBezTo>
                      <a:pt x="104" y="179"/>
                      <a:pt x="104" y="180"/>
                      <a:pt x="104" y="181"/>
                    </a:cubicBezTo>
                    <a:cubicBezTo>
                      <a:pt x="104" y="185"/>
                      <a:pt x="95" y="192"/>
                      <a:pt x="93" y="192"/>
                    </a:cubicBezTo>
                    <a:cubicBezTo>
                      <a:pt x="91" y="192"/>
                      <a:pt x="90" y="186"/>
                      <a:pt x="90" y="183"/>
                    </a:cubicBezTo>
                    <a:cubicBezTo>
                      <a:pt x="90" y="179"/>
                      <a:pt x="90" y="178"/>
                      <a:pt x="91" y="177"/>
                    </a:cubicBezTo>
                    <a:cubicBezTo>
                      <a:pt x="90" y="176"/>
                      <a:pt x="89" y="172"/>
                      <a:pt x="88" y="170"/>
                    </a:cubicBezTo>
                    <a:cubicBezTo>
                      <a:pt x="82" y="170"/>
                      <a:pt x="73" y="168"/>
                      <a:pt x="73" y="161"/>
                    </a:cubicBezTo>
                    <a:cubicBezTo>
                      <a:pt x="63" y="161"/>
                      <a:pt x="68" y="155"/>
                      <a:pt x="63" y="149"/>
                    </a:cubicBezTo>
                    <a:cubicBezTo>
                      <a:pt x="56" y="143"/>
                      <a:pt x="50" y="143"/>
                      <a:pt x="43" y="141"/>
                    </a:cubicBezTo>
                    <a:cubicBezTo>
                      <a:pt x="42" y="141"/>
                      <a:pt x="41" y="135"/>
                      <a:pt x="41" y="135"/>
                    </a:cubicBezTo>
                    <a:cubicBezTo>
                      <a:pt x="40" y="130"/>
                      <a:pt x="34" y="129"/>
                      <a:pt x="30" y="129"/>
                    </a:cubicBezTo>
                    <a:cubicBezTo>
                      <a:pt x="26" y="129"/>
                      <a:pt x="27" y="132"/>
                      <a:pt x="27" y="134"/>
                    </a:cubicBezTo>
                    <a:cubicBezTo>
                      <a:pt x="27" y="138"/>
                      <a:pt x="29" y="139"/>
                      <a:pt x="29" y="142"/>
                    </a:cubicBezTo>
                    <a:cubicBezTo>
                      <a:pt x="29" y="156"/>
                      <a:pt x="16" y="159"/>
                      <a:pt x="16" y="171"/>
                    </a:cubicBezTo>
                    <a:cubicBezTo>
                      <a:pt x="16" y="185"/>
                      <a:pt x="31" y="179"/>
                      <a:pt x="31" y="192"/>
                    </a:cubicBezTo>
                    <a:cubicBezTo>
                      <a:pt x="30" y="192"/>
                      <a:pt x="30" y="192"/>
                      <a:pt x="30" y="192"/>
                    </a:cubicBezTo>
                    <a:cubicBezTo>
                      <a:pt x="32" y="195"/>
                      <a:pt x="32" y="203"/>
                      <a:pt x="35" y="206"/>
                    </a:cubicBezTo>
                    <a:cubicBezTo>
                      <a:pt x="47" y="218"/>
                      <a:pt x="73" y="221"/>
                      <a:pt x="73" y="243"/>
                    </a:cubicBezTo>
                    <a:cubicBezTo>
                      <a:pt x="73" y="247"/>
                      <a:pt x="71" y="247"/>
                      <a:pt x="71" y="251"/>
                    </a:cubicBezTo>
                    <a:cubicBezTo>
                      <a:pt x="71" y="259"/>
                      <a:pt x="78" y="262"/>
                      <a:pt x="80" y="267"/>
                    </a:cubicBezTo>
                    <a:cubicBezTo>
                      <a:pt x="82" y="273"/>
                      <a:pt x="82" y="275"/>
                      <a:pt x="84" y="280"/>
                    </a:cubicBezTo>
                    <a:cubicBezTo>
                      <a:pt x="80" y="280"/>
                      <a:pt x="80" y="280"/>
                      <a:pt x="78" y="280"/>
                    </a:cubicBezTo>
                    <a:cubicBezTo>
                      <a:pt x="77" y="280"/>
                      <a:pt x="76" y="282"/>
                      <a:pt x="75" y="282"/>
                    </a:cubicBezTo>
                    <a:cubicBezTo>
                      <a:pt x="71" y="282"/>
                      <a:pt x="70" y="279"/>
                      <a:pt x="68" y="278"/>
                    </a:cubicBezTo>
                    <a:cubicBezTo>
                      <a:pt x="54" y="274"/>
                      <a:pt x="41" y="261"/>
                      <a:pt x="37" y="246"/>
                    </a:cubicBezTo>
                    <a:cubicBezTo>
                      <a:pt x="33" y="233"/>
                      <a:pt x="32" y="224"/>
                      <a:pt x="27" y="214"/>
                    </a:cubicBezTo>
                    <a:cubicBezTo>
                      <a:pt x="24" y="208"/>
                      <a:pt x="21" y="192"/>
                      <a:pt x="14" y="192"/>
                    </a:cubicBezTo>
                    <a:cubicBezTo>
                      <a:pt x="9" y="192"/>
                      <a:pt x="12" y="194"/>
                      <a:pt x="8" y="192"/>
                    </a:cubicBezTo>
                    <a:cubicBezTo>
                      <a:pt x="7" y="192"/>
                      <a:pt x="8" y="190"/>
                      <a:pt x="8" y="189"/>
                    </a:cubicBezTo>
                    <a:cubicBezTo>
                      <a:pt x="8" y="183"/>
                      <a:pt x="9" y="179"/>
                      <a:pt x="10" y="172"/>
                    </a:cubicBezTo>
                    <a:cubicBezTo>
                      <a:pt x="11" y="172"/>
                      <a:pt x="11" y="172"/>
                      <a:pt x="11" y="172"/>
                    </a:cubicBezTo>
                    <a:lnTo>
                      <a:pt x="12" y="17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51" name="ïśḷîdê"/>
              <p:cNvSpPr/>
              <p:nvPr/>
            </p:nvSpPr>
            <p:spPr bwMode="auto">
              <a:xfrm>
                <a:off x="7741764" y="3606327"/>
                <a:ext cx="33739" cy="31753"/>
              </a:xfrm>
              <a:custGeom>
                <a:avLst/>
                <a:gdLst/>
                <a:ahLst/>
                <a:cxnLst>
                  <a:cxn ang="0">
                    <a:pos x="12" y="17"/>
                  </a:cxn>
                  <a:cxn ang="0">
                    <a:pos x="9" y="11"/>
                  </a:cxn>
                  <a:cxn ang="0">
                    <a:pos x="0" y="6"/>
                  </a:cxn>
                  <a:cxn ang="0">
                    <a:pos x="9" y="0"/>
                  </a:cxn>
                  <a:cxn ang="0">
                    <a:pos x="20" y="15"/>
                  </a:cxn>
                  <a:cxn ang="0">
                    <a:pos x="21" y="19"/>
                  </a:cxn>
                  <a:cxn ang="0">
                    <a:pos x="17" y="19"/>
                  </a:cxn>
                  <a:cxn ang="0">
                    <a:pos x="12" y="17"/>
                  </a:cxn>
                </a:cxnLst>
                <a:rect l="0" t="0" r="r" b="b"/>
                <a:pathLst>
                  <a:path w="21" h="19">
                    <a:moveTo>
                      <a:pt x="12" y="17"/>
                    </a:moveTo>
                    <a:cubicBezTo>
                      <a:pt x="11" y="17"/>
                      <a:pt x="9" y="12"/>
                      <a:pt x="9" y="11"/>
                    </a:cubicBezTo>
                    <a:cubicBezTo>
                      <a:pt x="7" y="7"/>
                      <a:pt x="0" y="9"/>
                      <a:pt x="0" y="6"/>
                    </a:cubicBezTo>
                    <a:cubicBezTo>
                      <a:pt x="0" y="3"/>
                      <a:pt x="6" y="0"/>
                      <a:pt x="9" y="0"/>
                    </a:cubicBezTo>
                    <a:cubicBezTo>
                      <a:pt x="11" y="7"/>
                      <a:pt x="14" y="15"/>
                      <a:pt x="20" y="15"/>
                    </a:cubicBezTo>
                    <a:cubicBezTo>
                      <a:pt x="20" y="16"/>
                      <a:pt x="20" y="18"/>
                      <a:pt x="21" y="19"/>
                    </a:cubicBezTo>
                    <a:cubicBezTo>
                      <a:pt x="20" y="19"/>
                      <a:pt x="18" y="19"/>
                      <a:pt x="17" y="19"/>
                    </a:cubicBezTo>
                    <a:cubicBezTo>
                      <a:pt x="15" y="19"/>
                      <a:pt x="14" y="17"/>
                      <a:pt x="12" y="1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52" name="iṩļiḍe"/>
              <p:cNvSpPr/>
              <p:nvPr/>
            </p:nvSpPr>
            <p:spPr bwMode="auto">
              <a:xfrm>
                <a:off x="7793364" y="3630142"/>
                <a:ext cx="13893" cy="1389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5" y="0"/>
                  </a:cxn>
                  <a:cxn ang="0">
                    <a:pos x="9" y="3"/>
                  </a:cxn>
                  <a:cxn ang="0">
                    <a:pos x="4" y="8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9" h="8">
                    <a:moveTo>
                      <a:pt x="1" y="0"/>
                    </a:moveTo>
                    <a:cubicBezTo>
                      <a:pt x="2" y="0"/>
                      <a:pt x="4" y="0"/>
                      <a:pt x="5" y="0"/>
                    </a:cubicBezTo>
                    <a:cubicBezTo>
                      <a:pt x="6" y="0"/>
                      <a:pt x="8" y="2"/>
                      <a:pt x="9" y="3"/>
                    </a:cubicBezTo>
                    <a:cubicBezTo>
                      <a:pt x="9" y="5"/>
                      <a:pt x="7" y="8"/>
                      <a:pt x="4" y="8"/>
                    </a:cubicBezTo>
                    <a:cubicBezTo>
                      <a:pt x="1" y="8"/>
                      <a:pt x="1" y="5"/>
                      <a:pt x="1" y="3"/>
                    </a:cubicBezTo>
                    <a:cubicBezTo>
                      <a:pt x="1" y="2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53" name="ïṣlïḓé"/>
              <p:cNvSpPr/>
              <p:nvPr/>
            </p:nvSpPr>
            <p:spPr bwMode="auto">
              <a:xfrm>
                <a:off x="7608794" y="3598389"/>
                <a:ext cx="11907" cy="1984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8" y="1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1" y="0"/>
                  </a:cxn>
                </a:cxnLst>
                <a:rect l="0" t="0" r="r" b="b"/>
                <a:pathLst>
                  <a:path w="8" h="12">
                    <a:moveTo>
                      <a:pt x="1" y="0"/>
                    </a:moveTo>
                    <a:cubicBezTo>
                      <a:pt x="5" y="4"/>
                      <a:pt x="8" y="7"/>
                      <a:pt x="8" y="12"/>
                    </a:cubicBezTo>
                    <a:cubicBezTo>
                      <a:pt x="5" y="12"/>
                      <a:pt x="0" y="5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2"/>
                      <a:pt x="3" y="2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54" name="ïṧľîḋè"/>
              <p:cNvSpPr/>
              <p:nvPr/>
            </p:nvSpPr>
            <p:spPr bwMode="auto">
              <a:xfrm>
                <a:off x="7581010" y="3552744"/>
                <a:ext cx="19846" cy="1984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1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0"/>
                  </a:cxn>
                </a:cxnLst>
                <a:rect l="0" t="0" r="r" b="b"/>
                <a:pathLst>
                  <a:path w="12" h="11">
                    <a:moveTo>
                      <a:pt x="2" y="0"/>
                    </a:moveTo>
                    <a:cubicBezTo>
                      <a:pt x="5" y="2"/>
                      <a:pt x="12" y="11"/>
                      <a:pt x="8" y="11"/>
                    </a:cubicBezTo>
                    <a:cubicBezTo>
                      <a:pt x="6" y="11"/>
                      <a:pt x="1" y="4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55" name="iSľíḑe"/>
              <p:cNvSpPr/>
              <p:nvPr/>
            </p:nvSpPr>
            <p:spPr bwMode="auto">
              <a:xfrm>
                <a:off x="8249823" y="2838287"/>
                <a:ext cx="51600" cy="61523"/>
              </a:xfrm>
              <a:custGeom>
                <a:avLst/>
                <a:gdLst/>
                <a:ahLst/>
                <a:cxnLst>
                  <a:cxn ang="0">
                    <a:pos x="12" y="22"/>
                  </a:cxn>
                  <a:cxn ang="0">
                    <a:pos x="14" y="16"/>
                  </a:cxn>
                  <a:cxn ang="0">
                    <a:pos x="10" y="10"/>
                  </a:cxn>
                  <a:cxn ang="0">
                    <a:pos x="10" y="14"/>
                  </a:cxn>
                  <a:cxn ang="0">
                    <a:pos x="5" y="16"/>
                  </a:cxn>
                  <a:cxn ang="0">
                    <a:pos x="0" y="11"/>
                  </a:cxn>
                  <a:cxn ang="0">
                    <a:pos x="14" y="0"/>
                  </a:cxn>
                  <a:cxn ang="0">
                    <a:pos x="26" y="3"/>
                  </a:cxn>
                  <a:cxn ang="0">
                    <a:pos x="26" y="8"/>
                  </a:cxn>
                  <a:cxn ang="0">
                    <a:pos x="30" y="11"/>
                  </a:cxn>
                  <a:cxn ang="0">
                    <a:pos x="30" y="16"/>
                  </a:cxn>
                  <a:cxn ang="0">
                    <a:pos x="26" y="16"/>
                  </a:cxn>
                  <a:cxn ang="0">
                    <a:pos x="15" y="37"/>
                  </a:cxn>
                  <a:cxn ang="0">
                    <a:pos x="14" y="33"/>
                  </a:cxn>
                  <a:cxn ang="0">
                    <a:pos x="14" y="36"/>
                  </a:cxn>
                  <a:cxn ang="0">
                    <a:pos x="7" y="29"/>
                  </a:cxn>
                  <a:cxn ang="0">
                    <a:pos x="12" y="22"/>
                  </a:cxn>
                </a:cxnLst>
                <a:rect l="0" t="0" r="r" b="b"/>
                <a:pathLst>
                  <a:path w="30" h="37">
                    <a:moveTo>
                      <a:pt x="12" y="22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1" y="15"/>
                      <a:pt x="11" y="12"/>
                      <a:pt x="10" y="10"/>
                    </a:cubicBezTo>
                    <a:cubicBezTo>
                      <a:pt x="10" y="11"/>
                      <a:pt x="9" y="13"/>
                      <a:pt x="10" y="14"/>
                    </a:cubicBezTo>
                    <a:cubicBezTo>
                      <a:pt x="8" y="14"/>
                      <a:pt x="6" y="16"/>
                      <a:pt x="5" y="16"/>
                    </a:cubicBezTo>
                    <a:cubicBezTo>
                      <a:pt x="3" y="16"/>
                      <a:pt x="0" y="13"/>
                      <a:pt x="0" y="11"/>
                    </a:cubicBezTo>
                    <a:cubicBezTo>
                      <a:pt x="0" y="8"/>
                      <a:pt x="13" y="0"/>
                      <a:pt x="14" y="0"/>
                    </a:cubicBezTo>
                    <a:cubicBezTo>
                      <a:pt x="18" y="0"/>
                      <a:pt x="20" y="3"/>
                      <a:pt x="26" y="3"/>
                    </a:cubicBezTo>
                    <a:cubicBezTo>
                      <a:pt x="26" y="5"/>
                      <a:pt x="25" y="8"/>
                      <a:pt x="26" y="8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3"/>
                      <a:pt x="29" y="14"/>
                      <a:pt x="30" y="16"/>
                    </a:cubicBezTo>
                    <a:cubicBezTo>
                      <a:pt x="29" y="16"/>
                      <a:pt x="27" y="16"/>
                      <a:pt x="26" y="16"/>
                    </a:cubicBezTo>
                    <a:cubicBezTo>
                      <a:pt x="25" y="24"/>
                      <a:pt x="21" y="37"/>
                      <a:pt x="15" y="37"/>
                    </a:cubicBezTo>
                    <a:cubicBezTo>
                      <a:pt x="14" y="37"/>
                      <a:pt x="14" y="35"/>
                      <a:pt x="14" y="33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0" y="36"/>
                      <a:pt x="7" y="31"/>
                      <a:pt x="7" y="29"/>
                    </a:cubicBezTo>
                    <a:cubicBezTo>
                      <a:pt x="7" y="28"/>
                      <a:pt x="12" y="22"/>
                      <a:pt x="12" y="2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56" name="íṡ1îḍè"/>
              <p:cNvSpPr/>
              <p:nvPr/>
            </p:nvSpPr>
            <p:spPr bwMode="auto">
              <a:xfrm>
                <a:off x="8309360" y="2822410"/>
                <a:ext cx="53585" cy="37708"/>
              </a:xfrm>
              <a:custGeom>
                <a:avLst/>
                <a:gdLst/>
                <a:ahLst/>
                <a:cxnLst>
                  <a:cxn ang="0">
                    <a:pos x="23" y="15"/>
                  </a:cxn>
                  <a:cxn ang="0">
                    <a:pos x="17" y="12"/>
                  </a:cxn>
                  <a:cxn ang="0">
                    <a:pos x="6" y="23"/>
                  </a:cxn>
                  <a:cxn ang="0">
                    <a:pos x="3" y="17"/>
                  </a:cxn>
                  <a:cxn ang="0">
                    <a:pos x="0" y="12"/>
                  </a:cxn>
                  <a:cxn ang="0">
                    <a:pos x="8" y="5"/>
                  </a:cxn>
                  <a:cxn ang="0">
                    <a:pos x="23" y="0"/>
                  </a:cxn>
                  <a:cxn ang="0">
                    <a:pos x="23" y="15"/>
                  </a:cxn>
                </a:cxnLst>
                <a:rect l="0" t="0" r="r" b="b"/>
                <a:pathLst>
                  <a:path w="33" h="23">
                    <a:moveTo>
                      <a:pt x="23" y="15"/>
                    </a:moveTo>
                    <a:cubicBezTo>
                      <a:pt x="20" y="15"/>
                      <a:pt x="18" y="13"/>
                      <a:pt x="17" y="12"/>
                    </a:cubicBezTo>
                    <a:cubicBezTo>
                      <a:pt x="13" y="16"/>
                      <a:pt x="12" y="23"/>
                      <a:pt x="6" y="23"/>
                    </a:cubicBezTo>
                    <a:cubicBezTo>
                      <a:pt x="4" y="23"/>
                      <a:pt x="3" y="19"/>
                      <a:pt x="3" y="17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2"/>
                      <a:pt x="8" y="6"/>
                      <a:pt x="8" y="5"/>
                    </a:cubicBezTo>
                    <a:cubicBezTo>
                      <a:pt x="16" y="7"/>
                      <a:pt x="17" y="0"/>
                      <a:pt x="23" y="0"/>
                    </a:cubicBezTo>
                    <a:cubicBezTo>
                      <a:pt x="33" y="0"/>
                      <a:pt x="28" y="15"/>
                      <a:pt x="23" y="1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57" name="iSḷîḓé"/>
              <p:cNvSpPr/>
              <p:nvPr/>
            </p:nvSpPr>
            <p:spPr bwMode="auto">
              <a:xfrm>
                <a:off x="8279591" y="2653718"/>
                <a:ext cx="232199" cy="192507"/>
              </a:xfrm>
              <a:custGeom>
                <a:avLst/>
                <a:gdLst/>
                <a:ahLst/>
                <a:cxnLst>
                  <a:cxn ang="0">
                    <a:pos x="55" y="110"/>
                  </a:cxn>
                  <a:cxn ang="0">
                    <a:pos x="55" y="107"/>
                  </a:cxn>
                  <a:cxn ang="0">
                    <a:pos x="56" y="99"/>
                  </a:cxn>
                  <a:cxn ang="0">
                    <a:pos x="43" y="95"/>
                  </a:cxn>
                  <a:cxn ang="0">
                    <a:pos x="39" y="99"/>
                  </a:cxn>
                  <a:cxn ang="0">
                    <a:pos x="29" y="100"/>
                  </a:cxn>
                  <a:cxn ang="0">
                    <a:pos x="6" y="106"/>
                  </a:cxn>
                  <a:cxn ang="0">
                    <a:pos x="0" y="104"/>
                  </a:cxn>
                  <a:cxn ang="0">
                    <a:pos x="5" y="101"/>
                  </a:cxn>
                  <a:cxn ang="0">
                    <a:pos x="30" y="84"/>
                  </a:cxn>
                  <a:cxn ang="0">
                    <a:pos x="57" y="84"/>
                  </a:cxn>
                  <a:cxn ang="0">
                    <a:pos x="72" y="70"/>
                  </a:cxn>
                  <a:cxn ang="0">
                    <a:pos x="79" y="59"/>
                  </a:cxn>
                  <a:cxn ang="0">
                    <a:pos x="77" y="64"/>
                  </a:cxn>
                  <a:cxn ang="0">
                    <a:pos x="79" y="66"/>
                  </a:cxn>
                  <a:cxn ang="0">
                    <a:pos x="92" y="60"/>
                  </a:cxn>
                  <a:cxn ang="0">
                    <a:pos x="116" y="25"/>
                  </a:cxn>
                  <a:cxn ang="0">
                    <a:pos x="114" y="19"/>
                  </a:cxn>
                  <a:cxn ang="0">
                    <a:pos x="125" y="3"/>
                  </a:cxn>
                  <a:cxn ang="0">
                    <a:pos x="130" y="4"/>
                  </a:cxn>
                  <a:cxn ang="0">
                    <a:pos x="129" y="4"/>
                  </a:cxn>
                  <a:cxn ang="0">
                    <a:pos x="128" y="0"/>
                  </a:cxn>
                  <a:cxn ang="0">
                    <a:pos x="133" y="2"/>
                  </a:cxn>
                  <a:cxn ang="0">
                    <a:pos x="134" y="11"/>
                  </a:cxn>
                  <a:cxn ang="0">
                    <a:pos x="140" y="26"/>
                  </a:cxn>
                  <a:cxn ang="0">
                    <a:pos x="134" y="40"/>
                  </a:cxn>
                  <a:cxn ang="0">
                    <a:pos x="134" y="43"/>
                  </a:cxn>
                  <a:cxn ang="0">
                    <a:pos x="130" y="44"/>
                  </a:cxn>
                  <a:cxn ang="0">
                    <a:pos x="127" y="63"/>
                  </a:cxn>
                  <a:cxn ang="0">
                    <a:pos x="122" y="76"/>
                  </a:cxn>
                  <a:cxn ang="0">
                    <a:pos x="125" y="84"/>
                  </a:cxn>
                  <a:cxn ang="0">
                    <a:pos x="114" y="93"/>
                  </a:cxn>
                  <a:cxn ang="0">
                    <a:pos x="114" y="86"/>
                  </a:cxn>
                  <a:cxn ang="0">
                    <a:pos x="102" y="96"/>
                  </a:cxn>
                  <a:cxn ang="0">
                    <a:pos x="100" y="94"/>
                  </a:cxn>
                  <a:cxn ang="0">
                    <a:pos x="96" y="94"/>
                  </a:cxn>
                  <a:cxn ang="0">
                    <a:pos x="87" y="100"/>
                  </a:cxn>
                  <a:cxn ang="0">
                    <a:pos x="74" y="92"/>
                  </a:cxn>
                  <a:cxn ang="0">
                    <a:pos x="72" y="96"/>
                  </a:cxn>
                  <a:cxn ang="0">
                    <a:pos x="76" y="103"/>
                  </a:cxn>
                  <a:cxn ang="0">
                    <a:pos x="72" y="103"/>
                  </a:cxn>
                  <a:cxn ang="0">
                    <a:pos x="61" y="115"/>
                  </a:cxn>
                  <a:cxn ang="0">
                    <a:pos x="55" y="110"/>
                  </a:cxn>
                </a:cxnLst>
                <a:rect l="0" t="0" r="r" b="b"/>
                <a:pathLst>
                  <a:path w="140" h="115">
                    <a:moveTo>
                      <a:pt x="55" y="110"/>
                    </a:moveTo>
                    <a:cubicBezTo>
                      <a:pt x="53" y="110"/>
                      <a:pt x="55" y="108"/>
                      <a:pt x="55" y="107"/>
                    </a:cubicBezTo>
                    <a:cubicBezTo>
                      <a:pt x="55" y="104"/>
                      <a:pt x="56" y="101"/>
                      <a:pt x="56" y="99"/>
                    </a:cubicBezTo>
                    <a:cubicBezTo>
                      <a:pt x="51" y="98"/>
                      <a:pt x="48" y="95"/>
                      <a:pt x="43" y="95"/>
                    </a:cubicBezTo>
                    <a:cubicBezTo>
                      <a:pt x="40" y="95"/>
                      <a:pt x="40" y="98"/>
                      <a:pt x="39" y="99"/>
                    </a:cubicBezTo>
                    <a:cubicBezTo>
                      <a:pt x="35" y="100"/>
                      <a:pt x="32" y="98"/>
                      <a:pt x="29" y="100"/>
                    </a:cubicBezTo>
                    <a:cubicBezTo>
                      <a:pt x="23" y="103"/>
                      <a:pt x="15" y="106"/>
                      <a:pt x="6" y="106"/>
                    </a:cubicBezTo>
                    <a:cubicBezTo>
                      <a:pt x="3" y="106"/>
                      <a:pt x="0" y="106"/>
                      <a:pt x="0" y="104"/>
                    </a:cubicBezTo>
                    <a:cubicBezTo>
                      <a:pt x="0" y="103"/>
                      <a:pt x="4" y="102"/>
                      <a:pt x="5" y="101"/>
                    </a:cubicBezTo>
                    <a:cubicBezTo>
                      <a:pt x="15" y="95"/>
                      <a:pt x="19" y="84"/>
                      <a:pt x="30" y="84"/>
                    </a:cubicBezTo>
                    <a:cubicBezTo>
                      <a:pt x="43" y="84"/>
                      <a:pt x="47" y="84"/>
                      <a:pt x="57" y="84"/>
                    </a:cubicBezTo>
                    <a:cubicBezTo>
                      <a:pt x="65" y="84"/>
                      <a:pt x="68" y="70"/>
                      <a:pt x="72" y="70"/>
                    </a:cubicBezTo>
                    <a:cubicBezTo>
                      <a:pt x="72" y="70"/>
                      <a:pt x="78" y="60"/>
                      <a:pt x="79" y="59"/>
                    </a:cubicBezTo>
                    <a:cubicBezTo>
                      <a:pt x="78" y="61"/>
                      <a:pt x="77" y="62"/>
                      <a:pt x="77" y="64"/>
                    </a:cubicBezTo>
                    <a:cubicBezTo>
                      <a:pt x="77" y="65"/>
                      <a:pt x="78" y="66"/>
                      <a:pt x="79" y="66"/>
                    </a:cubicBezTo>
                    <a:cubicBezTo>
                      <a:pt x="86" y="66"/>
                      <a:pt x="87" y="62"/>
                      <a:pt x="92" y="60"/>
                    </a:cubicBezTo>
                    <a:cubicBezTo>
                      <a:pt x="101" y="57"/>
                      <a:pt x="116" y="39"/>
                      <a:pt x="116" y="25"/>
                    </a:cubicBezTo>
                    <a:cubicBezTo>
                      <a:pt x="116" y="22"/>
                      <a:pt x="114" y="22"/>
                      <a:pt x="114" y="19"/>
                    </a:cubicBezTo>
                    <a:cubicBezTo>
                      <a:pt x="114" y="14"/>
                      <a:pt x="119" y="3"/>
                      <a:pt x="125" y="3"/>
                    </a:cubicBezTo>
                    <a:cubicBezTo>
                      <a:pt x="125" y="3"/>
                      <a:pt x="125" y="9"/>
                      <a:pt x="130" y="4"/>
                    </a:cubicBezTo>
                    <a:cubicBezTo>
                      <a:pt x="130" y="4"/>
                      <a:pt x="129" y="4"/>
                      <a:pt x="129" y="4"/>
                    </a:cubicBezTo>
                    <a:cubicBezTo>
                      <a:pt x="128" y="4"/>
                      <a:pt x="127" y="0"/>
                      <a:pt x="128" y="0"/>
                    </a:cubicBezTo>
                    <a:cubicBezTo>
                      <a:pt x="131" y="0"/>
                      <a:pt x="133" y="1"/>
                      <a:pt x="133" y="2"/>
                    </a:cubicBezTo>
                    <a:cubicBezTo>
                      <a:pt x="135" y="5"/>
                      <a:pt x="134" y="8"/>
                      <a:pt x="134" y="11"/>
                    </a:cubicBezTo>
                    <a:cubicBezTo>
                      <a:pt x="134" y="17"/>
                      <a:pt x="140" y="20"/>
                      <a:pt x="140" y="26"/>
                    </a:cubicBezTo>
                    <a:cubicBezTo>
                      <a:pt x="140" y="33"/>
                      <a:pt x="134" y="34"/>
                      <a:pt x="134" y="40"/>
                    </a:cubicBezTo>
                    <a:cubicBezTo>
                      <a:pt x="134" y="41"/>
                      <a:pt x="134" y="42"/>
                      <a:pt x="134" y="43"/>
                    </a:cubicBezTo>
                    <a:cubicBezTo>
                      <a:pt x="133" y="44"/>
                      <a:pt x="132" y="43"/>
                      <a:pt x="130" y="44"/>
                    </a:cubicBezTo>
                    <a:cubicBezTo>
                      <a:pt x="126" y="45"/>
                      <a:pt x="127" y="59"/>
                      <a:pt x="127" y="63"/>
                    </a:cubicBezTo>
                    <a:cubicBezTo>
                      <a:pt x="127" y="67"/>
                      <a:pt x="122" y="70"/>
                      <a:pt x="122" y="76"/>
                    </a:cubicBezTo>
                    <a:cubicBezTo>
                      <a:pt x="122" y="80"/>
                      <a:pt x="124" y="81"/>
                      <a:pt x="125" y="84"/>
                    </a:cubicBezTo>
                    <a:cubicBezTo>
                      <a:pt x="119" y="87"/>
                      <a:pt x="119" y="91"/>
                      <a:pt x="114" y="93"/>
                    </a:cubicBezTo>
                    <a:cubicBezTo>
                      <a:pt x="112" y="89"/>
                      <a:pt x="114" y="89"/>
                      <a:pt x="114" y="86"/>
                    </a:cubicBezTo>
                    <a:cubicBezTo>
                      <a:pt x="108" y="90"/>
                      <a:pt x="104" y="90"/>
                      <a:pt x="102" y="96"/>
                    </a:cubicBezTo>
                    <a:cubicBezTo>
                      <a:pt x="102" y="96"/>
                      <a:pt x="100" y="95"/>
                      <a:pt x="100" y="94"/>
                    </a:cubicBezTo>
                    <a:cubicBezTo>
                      <a:pt x="96" y="94"/>
                      <a:pt x="96" y="94"/>
                      <a:pt x="96" y="94"/>
                    </a:cubicBezTo>
                    <a:cubicBezTo>
                      <a:pt x="93" y="97"/>
                      <a:pt x="91" y="100"/>
                      <a:pt x="87" y="100"/>
                    </a:cubicBezTo>
                    <a:cubicBezTo>
                      <a:pt x="78" y="100"/>
                      <a:pt x="78" y="92"/>
                      <a:pt x="74" y="92"/>
                    </a:cubicBezTo>
                    <a:cubicBezTo>
                      <a:pt x="73" y="92"/>
                      <a:pt x="72" y="94"/>
                      <a:pt x="72" y="96"/>
                    </a:cubicBezTo>
                    <a:cubicBezTo>
                      <a:pt x="72" y="97"/>
                      <a:pt x="76" y="103"/>
                      <a:pt x="76" y="103"/>
                    </a:cubicBezTo>
                    <a:cubicBezTo>
                      <a:pt x="75" y="103"/>
                      <a:pt x="73" y="103"/>
                      <a:pt x="72" y="103"/>
                    </a:cubicBezTo>
                    <a:cubicBezTo>
                      <a:pt x="68" y="103"/>
                      <a:pt x="63" y="110"/>
                      <a:pt x="61" y="115"/>
                    </a:cubicBezTo>
                    <a:cubicBezTo>
                      <a:pt x="57" y="114"/>
                      <a:pt x="58" y="110"/>
                      <a:pt x="55" y="11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58" name="iṡļïḑê"/>
              <p:cNvSpPr/>
              <p:nvPr/>
            </p:nvSpPr>
            <p:spPr bwMode="auto">
              <a:xfrm>
                <a:off x="8466144" y="2550519"/>
                <a:ext cx="121062" cy="101216"/>
              </a:xfrm>
              <a:custGeom>
                <a:avLst/>
                <a:gdLst/>
                <a:ahLst/>
                <a:cxnLst>
                  <a:cxn ang="0">
                    <a:pos x="11" y="33"/>
                  </a:cxn>
                  <a:cxn ang="0">
                    <a:pos x="15" y="33"/>
                  </a:cxn>
                  <a:cxn ang="0">
                    <a:pos x="26" y="10"/>
                  </a:cxn>
                  <a:cxn ang="0">
                    <a:pos x="23" y="6"/>
                  </a:cxn>
                  <a:cxn ang="0">
                    <a:pos x="26" y="0"/>
                  </a:cxn>
                  <a:cxn ang="0">
                    <a:pos x="60" y="22"/>
                  </a:cxn>
                  <a:cxn ang="0">
                    <a:pos x="70" y="21"/>
                  </a:cxn>
                  <a:cxn ang="0">
                    <a:pos x="67" y="26"/>
                  </a:cxn>
                  <a:cxn ang="0">
                    <a:pos x="72" y="32"/>
                  </a:cxn>
                  <a:cxn ang="0">
                    <a:pos x="59" y="36"/>
                  </a:cxn>
                  <a:cxn ang="0">
                    <a:pos x="43" y="51"/>
                  </a:cxn>
                  <a:cxn ang="0">
                    <a:pos x="24" y="41"/>
                  </a:cxn>
                  <a:cxn ang="0">
                    <a:pos x="21" y="45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5" y="61"/>
                  </a:cxn>
                  <a:cxn ang="0">
                    <a:pos x="3" y="61"/>
                  </a:cxn>
                  <a:cxn ang="0">
                    <a:pos x="3" y="51"/>
                  </a:cxn>
                  <a:cxn ang="0">
                    <a:pos x="0" y="46"/>
                  </a:cxn>
                  <a:cxn ang="0">
                    <a:pos x="8" y="35"/>
                  </a:cxn>
                  <a:cxn ang="0">
                    <a:pos x="8" y="32"/>
                  </a:cxn>
                  <a:cxn ang="0">
                    <a:pos x="12" y="34"/>
                  </a:cxn>
                  <a:cxn ang="0">
                    <a:pos x="11" y="33"/>
                  </a:cxn>
                </a:cxnLst>
                <a:rect l="0" t="0" r="r" b="b"/>
                <a:pathLst>
                  <a:path w="72" h="61">
                    <a:moveTo>
                      <a:pt x="11" y="33"/>
                    </a:moveTo>
                    <a:cubicBezTo>
                      <a:pt x="12" y="33"/>
                      <a:pt x="14" y="33"/>
                      <a:pt x="15" y="33"/>
                    </a:cubicBezTo>
                    <a:cubicBezTo>
                      <a:pt x="23" y="33"/>
                      <a:pt x="26" y="16"/>
                      <a:pt x="26" y="10"/>
                    </a:cubicBezTo>
                    <a:cubicBezTo>
                      <a:pt x="26" y="8"/>
                      <a:pt x="23" y="7"/>
                      <a:pt x="23" y="6"/>
                    </a:cubicBezTo>
                    <a:cubicBezTo>
                      <a:pt x="23" y="2"/>
                      <a:pt x="25" y="1"/>
                      <a:pt x="26" y="0"/>
                    </a:cubicBezTo>
                    <a:cubicBezTo>
                      <a:pt x="38" y="8"/>
                      <a:pt x="43" y="22"/>
                      <a:pt x="60" y="22"/>
                    </a:cubicBezTo>
                    <a:cubicBezTo>
                      <a:pt x="64" y="22"/>
                      <a:pt x="67" y="19"/>
                      <a:pt x="70" y="21"/>
                    </a:cubicBezTo>
                    <a:cubicBezTo>
                      <a:pt x="69" y="23"/>
                      <a:pt x="67" y="24"/>
                      <a:pt x="67" y="26"/>
                    </a:cubicBezTo>
                    <a:cubicBezTo>
                      <a:pt x="67" y="29"/>
                      <a:pt x="71" y="32"/>
                      <a:pt x="72" y="32"/>
                    </a:cubicBezTo>
                    <a:cubicBezTo>
                      <a:pt x="68" y="35"/>
                      <a:pt x="65" y="36"/>
                      <a:pt x="59" y="36"/>
                    </a:cubicBezTo>
                    <a:cubicBezTo>
                      <a:pt x="49" y="36"/>
                      <a:pt x="46" y="46"/>
                      <a:pt x="43" y="51"/>
                    </a:cubicBezTo>
                    <a:cubicBezTo>
                      <a:pt x="36" y="47"/>
                      <a:pt x="31" y="46"/>
                      <a:pt x="24" y="41"/>
                    </a:cubicBezTo>
                    <a:cubicBezTo>
                      <a:pt x="23" y="42"/>
                      <a:pt x="21" y="43"/>
                      <a:pt x="21" y="45"/>
                    </a:cubicBezTo>
                    <a:cubicBezTo>
                      <a:pt x="15" y="45"/>
                      <a:pt x="8" y="40"/>
                      <a:pt x="8" y="48"/>
                    </a:cubicBezTo>
                    <a:cubicBezTo>
                      <a:pt x="8" y="52"/>
                      <a:pt x="14" y="52"/>
                      <a:pt x="16" y="54"/>
                    </a:cubicBezTo>
                    <a:cubicBezTo>
                      <a:pt x="12" y="59"/>
                      <a:pt x="9" y="57"/>
                      <a:pt x="5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58"/>
                      <a:pt x="3" y="51"/>
                      <a:pt x="3" y="51"/>
                    </a:cubicBezTo>
                    <a:cubicBezTo>
                      <a:pt x="3" y="49"/>
                      <a:pt x="0" y="48"/>
                      <a:pt x="0" y="46"/>
                    </a:cubicBezTo>
                    <a:cubicBezTo>
                      <a:pt x="0" y="41"/>
                      <a:pt x="8" y="38"/>
                      <a:pt x="8" y="35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9" y="32"/>
                      <a:pt x="10" y="33"/>
                      <a:pt x="12" y="34"/>
                    </a:cubicBezTo>
                    <a:lnTo>
                      <a:pt x="11" y="3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59" name="íṡlïḓé"/>
              <p:cNvSpPr/>
              <p:nvPr/>
            </p:nvSpPr>
            <p:spPr bwMode="auto">
              <a:xfrm>
                <a:off x="8585220" y="2574334"/>
                <a:ext cx="19846" cy="17862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2" y="2"/>
                  </a:cxn>
                  <a:cxn ang="0">
                    <a:pos x="1" y="11"/>
                  </a:cxn>
                  <a:cxn ang="0">
                    <a:pos x="1" y="7"/>
                  </a:cxn>
                  <a:cxn ang="0">
                    <a:pos x="11" y="0"/>
                  </a:cxn>
                  <a:cxn ang="0">
                    <a:pos x="10" y="0"/>
                  </a:cxn>
                </a:cxnLst>
                <a:rect l="0" t="0" r="r" b="b"/>
                <a:pathLst>
                  <a:path w="12" h="11">
                    <a:moveTo>
                      <a:pt x="10" y="0"/>
                    </a:moveTo>
                    <a:cubicBezTo>
                      <a:pt x="12" y="2"/>
                      <a:pt x="12" y="2"/>
                      <a:pt x="12" y="2"/>
                    </a:cubicBezTo>
                    <a:cubicBezTo>
                      <a:pt x="10" y="4"/>
                      <a:pt x="5" y="11"/>
                      <a:pt x="1" y="11"/>
                    </a:cubicBezTo>
                    <a:cubicBezTo>
                      <a:pt x="0" y="11"/>
                      <a:pt x="0" y="8"/>
                      <a:pt x="1" y="7"/>
                    </a:cubicBezTo>
                    <a:cubicBezTo>
                      <a:pt x="3" y="4"/>
                      <a:pt x="8" y="0"/>
                      <a:pt x="11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60" name="ïs1íḍe"/>
              <p:cNvSpPr/>
              <p:nvPr/>
            </p:nvSpPr>
            <p:spPr bwMode="auto">
              <a:xfrm>
                <a:off x="8624912" y="2548535"/>
                <a:ext cx="27785" cy="19846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10" y="0"/>
                  </a:cxn>
                  <a:cxn ang="0">
                    <a:pos x="17" y="0"/>
                  </a:cxn>
                  <a:cxn ang="0">
                    <a:pos x="17" y="3"/>
                  </a:cxn>
                </a:cxnLst>
                <a:rect l="0" t="0" r="r" b="b"/>
                <a:pathLst>
                  <a:path w="17" h="12">
                    <a:moveTo>
                      <a:pt x="17" y="3"/>
                    </a:moveTo>
                    <a:cubicBezTo>
                      <a:pt x="7" y="3"/>
                      <a:pt x="7" y="12"/>
                      <a:pt x="1" y="12"/>
                    </a:cubicBezTo>
                    <a:cubicBezTo>
                      <a:pt x="0" y="12"/>
                      <a:pt x="1" y="10"/>
                      <a:pt x="1" y="10"/>
                    </a:cubicBezTo>
                    <a:cubicBezTo>
                      <a:pt x="1" y="10"/>
                      <a:pt x="5" y="0"/>
                      <a:pt x="10" y="0"/>
                    </a:cubicBezTo>
                    <a:cubicBezTo>
                      <a:pt x="13" y="0"/>
                      <a:pt x="15" y="0"/>
                      <a:pt x="17" y="0"/>
                    </a:cubicBezTo>
                    <a:lnTo>
                      <a:pt x="17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61" name="îŝḻîďe"/>
              <p:cNvSpPr/>
              <p:nvPr/>
            </p:nvSpPr>
            <p:spPr bwMode="auto">
              <a:xfrm>
                <a:off x="8674528" y="2526703"/>
                <a:ext cx="15877" cy="13893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2" y="3"/>
                  </a:cxn>
                  <a:cxn ang="0">
                    <a:pos x="9" y="0"/>
                  </a:cxn>
                  <a:cxn ang="0">
                    <a:pos x="1" y="9"/>
                  </a:cxn>
                  <a:cxn ang="0">
                    <a:pos x="1" y="6"/>
                  </a:cxn>
                </a:cxnLst>
                <a:rect l="0" t="0" r="r" b="b"/>
                <a:pathLst>
                  <a:path w="9" h="9">
                    <a:moveTo>
                      <a:pt x="1" y="6"/>
                    </a:moveTo>
                    <a:cubicBezTo>
                      <a:pt x="3" y="6"/>
                      <a:pt x="1" y="4"/>
                      <a:pt x="2" y="3"/>
                    </a:cubicBezTo>
                    <a:cubicBezTo>
                      <a:pt x="3" y="0"/>
                      <a:pt x="8" y="0"/>
                      <a:pt x="9" y="0"/>
                    </a:cubicBezTo>
                    <a:cubicBezTo>
                      <a:pt x="8" y="3"/>
                      <a:pt x="5" y="9"/>
                      <a:pt x="1" y="9"/>
                    </a:cubicBezTo>
                    <a:cubicBezTo>
                      <a:pt x="0" y="9"/>
                      <a:pt x="0" y="6"/>
                      <a:pt x="1" y="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62" name="ï$lîḓê"/>
              <p:cNvSpPr/>
              <p:nvPr/>
            </p:nvSpPr>
            <p:spPr bwMode="auto">
              <a:xfrm>
                <a:off x="8505836" y="2302444"/>
                <a:ext cx="59538" cy="230214"/>
              </a:xfrm>
              <a:custGeom>
                <a:avLst/>
                <a:gdLst/>
                <a:ahLst/>
                <a:cxnLst>
                  <a:cxn ang="0">
                    <a:pos x="26" y="84"/>
                  </a:cxn>
                  <a:cxn ang="0">
                    <a:pos x="13" y="109"/>
                  </a:cxn>
                  <a:cxn ang="0">
                    <a:pos x="26" y="132"/>
                  </a:cxn>
                  <a:cxn ang="0">
                    <a:pos x="25" y="132"/>
                  </a:cxn>
                  <a:cxn ang="0">
                    <a:pos x="20" y="128"/>
                  </a:cxn>
                  <a:cxn ang="0">
                    <a:pos x="16" y="128"/>
                  </a:cxn>
                  <a:cxn ang="0">
                    <a:pos x="5" y="138"/>
                  </a:cxn>
                  <a:cxn ang="0">
                    <a:pos x="5" y="125"/>
                  </a:cxn>
                  <a:cxn ang="0">
                    <a:pos x="7" y="105"/>
                  </a:cxn>
                  <a:cxn ang="0">
                    <a:pos x="4" y="93"/>
                  </a:cxn>
                  <a:cxn ang="0">
                    <a:pos x="7" y="79"/>
                  </a:cxn>
                  <a:cxn ang="0">
                    <a:pos x="7" y="53"/>
                  </a:cxn>
                  <a:cxn ang="0">
                    <a:pos x="0" y="37"/>
                  </a:cxn>
                  <a:cxn ang="0">
                    <a:pos x="9" y="15"/>
                  </a:cxn>
                  <a:cxn ang="0">
                    <a:pos x="11" y="9"/>
                  </a:cxn>
                  <a:cxn ang="0">
                    <a:pos x="11" y="0"/>
                  </a:cxn>
                  <a:cxn ang="0">
                    <a:pos x="14" y="0"/>
                  </a:cxn>
                  <a:cxn ang="0">
                    <a:pos x="19" y="20"/>
                  </a:cxn>
                  <a:cxn ang="0">
                    <a:pos x="21" y="37"/>
                  </a:cxn>
                  <a:cxn ang="0">
                    <a:pos x="21" y="47"/>
                  </a:cxn>
                  <a:cxn ang="0">
                    <a:pos x="24" y="59"/>
                  </a:cxn>
                  <a:cxn ang="0">
                    <a:pos x="36" y="90"/>
                  </a:cxn>
                  <a:cxn ang="0">
                    <a:pos x="26" y="84"/>
                  </a:cxn>
                </a:cxnLst>
                <a:rect l="0" t="0" r="r" b="b"/>
                <a:pathLst>
                  <a:path w="36" h="138">
                    <a:moveTo>
                      <a:pt x="26" y="84"/>
                    </a:moveTo>
                    <a:cubicBezTo>
                      <a:pt x="15" y="84"/>
                      <a:pt x="13" y="98"/>
                      <a:pt x="13" y="109"/>
                    </a:cubicBezTo>
                    <a:cubicBezTo>
                      <a:pt x="13" y="120"/>
                      <a:pt x="22" y="124"/>
                      <a:pt x="26" y="132"/>
                    </a:cubicBezTo>
                    <a:cubicBezTo>
                      <a:pt x="26" y="132"/>
                      <a:pt x="25" y="132"/>
                      <a:pt x="25" y="132"/>
                    </a:cubicBezTo>
                    <a:cubicBezTo>
                      <a:pt x="23" y="133"/>
                      <a:pt x="21" y="130"/>
                      <a:pt x="20" y="128"/>
                    </a:cubicBezTo>
                    <a:cubicBezTo>
                      <a:pt x="19" y="128"/>
                      <a:pt x="17" y="128"/>
                      <a:pt x="16" y="128"/>
                    </a:cubicBezTo>
                    <a:cubicBezTo>
                      <a:pt x="11" y="128"/>
                      <a:pt x="11" y="138"/>
                      <a:pt x="5" y="138"/>
                    </a:cubicBezTo>
                    <a:cubicBezTo>
                      <a:pt x="4" y="138"/>
                      <a:pt x="5" y="127"/>
                      <a:pt x="5" y="125"/>
                    </a:cubicBezTo>
                    <a:cubicBezTo>
                      <a:pt x="5" y="117"/>
                      <a:pt x="7" y="112"/>
                      <a:pt x="7" y="105"/>
                    </a:cubicBezTo>
                    <a:cubicBezTo>
                      <a:pt x="7" y="99"/>
                      <a:pt x="4" y="98"/>
                      <a:pt x="4" y="93"/>
                    </a:cubicBezTo>
                    <a:cubicBezTo>
                      <a:pt x="4" y="86"/>
                      <a:pt x="7" y="84"/>
                      <a:pt x="7" y="79"/>
                    </a:cubicBezTo>
                    <a:cubicBezTo>
                      <a:pt x="7" y="68"/>
                      <a:pt x="7" y="64"/>
                      <a:pt x="7" y="53"/>
                    </a:cubicBezTo>
                    <a:cubicBezTo>
                      <a:pt x="7" y="46"/>
                      <a:pt x="0" y="44"/>
                      <a:pt x="0" y="37"/>
                    </a:cubicBezTo>
                    <a:cubicBezTo>
                      <a:pt x="0" y="28"/>
                      <a:pt x="3" y="16"/>
                      <a:pt x="9" y="15"/>
                    </a:cubicBezTo>
                    <a:cubicBezTo>
                      <a:pt x="9" y="12"/>
                      <a:pt x="11" y="11"/>
                      <a:pt x="11" y="9"/>
                    </a:cubicBezTo>
                    <a:cubicBezTo>
                      <a:pt x="11" y="4"/>
                      <a:pt x="11" y="3"/>
                      <a:pt x="11" y="0"/>
                    </a:cubicBezTo>
                    <a:cubicBezTo>
                      <a:pt x="12" y="0"/>
                      <a:pt x="13" y="0"/>
                      <a:pt x="14" y="0"/>
                    </a:cubicBezTo>
                    <a:cubicBezTo>
                      <a:pt x="14" y="8"/>
                      <a:pt x="18" y="14"/>
                      <a:pt x="19" y="20"/>
                    </a:cubicBezTo>
                    <a:cubicBezTo>
                      <a:pt x="21" y="26"/>
                      <a:pt x="18" y="30"/>
                      <a:pt x="21" y="37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20" y="52"/>
                      <a:pt x="23" y="57"/>
                      <a:pt x="24" y="59"/>
                    </a:cubicBezTo>
                    <a:cubicBezTo>
                      <a:pt x="27" y="70"/>
                      <a:pt x="33" y="79"/>
                      <a:pt x="36" y="90"/>
                    </a:cubicBezTo>
                    <a:cubicBezTo>
                      <a:pt x="34" y="86"/>
                      <a:pt x="30" y="84"/>
                      <a:pt x="26" y="8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63" name="ï$1ïḑê"/>
              <p:cNvSpPr/>
              <p:nvPr/>
            </p:nvSpPr>
            <p:spPr bwMode="auto">
              <a:xfrm>
                <a:off x="6616492" y="1506618"/>
                <a:ext cx="365168" cy="267922"/>
              </a:xfrm>
              <a:custGeom>
                <a:avLst/>
                <a:gdLst/>
                <a:ahLst/>
                <a:cxnLst>
                  <a:cxn ang="0">
                    <a:pos x="76" y="161"/>
                  </a:cxn>
                  <a:cxn ang="0">
                    <a:pos x="50" y="131"/>
                  </a:cxn>
                  <a:cxn ang="0">
                    <a:pos x="103" y="67"/>
                  </a:cxn>
                  <a:cxn ang="0">
                    <a:pos x="125" y="55"/>
                  </a:cxn>
                  <a:cxn ang="0">
                    <a:pos x="134" y="45"/>
                  </a:cxn>
                  <a:cxn ang="0">
                    <a:pos x="175" y="34"/>
                  </a:cxn>
                  <a:cxn ang="0">
                    <a:pos x="220" y="11"/>
                  </a:cxn>
                  <a:cxn ang="0">
                    <a:pos x="203" y="0"/>
                  </a:cxn>
                  <a:cxn ang="0">
                    <a:pos x="136" y="25"/>
                  </a:cxn>
                  <a:cxn ang="0">
                    <a:pos x="123" y="19"/>
                  </a:cxn>
                  <a:cxn ang="0">
                    <a:pos x="109" y="25"/>
                  </a:cxn>
                  <a:cxn ang="0">
                    <a:pos x="69" y="46"/>
                  </a:cxn>
                  <a:cxn ang="0">
                    <a:pos x="52" y="49"/>
                  </a:cxn>
                  <a:cxn ang="0">
                    <a:pos x="47" y="53"/>
                  </a:cxn>
                  <a:cxn ang="0">
                    <a:pos x="50" y="61"/>
                  </a:cxn>
                  <a:cxn ang="0">
                    <a:pos x="27" y="88"/>
                  </a:cxn>
                  <a:cxn ang="0">
                    <a:pos x="34" y="98"/>
                  </a:cxn>
                  <a:cxn ang="0">
                    <a:pos x="13" y="110"/>
                  </a:cxn>
                  <a:cxn ang="0">
                    <a:pos x="13" y="117"/>
                  </a:cxn>
                  <a:cxn ang="0">
                    <a:pos x="0" y="134"/>
                  </a:cxn>
                  <a:cxn ang="0">
                    <a:pos x="8" y="143"/>
                  </a:cxn>
                  <a:cxn ang="0">
                    <a:pos x="21" y="143"/>
                  </a:cxn>
                  <a:cxn ang="0">
                    <a:pos x="27" y="158"/>
                  </a:cxn>
                  <a:cxn ang="0">
                    <a:pos x="39" y="158"/>
                  </a:cxn>
                  <a:cxn ang="0">
                    <a:pos x="42" y="161"/>
                  </a:cxn>
                  <a:cxn ang="0">
                    <a:pos x="76" y="161"/>
                  </a:cxn>
                  <a:cxn ang="0">
                    <a:pos x="72" y="156"/>
                  </a:cxn>
                  <a:cxn ang="0">
                    <a:pos x="76" y="161"/>
                  </a:cxn>
                </a:cxnLst>
                <a:rect l="0" t="0" r="r" b="b"/>
                <a:pathLst>
                  <a:path w="220" h="161">
                    <a:moveTo>
                      <a:pt x="76" y="161"/>
                    </a:moveTo>
                    <a:cubicBezTo>
                      <a:pt x="66" y="151"/>
                      <a:pt x="50" y="147"/>
                      <a:pt x="50" y="131"/>
                    </a:cubicBezTo>
                    <a:cubicBezTo>
                      <a:pt x="50" y="102"/>
                      <a:pt x="81" y="73"/>
                      <a:pt x="103" y="67"/>
                    </a:cubicBezTo>
                    <a:cubicBezTo>
                      <a:pt x="111" y="64"/>
                      <a:pt x="113" y="55"/>
                      <a:pt x="125" y="55"/>
                    </a:cubicBezTo>
                    <a:cubicBezTo>
                      <a:pt x="130" y="55"/>
                      <a:pt x="132" y="46"/>
                      <a:pt x="134" y="45"/>
                    </a:cubicBezTo>
                    <a:cubicBezTo>
                      <a:pt x="149" y="38"/>
                      <a:pt x="160" y="41"/>
                      <a:pt x="175" y="34"/>
                    </a:cubicBezTo>
                    <a:cubicBezTo>
                      <a:pt x="186" y="28"/>
                      <a:pt x="220" y="26"/>
                      <a:pt x="220" y="11"/>
                    </a:cubicBezTo>
                    <a:cubicBezTo>
                      <a:pt x="220" y="6"/>
                      <a:pt x="208" y="0"/>
                      <a:pt x="203" y="0"/>
                    </a:cubicBezTo>
                    <a:cubicBezTo>
                      <a:pt x="181" y="0"/>
                      <a:pt x="160" y="25"/>
                      <a:pt x="136" y="25"/>
                    </a:cubicBezTo>
                    <a:cubicBezTo>
                      <a:pt x="131" y="25"/>
                      <a:pt x="128" y="19"/>
                      <a:pt x="123" y="19"/>
                    </a:cubicBezTo>
                    <a:cubicBezTo>
                      <a:pt x="115" y="19"/>
                      <a:pt x="115" y="25"/>
                      <a:pt x="109" y="25"/>
                    </a:cubicBezTo>
                    <a:cubicBezTo>
                      <a:pt x="93" y="25"/>
                      <a:pt x="80" y="46"/>
                      <a:pt x="69" y="46"/>
                    </a:cubicBezTo>
                    <a:cubicBezTo>
                      <a:pt x="63" y="46"/>
                      <a:pt x="58" y="49"/>
                      <a:pt x="52" y="49"/>
                    </a:cubicBezTo>
                    <a:cubicBezTo>
                      <a:pt x="49" y="49"/>
                      <a:pt x="47" y="52"/>
                      <a:pt x="47" y="53"/>
                    </a:cubicBezTo>
                    <a:cubicBezTo>
                      <a:pt x="47" y="56"/>
                      <a:pt x="50" y="58"/>
                      <a:pt x="50" y="61"/>
                    </a:cubicBezTo>
                    <a:cubicBezTo>
                      <a:pt x="50" y="74"/>
                      <a:pt x="27" y="80"/>
                      <a:pt x="27" y="88"/>
                    </a:cubicBezTo>
                    <a:cubicBezTo>
                      <a:pt x="27" y="91"/>
                      <a:pt x="34" y="92"/>
                      <a:pt x="34" y="98"/>
                    </a:cubicBezTo>
                    <a:cubicBezTo>
                      <a:pt x="27" y="99"/>
                      <a:pt x="13" y="102"/>
                      <a:pt x="13" y="110"/>
                    </a:cubicBezTo>
                    <a:cubicBezTo>
                      <a:pt x="13" y="115"/>
                      <a:pt x="13" y="117"/>
                      <a:pt x="13" y="117"/>
                    </a:cubicBezTo>
                    <a:cubicBezTo>
                      <a:pt x="13" y="124"/>
                      <a:pt x="0" y="124"/>
                      <a:pt x="0" y="134"/>
                    </a:cubicBezTo>
                    <a:cubicBezTo>
                      <a:pt x="0" y="139"/>
                      <a:pt x="8" y="143"/>
                      <a:pt x="8" y="143"/>
                    </a:cubicBezTo>
                    <a:cubicBezTo>
                      <a:pt x="8" y="143"/>
                      <a:pt x="20" y="143"/>
                      <a:pt x="21" y="143"/>
                    </a:cubicBezTo>
                    <a:cubicBezTo>
                      <a:pt x="28" y="145"/>
                      <a:pt x="24" y="152"/>
                      <a:pt x="27" y="158"/>
                    </a:cubicBezTo>
                    <a:cubicBezTo>
                      <a:pt x="28" y="161"/>
                      <a:pt x="35" y="158"/>
                      <a:pt x="39" y="158"/>
                    </a:cubicBezTo>
                    <a:cubicBezTo>
                      <a:pt x="40" y="158"/>
                      <a:pt x="41" y="161"/>
                      <a:pt x="42" y="161"/>
                    </a:cubicBezTo>
                    <a:cubicBezTo>
                      <a:pt x="76" y="161"/>
                      <a:pt x="76" y="161"/>
                      <a:pt x="76" y="161"/>
                    </a:cubicBezTo>
                    <a:cubicBezTo>
                      <a:pt x="75" y="159"/>
                      <a:pt x="73" y="157"/>
                      <a:pt x="72" y="156"/>
                    </a:cubicBezTo>
                    <a:lnTo>
                      <a:pt x="76" y="16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66" name="íŝļïďe"/>
              <p:cNvSpPr/>
              <p:nvPr/>
            </p:nvSpPr>
            <p:spPr bwMode="auto">
              <a:xfrm>
                <a:off x="9275862" y="1726909"/>
                <a:ext cx="73431" cy="31753"/>
              </a:xfrm>
              <a:custGeom>
                <a:avLst/>
                <a:gdLst/>
                <a:ahLst/>
                <a:cxnLst>
                  <a:cxn ang="0">
                    <a:pos x="4" y="19"/>
                  </a:cxn>
                  <a:cxn ang="0">
                    <a:pos x="0" y="14"/>
                  </a:cxn>
                  <a:cxn ang="0">
                    <a:pos x="20" y="0"/>
                  </a:cxn>
                  <a:cxn ang="0">
                    <a:pos x="44" y="11"/>
                  </a:cxn>
                  <a:cxn ang="0">
                    <a:pos x="4" y="19"/>
                  </a:cxn>
                </a:cxnLst>
                <a:rect l="0" t="0" r="r" b="b"/>
                <a:pathLst>
                  <a:path w="44" h="19">
                    <a:moveTo>
                      <a:pt x="4" y="19"/>
                    </a:moveTo>
                    <a:cubicBezTo>
                      <a:pt x="1" y="19"/>
                      <a:pt x="0" y="17"/>
                      <a:pt x="0" y="14"/>
                    </a:cubicBezTo>
                    <a:cubicBezTo>
                      <a:pt x="0" y="8"/>
                      <a:pt x="13" y="0"/>
                      <a:pt x="20" y="0"/>
                    </a:cubicBezTo>
                    <a:cubicBezTo>
                      <a:pt x="27" y="0"/>
                      <a:pt x="44" y="4"/>
                      <a:pt x="44" y="11"/>
                    </a:cubicBezTo>
                    <a:cubicBezTo>
                      <a:pt x="44" y="17"/>
                      <a:pt x="9" y="19"/>
                      <a:pt x="4" y="1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67" name="îṩļíďè"/>
              <p:cNvSpPr/>
              <p:nvPr/>
            </p:nvSpPr>
            <p:spPr bwMode="auto">
              <a:xfrm>
                <a:off x="9053586" y="1786448"/>
                <a:ext cx="29770" cy="17862"/>
              </a:xfrm>
              <a:custGeom>
                <a:avLst/>
                <a:gdLst/>
                <a:ahLst/>
                <a:cxnLst>
                  <a:cxn ang="0">
                    <a:pos x="13" y="10"/>
                  </a:cxn>
                  <a:cxn ang="0">
                    <a:pos x="18" y="6"/>
                  </a:cxn>
                  <a:cxn ang="0">
                    <a:pos x="15" y="0"/>
                  </a:cxn>
                  <a:cxn ang="0">
                    <a:pos x="0" y="0"/>
                  </a:cxn>
                  <a:cxn ang="0">
                    <a:pos x="13" y="10"/>
                  </a:cxn>
                </a:cxnLst>
                <a:rect l="0" t="0" r="r" b="b"/>
                <a:pathLst>
                  <a:path w="18" h="10">
                    <a:moveTo>
                      <a:pt x="13" y="10"/>
                    </a:moveTo>
                    <a:cubicBezTo>
                      <a:pt x="15" y="10"/>
                      <a:pt x="18" y="8"/>
                      <a:pt x="18" y="6"/>
                    </a:cubicBezTo>
                    <a:cubicBezTo>
                      <a:pt x="18" y="3"/>
                      <a:pt x="15" y="2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6"/>
                      <a:pt x="7" y="10"/>
                      <a:pt x="13" y="1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68" name="ïṥļîďé"/>
              <p:cNvSpPr/>
              <p:nvPr/>
            </p:nvSpPr>
            <p:spPr bwMode="auto">
              <a:xfrm>
                <a:off x="8370883" y="1554248"/>
                <a:ext cx="13893" cy="15877"/>
              </a:xfrm>
              <a:custGeom>
                <a:avLst/>
                <a:gdLst/>
                <a:ahLst/>
                <a:cxnLst>
                  <a:cxn ang="0">
                    <a:pos x="8" y="5"/>
                  </a:cxn>
                  <a:cxn ang="0">
                    <a:pos x="3" y="0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8" y="4"/>
                  </a:cxn>
                  <a:cxn ang="0">
                    <a:pos x="6" y="4"/>
                  </a:cxn>
                  <a:cxn ang="0">
                    <a:pos x="8" y="5"/>
                  </a:cxn>
                </a:cxnLst>
                <a:rect l="0" t="0" r="r" b="b"/>
                <a:pathLst>
                  <a:path w="8" h="10">
                    <a:moveTo>
                      <a:pt x="8" y="5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2"/>
                      <a:pt x="0" y="4"/>
                      <a:pt x="0" y="7"/>
                    </a:cubicBezTo>
                    <a:cubicBezTo>
                      <a:pt x="0" y="9"/>
                      <a:pt x="1" y="10"/>
                      <a:pt x="3" y="10"/>
                    </a:cubicBezTo>
                    <a:cubicBezTo>
                      <a:pt x="7" y="10"/>
                      <a:pt x="7" y="6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69" name="îşľiḑe"/>
              <p:cNvSpPr/>
              <p:nvPr/>
            </p:nvSpPr>
            <p:spPr bwMode="auto">
              <a:xfrm>
                <a:off x="7876717" y="1607833"/>
                <a:ext cx="33739" cy="19846"/>
              </a:xfrm>
              <a:custGeom>
                <a:avLst/>
                <a:gdLst/>
                <a:ahLst/>
                <a:cxnLst>
                  <a:cxn ang="0">
                    <a:pos x="20" y="9"/>
                  </a:cxn>
                  <a:cxn ang="0">
                    <a:pos x="10" y="12"/>
                  </a:cxn>
                  <a:cxn ang="0">
                    <a:pos x="0" y="7"/>
                  </a:cxn>
                  <a:cxn ang="0">
                    <a:pos x="10" y="0"/>
                  </a:cxn>
                  <a:cxn ang="0">
                    <a:pos x="20" y="7"/>
                  </a:cxn>
                  <a:cxn ang="0">
                    <a:pos x="17" y="12"/>
                  </a:cxn>
                  <a:cxn ang="0">
                    <a:pos x="20" y="9"/>
                  </a:cxn>
                </a:cxnLst>
                <a:rect l="0" t="0" r="r" b="b"/>
                <a:pathLst>
                  <a:path w="20" h="12">
                    <a:moveTo>
                      <a:pt x="20" y="9"/>
                    </a:moveTo>
                    <a:cubicBezTo>
                      <a:pt x="17" y="11"/>
                      <a:pt x="14" y="12"/>
                      <a:pt x="10" y="12"/>
                    </a:cubicBezTo>
                    <a:cubicBezTo>
                      <a:pt x="5" y="12"/>
                      <a:pt x="0" y="11"/>
                      <a:pt x="0" y="7"/>
                    </a:cubicBezTo>
                    <a:cubicBezTo>
                      <a:pt x="0" y="3"/>
                      <a:pt x="6" y="0"/>
                      <a:pt x="10" y="0"/>
                    </a:cubicBezTo>
                    <a:cubicBezTo>
                      <a:pt x="16" y="0"/>
                      <a:pt x="20" y="2"/>
                      <a:pt x="20" y="7"/>
                    </a:cubicBezTo>
                    <a:cubicBezTo>
                      <a:pt x="20" y="10"/>
                      <a:pt x="18" y="11"/>
                      <a:pt x="17" y="12"/>
                    </a:cubicBezTo>
                    <a:lnTo>
                      <a:pt x="20" y="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70" name="î$ļîďè"/>
              <p:cNvSpPr/>
              <p:nvPr/>
            </p:nvSpPr>
            <p:spPr bwMode="auto">
              <a:xfrm>
                <a:off x="7618718" y="1393496"/>
                <a:ext cx="125031" cy="71446"/>
              </a:xfrm>
              <a:custGeom>
                <a:avLst/>
                <a:gdLst/>
                <a:ahLst/>
                <a:cxnLst>
                  <a:cxn ang="0">
                    <a:pos x="6" y="43"/>
                  </a:cxn>
                  <a:cxn ang="0">
                    <a:pos x="0" y="37"/>
                  </a:cxn>
                  <a:cxn ang="0">
                    <a:pos x="8" y="27"/>
                  </a:cxn>
                  <a:cxn ang="0">
                    <a:pos x="39" y="0"/>
                  </a:cxn>
                  <a:cxn ang="0">
                    <a:pos x="45" y="0"/>
                  </a:cxn>
                  <a:cxn ang="0">
                    <a:pos x="44" y="10"/>
                  </a:cxn>
                  <a:cxn ang="0">
                    <a:pos x="52" y="6"/>
                  </a:cxn>
                  <a:cxn ang="0">
                    <a:pos x="76" y="23"/>
                  </a:cxn>
                  <a:cxn ang="0">
                    <a:pos x="45" y="34"/>
                  </a:cxn>
                  <a:cxn ang="0">
                    <a:pos x="30" y="37"/>
                  </a:cxn>
                  <a:cxn ang="0">
                    <a:pos x="6" y="43"/>
                  </a:cxn>
                </a:cxnLst>
                <a:rect l="0" t="0" r="r" b="b"/>
                <a:pathLst>
                  <a:path w="76" h="43">
                    <a:moveTo>
                      <a:pt x="6" y="43"/>
                    </a:moveTo>
                    <a:cubicBezTo>
                      <a:pt x="1" y="43"/>
                      <a:pt x="0" y="41"/>
                      <a:pt x="0" y="37"/>
                    </a:cubicBezTo>
                    <a:cubicBezTo>
                      <a:pt x="0" y="30"/>
                      <a:pt x="5" y="30"/>
                      <a:pt x="8" y="27"/>
                    </a:cubicBezTo>
                    <a:cubicBezTo>
                      <a:pt x="18" y="17"/>
                      <a:pt x="22" y="0"/>
                      <a:pt x="39" y="0"/>
                    </a:cubicBezTo>
                    <a:cubicBezTo>
                      <a:pt x="43" y="0"/>
                      <a:pt x="43" y="0"/>
                      <a:pt x="45" y="0"/>
                    </a:cubicBezTo>
                    <a:cubicBezTo>
                      <a:pt x="45" y="7"/>
                      <a:pt x="47" y="7"/>
                      <a:pt x="44" y="10"/>
                    </a:cubicBezTo>
                    <a:cubicBezTo>
                      <a:pt x="47" y="9"/>
                      <a:pt x="49" y="6"/>
                      <a:pt x="52" y="6"/>
                    </a:cubicBezTo>
                    <a:cubicBezTo>
                      <a:pt x="58" y="6"/>
                      <a:pt x="76" y="17"/>
                      <a:pt x="76" y="23"/>
                    </a:cubicBezTo>
                    <a:cubicBezTo>
                      <a:pt x="76" y="34"/>
                      <a:pt x="53" y="36"/>
                      <a:pt x="45" y="34"/>
                    </a:cubicBezTo>
                    <a:cubicBezTo>
                      <a:pt x="43" y="34"/>
                      <a:pt x="30" y="37"/>
                      <a:pt x="30" y="37"/>
                    </a:cubicBezTo>
                    <a:lnTo>
                      <a:pt x="6" y="4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71" name="íṩľïḋe"/>
              <p:cNvSpPr/>
              <p:nvPr/>
            </p:nvSpPr>
            <p:spPr bwMode="auto">
              <a:xfrm>
                <a:off x="7440104" y="1359757"/>
                <a:ext cx="49616" cy="25801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30" y="7"/>
                  </a:cxn>
                  <a:cxn ang="0">
                    <a:pos x="9" y="16"/>
                  </a:cxn>
                  <a:cxn ang="0">
                    <a:pos x="0" y="5"/>
                  </a:cxn>
                  <a:cxn ang="0">
                    <a:pos x="12" y="0"/>
                  </a:cxn>
                </a:cxnLst>
                <a:rect l="0" t="0" r="r" b="b"/>
                <a:pathLst>
                  <a:path w="30" h="16">
                    <a:moveTo>
                      <a:pt x="12" y="0"/>
                    </a:moveTo>
                    <a:cubicBezTo>
                      <a:pt x="14" y="0"/>
                      <a:pt x="26" y="6"/>
                      <a:pt x="30" y="7"/>
                    </a:cubicBezTo>
                    <a:cubicBezTo>
                      <a:pt x="29" y="15"/>
                      <a:pt x="14" y="16"/>
                      <a:pt x="9" y="16"/>
                    </a:cubicBezTo>
                    <a:cubicBezTo>
                      <a:pt x="6" y="16"/>
                      <a:pt x="0" y="9"/>
                      <a:pt x="0" y="5"/>
                    </a:cubicBezTo>
                    <a:cubicBezTo>
                      <a:pt x="0" y="0"/>
                      <a:pt x="9" y="0"/>
                      <a:pt x="12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72" name="iSlïde"/>
              <p:cNvSpPr/>
              <p:nvPr/>
            </p:nvSpPr>
            <p:spPr bwMode="auto">
              <a:xfrm>
                <a:off x="7455981" y="1304189"/>
                <a:ext cx="174645" cy="123045"/>
              </a:xfrm>
              <a:custGeom>
                <a:avLst/>
                <a:gdLst/>
                <a:ahLst/>
                <a:cxnLst>
                  <a:cxn ang="0">
                    <a:pos x="99" y="68"/>
                  </a:cxn>
                  <a:cxn ang="0">
                    <a:pos x="90" y="74"/>
                  </a:cxn>
                  <a:cxn ang="0">
                    <a:pos x="41" y="66"/>
                  </a:cxn>
                  <a:cxn ang="0">
                    <a:pos x="17" y="50"/>
                  </a:cxn>
                  <a:cxn ang="0">
                    <a:pos x="50" y="36"/>
                  </a:cxn>
                  <a:cxn ang="0">
                    <a:pos x="32" y="36"/>
                  </a:cxn>
                  <a:cxn ang="0">
                    <a:pos x="0" y="26"/>
                  </a:cxn>
                  <a:cxn ang="0">
                    <a:pos x="46" y="0"/>
                  </a:cxn>
                  <a:cxn ang="0">
                    <a:pos x="72" y="17"/>
                  </a:cxn>
                  <a:cxn ang="0">
                    <a:pos x="67" y="18"/>
                  </a:cxn>
                  <a:cxn ang="0">
                    <a:pos x="67" y="27"/>
                  </a:cxn>
                  <a:cxn ang="0">
                    <a:pos x="59" y="35"/>
                  </a:cxn>
                  <a:cxn ang="0">
                    <a:pos x="68" y="35"/>
                  </a:cxn>
                  <a:cxn ang="0">
                    <a:pos x="81" y="39"/>
                  </a:cxn>
                  <a:cxn ang="0">
                    <a:pos x="90" y="39"/>
                  </a:cxn>
                  <a:cxn ang="0">
                    <a:pos x="105" y="48"/>
                  </a:cxn>
                  <a:cxn ang="0">
                    <a:pos x="101" y="57"/>
                  </a:cxn>
                  <a:cxn ang="0">
                    <a:pos x="92" y="62"/>
                  </a:cxn>
                  <a:cxn ang="0">
                    <a:pos x="99" y="68"/>
                  </a:cxn>
                </a:cxnLst>
                <a:rect l="0" t="0" r="r" b="b"/>
                <a:pathLst>
                  <a:path w="105" h="74">
                    <a:moveTo>
                      <a:pt x="99" y="68"/>
                    </a:moveTo>
                    <a:cubicBezTo>
                      <a:pt x="99" y="72"/>
                      <a:pt x="94" y="74"/>
                      <a:pt x="90" y="74"/>
                    </a:cubicBezTo>
                    <a:cubicBezTo>
                      <a:pt x="71" y="74"/>
                      <a:pt x="57" y="66"/>
                      <a:pt x="41" y="66"/>
                    </a:cubicBezTo>
                    <a:cubicBezTo>
                      <a:pt x="35" y="66"/>
                      <a:pt x="24" y="54"/>
                      <a:pt x="17" y="50"/>
                    </a:cubicBezTo>
                    <a:cubicBezTo>
                      <a:pt x="32" y="46"/>
                      <a:pt x="36" y="41"/>
                      <a:pt x="50" y="36"/>
                    </a:cubicBezTo>
                    <a:cubicBezTo>
                      <a:pt x="46" y="36"/>
                      <a:pt x="35" y="36"/>
                      <a:pt x="32" y="36"/>
                    </a:cubicBezTo>
                    <a:cubicBezTo>
                      <a:pt x="20" y="36"/>
                      <a:pt x="11" y="32"/>
                      <a:pt x="0" y="26"/>
                    </a:cubicBezTo>
                    <a:cubicBezTo>
                      <a:pt x="18" y="21"/>
                      <a:pt x="25" y="0"/>
                      <a:pt x="46" y="0"/>
                    </a:cubicBezTo>
                    <a:cubicBezTo>
                      <a:pt x="58" y="0"/>
                      <a:pt x="65" y="12"/>
                      <a:pt x="72" y="17"/>
                    </a:cubicBezTo>
                    <a:cubicBezTo>
                      <a:pt x="68" y="19"/>
                      <a:pt x="69" y="18"/>
                      <a:pt x="67" y="18"/>
                    </a:cubicBezTo>
                    <a:cubicBezTo>
                      <a:pt x="68" y="23"/>
                      <a:pt x="67" y="24"/>
                      <a:pt x="67" y="27"/>
                    </a:cubicBezTo>
                    <a:cubicBezTo>
                      <a:pt x="67" y="29"/>
                      <a:pt x="62" y="33"/>
                      <a:pt x="59" y="35"/>
                    </a:cubicBezTo>
                    <a:cubicBezTo>
                      <a:pt x="63" y="33"/>
                      <a:pt x="65" y="35"/>
                      <a:pt x="68" y="35"/>
                    </a:cubicBezTo>
                    <a:cubicBezTo>
                      <a:pt x="73" y="35"/>
                      <a:pt x="76" y="39"/>
                      <a:pt x="81" y="39"/>
                    </a:cubicBezTo>
                    <a:cubicBezTo>
                      <a:pt x="84" y="39"/>
                      <a:pt x="87" y="39"/>
                      <a:pt x="90" y="39"/>
                    </a:cubicBezTo>
                    <a:cubicBezTo>
                      <a:pt x="99" y="39"/>
                      <a:pt x="99" y="42"/>
                      <a:pt x="105" y="48"/>
                    </a:cubicBezTo>
                    <a:cubicBezTo>
                      <a:pt x="100" y="51"/>
                      <a:pt x="101" y="52"/>
                      <a:pt x="101" y="57"/>
                    </a:cubicBezTo>
                    <a:cubicBezTo>
                      <a:pt x="101" y="61"/>
                      <a:pt x="95" y="62"/>
                      <a:pt x="92" y="62"/>
                    </a:cubicBezTo>
                    <a:cubicBezTo>
                      <a:pt x="95" y="63"/>
                      <a:pt x="99" y="65"/>
                      <a:pt x="99" y="6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73" name="íṡlïḑé"/>
              <p:cNvSpPr/>
              <p:nvPr/>
            </p:nvSpPr>
            <p:spPr bwMode="auto">
              <a:xfrm>
                <a:off x="7531396" y="1498679"/>
                <a:ext cx="21831" cy="1587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7" y="0"/>
                  </a:cxn>
                  <a:cxn ang="0">
                    <a:pos x="13" y="0"/>
                  </a:cxn>
                  <a:cxn ang="0">
                    <a:pos x="5" y="9"/>
                  </a:cxn>
                  <a:cxn ang="0">
                    <a:pos x="0" y="5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cubicBezTo>
                      <a:pt x="3" y="3"/>
                      <a:pt x="5" y="1"/>
                      <a:pt x="7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6"/>
                      <a:pt x="10" y="9"/>
                      <a:pt x="5" y="9"/>
                    </a:cubicBezTo>
                    <a:cubicBezTo>
                      <a:pt x="2" y="9"/>
                      <a:pt x="1" y="7"/>
                      <a:pt x="0" y="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74" name="î$ļiḓê"/>
              <p:cNvSpPr/>
              <p:nvPr/>
            </p:nvSpPr>
            <p:spPr bwMode="auto">
              <a:xfrm>
                <a:off x="7422242" y="1308157"/>
                <a:ext cx="29770" cy="9924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0" y="0"/>
                  </a:cxn>
                  <a:cxn ang="0">
                    <a:pos x="16" y="0"/>
                  </a:cxn>
                  <a:cxn ang="0">
                    <a:pos x="18" y="4"/>
                  </a:cxn>
                </a:cxnLst>
                <a:rect l="0" t="0" r="r" b="b"/>
                <a:pathLst>
                  <a:path w="18" h="6">
                    <a:moveTo>
                      <a:pt x="18" y="4"/>
                    </a:moveTo>
                    <a:cubicBezTo>
                      <a:pt x="11" y="5"/>
                      <a:pt x="3" y="6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lnTo>
                      <a:pt x="18" y="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75" name="ïślídê"/>
              <p:cNvSpPr/>
              <p:nvPr/>
            </p:nvSpPr>
            <p:spPr bwMode="auto">
              <a:xfrm>
                <a:off x="7767563" y="1449065"/>
                <a:ext cx="25801" cy="11907"/>
              </a:xfrm>
              <a:custGeom>
                <a:avLst/>
                <a:gdLst/>
                <a:ahLst/>
                <a:cxnLst>
                  <a:cxn ang="0">
                    <a:pos x="15" y="1"/>
                  </a:cxn>
                  <a:cxn ang="0">
                    <a:pos x="9" y="7"/>
                  </a:cxn>
                  <a:cxn ang="0">
                    <a:pos x="0" y="2"/>
                  </a:cxn>
                  <a:cxn ang="0">
                    <a:pos x="15" y="1"/>
                  </a:cxn>
                </a:cxnLst>
                <a:rect l="0" t="0" r="r" b="b"/>
                <a:pathLst>
                  <a:path w="15" h="7">
                    <a:moveTo>
                      <a:pt x="15" y="1"/>
                    </a:moveTo>
                    <a:cubicBezTo>
                      <a:pt x="14" y="4"/>
                      <a:pt x="12" y="7"/>
                      <a:pt x="9" y="7"/>
                    </a:cubicBezTo>
                    <a:cubicBezTo>
                      <a:pt x="4" y="7"/>
                      <a:pt x="1" y="4"/>
                      <a:pt x="0" y="2"/>
                    </a:cubicBezTo>
                    <a:cubicBezTo>
                      <a:pt x="9" y="0"/>
                      <a:pt x="11" y="2"/>
                      <a:pt x="15" y="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76" name="íşļiďè"/>
              <p:cNvSpPr/>
              <p:nvPr/>
            </p:nvSpPr>
            <p:spPr bwMode="auto">
              <a:xfrm>
                <a:off x="6463679" y="1326020"/>
                <a:ext cx="146861" cy="45647"/>
              </a:xfrm>
              <a:custGeom>
                <a:avLst/>
                <a:gdLst/>
                <a:ahLst/>
                <a:cxnLst>
                  <a:cxn ang="0">
                    <a:pos x="76" y="14"/>
                  </a:cxn>
                  <a:cxn ang="0">
                    <a:pos x="58" y="17"/>
                  </a:cxn>
                  <a:cxn ang="0">
                    <a:pos x="49" y="27"/>
                  </a:cxn>
                  <a:cxn ang="0">
                    <a:pos x="44" y="23"/>
                  </a:cxn>
                  <a:cxn ang="0">
                    <a:pos x="44" y="23"/>
                  </a:cxn>
                  <a:cxn ang="0">
                    <a:pos x="32" y="17"/>
                  </a:cxn>
                  <a:cxn ang="0">
                    <a:pos x="41" y="14"/>
                  </a:cxn>
                  <a:cxn ang="0">
                    <a:pos x="33" y="13"/>
                  </a:cxn>
                  <a:cxn ang="0">
                    <a:pos x="40" y="9"/>
                  </a:cxn>
                  <a:cxn ang="0">
                    <a:pos x="30" y="5"/>
                  </a:cxn>
                  <a:cxn ang="0">
                    <a:pos x="10" y="11"/>
                  </a:cxn>
                  <a:cxn ang="0">
                    <a:pos x="0" y="9"/>
                  </a:cxn>
                  <a:cxn ang="0">
                    <a:pos x="34" y="0"/>
                  </a:cxn>
                  <a:cxn ang="0">
                    <a:pos x="60" y="6"/>
                  </a:cxn>
                  <a:cxn ang="0">
                    <a:pos x="76" y="0"/>
                  </a:cxn>
                  <a:cxn ang="0">
                    <a:pos x="89" y="5"/>
                  </a:cxn>
                  <a:cxn ang="0">
                    <a:pos x="78" y="13"/>
                  </a:cxn>
                  <a:cxn ang="0">
                    <a:pos x="73" y="13"/>
                  </a:cxn>
                  <a:cxn ang="0">
                    <a:pos x="73" y="17"/>
                  </a:cxn>
                  <a:cxn ang="0">
                    <a:pos x="76" y="14"/>
                  </a:cxn>
                </a:cxnLst>
                <a:rect l="0" t="0" r="r" b="b"/>
                <a:pathLst>
                  <a:path w="89" h="27">
                    <a:moveTo>
                      <a:pt x="76" y="14"/>
                    </a:moveTo>
                    <a:cubicBezTo>
                      <a:pt x="69" y="19"/>
                      <a:pt x="65" y="13"/>
                      <a:pt x="58" y="17"/>
                    </a:cubicBezTo>
                    <a:cubicBezTo>
                      <a:pt x="54" y="19"/>
                      <a:pt x="53" y="27"/>
                      <a:pt x="49" y="27"/>
                    </a:cubicBezTo>
                    <a:cubicBezTo>
                      <a:pt x="47" y="26"/>
                      <a:pt x="45" y="24"/>
                      <a:pt x="44" y="23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38" y="23"/>
                      <a:pt x="33" y="21"/>
                      <a:pt x="32" y="17"/>
                    </a:cubicBezTo>
                    <a:cubicBezTo>
                      <a:pt x="36" y="15"/>
                      <a:pt x="38" y="15"/>
                      <a:pt x="41" y="14"/>
                    </a:cubicBezTo>
                    <a:cubicBezTo>
                      <a:pt x="37" y="14"/>
                      <a:pt x="35" y="13"/>
                      <a:pt x="33" y="13"/>
                    </a:cubicBezTo>
                    <a:cubicBezTo>
                      <a:pt x="36" y="11"/>
                      <a:pt x="38" y="11"/>
                      <a:pt x="40" y="9"/>
                    </a:cubicBezTo>
                    <a:cubicBezTo>
                      <a:pt x="36" y="8"/>
                      <a:pt x="34" y="5"/>
                      <a:pt x="30" y="5"/>
                    </a:cubicBezTo>
                    <a:cubicBezTo>
                      <a:pt x="25" y="5"/>
                      <a:pt x="17" y="11"/>
                      <a:pt x="10" y="11"/>
                    </a:cubicBezTo>
                    <a:cubicBezTo>
                      <a:pt x="7" y="11"/>
                      <a:pt x="4" y="9"/>
                      <a:pt x="0" y="9"/>
                    </a:cubicBezTo>
                    <a:cubicBezTo>
                      <a:pt x="4" y="2"/>
                      <a:pt x="25" y="0"/>
                      <a:pt x="34" y="0"/>
                    </a:cubicBezTo>
                    <a:cubicBezTo>
                      <a:pt x="45" y="0"/>
                      <a:pt x="52" y="6"/>
                      <a:pt x="60" y="6"/>
                    </a:cubicBezTo>
                    <a:cubicBezTo>
                      <a:pt x="67" y="6"/>
                      <a:pt x="70" y="0"/>
                      <a:pt x="76" y="0"/>
                    </a:cubicBezTo>
                    <a:cubicBezTo>
                      <a:pt x="82" y="0"/>
                      <a:pt x="87" y="4"/>
                      <a:pt x="89" y="5"/>
                    </a:cubicBezTo>
                    <a:cubicBezTo>
                      <a:pt x="89" y="13"/>
                      <a:pt x="83" y="9"/>
                      <a:pt x="78" y="13"/>
                    </a:cubicBezTo>
                    <a:cubicBezTo>
                      <a:pt x="76" y="13"/>
                      <a:pt x="75" y="13"/>
                      <a:pt x="73" y="13"/>
                    </a:cubicBezTo>
                    <a:cubicBezTo>
                      <a:pt x="73" y="17"/>
                      <a:pt x="73" y="17"/>
                      <a:pt x="73" y="17"/>
                    </a:cubicBezTo>
                    <a:lnTo>
                      <a:pt x="76" y="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77" name="išlîḍê"/>
              <p:cNvSpPr/>
              <p:nvPr/>
            </p:nvSpPr>
            <p:spPr bwMode="auto">
              <a:xfrm>
                <a:off x="6848692" y="1298235"/>
                <a:ext cx="51600" cy="33739"/>
              </a:xfrm>
              <a:custGeom>
                <a:avLst/>
                <a:gdLst/>
                <a:ahLst/>
                <a:cxnLst>
                  <a:cxn ang="0">
                    <a:pos x="7" y="20"/>
                  </a:cxn>
                  <a:cxn ang="0">
                    <a:pos x="0" y="13"/>
                  </a:cxn>
                  <a:cxn ang="0">
                    <a:pos x="25" y="0"/>
                  </a:cxn>
                  <a:cxn ang="0">
                    <a:pos x="31" y="14"/>
                  </a:cxn>
                  <a:cxn ang="0">
                    <a:pos x="7" y="20"/>
                  </a:cxn>
                </a:cxnLst>
                <a:rect l="0" t="0" r="r" b="b"/>
                <a:pathLst>
                  <a:path w="31" h="20">
                    <a:moveTo>
                      <a:pt x="7" y="20"/>
                    </a:moveTo>
                    <a:cubicBezTo>
                      <a:pt x="2" y="20"/>
                      <a:pt x="0" y="17"/>
                      <a:pt x="0" y="13"/>
                    </a:cubicBezTo>
                    <a:cubicBezTo>
                      <a:pt x="0" y="7"/>
                      <a:pt x="18" y="0"/>
                      <a:pt x="25" y="0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28" y="16"/>
                      <a:pt x="11" y="20"/>
                      <a:pt x="7" y="2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78" name="iṣḻiďe"/>
              <p:cNvSpPr/>
              <p:nvPr/>
            </p:nvSpPr>
            <p:spPr bwMode="auto">
              <a:xfrm>
                <a:off x="6781215" y="1320065"/>
                <a:ext cx="55569" cy="31753"/>
              </a:xfrm>
              <a:custGeom>
                <a:avLst/>
                <a:gdLst/>
                <a:ahLst/>
                <a:cxnLst>
                  <a:cxn ang="0">
                    <a:pos x="33" y="4"/>
                  </a:cxn>
                  <a:cxn ang="0">
                    <a:pos x="33" y="10"/>
                  </a:cxn>
                  <a:cxn ang="0">
                    <a:pos x="22" y="12"/>
                  </a:cxn>
                  <a:cxn ang="0">
                    <a:pos x="24" y="18"/>
                  </a:cxn>
                  <a:cxn ang="0">
                    <a:pos x="0" y="18"/>
                  </a:cxn>
                  <a:cxn ang="0">
                    <a:pos x="9" y="6"/>
                  </a:cxn>
                  <a:cxn ang="0">
                    <a:pos x="9" y="0"/>
                  </a:cxn>
                  <a:cxn ang="0">
                    <a:pos x="23" y="0"/>
                  </a:cxn>
                  <a:cxn ang="0">
                    <a:pos x="19" y="4"/>
                  </a:cxn>
                  <a:cxn ang="0">
                    <a:pos x="33" y="4"/>
                  </a:cxn>
                </a:cxnLst>
                <a:rect l="0" t="0" r="r" b="b"/>
                <a:pathLst>
                  <a:path w="33" h="20">
                    <a:moveTo>
                      <a:pt x="33" y="4"/>
                    </a:moveTo>
                    <a:cubicBezTo>
                      <a:pt x="33" y="8"/>
                      <a:pt x="33" y="8"/>
                      <a:pt x="33" y="10"/>
                    </a:cubicBezTo>
                    <a:cubicBezTo>
                      <a:pt x="30" y="14"/>
                      <a:pt x="26" y="12"/>
                      <a:pt x="22" y="12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2" y="19"/>
                      <a:pt x="0" y="20"/>
                      <a:pt x="0" y="18"/>
                    </a:cubicBezTo>
                    <a:cubicBezTo>
                      <a:pt x="0" y="11"/>
                      <a:pt x="3" y="8"/>
                      <a:pt x="9" y="6"/>
                    </a:cubicBezTo>
                    <a:cubicBezTo>
                      <a:pt x="8" y="2"/>
                      <a:pt x="9" y="1"/>
                      <a:pt x="9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2" y="2"/>
                      <a:pt x="20" y="4"/>
                      <a:pt x="19" y="4"/>
                    </a:cubicBezTo>
                    <a:cubicBezTo>
                      <a:pt x="22" y="4"/>
                      <a:pt x="29" y="4"/>
                      <a:pt x="33" y="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79" name="ïŝļïdé"/>
              <p:cNvSpPr/>
              <p:nvPr/>
            </p:nvSpPr>
            <p:spPr bwMode="auto">
              <a:xfrm>
                <a:off x="6707785" y="1347849"/>
                <a:ext cx="55569" cy="19846"/>
              </a:xfrm>
              <a:custGeom>
                <a:avLst/>
                <a:gdLst/>
                <a:ahLst/>
                <a:cxnLst>
                  <a:cxn ang="0">
                    <a:pos x="20" y="12"/>
                  </a:cxn>
                  <a:cxn ang="0">
                    <a:pos x="11" y="7"/>
                  </a:cxn>
                  <a:cxn ang="0">
                    <a:pos x="4" y="12"/>
                  </a:cxn>
                  <a:cxn ang="0">
                    <a:pos x="0" y="9"/>
                  </a:cxn>
                  <a:cxn ang="0">
                    <a:pos x="22" y="0"/>
                  </a:cxn>
                  <a:cxn ang="0">
                    <a:pos x="34" y="5"/>
                  </a:cxn>
                  <a:cxn ang="0">
                    <a:pos x="20" y="12"/>
                  </a:cxn>
                </a:cxnLst>
                <a:rect l="0" t="0" r="r" b="b"/>
                <a:pathLst>
                  <a:path w="34" h="12">
                    <a:moveTo>
                      <a:pt x="20" y="12"/>
                    </a:moveTo>
                    <a:cubicBezTo>
                      <a:pt x="17" y="12"/>
                      <a:pt x="14" y="7"/>
                      <a:pt x="11" y="7"/>
                    </a:cubicBezTo>
                    <a:cubicBezTo>
                      <a:pt x="10" y="12"/>
                      <a:pt x="8" y="12"/>
                      <a:pt x="4" y="12"/>
                    </a:cubicBezTo>
                    <a:cubicBezTo>
                      <a:pt x="2" y="12"/>
                      <a:pt x="0" y="10"/>
                      <a:pt x="0" y="9"/>
                    </a:cubicBezTo>
                    <a:cubicBezTo>
                      <a:pt x="0" y="2"/>
                      <a:pt x="17" y="0"/>
                      <a:pt x="22" y="0"/>
                    </a:cubicBezTo>
                    <a:cubicBezTo>
                      <a:pt x="28" y="0"/>
                      <a:pt x="32" y="2"/>
                      <a:pt x="34" y="5"/>
                    </a:cubicBezTo>
                    <a:cubicBezTo>
                      <a:pt x="25" y="5"/>
                      <a:pt x="26" y="12"/>
                      <a:pt x="20" y="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80" name="îṡļíďe"/>
              <p:cNvSpPr/>
              <p:nvPr/>
            </p:nvSpPr>
            <p:spPr bwMode="auto">
              <a:xfrm>
                <a:off x="6674047" y="1280373"/>
                <a:ext cx="89308" cy="61523"/>
              </a:xfrm>
              <a:custGeom>
                <a:avLst/>
                <a:gdLst/>
                <a:ahLst/>
                <a:cxnLst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28"/>
                  </a:cxn>
                  <a:cxn ang="0">
                    <a:pos x="6" y="23"/>
                  </a:cxn>
                  <a:cxn ang="0">
                    <a:pos x="24" y="23"/>
                  </a:cxn>
                  <a:cxn ang="0">
                    <a:pos x="17" y="22"/>
                  </a:cxn>
                  <a:cxn ang="0">
                    <a:pos x="17" y="16"/>
                  </a:cxn>
                  <a:cxn ang="0">
                    <a:pos x="43" y="8"/>
                  </a:cxn>
                  <a:cxn ang="0">
                    <a:pos x="51" y="0"/>
                  </a:cxn>
                  <a:cxn ang="0">
                    <a:pos x="52" y="5"/>
                  </a:cxn>
                  <a:cxn ang="0">
                    <a:pos x="48" y="11"/>
                  </a:cxn>
                  <a:cxn ang="0">
                    <a:pos x="28" y="23"/>
                  </a:cxn>
                  <a:cxn ang="0">
                    <a:pos x="53" y="29"/>
                  </a:cxn>
                  <a:cxn ang="0">
                    <a:pos x="40" y="31"/>
                  </a:cxn>
                </a:cxnLst>
                <a:rect l="0" t="0" r="r" b="b"/>
                <a:pathLst>
                  <a:path w="53" h="36">
                    <a:moveTo>
                      <a:pt x="40" y="31"/>
                    </a:moveTo>
                    <a:cubicBezTo>
                      <a:pt x="34" y="31"/>
                      <a:pt x="27" y="36"/>
                      <a:pt x="22" y="36"/>
                    </a:cubicBezTo>
                    <a:cubicBezTo>
                      <a:pt x="19" y="36"/>
                      <a:pt x="1" y="28"/>
                      <a:pt x="0" y="28"/>
                    </a:cubicBezTo>
                    <a:cubicBezTo>
                      <a:pt x="3" y="26"/>
                      <a:pt x="4" y="25"/>
                      <a:pt x="6" y="23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19" y="21"/>
                      <a:pt x="21" y="20"/>
                      <a:pt x="17" y="22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30" y="16"/>
                      <a:pt x="30" y="8"/>
                      <a:pt x="43" y="8"/>
                    </a:cubicBezTo>
                    <a:cubicBezTo>
                      <a:pt x="44" y="4"/>
                      <a:pt x="47" y="0"/>
                      <a:pt x="51" y="0"/>
                    </a:cubicBezTo>
                    <a:cubicBezTo>
                      <a:pt x="52" y="0"/>
                      <a:pt x="52" y="4"/>
                      <a:pt x="52" y="5"/>
                    </a:cubicBezTo>
                    <a:cubicBezTo>
                      <a:pt x="50" y="7"/>
                      <a:pt x="48" y="9"/>
                      <a:pt x="48" y="11"/>
                    </a:cubicBezTo>
                    <a:cubicBezTo>
                      <a:pt x="41" y="16"/>
                      <a:pt x="32" y="18"/>
                      <a:pt x="28" y="23"/>
                    </a:cubicBezTo>
                    <a:cubicBezTo>
                      <a:pt x="40" y="24"/>
                      <a:pt x="43" y="25"/>
                      <a:pt x="53" y="29"/>
                    </a:cubicBezTo>
                    <a:cubicBezTo>
                      <a:pt x="49" y="32"/>
                      <a:pt x="45" y="31"/>
                      <a:pt x="40" y="3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81" name="ïŝḻîḑe"/>
              <p:cNvSpPr/>
              <p:nvPr/>
            </p:nvSpPr>
            <p:spPr bwMode="auto">
              <a:xfrm>
                <a:off x="8408591" y="1538371"/>
                <a:ext cx="160754" cy="61523"/>
              </a:xfrm>
              <a:custGeom>
                <a:avLst/>
                <a:gdLst/>
                <a:ahLst/>
                <a:cxnLst>
                  <a:cxn ang="0">
                    <a:pos x="77" y="29"/>
                  </a:cxn>
                  <a:cxn ang="0">
                    <a:pos x="66" y="34"/>
                  </a:cxn>
                  <a:cxn ang="0">
                    <a:pos x="58" y="29"/>
                  </a:cxn>
                  <a:cxn ang="0">
                    <a:pos x="50" y="32"/>
                  </a:cxn>
                  <a:cxn ang="0">
                    <a:pos x="40" y="36"/>
                  </a:cxn>
                  <a:cxn ang="0">
                    <a:pos x="32" y="31"/>
                  </a:cxn>
                  <a:cxn ang="0">
                    <a:pos x="22" y="38"/>
                  </a:cxn>
                  <a:cxn ang="0">
                    <a:pos x="0" y="18"/>
                  </a:cxn>
                  <a:cxn ang="0">
                    <a:pos x="20" y="0"/>
                  </a:cxn>
                  <a:cxn ang="0">
                    <a:pos x="47" y="15"/>
                  </a:cxn>
                  <a:cxn ang="0">
                    <a:pos x="54" y="3"/>
                  </a:cxn>
                  <a:cxn ang="0">
                    <a:pos x="97" y="15"/>
                  </a:cxn>
                  <a:cxn ang="0">
                    <a:pos x="89" y="29"/>
                  </a:cxn>
                  <a:cxn ang="0">
                    <a:pos x="77" y="29"/>
                  </a:cxn>
                </a:cxnLst>
                <a:rect l="0" t="0" r="r" b="b"/>
                <a:pathLst>
                  <a:path w="97" h="38">
                    <a:moveTo>
                      <a:pt x="77" y="29"/>
                    </a:moveTo>
                    <a:cubicBezTo>
                      <a:pt x="74" y="29"/>
                      <a:pt x="72" y="34"/>
                      <a:pt x="66" y="34"/>
                    </a:cubicBezTo>
                    <a:cubicBezTo>
                      <a:pt x="63" y="34"/>
                      <a:pt x="62" y="29"/>
                      <a:pt x="58" y="29"/>
                    </a:cubicBezTo>
                    <a:cubicBezTo>
                      <a:pt x="55" y="29"/>
                      <a:pt x="53" y="32"/>
                      <a:pt x="50" y="32"/>
                    </a:cubicBezTo>
                    <a:cubicBezTo>
                      <a:pt x="47" y="32"/>
                      <a:pt x="44" y="36"/>
                      <a:pt x="40" y="36"/>
                    </a:cubicBezTo>
                    <a:cubicBezTo>
                      <a:pt x="36" y="36"/>
                      <a:pt x="34" y="34"/>
                      <a:pt x="32" y="31"/>
                    </a:cubicBezTo>
                    <a:cubicBezTo>
                      <a:pt x="29" y="34"/>
                      <a:pt x="27" y="38"/>
                      <a:pt x="22" y="38"/>
                    </a:cubicBezTo>
                    <a:cubicBezTo>
                      <a:pt x="11" y="38"/>
                      <a:pt x="0" y="29"/>
                      <a:pt x="0" y="18"/>
                    </a:cubicBezTo>
                    <a:cubicBezTo>
                      <a:pt x="0" y="8"/>
                      <a:pt x="11" y="0"/>
                      <a:pt x="20" y="0"/>
                    </a:cubicBezTo>
                    <a:cubicBezTo>
                      <a:pt x="34" y="0"/>
                      <a:pt x="35" y="15"/>
                      <a:pt x="47" y="15"/>
                    </a:cubicBezTo>
                    <a:cubicBezTo>
                      <a:pt x="47" y="8"/>
                      <a:pt x="49" y="3"/>
                      <a:pt x="54" y="3"/>
                    </a:cubicBezTo>
                    <a:cubicBezTo>
                      <a:pt x="62" y="3"/>
                      <a:pt x="88" y="12"/>
                      <a:pt x="97" y="15"/>
                    </a:cubicBezTo>
                    <a:cubicBezTo>
                      <a:pt x="95" y="21"/>
                      <a:pt x="89" y="26"/>
                      <a:pt x="89" y="29"/>
                    </a:cubicBezTo>
                    <a:lnTo>
                      <a:pt x="77" y="2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82" name="îsľïďé"/>
              <p:cNvSpPr/>
              <p:nvPr/>
            </p:nvSpPr>
            <p:spPr bwMode="auto">
              <a:xfrm>
                <a:off x="6219572" y="2798595"/>
                <a:ext cx="43662" cy="21831"/>
              </a:xfrm>
              <a:custGeom>
                <a:avLst/>
                <a:gdLst/>
                <a:ahLst/>
                <a:cxnLst>
                  <a:cxn ang="0">
                    <a:pos x="5" y="13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9" y="8"/>
                  </a:cxn>
                  <a:cxn ang="0">
                    <a:pos x="5" y="13"/>
                  </a:cxn>
                </a:cxnLst>
                <a:rect l="0" t="0" r="r" b="b"/>
                <a:pathLst>
                  <a:path w="26" h="13">
                    <a:moveTo>
                      <a:pt x="5" y="13"/>
                    </a:moveTo>
                    <a:cubicBezTo>
                      <a:pt x="4" y="13"/>
                      <a:pt x="2" y="12"/>
                      <a:pt x="2" y="11"/>
                    </a:cubicBezTo>
                    <a:cubicBezTo>
                      <a:pt x="1" y="11"/>
                      <a:pt x="0" y="9"/>
                      <a:pt x="0" y="9"/>
                    </a:cubicBezTo>
                    <a:cubicBezTo>
                      <a:pt x="7" y="6"/>
                      <a:pt x="18" y="1"/>
                      <a:pt x="26" y="0"/>
                    </a:cubicBezTo>
                    <a:cubicBezTo>
                      <a:pt x="25" y="4"/>
                      <a:pt x="22" y="2"/>
                      <a:pt x="20" y="4"/>
                    </a:cubicBezTo>
                    <a:cubicBezTo>
                      <a:pt x="18" y="4"/>
                      <a:pt x="19" y="7"/>
                      <a:pt x="19" y="8"/>
                    </a:cubicBezTo>
                    <a:cubicBezTo>
                      <a:pt x="18" y="11"/>
                      <a:pt x="9" y="13"/>
                      <a:pt x="5" y="1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83" name="íSḷîďe"/>
              <p:cNvSpPr/>
              <p:nvPr/>
            </p:nvSpPr>
            <p:spPr bwMode="auto">
              <a:xfrm>
                <a:off x="6543063" y="1812247"/>
                <a:ext cx="43662" cy="31753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11" y="0"/>
                  </a:cxn>
                  <a:cxn ang="0">
                    <a:pos x="26" y="6"/>
                  </a:cxn>
                  <a:cxn ang="0">
                    <a:pos x="26" y="12"/>
                  </a:cxn>
                  <a:cxn ang="0">
                    <a:pos x="8" y="19"/>
                  </a:cxn>
                  <a:cxn ang="0">
                    <a:pos x="0" y="14"/>
                  </a:cxn>
                  <a:cxn ang="0">
                    <a:pos x="5" y="4"/>
                  </a:cxn>
                </a:cxnLst>
                <a:rect l="0" t="0" r="r" b="b"/>
                <a:pathLst>
                  <a:path w="26" h="19">
                    <a:moveTo>
                      <a:pt x="5" y="4"/>
                    </a:moveTo>
                    <a:cubicBezTo>
                      <a:pt x="8" y="4"/>
                      <a:pt x="8" y="0"/>
                      <a:pt x="11" y="0"/>
                    </a:cubicBezTo>
                    <a:cubicBezTo>
                      <a:pt x="17" y="0"/>
                      <a:pt x="20" y="5"/>
                      <a:pt x="26" y="6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0" y="15"/>
                      <a:pt x="15" y="19"/>
                      <a:pt x="8" y="19"/>
                    </a:cubicBezTo>
                    <a:cubicBezTo>
                      <a:pt x="2" y="19"/>
                      <a:pt x="0" y="19"/>
                      <a:pt x="0" y="14"/>
                    </a:cubicBezTo>
                    <a:cubicBezTo>
                      <a:pt x="0" y="12"/>
                      <a:pt x="4" y="4"/>
                      <a:pt x="5" y="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84" name="ïŝľiḑè"/>
              <p:cNvSpPr/>
              <p:nvPr/>
            </p:nvSpPr>
            <p:spPr bwMode="auto">
              <a:xfrm>
                <a:off x="6763354" y="1774539"/>
                <a:ext cx="33739" cy="31753"/>
              </a:xfrm>
              <a:custGeom>
                <a:avLst/>
                <a:gdLst/>
                <a:ahLst/>
                <a:cxnLst>
                  <a:cxn ang="0">
                    <a:pos x="21" y="17"/>
                  </a:cxn>
                  <a:cxn ang="0">
                    <a:pos x="15" y="19"/>
                  </a:cxn>
                  <a:cxn ang="0">
                    <a:pos x="0" y="8"/>
                  </a:cxn>
                  <a:cxn ang="0">
                    <a:pos x="21" y="17"/>
                  </a:cxn>
                </a:cxnLst>
                <a:rect l="0" t="0" r="r" b="b"/>
                <a:pathLst>
                  <a:path w="21" h="20">
                    <a:moveTo>
                      <a:pt x="21" y="17"/>
                    </a:moveTo>
                    <a:cubicBezTo>
                      <a:pt x="21" y="20"/>
                      <a:pt x="15" y="19"/>
                      <a:pt x="15" y="19"/>
                    </a:cubicBezTo>
                    <a:cubicBezTo>
                      <a:pt x="10" y="19"/>
                      <a:pt x="0" y="14"/>
                      <a:pt x="0" y="8"/>
                    </a:cubicBezTo>
                    <a:cubicBezTo>
                      <a:pt x="0" y="0"/>
                      <a:pt x="21" y="8"/>
                      <a:pt x="21" y="1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85" name="iṥḻïḍé"/>
              <p:cNvSpPr/>
              <p:nvPr/>
            </p:nvSpPr>
            <p:spPr bwMode="auto">
              <a:xfrm>
                <a:off x="7001506" y="1655464"/>
                <a:ext cx="31753" cy="21831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9" y="8"/>
                  </a:cxn>
                  <a:cxn ang="0">
                    <a:pos x="8" y="0"/>
                  </a:cxn>
                  <a:cxn ang="0">
                    <a:pos x="2" y="9"/>
                  </a:cxn>
                  <a:cxn ang="0">
                    <a:pos x="2" y="13"/>
                  </a:cxn>
                </a:cxnLst>
                <a:rect l="0" t="0" r="r" b="b"/>
                <a:pathLst>
                  <a:path w="19" h="13">
                    <a:moveTo>
                      <a:pt x="2" y="13"/>
                    </a:moveTo>
                    <a:cubicBezTo>
                      <a:pt x="7" y="13"/>
                      <a:pt x="17" y="10"/>
                      <a:pt x="19" y="8"/>
                    </a:cubicBezTo>
                    <a:cubicBezTo>
                      <a:pt x="15" y="5"/>
                      <a:pt x="13" y="0"/>
                      <a:pt x="8" y="0"/>
                    </a:cubicBezTo>
                    <a:cubicBezTo>
                      <a:pt x="4" y="0"/>
                      <a:pt x="2" y="5"/>
                      <a:pt x="2" y="9"/>
                    </a:cubicBezTo>
                    <a:cubicBezTo>
                      <a:pt x="2" y="10"/>
                      <a:pt x="0" y="13"/>
                      <a:pt x="2" y="1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86" name="ïṣḻiḑé"/>
              <p:cNvSpPr/>
              <p:nvPr/>
            </p:nvSpPr>
            <p:spPr bwMode="auto">
              <a:xfrm>
                <a:off x="8474082" y="1633633"/>
                <a:ext cx="67476" cy="27784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21" y="0"/>
                  </a:cxn>
                  <a:cxn ang="0">
                    <a:pos x="41" y="17"/>
                  </a:cxn>
                  <a:cxn ang="0">
                    <a:pos x="28" y="17"/>
                  </a:cxn>
                  <a:cxn ang="0">
                    <a:pos x="2" y="11"/>
                  </a:cxn>
                  <a:cxn ang="0">
                    <a:pos x="0" y="13"/>
                  </a:cxn>
                </a:cxnLst>
                <a:rect l="0" t="0" r="r" b="b"/>
                <a:pathLst>
                  <a:path w="41" h="17">
                    <a:moveTo>
                      <a:pt x="0" y="13"/>
                    </a:moveTo>
                    <a:cubicBezTo>
                      <a:pt x="5" y="6"/>
                      <a:pt x="11" y="0"/>
                      <a:pt x="21" y="0"/>
                    </a:cubicBezTo>
                    <a:cubicBezTo>
                      <a:pt x="32" y="0"/>
                      <a:pt x="41" y="7"/>
                      <a:pt x="41" y="17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0" y="13"/>
                      <a:pt x="10" y="14"/>
                      <a:pt x="2" y="11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87" name="ïŝ1ïḍé"/>
              <p:cNvSpPr/>
              <p:nvPr/>
            </p:nvSpPr>
            <p:spPr bwMode="auto">
              <a:xfrm>
                <a:off x="8605066" y="1566156"/>
                <a:ext cx="93277" cy="3373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2" y="9"/>
                  </a:cxn>
                  <a:cxn ang="0">
                    <a:pos x="56" y="13"/>
                  </a:cxn>
                  <a:cxn ang="0">
                    <a:pos x="37" y="20"/>
                  </a:cxn>
                  <a:cxn ang="0">
                    <a:pos x="4" y="3"/>
                  </a:cxn>
                  <a:cxn ang="0">
                    <a:pos x="0" y="0"/>
                  </a:cxn>
                </a:cxnLst>
                <a:rect l="0" t="0" r="r" b="b"/>
                <a:pathLst>
                  <a:path w="56" h="20">
                    <a:moveTo>
                      <a:pt x="0" y="0"/>
                    </a:moveTo>
                    <a:cubicBezTo>
                      <a:pt x="4" y="3"/>
                      <a:pt x="50" y="9"/>
                      <a:pt x="52" y="9"/>
                    </a:cubicBezTo>
                    <a:cubicBezTo>
                      <a:pt x="55" y="9"/>
                      <a:pt x="56" y="11"/>
                      <a:pt x="56" y="13"/>
                    </a:cubicBezTo>
                    <a:cubicBezTo>
                      <a:pt x="56" y="18"/>
                      <a:pt x="44" y="20"/>
                      <a:pt x="37" y="20"/>
                    </a:cubicBezTo>
                    <a:cubicBezTo>
                      <a:pt x="25" y="20"/>
                      <a:pt x="4" y="14"/>
                      <a:pt x="4" y="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  <p:sp>
            <p:nvSpPr>
              <p:cNvPr id="188" name="ïsḷïḑe"/>
              <p:cNvSpPr/>
              <p:nvPr/>
            </p:nvSpPr>
            <p:spPr bwMode="auto">
              <a:xfrm>
                <a:off x="8472098" y="1611802"/>
                <a:ext cx="19846" cy="21831"/>
              </a:xfrm>
              <a:custGeom>
                <a:avLst/>
                <a:gdLst/>
                <a:ahLst/>
                <a:cxnLst>
                  <a:cxn ang="0">
                    <a:pos x="12" y="7"/>
                  </a:cxn>
                  <a:cxn ang="0">
                    <a:pos x="5" y="13"/>
                  </a:cxn>
                  <a:cxn ang="0">
                    <a:pos x="0" y="7"/>
                  </a:cxn>
                  <a:cxn ang="0">
                    <a:pos x="12" y="7"/>
                  </a:cxn>
                </a:cxnLst>
                <a:rect l="0" t="0" r="r" b="b"/>
                <a:pathLst>
                  <a:path w="12" h="13">
                    <a:moveTo>
                      <a:pt x="12" y="7"/>
                    </a:moveTo>
                    <a:cubicBezTo>
                      <a:pt x="12" y="11"/>
                      <a:pt x="8" y="13"/>
                      <a:pt x="5" y="13"/>
                    </a:cubicBezTo>
                    <a:cubicBezTo>
                      <a:pt x="0" y="13"/>
                      <a:pt x="0" y="11"/>
                      <a:pt x="0" y="7"/>
                    </a:cubicBezTo>
                    <a:cubicBezTo>
                      <a:pt x="0" y="0"/>
                      <a:pt x="12" y="1"/>
                      <a:pt x="12" y="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</a:p>
            </p:txBody>
          </p:sp>
        </p:grpSp>
        <p:grpSp>
          <p:nvGrpSpPr>
            <p:cNvPr id="10" name="ïşļîḓe"/>
            <p:cNvGrpSpPr/>
            <p:nvPr/>
          </p:nvGrpSpPr>
          <p:grpSpPr>
            <a:xfrm>
              <a:off x="669795" y="3475356"/>
              <a:ext cx="3304050" cy="1717674"/>
              <a:chOff x="669795" y="3475356"/>
              <a:chExt cx="3304050" cy="1717674"/>
            </a:xfrm>
          </p:grpSpPr>
          <p:sp>
            <p:nvSpPr>
              <p:cNvPr id="21" name="ï$ľiḓe"/>
              <p:cNvSpPr/>
              <p:nvPr/>
            </p:nvSpPr>
            <p:spPr>
              <a:xfrm>
                <a:off x="669795" y="3475356"/>
                <a:ext cx="198670" cy="198669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1750" cap="flat">
                <a:solidFill>
                  <a:schemeClr val="bg1"/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/>
                </a:pPr>
                <a:endParaRPr sz="1600"/>
              </a:p>
            </p:txBody>
          </p:sp>
          <p:sp>
            <p:nvSpPr>
              <p:cNvPr id="22" name="islïḋè"/>
              <p:cNvSpPr/>
              <p:nvPr/>
            </p:nvSpPr>
            <p:spPr bwMode="auto">
              <a:xfrm>
                <a:off x="800520" y="4090966"/>
                <a:ext cx="3173325" cy="11020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indent="0">
                  <a:lnSpc>
                    <a:spcPct val="160000"/>
                  </a:lnSpc>
                  <a:spcBef>
                    <a:spcPct val="0"/>
                  </a:spcBef>
                  <a:buFont typeface="Arial" panose="020B0604020202090204" pitchFamily="34" charset="0"/>
                  <a:buNone/>
                </a:pPr>
                <a:r>
                  <a:rPr lang="en-US" altLang="zh-CN" sz="1600">
                    <a:latin typeface="Times New Roman" panose="02020503050405090304" charset="0"/>
                    <a:sym typeface="+mn-ea"/>
                  </a:rPr>
                  <a:t> The robot can't press the elevator button by himself, and need human to help it.</a:t>
                </a:r>
                <a:endParaRPr lang="en-US" altLang="zh-CN" sz="1600" dirty="0">
                  <a:latin typeface="Times New Roman" panose="02020503050405090304" charset="0"/>
                  <a:sym typeface="+mn-ea"/>
                </a:endParaRPr>
              </a:p>
            </p:txBody>
          </p:sp>
        </p:grpSp>
        <p:grpSp>
          <p:nvGrpSpPr>
            <p:cNvPr id="11" name="islîḋê"/>
            <p:cNvGrpSpPr/>
            <p:nvPr/>
          </p:nvGrpSpPr>
          <p:grpSpPr>
            <a:xfrm>
              <a:off x="4237894" y="3383916"/>
              <a:ext cx="3467245" cy="1875154"/>
              <a:chOff x="514855" y="3383916"/>
              <a:chExt cx="3467245" cy="1875154"/>
            </a:xfrm>
          </p:grpSpPr>
          <p:sp>
            <p:nvSpPr>
              <p:cNvPr id="18" name="iṡ1îḑé"/>
              <p:cNvSpPr/>
              <p:nvPr/>
            </p:nvSpPr>
            <p:spPr>
              <a:xfrm>
                <a:off x="514855" y="3383916"/>
                <a:ext cx="198670" cy="198669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31750" cap="flat">
                <a:solidFill>
                  <a:schemeClr val="bg1"/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/>
                </a:pPr>
                <a:endParaRPr sz="1600"/>
              </a:p>
            </p:txBody>
          </p:sp>
          <p:sp>
            <p:nvSpPr>
              <p:cNvPr id="19" name="îṩliḑé"/>
              <p:cNvSpPr/>
              <p:nvPr/>
            </p:nvSpPr>
            <p:spPr bwMode="auto">
              <a:xfrm>
                <a:off x="808775" y="4157006"/>
                <a:ext cx="3173325" cy="11020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indent="0">
                  <a:lnSpc>
                    <a:spcPct val="160000"/>
                  </a:lnSpc>
                  <a:spcBef>
                    <a:spcPct val="0"/>
                  </a:spcBef>
                  <a:buFont typeface="Arial" panose="020B0604020202090204" pitchFamily="34" charset="0"/>
                  <a:buNone/>
                </a:pPr>
                <a:r>
                  <a:rPr lang="en-US" altLang="zh-CN" sz="1600">
                    <a:latin typeface="Times New Roman" panose="02020503050405090304" charset="0"/>
                    <a:sym typeface="+mn-ea"/>
                  </a:rPr>
                  <a:t>The success rate to reach the third floor is not very high. The robot is not particularly stable.</a:t>
                </a:r>
                <a:endParaRPr lang="en-US" altLang="zh-CN" sz="1600" dirty="0">
                  <a:latin typeface="Times New Roman" panose="02020503050405090304" charset="0"/>
                  <a:sym typeface="+mn-ea"/>
                </a:endParaRPr>
              </a:p>
            </p:txBody>
          </p:sp>
        </p:grpSp>
        <p:grpSp>
          <p:nvGrpSpPr>
            <p:cNvPr id="12" name="iṧḻïḑê"/>
            <p:cNvGrpSpPr/>
            <p:nvPr/>
          </p:nvGrpSpPr>
          <p:grpSpPr>
            <a:xfrm>
              <a:off x="8108252" y="3441701"/>
              <a:ext cx="3408825" cy="1817369"/>
              <a:chOff x="662175" y="3441701"/>
              <a:chExt cx="3408825" cy="1817369"/>
            </a:xfrm>
          </p:grpSpPr>
          <p:sp>
            <p:nvSpPr>
              <p:cNvPr id="15" name="îšľíḍè"/>
              <p:cNvSpPr/>
              <p:nvPr/>
            </p:nvSpPr>
            <p:spPr>
              <a:xfrm>
                <a:off x="662175" y="3441701"/>
                <a:ext cx="198670" cy="198669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31750" cap="flat">
                <a:solidFill>
                  <a:schemeClr val="bg1"/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/>
                </a:pPr>
                <a:endParaRPr sz="1600"/>
              </a:p>
            </p:txBody>
          </p:sp>
          <p:sp>
            <p:nvSpPr>
              <p:cNvPr id="16" name="iṧḷîḓe"/>
              <p:cNvSpPr/>
              <p:nvPr/>
            </p:nvSpPr>
            <p:spPr bwMode="auto">
              <a:xfrm>
                <a:off x="751625" y="4157006"/>
                <a:ext cx="3173325" cy="11020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indent="0">
                  <a:lnSpc>
                    <a:spcPct val="160000"/>
                  </a:lnSpc>
                  <a:spcBef>
                    <a:spcPct val="0"/>
                  </a:spcBef>
                  <a:buFont typeface="Arial" panose="020B0604020202090204" pitchFamily="34" charset="0"/>
                  <a:buNone/>
                </a:pPr>
                <a:r>
                  <a:rPr lang="en-US" altLang="zh-CN" sz="1600">
                    <a:latin typeface="Times New Roman" panose="02020503050405090304" charset="0"/>
                    <a:sym typeface="+mn-ea"/>
                  </a:rPr>
                  <a:t>The robot cannot reach a room that is too far away. Once the robot is allowed to go to some distant rooms it will be unstable or even fail.</a:t>
                </a:r>
                <a:endParaRPr lang="en-US" altLang="zh-CN" sz="1600" dirty="0">
                  <a:latin typeface="Times New Roman" panose="02020503050405090304" charset="0"/>
                  <a:sym typeface="+mn-ea"/>
                </a:endParaRPr>
              </a:p>
            </p:txBody>
          </p:sp>
          <p:sp>
            <p:nvSpPr>
              <p:cNvPr id="17" name="iṡ1íḑé"/>
              <p:cNvSpPr txBox="1"/>
              <p:nvPr/>
            </p:nvSpPr>
            <p:spPr bwMode="auto">
              <a:xfrm>
                <a:off x="897675" y="4628681"/>
                <a:ext cx="3173325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endParaRPr lang="en-US" altLang="zh-CN" sz="1800" b="1" dirty="0"/>
              </a:p>
            </p:txBody>
          </p:sp>
        </p:grpSp>
        <p:cxnSp>
          <p:nvCxnSpPr>
            <p:cNvPr id="13" name="直接连接符 12"/>
            <p:cNvCxnSpPr/>
            <p:nvPr/>
          </p:nvCxnSpPr>
          <p:spPr>
            <a:xfrm>
              <a:off x="4150742" y="4628681"/>
              <a:ext cx="0" cy="151494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7839165" y="4628681"/>
              <a:ext cx="0" cy="151494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9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9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Introduction and background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Hardware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Software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Test and result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Conclusion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5" name="Picture 5" descr="images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7810" y="4265295"/>
            <a:ext cx="4319270" cy="259207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rgbClr val="8064A2">
                    <a:lumMod val="75000"/>
                  </a:srgbClr>
                </a:solidFill>
                <a:latin typeface="Calibri"/>
                <a:ea typeface="SimSun" pitchFamily="2" charset="-122"/>
                <a:sym typeface="+mn-ea"/>
              </a:rPr>
              <a:t> PROJECT </a:t>
            </a:r>
            <a:r>
              <a:rPr lang="en-US" altLang="zh-CN" dirty="0">
                <a:solidFill>
                  <a:srgbClr val="8064A2">
                    <a:lumMod val="75000"/>
                  </a:srgbClr>
                </a:solidFill>
                <a:latin typeface="Calibri"/>
                <a:ea typeface="SimSun" pitchFamily="2" charset="-122"/>
                <a:sym typeface="+mn-ea"/>
              </a:rPr>
              <a:t>DIVISION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5" name="5f8ddc0b-6e9a-4720-90a3-ca5dda9eabb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45793" y="1125538"/>
            <a:ext cx="10974695" cy="5018087"/>
            <a:chOff x="545793" y="1125538"/>
            <a:chExt cx="10974695" cy="5018087"/>
          </a:xfrm>
        </p:grpSpPr>
        <p:grpSp>
          <p:nvGrpSpPr>
            <p:cNvPr id="6" name="îṧḻíďe"/>
            <p:cNvGrpSpPr/>
            <p:nvPr/>
          </p:nvGrpSpPr>
          <p:grpSpPr>
            <a:xfrm>
              <a:off x="545793" y="1679216"/>
              <a:ext cx="4639113" cy="3499567"/>
              <a:chOff x="1546225" y="-4763"/>
              <a:chExt cx="9099551" cy="6864351"/>
            </a:xfrm>
          </p:grpSpPr>
          <p:sp>
            <p:nvSpPr>
              <p:cNvPr id="23" name="iṡḻíḋe"/>
              <p:cNvSpPr/>
              <p:nvPr/>
            </p:nvSpPr>
            <p:spPr bwMode="auto">
              <a:xfrm>
                <a:off x="1552575" y="1588"/>
                <a:ext cx="8428038" cy="6478588"/>
              </a:xfrm>
              <a:custGeom>
                <a:avLst/>
                <a:gdLst>
                  <a:gd name="T0" fmla="*/ 3783 w 3929"/>
                  <a:gd name="T1" fmla="*/ 411 h 3024"/>
                  <a:gd name="T2" fmla="*/ 3631 w 3929"/>
                  <a:gd name="T3" fmla="*/ 334 h 3024"/>
                  <a:gd name="T4" fmla="*/ 3454 w 3929"/>
                  <a:gd name="T5" fmla="*/ 245 h 3024"/>
                  <a:gd name="T6" fmla="*/ 3347 w 3929"/>
                  <a:gd name="T7" fmla="*/ 65 h 3024"/>
                  <a:gd name="T8" fmla="*/ 3157 w 3929"/>
                  <a:gd name="T9" fmla="*/ 12 h 3024"/>
                  <a:gd name="T10" fmla="*/ 3016 w 3929"/>
                  <a:gd name="T11" fmla="*/ 194 h 3024"/>
                  <a:gd name="T12" fmla="*/ 2915 w 3929"/>
                  <a:gd name="T13" fmla="*/ 373 h 3024"/>
                  <a:gd name="T14" fmla="*/ 2902 w 3929"/>
                  <a:gd name="T15" fmla="*/ 540 h 3024"/>
                  <a:gd name="T16" fmla="*/ 3040 w 3929"/>
                  <a:gd name="T17" fmla="*/ 630 h 3024"/>
                  <a:gd name="T18" fmla="*/ 2836 w 3929"/>
                  <a:gd name="T19" fmla="*/ 724 h 3024"/>
                  <a:gd name="T20" fmla="*/ 2545 w 3929"/>
                  <a:gd name="T21" fmla="*/ 877 h 3024"/>
                  <a:gd name="T22" fmla="*/ 2287 w 3929"/>
                  <a:gd name="T23" fmla="*/ 1041 h 3024"/>
                  <a:gd name="T24" fmla="*/ 1615 w 3929"/>
                  <a:gd name="T25" fmla="*/ 961 h 3024"/>
                  <a:gd name="T26" fmla="*/ 1340 w 3929"/>
                  <a:gd name="T27" fmla="*/ 711 h 3024"/>
                  <a:gd name="T28" fmla="*/ 1266 w 3929"/>
                  <a:gd name="T29" fmla="*/ 461 h 3024"/>
                  <a:gd name="T30" fmla="*/ 1143 w 3929"/>
                  <a:gd name="T31" fmla="*/ 350 h 3024"/>
                  <a:gd name="T32" fmla="*/ 1012 w 3929"/>
                  <a:gd name="T33" fmla="*/ 326 h 3024"/>
                  <a:gd name="T34" fmla="*/ 788 w 3929"/>
                  <a:gd name="T35" fmla="*/ 431 h 3024"/>
                  <a:gd name="T36" fmla="*/ 574 w 3929"/>
                  <a:gd name="T37" fmla="*/ 536 h 3024"/>
                  <a:gd name="T38" fmla="*/ 541 w 3929"/>
                  <a:gd name="T39" fmla="*/ 720 h 3024"/>
                  <a:gd name="T40" fmla="*/ 284 w 3929"/>
                  <a:gd name="T41" fmla="*/ 808 h 3024"/>
                  <a:gd name="T42" fmla="*/ 141 w 3929"/>
                  <a:gd name="T43" fmla="*/ 813 h 3024"/>
                  <a:gd name="T44" fmla="*/ 25 w 3929"/>
                  <a:gd name="T45" fmla="*/ 914 h 3024"/>
                  <a:gd name="T46" fmla="*/ 63 w 3929"/>
                  <a:gd name="T47" fmla="*/ 1127 h 3024"/>
                  <a:gd name="T48" fmla="*/ 166 w 3929"/>
                  <a:gd name="T49" fmla="*/ 1298 h 3024"/>
                  <a:gd name="T50" fmla="*/ 206 w 3929"/>
                  <a:gd name="T51" fmla="*/ 1439 h 3024"/>
                  <a:gd name="T52" fmla="*/ 135 w 3929"/>
                  <a:gd name="T53" fmla="*/ 1592 h 3024"/>
                  <a:gd name="T54" fmla="*/ 218 w 3929"/>
                  <a:gd name="T55" fmla="*/ 1767 h 3024"/>
                  <a:gd name="T56" fmla="*/ 383 w 3929"/>
                  <a:gd name="T57" fmla="*/ 1895 h 3024"/>
                  <a:gd name="T58" fmla="*/ 516 w 3929"/>
                  <a:gd name="T59" fmla="*/ 2034 h 3024"/>
                  <a:gd name="T60" fmla="*/ 619 w 3929"/>
                  <a:gd name="T61" fmla="*/ 2119 h 3024"/>
                  <a:gd name="T62" fmla="*/ 792 w 3929"/>
                  <a:gd name="T63" fmla="*/ 2186 h 3024"/>
                  <a:gd name="T64" fmla="*/ 1005 w 3929"/>
                  <a:gd name="T65" fmla="*/ 2204 h 3024"/>
                  <a:gd name="T66" fmla="*/ 1240 w 3929"/>
                  <a:gd name="T67" fmla="*/ 2270 h 3024"/>
                  <a:gd name="T68" fmla="*/ 1467 w 3929"/>
                  <a:gd name="T69" fmla="*/ 2242 h 3024"/>
                  <a:gd name="T70" fmla="*/ 1556 w 3929"/>
                  <a:gd name="T71" fmla="*/ 2378 h 3024"/>
                  <a:gd name="T72" fmla="*/ 1442 w 3929"/>
                  <a:gd name="T73" fmla="*/ 2559 h 3024"/>
                  <a:gd name="T74" fmla="*/ 1534 w 3929"/>
                  <a:gd name="T75" fmla="*/ 2670 h 3024"/>
                  <a:gd name="T76" fmla="*/ 1560 w 3929"/>
                  <a:gd name="T77" fmla="*/ 2781 h 3024"/>
                  <a:gd name="T78" fmla="*/ 1711 w 3929"/>
                  <a:gd name="T79" fmla="*/ 2875 h 3024"/>
                  <a:gd name="T80" fmla="*/ 1782 w 3929"/>
                  <a:gd name="T81" fmla="*/ 2800 h 3024"/>
                  <a:gd name="T82" fmla="*/ 1975 w 3929"/>
                  <a:gd name="T83" fmla="*/ 2781 h 3024"/>
                  <a:gd name="T84" fmla="*/ 2163 w 3929"/>
                  <a:gd name="T85" fmla="*/ 2815 h 3024"/>
                  <a:gd name="T86" fmla="*/ 2342 w 3929"/>
                  <a:gd name="T87" fmla="*/ 2901 h 3024"/>
                  <a:gd name="T88" fmla="*/ 2491 w 3929"/>
                  <a:gd name="T89" fmla="*/ 3002 h 3024"/>
                  <a:gd name="T90" fmla="*/ 2604 w 3929"/>
                  <a:gd name="T91" fmla="*/ 2910 h 3024"/>
                  <a:gd name="T92" fmla="*/ 2767 w 3929"/>
                  <a:gd name="T93" fmla="*/ 2807 h 3024"/>
                  <a:gd name="T94" fmla="*/ 2914 w 3929"/>
                  <a:gd name="T95" fmla="*/ 2798 h 3024"/>
                  <a:gd name="T96" fmla="*/ 3118 w 3929"/>
                  <a:gd name="T97" fmla="*/ 2612 h 3024"/>
                  <a:gd name="T98" fmla="*/ 3241 w 3929"/>
                  <a:gd name="T99" fmla="*/ 2444 h 3024"/>
                  <a:gd name="T100" fmla="*/ 3325 w 3929"/>
                  <a:gd name="T101" fmla="*/ 2268 h 3024"/>
                  <a:gd name="T102" fmla="*/ 3340 w 3929"/>
                  <a:gd name="T103" fmla="*/ 2104 h 3024"/>
                  <a:gd name="T104" fmla="*/ 3191 w 3929"/>
                  <a:gd name="T105" fmla="*/ 1721 h 3024"/>
                  <a:gd name="T106" fmla="*/ 3319 w 3929"/>
                  <a:gd name="T107" fmla="*/ 1465 h 3024"/>
                  <a:gd name="T108" fmla="*/ 3060 w 3929"/>
                  <a:gd name="T109" fmla="*/ 1402 h 3024"/>
                  <a:gd name="T110" fmla="*/ 3241 w 3929"/>
                  <a:gd name="T111" fmla="*/ 1133 h 3024"/>
                  <a:gd name="T112" fmla="*/ 3351 w 3929"/>
                  <a:gd name="T113" fmla="*/ 1223 h 3024"/>
                  <a:gd name="T114" fmla="*/ 3526 w 3929"/>
                  <a:gd name="T115" fmla="*/ 1058 h 3024"/>
                  <a:gd name="T116" fmla="*/ 3644 w 3929"/>
                  <a:gd name="T117" fmla="*/ 999 h 3024"/>
                  <a:gd name="T118" fmla="*/ 3777 w 3929"/>
                  <a:gd name="T119" fmla="*/ 896 h 3024"/>
                  <a:gd name="T120" fmla="*/ 3783 w 3929"/>
                  <a:gd name="T121" fmla="*/ 720 h 3024"/>
                  <a:gd name="T122" fmla="*/ 3890 w 3929"/>
                  <a:gd name="T123" fmla="*/ 555 h 3024"/>
                  <a:gd name="T124" fmla="*/ 3926 w 3929"/>
                  <a:gd name="T125" fmla="*/ 317 h 30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29" h="3024">
                    <a:moveTo>
                      <a:pt x="3926" y="317"/>
                    </a:moveTo>
                    <a:cubicBezTo>
                      <a:pt x="3929" y="313"/>
                      <a:pt x="3928" y="312"/>
                      <a:pt x="3926" y="311"/>
                    </a:cubicBezTo>
                    <a:cubicBezTo>
                      <a:pt x="3926" y="310"/>
                      <a:pt x="3924" y="310"/>
                      <a:pt x="3921" y="311"/>
                    </a:cubicBezTo>
                    <a:cubicBezTo>
                      <a:pt x="3917" y="313"/>
                      <a:pt x="3917" y="314"/>
                      <a:pt x="3916" y="317"/>
                    </a:cubicBezTo>
                    <a:cubicBezTo>
                      <a:pt x="3915" y="320"/>
                      <a:pt x="3911" y="322"/>
                      <a:pt x="3904" y="321"/>
                    </a:cubicBezTo>
                    <a:cubicBezTo>
                      <a:pt x="3897" y="320"/>
                      <a:pt x="3899" y="323"/>
                      <a:pt x="3893" y="324"/>
                    </a:cubicBezTo>
                    <a:cubicBezTo>
                      <a:pt x="3887" y="326"/>
                      <a:pt x="3888" y="326"/>
                      <a:pt x="3885" y="327"/>
                    </a:cubicBezTo>
                    <a:cubicBezTo>
                      <a:pt x="3881" y="327"/>
                      <a:pt x="3879" y="330"/>
                      <a:pt x="3876" y="332"/>
                    </a:cubicBezTo>
                    <a:cubicBezTo>
                      <a:pt x="3873" y="334"/>
                      <a:pt x="3874" y="334"/>
                      <a:pt x="3870" y="335"/>
                    </a:cubicBezTo>
                    <a:cubicBezTo>
                      <a:pt x="3867" y="336"/>
                      <a:pt x="3868" y="338"/>
                      <a:pt x="3868" y="340"/>
                    </a:cubicBezTo>
                    <a:cubicBezTo>
                      <a:pt x="3867" y="343"/>
                      <a:pt x="3867" y="343"/>
                      <a:pt x="3862" y="344"/>
                    </a:cubicBezTo>
                    <a:cubicBezTo>
                      <a:pt x="3858" y="344"/>
                      <a:pt x="3855" y="348"/>
                      <a:pt x="3854" y="351"/>
                    </a:cubicBezTo>
                    <a:cubicBezTo>
                      <a:pt x="3853" y="353"/>
                      <a:pt x="3853" y="354"/>
                      <a:pt x="3850" y="354"/>
                    </a:cubicBezTo>
                    <a:cubicBezTo>
                      <a:pt x="3847" y="354"/>
                      <a:pt x="3849" y="355"/>
                      <a:pt x="3848" y="360"/>
                    </a:cubicBezTo>
                    <a:cubicBezTo>
                      <a:pt x="3847" y="365"/>
                      <a:pt x="3842" y="363"/>
                      <a:pt x="3839" y="363"/>
                    </a:cubicBezTo>
                    <a:cubicBezTo>
                      <a:pt x="3836" y="363"/>
                      <a:pt x="3838" y="363"/>
                      <a:pt x="3835" y="366"/>
                    </a:cubicBezTo>
                    <a:cubicBezTo>
                      <a:pt x="3832" y="368"/>
                      <a:pt x="3827" y="367"/>
                      <a:pt x="3824" y="367"/>
                    </a:cubicBezTo>
                    <a:cubicBezTo>
                      <a:pt x="3821" y="367"/>
                      <a:pt x="3817" y="372"/>
                      <a:pt x="3816" y="376"/>
                    </a:cubicBezTo>
                    <a:cubicBezTo>
                      <a:pt x="3815" y="379"/>
                      <a:pt x="3813" y="379"/>
                      <a:pt x="3810" y="380"/>
                    </a:cubicBezTo>
                    <a:cubicBezTo>
                      <a:pt x="3807" y="381"/>
                      <a:pt x="3808" y="382"/>
                      <a:pt x="3807" y="387"/>
                    </a:cubicBezTo>
                    <a:cubicBezTo>
                      <a:pt x="3807" y="391"/>
                      <a:pt x="3804" y="388"/>
                      <a:pt x="3801" y="388"/>
                    </a:cubicBezTo>
                    <a:cubicBezTo>
                      <a:pt x="3798" y="388"/>
                      <a:pt x="3799" y="390"/>
                      <a:pt x="3798" y="392"/>
                    </a:cubicBezTo>
                    <a:cubicBezTo>
                      <a:pt x="3798" y="395"/>
                      <a:pt x="3796" y="399"/>
                      <a:pt x="3797" y="404"/>
                    </a:cubicBezTo>
                    <a:cubicBezTo>
                      <a:pt x="3798" y="408"/>
                      <a:pt x="3798" y="409"/>
                      <a:pt x="3796" y="411"/>
                    </a:cubicBezTo>
                    <a:cubicBezTo>
                      <a:pt x="3795" y="413"/>
                      <a:pt x="3791" y="412"/>
                      <a:pt x="3788" y="411"/>
                    </a:cubicBezTo>
                    <a:cubicBezTo>
                      <a:pt x="3786" y="410"/>
                      <a:pt x="3785" y="410"/>
                      <a:pt x="3783" y="411"/>
                    </a:cubicBezTo>
                    <a:cubicBezTo>
                      <a:pt x="3782" y="411"/>
                      <a:pt x="3781" y="412"/>
                      <a:pt x="3780" y="413"/>
                    </a:cubicBezTo>
                    <a:cubicBezTo>
                      <a:pt x="3779" y="415"/>
                      <a:pt x="3779" y="416"/>
                      <a:pt x="3776" y="417"/>
                    </a:cubicBezTo>
                    <a:cubicBezTo>
                      <a:pt x="3773" y="417"/>
                      <a:pt x="3768" y="417"/>
                      <a:pt x="3767" y="419"/>
                    </a:cubicBezTo>
                    <a:cubicBezTo>
                      <a:pt x="3766" y="420"/>
                      <a:pt x="3763" y="421"/>
                      <a:pt x="3761" y="422"/>
                    </a:cubicBezTo>
                    <a:cubicBezTo>
                      <a:pt x="3759" y="423"/>
                      <a:pt x="3754" y="422"/>
                      <a:pt x="3751" y="422"/>
                    </a:cubicBezTo>
                    <a:cubicBezTo>
                      <a:pt x="3748" y="422"/>
                      <a:pt x="3747" y="424"/>
                      <a:pt x="3745" y="426"/>
                    </a:cubicBezTo>
                    <a:cubicBezTo>
                      <a:pt x="3743" y="428"/>
                      <a:pt x="3738" y="427"/>
                      <a:pt x="3737" y="425"/>
                    </a:cubicBezTo>
                    <a:cubicBezTo>
                      <a:pt x="3735" y="423"/>
                      <a:pt x="3733" y="422"/>
                      <a:pt x="3725" y="423"/>
                    </a:cubicBezTo>
                    <a:cubicBezTo>
                      <a:pt x="3717" y="425"/>
                      <a:pt x="3716" y="428"/>
                      <a:pt x="3715" y="431"/>
                    </a:cubicBezTo>
                    <a:cubicBezTo>
                      <a:pt x="3714" y="433"/>
                      <a:pt x="3708" y="435"/>
                      <a:pt x="3707" y="434"/>
                    </a:cubicBezTo>
                    <a:cubicBezTo>
                      <a:pt x="3705" y="434"/>
                      <a:pt x="3700" y="431"/>
                      <a:pt x="3700" y="429"/>
                    </a:cubicBezTo>
                    <a:cubicBezTo>
                      <a:pt x="3699" y="427"/>
                      <a:pt x="3697" y="423"/>
                      <a:pt x="3696" y="420"/>
                    </a:cubicBezTo>
                    <a:cubicBezTo>
                      <a:pt x="3696" y="418"/>
                      <a:pt x="3683" y="408"/>
                      <a:pt x="3679" y="406"/>
                    </a:cubicBezTo>
                    <a:cubicBezTo>
                      <a:pt x="3676" y="404"/>
                      <a:pt x="3675" y="399"/>
                      <a:pt x="3677" y="396"/>
                    </a:cubicBezTo>
                    <a:cubicBezTo>
                      <a:pt x="3680" y="393"/>
                      <a:pt x="3679" y="388"/>
                      <a:pt x="3680" y="385"/>
                    </a:cubicBezTo>
                    <a:cubicBezTo>
                      <a:pt x="3681" y="382"/>
                      <a:pt x="3678" y="379"/>
                      <a:pt x="3677" y="377"/>
                    </a:cubicBezTo>
                    <a:cubicBezTo>
                      <a:pt x="3675" y="376"/>
                      <a:pt x="3674" y="376"/>
                      <a:pt x="3675" y="369"/>
                    </a:cubicBezTo>
                    <a:cubicBezTo>
                      <a:pt x="3676" y="363"/>
                      <a:pt x="3670" y="365"/>
                      <a:pt x="3668" y="368"/>
                    </a:cubicBezTo>
                    <a:cubicBezTo>
                      <a:pt x="3666" y="371"/>
                      <a:pt x="3664" y="367"/>
                      <a:pt x="3664" y="364"/>
                    </a:cubicBezTo>
                    <a:cubicBezTo>
                      <a:pt x="3664" y="361"/>
                      <a:pt x="3662" y="358"/>
                      <a:pt x="3660" y="357"/>
                    </a:cubicBezTo>
                    <a:cubicBezTo>
                      <a:pt x="3658" y="357"/>
                      <a:pt x="3658" y="355"/>
                      <a:pt x="3658" y="352"/>
                    </a:cubicBezTo>
                    <a:cubicBezTo>
                      <a:pt x="3658" y="347"/>
                      <a:pt x="3660" y="343"/>
                      <a:pt x="3661" y="338"/>
                    </a:cubicBezTo>
                    <a:cubicBezTo>
                      <a:pt x="3661" y="336"/>
                      <a:pt x="3661" y="334"/>
                      <a:pt x="3658" y="335"/>
                    </a:cubicBezTo>
                    <a:cubicBezTo>
                      <a:pt x="3656" y="337"/>
                      <a:pt x="3655" y="336"/>
                      <a:pt x="3650" y="334"/>
                    </a:cubicBezTo>
                    <a:cubicBezTo>
                      <a:pt x="3645" y="331"/>
                      <a:pt x="3643" y="331"/>
                      <a:pt x="3641" y="334"/>
                    </a:cubicBezTo>
                    <a:cubicBezTo>
                      <a:pt x="3639" y="336"/>
                      <a:pt x="3636" y="335"/>
                      <a:pt x="3631" y="334"/>
                    </a:cubicBezTo>
                    <a:cubicBezTo>
                      <a:pt x="3628" y="332"/>
                      <a:pt x="3624" y="329"/>
                      <a:pt x="3620" y="326"/>
                    </a:cubicBezTo>
                    <a:cubicBezTo>
                      <a:pt x="3618" y="325"/>
                      <a:pt x="3614" y="319"/>
                      <a:pt x="3611" y="317"/>
                    </a:cubicBezTo>
                    <a:cubicBezTo>
                      <a:pt x="3608" y="315"/>
                      <a:pt x="3606" y="315"/>
                      <a:pt x="3605" y="315"/>
                    </a:cubicBezTo>
                    <a:cubicBezTo>
                      <a:pt x="3602" y="315"/>
                      <a:pt x="3602" y="313"/>
                      <a:pt x="3600" y="311"/>
                    </a:cubicBezTo>
                    <a:cubicBezTo>
                      <a:pt x="3599" y="309"/>
                      <a:pt x="3597" y="307"/>
                      <a:pt x="3594" y="308"/>
                    </a:cubicBezTo>
                    <a:cubicBezTo>
                      <a:pt x="3592" y="310"/>
                      <a:pt x="3590" y="307"/>
                      <a:pt x="3590" y="303"/>
                    </a:cubicBezTo>
                    <a:cubicBezTo>
                      <a:pt x="3590" y="300"/>
                      <a:pt x="3587" y="299"/>
                      <a:pt x="3582" y="298"/>
                    </a:cubicBezTo>
                    <a:cubicBezTo>
                      <a:pt x="3578" y="297"/>
                      <a:pt x="3577" y="299"/>
                      <a:pt x="3577" y="301"/>
                    </a:cubicBezTo>
                    <a:cubicBezTo>
                      <a:pt x="3577" y="304"/>
                      <a:pt x="3576" y="306"/>
                      <a:pt x="3573" y="305"/>
                    </a:cubicBezTo>
                    <a:cubicBezTo>
                      <a:pt x="3570" y="303"/>
                      <a:pt x="3571" y="304"/>
                      <a:pt x="3566" y="306"/>
                    </a:cubicBezTo>
                    <a:cubicBezTo>
                      <a:pt x="3562" y="309"/>
                      <a:pt x="3560" y="310"/>
                      <a:pt x="3558" y="303"/>
                    </a:cubicBezTo>
                    <a:cubicBezTo>
                      <a:pt x="3556" y="297"/>
                      <a:pt x="3549" y="300"/>
                      <a:pt x="3544" y="301"/>
                    </a:cubicBezTo>
                    <a:cubicBezTo>
                      <a:pt x="3539" y="302"/>
                      <a:pt x="3540" y="298"/>
                      <a:pt x="3541" y="295"/>
                    </a:cubicBezTo>
                    <a:cubicBezTo>
                      <a:pt x="3542" y="292"/>
                      <a:pt x="3537" y="293"/>
                      <a:pt x="3536" y="294"/>
                    </a:cubicBezTo>
                    <a:cubicBezTo>
                      <a:pt x="3533" y="296"/>
                      <a:pt x="3531" y="291"/>
                      <a:pt x="3526" y="294"/>
                    </a:cubicBezTo>
                    <a:cubicBezTo>
                      <a:pt x="3519" y="298"/>
                      <a:pt x="3512" y="300"/>
                      <a:pt x="3505" y="303"/>
                    </a:cubicBezTo>
                    <a:cubicBezTo>
                      <a:pt x="3502" y="305"/>
                      <a:pt x="3498" y="304"/>
                      <a:pt x="3496" y="301"/>
                    </a:cubicBezTo>
                    <a:cubicBezTo>
                      <a:pt x="3493" y="297"/>
                      <a:pt x="3491" y="297"/>
                      <a:pt x="3490" y="300"/>
                    </a:cubicBezTo>
                    <a:cubicBezTo>
                      <a:pt x="3488" y="303"/>
                      <a:pt x="3484" y="302"/>
                      <a:pt x="3482" y="300"/>
                    </a:cubicBezTo>
                    <a:cubicBezTo>
                      <a:pt x="3479" y="298"/>
                      <a:pt x="3474" y="293"/>
                      <a:pt x="3474" y="289"/>
                    </a:cubicBezTo>
                    <a:cubicBezTo>
                      <a:pt x="3475" y="284"/>
                      <a:pt x="3470" y="287"/>
                      <a:pt x="3467" y="287"/>
                    </a:cubicBezTo>
                    <a:cubicBezTo>
                      <a:pt x="3464" y="286"/>
                      <a:pt x="3463" y="284"/>
                      <a:pt x="3463" y="278"/>
                    </a:cubicBezTo>
                    <a:cubicBezTo>
                      <a:pt x="3464" y="273"/>
                      <a:pt x="3464" y="273"/>
                      <a:pt x="3462" y="271"/>
                    </a:cubicBezTo>
                    <a:cubicBezTo>
                      <a:pt x="3460" y="268"/>
                      <a:pt x="3461" y="264"/>
                      <a:pt x="3463" y="256"/>
                    </a:cubicBezTo>
                    <a:cubicBezTo>
                      <a:pt x="3465" y="249"/>
                      <a:pt x="3461" y="246"/>
                      <a:pt x="3459" y="246"/>
                    </a:cubicBezTo>
                    <a:cubicBezTo>
                      <a:pt x="3458" y="246"/>
                      <a:pt x="3456" y="246"/>
                      <a:pt x="3454" y="245"/>
                    </a:cubicBezTo>
                    <a:cubicBezTo>
                      <a:pt x="3453" y="244"/>
                      <a:pt x="3451" y="243"/>
                      <a:pt x="3450" y="242"/>
                    </a:cubicBezTo>
                    <a:cubicBezTo>
                      <a:pt x="3445" y="239"/>
                      <a:pt x="3447" y="234"/>
                      <a:pt x="3443" y="230"/>
                    </a:cubicBezTo>
                    <a:cubicBezTo>
                      <a:pt x="3441" y="228"/>
                      <a:pt x="3442" y="224"/>
                      <a:pt x="3444" y="221"/>
                    </a:cubicBezTo>
                    <a:cubicBezTo>
                      <a:pt x="3444" y="220"/>
                      <a:pt x="3444" y="216"/>
                      <a:pt x="3442" y="212"/>
                    </a:cubicBezTo>
                    <a:cubicBezTo>
                      <a:pt x="3439" y="208"/>
                      <a:pt x="3434" y="205"/>
                      <a:pt x="3433" y="204"/>
                    </a:cubicBezTo>
                    <a:cubicBezTo>
                      <a:pt x="3432" y="203"/>
                      <a:pt x="3430" y="200"/>
                      <a:pt x="3429" y="198"/>
                    </a:cubicBezTo>
                    <a:cubicBezTo>
                      <a:pt x="3428" y="196"/>
                      <a:pt x="3428" y="195"/>
                      <a:pt x="3426" y="191"/>
                    </a:cubicBezTo>
                    <a:cubicBezTo>
                      <a:pt x="3424" y="188"/>
                      <a:pt x="3416" y="186"/>
                      <a:pt x="3413" y="184"/>
                    </a:cubicBezTo>
                    <a:cubicBezTo>
                      <a:pt x="3410" y="181"/>
                      <a:pt x="3409" y="177"/>
                      <a:pt x="3409" y="176"/>
                    </a:cubicBezTo>
                    <a:cubicBezTo>
                      <a:pt x="3408" y="173"/>
                      <a:pt x="3412" y="161"/>
                      <a:pt x="3409" y="160"/>
                    </a:cubicBezTo>
                    <a:cubicBezTo>
                      <a:pt x="3403" y="159"/>
                      <a:pt x="3407" y="165"/>
                      <a:pt x="3405" y="166"/>
                    </a:cubicBezTo>
                    <a:cubicBezTo>
                      <a:pt x="3403" y="167"/>
                      <a:pt x="3400" y="166"/>
                      <a:pt x="3400" y="164"/>
                    </a:cubicBezTo>
                    <a:cubicBezTo>
                      <a:pt x="3400" y="163"/>
                      <a:pt x="3399" y="161"/>
                      <a:pt x="3403" y="156"/>
                    </a:cubicBezTo>
                    <a:cubicBezTo>
                      <a:pt x="3407" y="152"/>
                      <a:pt x="3403" y="152"/>
                      <a:pt x="3401" y="151"/>
                    </a:cubicBezTo>
                    <a:cubicBezTo>
                      <a:pt x="3396" y="148"/>
                      <a:pt x="3402" y="143"/>
                      <a:pt x="3395" y="142"/>
                    </a:cubicBezTo>
                    <a:cubicBezTo>
                      <a:pt x="3393" y="142"/>
                      <a:pt x="3391" y="140"/>
                      <a:pt x="3390" y="134"/>
                    </a:cubicBezTo>
                    <a:cubicBezTo>
                      <a:pt x="3390" y="129"/>
                      <a:pt x="3388" y="126"/>
                      <a:pt x="3386" y="125"/>
                    </a:cubicBezTo>
                    <a:cubicBezTo>
                      <a:pt x="3385" y="124"/>
                      <a:pt x="3381" y="121"/>
                      <a:pt x="3380" y="119"/>
                    </a:cubicBezTo>
                    <a:cubicBezTo>
                      <a:pt x="3379" y="117"/>
                      <a:pt x="3374" y="112"/>
                      <a:pt x="3372" y="110"/>
                    </a:cubicBezTo>
                    <a:cubicBezTo>
                      <a:pt x="3370" y="107"/>
                      <a:pt x="3371" y="103"/>
                      <a:pt x="3373" y="101"/>
                    </a:cubicBezTo>
                    <a:cubicBezTo>
                      <a:pt x="3375" y="99"/>
                      <a:pt x="3374" y="93"/>
                      <a:pt x="3371" y="93"/>
                    </a:cubicBezTo>
                    <a:cubicBezTo>
                      <a:pt x="3368" y="92"/>
                      <a:pt x="3362" y="92"/>
                      <a:pt x="3362" y="90"/>
                    </a:cubicBezTo>
                    <a:cubicBezTo>
                      <a:pt x="3361" y="89"/>
                      <a:pt x="3360" y="87"/>
                      <a:pt x="3362" y="84"/>
                    </a:cubicBezTo>
                    <a:cubicBezTo>
                      <a:pt x="3363" y="84"/>
                      <a:pt x="3365" y="81"/>
                      <a:pt x="3364" y="79"/>
                    </a:cubicBezTo>
                    <a:cubicBezTo>
                      <a:pt x="3362" y="75"/>
                      <a:pt x="3356" y="73"/>
                      <a:pt x="3356" y="73"/>
                    </a:cubicBezTo>
                    <a:cubicBezTo>
                      <a:pt x="3354" y="72"/>
                      <a:pt x="3350" y="69"/>
                      <a:pt x="3347" y="65"/>
                    </a:cubicBezTo>
                    <a:cubicBezTo>
                      <a:pt x="3343" y="57"/>
                      <a:pt x="3338" y="68"/>
                      <a:pt x="3335" y="60"/>
                    </a:cubicBezTo>
                    <a:cubicBezTo>
                      <a:pt x="3334" y="57"/>
                      <a:pt x="3335" y="56"/>
                      <a:pt x="3336" y="55"/>
                    </a:cubicBezTo>
                    <a:cubicBezTo>
                      <a:pt x="3337" y="53"/>
                      <a:pt x="3339" y="53"/>
                      <a:pt x="3339" y="48"/>
                    </a:cubicBezTo>
                    <a:cubicBezTo>
                      <a:pt x="3339" y="45"/>
                      <a:pt x="3336" y="45"/>
                      <a:pt x="3332" y="46"/>
                    </a:cubicBezTo>
                    <a:cubicBezTo>
                      <a:pt x="3329" y="46"/>
                      <a:pt x="3327" y="42"/>
                      <a:pt x="3325" y="38"/>
                    </a:cubicBezTo>
                    <a:cubicBezTo>
                      <a:pt x="3322" y="35"/>
                      <a:pt x="3319" y="39"/>
                      <a:pt x="3317" y="41"/>
                    </a:cubicBezTo>
                    <a:cubicBezTo>
                      <a:pt x="3315" y="42"/>
                      <a:pt x="3311" y="39"/>
                      <a:pt x="3314" y="37"/>
                    </a:cubicBezTo>
                    <a:cubicBezTo>
                      <a:pt x="3316" y="35"/>
                      <a:pt x="3315" y="33"/>
                      <a:pt x="3314" y="30"/>
                    </a:cubicBezTo>
                    <a:cubicBezTo>
                      <a:pt x="3312" y="26"/>
                      <a:pt x="3312" y="26"/>
                      <a:pt x="3306" y="26"/>
                    </a:cubicBezTo>
                    <a:cubicBezTo>
                      <a:pt x="3300" y="26"/>
                      <a:pt x="3300" y="27"/>
                      <a:pt x="3292" y="23"/>
                    </a:cubicBezTo>
                    <a:cubicBezTo>
                      <a:pt x="3284" y="19"/>
                      <a:pt x="3280" y="18"/>
                      <a:pt x="3275" y="18"/>
                    </a:cubicBezTo>
                    <a:cubicBezTo>
                      <a:pt x="3269" y="18"/>
                      <a:pt x="3269" y="22"/>
                      <a:pt x="3268" y="25"/>
                    </a:cubicBezTo>
                    <a:cubicBezTo>
                      <a:pt x="3266" y="28"/>
                      <a:pt x="3263" y="27"/>
                      <a:pt x="3260" y="24"/>
                    </a:cubicBezTo>
                    <a:cubicBezTo>
                      <a:pt x="3256" y="20"/>
                      <a:pt x="3253" y="22"/>
                      <a:pt x="3248" y="24"/>
                    </a:cubicBezTo>
                    <a:cubicBezTo>
                      <a:pt x="3244" y="25"/>
                      <a:pt x="3240" y="19"/>
                      <a:pt x="3237" y="15"/>
                    </a:cubicBezTo>
                    <a:cubicBezTo>
                      <a:pt x="3236" y="13"/>
                      <a:pt x="3235" y="13"/>
                      <a:pt x="3234" y="12"/>
                    </a:cubicBezTo>
                    <a:cubicBezTo>
                      <a:pt x="3231" y="10"/>
                      <a:pt x="3227" y="11"/>
                      <a:pt x="3225" y="12"/>
                    </a:cubicBezTo>
                    <a:cubicBezTo>
                      <a:pt x="3224" y="13"/>
                      <a:pt x="3220" y="13"/>
                      <a:pt x="3218" y="11"/>
                    </a:cubicBezTo>
                    <a:cubicBezTo>
                      <a:pt x="3216" y="9"/>
                      <a:pt x="3210" y="8"/>
                      <a:pt x="3206" y="4"/>
                    </a:cubicBezTo>
                    <a:cubicBezTo>
                      <a:pt x="3202" y="0"/>
                      <a:pt x="3194" y="2"/>
                      <a:pt x="3193" y="4"/>
                    </a:cubicBezTo>
                    <a:cubicBezTo>
                      <a:pt x="3192" y="6"/>
                      <a:pt x="3191" y="5"/>
                      <a:pt x="3189" y="4"/>
                    </a:cubicBezTo>
                    <a:cubicBezTo>
                      <a:pt x="3188" y="3"/>
                      <a:pt x="3188" y="4"/>
                      <a:pt x="3187" y="5"/>
                    </a:cubicBezTo>
                    <a:cubicBezTo>
                      <a:pt x="3186" y="6"/>
                      <a:pt x="3185" y="7"/>
                      <a:pt x="3180" y="5"/>
                    </a:cubicBezTo>
                    <a:cubicBezTo>
                      <a:pt x="3174" y="3"/>
                      <a:pt x="3174" y="3"/>
                      <a:pt x="3173" y="5"/>
                    </a:cubicBezTo>
                    <a:cubicBezTo>
                      <a:pt x="3172" y="7"/>
                      <a:pt x="3170" y="8"/>
                      <a:pt x="3167" y="10"/>
                    </a:cubicBezTo>
                    <a:cubicBezTo>
                      <a:pt x="3163" y="13"/>
                      <a:pt x="3159" y="9"/>
                      <a:pt x="3157" y="12"/>
                    </a:cubicBezTo>
                    <a:cubicBezTo>
                      <a:pt x="3155" y="15"/>
                      <a:pt x="3150" y="16"/>
                      <a:pt x="3147" y="16"/>
                    </a:cubicBezTo>
                    <a:cubicBezTo>
                      <a:pt x="3144" y="17"/>
                      <a:pt x="3142" y="17"/>
                      <a:pt x="3138" y="17"/>
                    </a:cubicBezTo>
                    <a:cubicBezTo>
                      <a:pt x="3134" y="18"/>
                      <a:pt x="3131" y="18"/>
                      <a:pt x="3124" y="16"/>
                    </a:cubicBezTo>
                    <a:cubicBezTo>
                      <a:pt x="3117" y="14"/>
                      <a:pt x="3113" y="18"/>
                      <a:pt x="3111" y="20"/>
                    </a:cubicBezTo>
                    <a:cubicBezTo>
                      <a:pt x="3110" y="23"/>
                      <a:pt x="3110" y="24"/>
                      <a:pt x="3102" y="24"/>
                    </a:cubicBezTo>
                    <a:cubicBezTo>
                      <a:pt x="3095" y="25"/>
                      <a:pt x="3096" y="27"/>
                      <a:pt x="3090" y="29"/>
                    </a:cubicBezTo>
                    <a:cubicBezTo>
                      <a:pt x="3085" y="31"/>
                      <a:pt x="3077" y="35"/>
                      <a:pt x="3072" y="38"/>
                    </a:cubicBezTo>
                    <a:cubicBezTo>
                      <a:pt x="3067" y="40"/>
                      <a:pt x="3058" y="41"/>
                      <a:pt x="3048" y="41"/>
                    </a:cubicBezTo>
                    <a:cubicBezTo>
                      <a:pt x="3038" y="42"/>
                      <a:pt x="3039" y="44"/>
                      <a:pt x="3039" y="48"/>
                    </a:cubicBezTo>
                    <a:cubicBezTo>
                      <a:pt x="3038" y="52"/>
                      <a:pt x="3037" y="51"/>
                      <a:pt x="3033" y="57"/>
                    </a:cubicBezTo>
                    <a:cubicBezTo>
                      <a:pt x="3030" y="62"/>
                      <a:pt x="3022" y="68"/>
                      <a:pt x="3019" y="74"/>
                    </a:cubicBezTo>
                    <a:cubicBezTo>
                      <a:pt x="3016" y="80"/>
                      <a:pt x="3012" y="82"/>
                      <a:pt x="3008" y="85"/>
                    </a:cubicBezTo>
                    <a:cubicBezTo>
                      <a:pt x="3005" y="88"/>
                      <a:pt x="3004" y="89"/>
                      <a:pt x="3007" y="92"/>
                    </a:cubicBezTo>
                    <a:cubicBezTo>
                      <a:pt x="3009" y="94"/>
                      <a:pt x="3008" y="94"/>
                      <a:pt x="3006" y="98"/>
                    </a:cubicBezTo>
                    <a:cubicBezTo>
                      <a:pt x="3005" y="102"/>
                      <a:pt x="3005" y="101"/>
                      <a:pt x="3006" y="104"/>
                    </a:cubicBezTo>
                    <a:cubicBezTo>
                      <a:pt x="3007" y="107"/>
                      <a:pt x="3013" y="107"/>
                      <a:pt x="3020" y="102"/>
                    </a:cubicBezTo>
                    <a:cubicBezTo>
                      <a:pt x="3027" y="97"/>
                      <a:pt x="3037" y="102"/>
                      <a:pt x="3040" y="103"/>
                    </a:cubicBezTo>
                    <a:cubicBezTo>
                      <a:pt x="3043" y="105"/>
                      <a:pt x="3044" y="107"/>
                      <a:pt x="3044" y="108"/>
                    </a:cubicBezTo>
                    <a:cubicBezTo>
                      <a:pt x="3044" y="110"/>
                      <a:pt x="3044" y="112"/>
                      <a:pt x="3042" y="119"/>
                    </a:cubicBezTo>
                    <a:cubicBezTo>
                      <a:pt x="3040" y="126"/>
                      <a:pt x="3042" y="127"/>
                      <a:pt x="3046" y="129"/>
                    </a:cubicBezTo>
                    <a:cubicBezTo>
                      <a:pt x="3051" y="132"/>
                      <a:pt x="3049" y="142"/>
                      <a:pt x="3050" y="146"/>
                    </a:cubicBezTo>
                    <a:cubicBezTo>
                      <a:pt x="3050" y="150"/>
                      <a:pt x="3050" y="151"/>
                      <a:pt x="3049" y="154"/>
                    </a:cubicBezTo>
                    <a:cubicBezTo>
                      <a:pt x="3047" y="156"/>
                      <a:pt x="3034" y="166"/>
                      <a:pt x="3032" y="169"/>
                    </a:cubicBezTo>
                    <a:cubicBezTo>
                      <a:pt x="3030" y="171"/>
                      <a:pt x="3023" y="179"/>
                      <a:pt x="3021" y="181"/>
                    </a:cubicBezTo>
                    <a:cubicBezTo>
                      <a:pt x="3019" y="183"/>
                      <a:pt x="3017" y="184"/>
                      <a:pt x="3016" y="187"/>
                    </a:cubicBezTo>
                    <a:cubicBezTo>
                      <a:pt x="3016" y="189"/>
                      <a:pt x="3016" y="190"/>
                      <a:pt x="3016" y="194"/>
                    </a:cubicBezTo>
                    <a:cubicBezTo>
                      <a:pt x="3015" y="199"/>
                      <a:pt x="3014" y="200"/>
                      <a:pt x="3014" y="202"/>
                    </a:cubicBezTo>
                    <a:cubicBezTo>
                      <a:pt x="3014" y="205"/>
                      <a:pt x="3014" y="207"/>
                      <a:pt x="3012" y="208"/>
                    </a:cubicBezTo>
                    <a:cubicBezTo>
                      <a:pt x="3010" y="209"/>
                      <a:pt x="3011" y="210"/>
                      <a:pt x="3011" y="213"/>
                    </a:cubicBezTo>
                    <a:cubicBezTo>
                      <a:pt x="3011" y="216"/>
                      <a:pt x="3010" y="215"/>
                      <a:pt x="3009" y="217"/>
                    </a:cubicBezTo>
                    <a:cubicBezTo>
                      <a:pt x="3007" y="219"/>
                      <a:pt x="3007" y="220"/>
                      <a:pt x="3007" y="221"/>
                    </a:cubicBezTo>
                    <a:cubicBezTo>
                      <a:pt x="3007" y="223"/>
                      <a:pt x="3007" y="223"/>
                      <a:pt x="3005" y="225"/>
                    </a:cubicBezTo>
                    <a:cubicBezTo>
                      <a:pt x="3003" y="226"/>
                      <a:pt x="3003" y="228"/>
                      <a:pt x="3004" y="233"/>
                    </a:cubicBezTo>
                    <a:cubicBezTo>
                      <a:pt x="3005" y="239"/>
                      <a:pt x="2999" y="245"/>
                      <a:pt x="2995" y="248"/>
                    </a:cubicBezTo>
                    <a:cubicBezTo>
                      <a:pt x="2992" y="252"/>
                      <a:pt x="2991" y="256"/>
                      <a:pt x="2992" y="259"/>
                    </a:cubicBezTo>
                    <a:cubicBezTo>
                      <a:pt x="2992" y="262"/>
                      <a:pt x="2992" y="265"/>
                      <a:pt x="2990" y="269"/>
                    </a:cubicBezTo>
                    <a:cubicBezTo>
                      <a:pt x="2989" y="272"/>
                      <a:pt x="2984" y="278"/>
                      <a:pt x="2982" y="281"/>
                    </a:cubicBezTo>
                    <a:cubicBezTo>
                      <a:pt x="2981" y="284"/>
                      <a:pt x="2980" y="286"/>
                      <a:pt x="2980" y="290"/>
                    </a:cubicBezTo>
                    <a:cubicBezTo>
                      <a:pt x="2981" y="293"/>
                      <a:pt x="2979" y="295"/>
                      <a:pt x="2976" y="297"/>
                    </a:cubicBezTo>
                    <a:cubicBezTo>
                      <a:pt x="2974" y="299"/>
                      <a:pt x="2972" y="298"/>
                      <a:pt x="2973" y="301"/>
                    </a:cubicBezTo>
                    <a:cubicBezTo>
                      <a:pt x="2974" y="305"/>
                      <a:pt x="2978" y="304"/>
                      <a:pt x="2984" y="304"/>
                    </a:cubicBezTo>
                    <a:cubicBezTo>
                      <a:pt x="2990" y="303"/>
                      <a:pt x="2987" y="306"/>
                      <a:pt x="2987" y="307"/>
                    </a:cubicBezTo>
                    <a:cubicBezTo>
                      <a:pt x="2987" y="307"/>
                      <a:pt x="2987" y="307"/>
                      <a:pt x="2987" y="307"/>
                    </a:cubicBezTo>
                    <a:cubicBezTo>
                      <a:pt x="2986" y="310"/>
                      <a:pt x="2986" y="310"/>
                      <a:pt x="2987" y="315"/>
                    </a:cubicBezTo>
                    <a:cubicBezTo>
                      <a:pt x="2988" y="319"/>
                      <a:pt x="2986" y="322"/>
                      <a:pt x="2983" y="325"/>
                    </a:cubicBezTo>
                    <a:cubicBezTo>
                      <a:pt x="2980" y="328"/>
                      <a:pt x="2976" y="330"/>
                      <a:pt x="2974" y="334"/>
                    </a:cubicBezTo>
                    <a:cubicBezTo>
                      <a:pt x="2973" y="338"/>
                      <a:pt x="2971" y="338"/>
                      <a:pt x="2967" y="338"/>
                    </a:cubicBezTo>
                    <a:cubicBezTo>
                      <a:pt x="2963" y="338"/>
                      <a:pt x="2961" y="337"/>
                      <a:pt x="2959" y="339"/>
                    </a:cubicBezTo>
                    <a:cubicBezTo>
                      <a:pt x="2957" y="340"/>
                      <a:pt x="2956" y="340"/>
                      <a:pt x="2948" y="342"/>
                    </a:cubicBezTo>
                    <a:cubicBezTo>
                      <a:pt x="2941" y="344"/>
                      <a:pt x="2942" y="347"/>
                      <a:pt x="2939" y="351"/>
                    </a:cubicBezTo>
                    <a:cubicBezTo>
                      <a:pt x="2936" y="354"/>
                      <a:pt x="2929" y="362"/>
                      <a:pt x="2927" y="367"/>
                    </a:cubicBezTo>
                    <a:cubicBezTo>
                      <a:pt x="2926" y="369"/>
                      <a:pt x="2921" y="371"/>
                      <a:pt x="2915" y="373"/>
                    </a:cubicBezTo>
                    <a:cubicBezTo>
                      <a:pt x="2915" y="373"/>
                      <a:pt x="2907" y="375"/>
                      <a:pt x="2904" y="377"/>
                    </a:cubicBezTo>
                    <a:cubicBezTo>
                      <a:pt x="2901" y="379"/>
                      <a:pt x="2897" y="379"/>
                      <a:pt x="2892" y="374"/>
                    </a:cubicBezTo>
                    <a:cubicBezTo>
                      <a:pt x="2888" y="370"/>
                      <a:pt x="2877" y="373"/>
                      <a:pt x="2873" y="373"/>
                    </a:cubicBezTo>
                    <a:cubicBezTo>
                      <a:pt x="2869" y="373"/>
                      <a:pt x="2858" y="368"/>
                      <a:pt x="2849" y="361"/>
                    </a:cubicBezTo>
                    <a:cubicBezTo>
                      <a:pt x="2839" y="353"/>
                      <a:pt x="2838" y="361"/>
                      <a:pt x="2838" y="361"/>
                    </a:cubicBezTo>
                    <a:cubicBezTo>
                      <a:pt x="2838" y="361"/>
                      <a:pt x="2818" y="414"/>
                      <a:pt x="2816" y="418"/>
                    </a:cubicBezTo>
                    <a:cubicBezTo>
                      <a:pt x="2815" y="422"/>
                      <a:pt x="2809" y="438"/>
                      <a:pt x="2806" y="443"/>
                    </a:cubicBezTo>
                    <a:cubicBezTo>
                      <a:pt x="2804" y="448"/>
                      <a:pt x="2808" y="450"/>
                      <a:pt x="2807" y="454"/>
                    </a:cubicBezTo>
                    <a:cubicBezTo>
                      <a:pt x="2806" y="457"/>
                      <a:pt x="2798" y="468"/>
                      <a:pt x="2796" y="470"/>
                    </a:cubicBezTo>
                    <a:cubicBezTo>
                      <a:pt x="2794" y="472"/>
                      <a:pt x="2793" y="478"/>
                      <a:pt x="2793" y="478"/>
                    </a:cubicBezTo>
                    <a:cubicBezTo>
                      <a:pt x="2793" y="478"/>
                      <a:pt x="2795" y="492"/>
                      <a:pt x="2795" y="495"/>
                    </a:cubicBezTo>
                    <a:cubicBezTo>
                      <a:pt x="2795" y="499"/>
                      <a:pt x="2792" y="501"/>
                      <a:pt x="2787" y="504"/>
                    </a:cubicBezTo>
                    <a:cubicBezTo>
                      <a:pt x="2781" y="508"/>
                      <a:pt x="2781" y="510"/>
                      <a:pt x="2781" y="510"/>
                    </a:cubicBezTo>
                    <a:cubicBezTo>
                      <a:pt x="2781" y="510"/>
                      <a:pt x="2780" y="521"/>
                      <a:pt x="2780" y="527"/>
                    </a:cubicBezTo>
                    <a:cubicBezTo>
                      <a:pt x="2780" y="533"/>
                      <a:pt x="2783" y="534"/>
                      <a:pt x="2783" y="534"/>
                    </a:cubicBezTo>
                    <a:cubicBezTo>
                      <a:pt x="2783" y="534"/>
                      <a:pt x="2793" y="546"/>
                      <a:pt x="2797" y="549"/>
                    </a:cubicBezTo>
                    <a:cubicBezTo>
                      <a:pt x="2800" y="551"/>
                      <a:pt x="2804" y="555"/>
                      <a:pt x="2806" y="553"/>
                    </a:cubicBezTo>
                    <a:cubicBezTo>
                      <a:pt x="2809" y="551"/>
                      <a:pt x="2813" y="543"/>
                      <a:pt x="2816" y="539"/>
                    </a:cubicBezTo>
                    <a:cubicBezTo>
                      <a:pt x="2819" y="534"/>
                      <a:pt x="2824" y="536"/>
                      <a:pt x="2833" y="537"/>
                    </a:cubicBezTo>
                    <a:cubicBezTo>
                      <a:pt x="2842" y="537"/>
                      <a:pt x="2842" y="537"/>
                      <a:pt x="2845" y="534"/>
                    </a:cubicBezTo>
                    <a:cubicBezTo>
                      <a:pt x="2848" y="532"/>
                      <a:pt x="2852" y="532"/>
                      <a:pt x="2852" y="532"/>
                    </a:cubicBezTo>
                    <a:cubicBezTo>
                      <a:pt x="2852" y="532"/>
                      <a:pt x="2858" y="534"/>
                      <a:pt x="2862" y="533"/>
                    </a:cubicBezTo>
                    <a:cubicBezTo>
                      <a:pt x="2867" y="533"/>
                      <a:pt x="2868" y="535"/>
                      <a:pt x="2870" y="537"/>
                    </a:cubicBezTo>
                    <a:cubicBezTo>
                      <a:pt x="2873" y="539"/>
                      <a:pt x="2880" y="542"/>
                      <a:pt x="2883" y="546"/>
                    </a:cubicBezTo>
                    <a:cubicBezTo>
                      <a:pt x="2887" y="550"/>
                      <a:pt x="2891" y="552"/>
                      <a:pt x="2893" y="551"/>
                    </a:cubicBezTo>
                    <a:cubicBezTo>
                      <a:pt x="2895" y="550"/>
                      <a:pt x="2899" y="545"/>
                      <a:pt x="2902" y="540"/>
                    </a:cubicBezTo>
                    <a:cubicBezTo>
                      <a:pt x="2904" y="536"/>
                      <a:pt x="2913" y="523"/>
                      <a:pt x="2916" y="518"/>
                    </a:cubicBezTo>
                    <a:cubicBezTo>
                      <a:pt x="2919" y="514"/>
                      <a:pt x="2921" y="520"/>
                      <a:pt x="2927" y="517"/>
                    </a:cubicBezTo>
                    <a:cubicBezTo>
                      <a:pt x="2931" y="514"/>
                      <a:pt x="2935" y="513"/>
                      <a:pt x="2938" y="515"/>
                    </a:cubicBezTo>
                    <a:cubicBezTo>
                      <a:pt x="2941" y="516"/>
                      <a:pt x="2948" y="516"/>
                      <a:pt x="2951" y="516"/>
                    </a:cubicBezTo>
                    <a:cubicBezTo>
                      <a:pt x="2952" y="516"/>
                      <a:pt x="2953" y="517"/>
                      <a:pt x="2955" y="517"/>
                    </a:cubicBezTo>
                    <a:cubicBezTo>
                      <a:pt x="2960" y="516"/>
                      <a:pt x="2962" y="520"/>
                      <a:pt x="2963" y="523"/>
                    </a:cubicBezTo>
                    <a:cubicBezTo>
                      <a:pt x="2963" y="526"/>
                      <a:pt x="2970" y="534"/>
                      <a:pt x="2972" y="536"/>
                    </a:cubicBezTo>
                    <a:cubicBezTo>
                      <a:pt x="2975" y="538"/>
                      <a:pt x="2990" y="542"/>
                      <a:pt x="2993" y="544"/>
                    </a:cubicBezTo>
                    <a:cubicBezTo>
                      <a:pt x="2996" y="546"/>
                      <a:pt x="2997" y="549"/>
                      <a:pt x="2998" y="551"/>
                    </a:cubicBezTo>
                    <a:cubicBezTo>
                      <a:pt x="2999" y="553"/>
                      <a:pt x="3007" y="558"/>
                      <a:pt x="3008" y="560"/>
                    </a:cubicBezTo>
                    <a:cubicBezTo>
                      <a:pt x="3010" y="563"/>
                      <a:pt x="3011" y="563"/>
                      <a:pt x="3012" y="563"/>
                    </a:cubicBezTo>
                    <a:cubicBezTo>
                      <a:pt x="3015" y="563"/>
                      <a:pt x="3031" y="582"/>
                      <a:pt x="3036" y="587"/>
                    </a:cubicBezTo>
                    <a:cubicBezTo>
                      <a:pt x="3037" y="589"/>
                      <a:pt x="3039" y="592"/>
                      <a:pt x="3039" y="594"/>
                    </a:cubicBezTo>
                    <a:cubicBezTo>
                      <a:pt x="3039" y="597"/>
                      <a:pt x="3043" y="599"/>
                      <a:pt x="3044" y="601"/>
                    </a:cubicBezTo>
                    <a:cubicBezTo>
                      <a:pt x="3044" y="601"/>
                      <a:pt x="3044" y="601"/>
                      <a:pt x="3045" y="601"/>
                    </a:cubicBezTo>
                    <a:cubicBezTo>
                      <a:pt x="3046" y="603"/>
                      <a:pt x="3047" y="605"/>
                      <a:pt x="3048" y="607"/>
                    </a:cubicBezTo>
                    <a:cubicBezTo>
                      <a:pt x="3049" y="609"/>
                      <a:pt x="3049" y="611"/>
                      <a:pt x="3049" y="613"/>
                    </a:cubicBezTo>
                    <a:cubicBezTo>
                      <a:pt x="3049" y="616"/>
                      <a:pt x="3048" y="618"/>
                      <a:pt x="3047" y="620"/>
                    </a:cubicBezTo>
                    <a:cubicBezTo>
                      <a:pt x="3048" y="620"/>
                      <a:pt x="3049" y="620"/>
                      <a:pt x="3050" y="619"/>
                    </a:cubicBezTo>
                    <a:cubicBezTo>
                      <a:pt x="3049" y="621"/>
                      <a:pt x="3048" y="622"/>
                      <a:pt x="3046" y="623"/>
                    </a:cubicBezTo>
                    <a:cubicBezTo>
                      <a:pt x="3046" y="623"/>
                      <a:pt x="3045" y="623"/>
                      <a:pt x="3045" y="624"/>
                    </a:cubicBezTo>
                    <a:cubicBezTo>
                      <a:pt x="3046" y="623"/>
                      <a:pt x="3046" y="621"/>
                      <a:pt x="3047" y="620"/>
                    </a:cubicBezTo>
                    <a:cubicBezTo>
                      <a:pt x="3047" y="620"/>
                      <a:pt x="3047" y="620"/>
                      <a:pt x="3047" y="620"/>
                    </a:cubicBezTo>
                    <a:cubicBezTo>
                      <a:pt x="3044" y="621"/>
                      <a:pt x="3045" y="623"/>
                      <a:pt x="3044" y="625"/>
                    </a:cubicBezTo>
                    <a:cubicBezTo>
                      <a:pt x="3042" y="626"/>
                      <a:pt x="3042" y="628"/>
                      <a:pt x="3041" y="629"/>
                    </a:cubicBezTo>
                    <a:cubicBezTo>
                      <a:pt x="3041" y="629"/>
                      <a:pt x="3041" y="630"/>
                      <a:pt x="3040" y="630"/>
                    </a:cubicBezTo>
                    <a:cubicBezTo>
                      <a:pt x="3037" y="632"/>
                      <a:pt x="3036" y="634"/>
                      <a:pt x="3029" y="633"/>
                    </a:cubicBezTo>
                    <a:cubicBezTo>
                      <a:pt x="3022" y="632"/>
                      <a:pt x="3018" y="633"/>
                      <a:pt x="3016" y="634"/>
                    </a:cubicBezTo>
                    <a:cubicBezTo>
                      <a:pt x="3014" y="635"/>
                      <a:pt x="3008" y="634"/>
                      <a:pt x="3006" y="634"/>
                    </a:cubicBezTo>
                    <a:cubicBezTo>
                      <a:pt x="3005" y="634"/>
                      <a:pt x="3001" y="632"/>
                      <a:pt x="3000" y="630"/>
                    </a:cubicBezTo>
                    <a:cubicBezTo>
                      <a:pt x="3000" y="628"/>
                      <a:pt x="2997" y="627"/>
                      <a:pt x="2995" y="627"/>
                    </a:cubicBezTo>
                    <a:cubicBezTo>
                      <a:pt x="2993" y="628"/>
                      <a:pt x="2993" y="627"/>
                      <a:pt x="2990" y="625"/>
                    </a:cubicBezTo>
                    <a:cubicBezTo>
                      <a:pt x="2987" y="622"/>
                      <a:pt x="2985" y="626"/>
                      <a:pt x="2984" y="629"/>
                    </a:cubicBezTo>
                    <a:cubicBezTo>
                      <a:pt x="2982" y="632"/>
                      <a:pt x="2981" y="631"/>
                      <a:pt x="2979" y="630"/>
                    </a:cubicBezTo>
                    <a:cubicBezTo>
                      <a:pt x="2977" y="630"/>
                      <a:pt x="2973" y="630"/>
                      <a:pt x="2971" y="631"/>
                    </a:cubicBezTo>
                    <a:cubicBezTo>
                      <a:pt x="2968" y="632"/>
                      <a:pt x="2967" y="631"/>
                      <a:pt x="2963" y="630"/>
                    </a:cubicBezTo>
                    <a:cubicBezTo>
                      <a:pt x="2959" y="628"/>
                      <a:pt x="2957" y="629"/>
                      <a:pt x="2955" y="631"/>
                    </a:cubicBezTo>
                    <a:cubicBezTo>
                      <a:pt x="2953" y="633"/>
                      <a:pt x="2950" y="631"/>
                      <a:pt x="2948" y="633"/>
                    </a:cubicBezTo>
                    <a:cubicBezTo>
                      <a:pt x="2946" y="635"/>
                      <a:pt x="2944" y="636"/>
                      <a:pt x="2942" y="637"/>
                    </a:cubicBezTo>
                    <a:cubicBezTo>
                      <a:pt x="2939" y="638"/>
                      <a:pt x="2934" y="641"/>
                      <a:pt x="2931" y="646"/>
                    </a:cubicBezTo>
                    <a:cubicBezTo>
                      <a:pt x="2927" y="650"/>
                      <a:pt x="2924" y="651"/>
                      <a:pt x="2922" y="650"/>
                    </a:cubicBezTo>
                    <a:cubicBezTo>
                      <a:pt x="2919" y="649"/>
                      <a:pt x="2917" y="646"/>
                      <a:pt x="2912" y="644"/>
                    </a:cubicBezTo>
                    <a:cubicBezTo>
                      <a:pt x="2906" y="642"/>
                      <a:pt x="2904" y="648"/>
                      <a:pt x="2903" y="651"/>
                    </a:cubicBezTo>
                    <a:cubicBezTo>
                      <a:pt x="2902" y="655"/>
                      <a:pt x="2902" y="656"/>
                      <a:pt x="2902" y="661"/>
                    </a:cubicBezTo>
                    <a:cubicBezTo>
                      <a:pt x="2902" y="666"/>
                      <a:pt x="2899" y="665"/>
                      <a:pt x="2895" y="667"/>
                    </a:cubicBezTo>
                    <a:cubicBezTo>
                      <a:pt x="2892" y="669"/>
                      <a:pt x="2882" y="667"/>
                      <a:pt x="2880" y="667"/>
                    </a:cubicBezTo>
                    <a:cubicBezTo>
                      <a:pt x="2878" y="667"/>
                      <a:pt x="2874" y="665"/>
                      <a:pt x="2872" y="666"/>
                    </a:cubicBezTo>
                    <a:cubicBezTo>
                      <a:pt x="2870" y="667"/>
                      <a:pt x="2868" y="668"/>
                      <a:pt x="2862" y="671"/>
                    </a:cubicBezTo>
                    <a:cubicBezTo>
                      <a:pt x="2855" y="673"/>
                      <a:pt x="2853" y="675"/>
                      <a:pt x="2851" y="679"/>
                    </a:cubicBezTo>
                    <a:cubicBezTo>
                      <a:pt x="2849" y="684"/>
                      <a:pt x="2842" y="697"/>
                      <a:pt x="2838" y="702"/>
                    </a:cubicBezTo>
                    <a:cubicBezTo>
                      <a:pt x="2835" y="706"/>
                      <a:pt x="2835" y="709"/>
                      <a:pt x="2835" y="712"/>
                    </a:cubicBezTo>
                    <a:cubicBezTo>
                      <a:pt x="2836" y="716"/>
                      <a:pt x="2837" y="720"/>
                      <a:pt x="2836" y="724"/>
                    </a:cubicBezTo>
                    <a:cubicBezTo>
                      <a:pt x="2835" y="728"/>
                      <a:pt x="2831" y="731"/>
                      <a:pt x="2824" y="732"/>
                    </a:cubicBezTo>
                    <a:cubicBezTo>
                      <a:pt x="2817" y="733"/>
                      <a:pt x="2820" y="734"/>
                      <a:pt x="2814" y="741"/>
                    </a:cubicBezTo>
                    <a:cubicBezTo>
                      <a:pt x="2809" y="747"/>
                      <a:pt x="2799" y="753"/>
                      <a:pt x="2797" y="754"/>
                    </a:cubicBezTo>
                    <a:cubicBezTo>
                      <a:pt x="2794" y="756"/>
                      <a:pt x="2790" y="757"/>
                      <a:pt x="2787" y="759"/>
                    </a:cubicBezTo>
                    <a:cubicBezTo>
                      <a:pt x="2783" y="761"/>
                      <a:pt x="2776" y="761"/>
                      <a:pt x="2772" y="761"/>
                    </a:cubicBezTo>
                    <a:cubicBezTo>
                      <a:pt x="2768" y="761"/>
                      <a:pt x="2763" y="761"/>
                      <a:pt x="2762" y="762"/>
                    </a:cubicBezTo>
                    <a:cubicBezTo>
                      <a:pt x="2760" y="763"/>
                      <a:pt x="2758" y="762"/>
                      <a:pt x="2753" y="761"/>
                    </a:cubicBezTo>
                    <a:cubicBezTo>
                      <a:pt x="2749" y="760"/>
                      <a:pt x="2743" y="757"/>
                      <a:pt x="2739" y="758"/>
                    </a:cubicBezTo>
                    <a:cubicBezTo>
                      <a:pt x="2735" y="760"/>
                      <a:pt x="2731" y="764"/>
                      <a:pt x="2731" y="770"/>
                    </a:cubicBezTo>
                    <a:cubicBezTo>
                      <a:pt x="2730" y="775"/>
                      <a:pt x="2728" y="780"/>
                      <a:pt x="2726" y="782"/>
                    </a:cubicBezTo>
                    <a:cubicBezTo>
                      <a:pt x="2724" y="783"/>
                      <a:pt x="2712" y="795"/>
                      <a:pt x="2709" y="800"/>
                    </a:cubicBezTo>
                    <a:cubicBezTo>
                      <a:pt x="2706" y="804"/>
                      <a:pt x="2699" y="805"/>
                      <a:pt x="2696" y="806"/>
                    </a:cubicBezTo>
                    <a:cubicBezTo>
                      <a:pt x="2693" y="807"/>
                      <a:pt x="2686" y="813"/>
                      <a:pt x="2683" y="818"/>
                    </a:cubicBezTo>
                    <a:cubicBezTo>
                      <a:pt x="2681" y="823"/>
                      <a:pt x="2674" y="822"/>
                      <a:pt x="2671" y="821"/>
                    </a:cubicBezTo>
                    <a:cubicBezTo>
                      <a:pt x="2668" y="820"/>
                      <a:pt x="2668" y="819"/>
                      <a:pt x="2661" y="818"/>
                    </a:cubicBezTo>
                    <a:cubicBezTo>
                      <a:pt x="2654" y="818"/>
                      <a:pt x="2649" y="819"/>
                      <a:pt x="2641" y="819"/>
                    </a:cubicBezTo>
                    <a:cubicBezTo>
                      <a:pt x="2632" y="818"/>
                      <a:pt x="2624" y="816"/>
                      <a:pt x="2620" y="815"/>
                    </a:cubicBezTo>
                    <a:cubicBezTo>
                      <a:pt x="2616" y="813"/>
                      <a:pt x="2602" y="801"/>
                      <a:pt x="2598" y="799"/>
                    </a:cubicBezTo>
                    <a:cubicBezTo>
                      <a:pt x="2594" y="796"/>
                      <a:pt x="2590" y="798"/>
                      <a:pt x="2583" y="798"/>
                    </a:cubicBezTo>
                    <a:cubicBezTo>
                      <a:pt x="2576" y="798"/>
                      <a:pt x="2571" y="797"/>
                      <a:pt x="2569" y="797"/>
                    </a:cubicBezTo>
                    <a:cubicBezTo>
                      <a:pt x="2567" y="798"/>
                      <a:pt x="2560" y="804"/>
                      <a:pt x="2556" y="808"/>
                    </a:cubicBezTo>
                    <a:cubicBezTo>
                      <a:pt x="2551" y="812"/>
                      <a:pt x="2551" y="817"/>
                      <a:pt x="2549" y="826"/>
                    </a:cubicBezTo>
                    <a:cubicBezTo>
                      <a:pt x="2547" y="834"/>
                      <a:pt x="2546" y="840"/>
                      <a:pt x="2546" y="843"/>
                    </a:cubicBezTo>
                    <a:cubicBezTo>
                      <a:pt x="2545" y="847"/>
                      <a:pt x="2542" y="855"/>
                      <a:pt x="2539" y="859"/>
                    </a:cubicBezTo>
                    <a:cubicBezTo>
                      <a:pt x="2537" y="862"/>
                      <a:pt x="2541" y="866"/>
                      <a:pt x="2543" y="869"/>
                    </a:cubicBezTo>
                    <a:cubicBezTo>
                      <a:pt x="2545" y="872"/>
                      <a:pt x="2545" y="873"/>
                      <a:pt x="2545" y="877"/>
                    </a:cubicBezTo>
                    <a:cubicBezTo>
                      <a:pt x="2545" y="882"/>
                      <a:pt x="2548" y="880"/>
                      <a:pt x="2548" y="883"/>
                    </a:cubicBezTo>
                    <a:cubicBezTo>
                      <a:pt x="2549" y="886"/>
                      <a:pt x="2551" y="889"/>
                      <a:pt x="2555" y="892"/>
                    </a:cubicBezTo>
                    <a:cubicBezTo>
                      <a:pt x="2559" y="894"/>
                      <a:pt x="2563" y="898"/>
                      <a:pt x="2567" y="902"/>
                    </a:cubicBezTo>
                    <a:cubicBezTo>
                      <a:pt x="2570" y="906"/>
                      <a:pt x="2572" y="908"/>
                      <a:pt x="2572" y="914"/>
                    </a:cubicBezTo>
                    <a:cubicBezTo>
                      <a:pt x="2572" y="920"/>
                      <a:pt x="2570" y="920"/>
                      <a:pt x="2568" y="922"/>
                    </a:cubicBezTo>
                    <a:cubicBezTo>
                      <a:pt x="2566" y="923"/>
                      <a:pt x="2565" y="923"/>
                      <a:pt x="2563" y="926"/>
                    </a:cubicBezTo>
                    <a:cubicBezTo>
                      <a:pt x="2560" y="930"/>
                      <a:pt x="2559" y="929"/>
                      <a:pt x="2555" y="936"/>
                    </a:cubicBezTo>
                    <a:cubicBezTo>
                      <a:pt x="2552" y="943"/>
                      <a:pt x="2546" y="939"/>
                      <a:pt x="2542" y="940"/>
                    </a:cubicBezTo>
                    <a:cubicBezTo>
                      <a:pt x="2538" y="940"/>
                      <a:pt x="2538" y="942"/>
                      <a:pt x="2534" y="944"/>
                    </a:cubicBezTo>
                    <a:cubicBezTo>
                      <a:pt x="2531" y="947"/>
                      <a:pt x="2526" y="950"/>
                      <a:pt x="2520" y="951"/>
                    </a:cubicBezTo>
                    <a:cubicBezTo>
                      <a:pt x="2513" y="952"/>
                      <a:pt x="2509" y="958"/>
                      <a:pt x="2507" y="961"/>
                    </a:cubicBezTo>
                    <a:cubicBezTo>
                      <a:pt x="2505" y="965"/>
                      <a:pt x="2498" y="968"/>
                      <a:pt x="2494" y="979"/>
                    </a:cubicBezTo>
                    <a:cubicBezTo>
                      <a:pt x="2490" y="990"/>
                      <a:pt x="2479" y="1001"/>
                      <a:pt x="2476" y="1003"/>
                    </a:cubicBezTo>
                    <a:cubicBezTo>
                      <a:pt x="2474" y="1006"/>
                      <a:pt x="2472" y="1008"/>
                      <a:pt x="2470" y="1009"/>
                    </a:cubicBezTo>
                    <a:cubicBezTo>
                      <a:pt x="2467" y="1010"/>
                      <a:pt x="2467" y="1010"/>
                      <a:pt x="2463" y="1014"/>
                    </a:cubicBezTo>
                    <a:cubicBezTo>
                      <a:pt x="2459" y="1018"/>
                      <a:pt x="2451" y="1019"/>
                      <a:pt x="2441" y="1019"/>
                    </a:cubicBezTo>
                    <a:cubicBezTo>
                      <a:pt x="2431" y="1019"/>
                      <a:pt x="2433" y="1022"/>
                      <a:pt x="2426" y="1030"/>
                    </a:cubicBezTo>
                    <a:cubicBezTo>
                      <a:pt x="2419" y="1038"/>
                      <a:pt x="2412" y="1037"/>
                      <a:pt x="2409" y="1039"/>
                    </a:cubicBezTo>
                    <a:cubicBezTo>
                      <a:pt x="2406" y="1040"/>
                      <a:pt x="2398" y="1039"/>
                      <a:pt x="2393" y="1039"/>
                    </a:cubicBezTo>
                    <a:cubicBezTo>
                      <a:pt x="2389" y="1039"/>
                      <a:pt x="2384" y="1036"/>
                      <a:pt x="2381" y="1039"/>
                    </a:cubicBezTo>
                    <a:cubicBezTo>
                      <a:pt x="2378" y="1041"/>
                      <a:pt x="2373" y="1042"/>
                      <a:pt x="2370" y="1041"/>
                    </a:cubicBezTo>
                    <a:cubicBezTo>
                      <a:pt x="2368" y="1040"/>
                      <a:pt x="2360" y="1038"/>
                      <a:pt x="2357" y="1038"/>
                    </a:cubicBezTo>
                    <a:cubicBezTo>
                      <a:pt x="2354" y="1038"/>
                      <a:pt x="2338" y="1037"/>
                      <a:pt x="2334" y="1037"/>
                    </a:cubicBezTo>
                    <a:cubicBezTo>
                      <a:pt x="2331" y="1036"/>
                      <a:pt x="2324" y="1037"/>
                      <a:pt x="2320" y="1041"/>
                    </a:cubicBezTo>
                    <a:cubicBezTo>
                      <a:pt x="2316" y="1045"/>
                      <a:pt x="2308" y="1042"/>
                      <a:pt x="2304" y="1044"/>
                    </a:cubicBezTo>
                    <a:cubicBezTo>
                      <a:pt x="2300" y="1045"/>
                      <a:pt x="2289" y="1043"/>
                      <a:pt x="2287" y="1041"/>
                    </a:cubicBezTo>
                    <a:cubicBezTo>
                      <a:pt x="2285" y="1039"/>
                      <a:pt x="2280" y="1038"/>
                      <a:pt x="2277" y="1039"/>
                    </a:cubicBezTo>
                    <a:cubicBezTo>
                      <a:pt x="2274" y="1039"/>
                      <a:pt x="2270" y="1043"/>
                      <a:pt x="2267" y="1046"/>
                    </a:cubicBezTo>
                    <a:cubicBezTo>
                      <a:pt x="2265" y="1050"/>
                      <a:pt x="2257" y="1049"/>
                      <a:pt x="2252" y="1049"/>
                    </a:cubicBezTo>
                    <a:cubicBezTo>
                      <a:pt x="2246" y="1050"/>
                      <a:pt x="2222" y="1058"/>
                      <a:pt x="2222" y="1058"/>
                    </a:cubicBezTo>
                    <a:cubicBezTo>
                      <a:pt x="2222" y="1058"/>
                      <a:pt x="2179" y="1076"/>
                      <a:pt x="2170" y="1080"/>
                    </a:cubicBezTo>
                    <a:cubicBezTo>
                      <a:pt x="2161" y="1085"/>
                      <a:pt x="2137" y="1097"/>
                      <a:pt x="2130" y="1101"/>
                    </a:cubicBezTo>
                    <a:cubicBezTo>
                      <a:pt x="2123" y="1105"/>
                      <a:pt x="2119" y="1106"/>
                      <a:pt x="2117" y="1106"/>
                    </a:cubicBezTo>
                    <a:cubicBezTo>
                      <a:pt x="2115" y="1105"/>
                      <a:pt x="2090" y="1106"/>
                      <a:pt x="2090" y="1106"/>
                    </a:cubicBezTo>
                    <a:cubicBezTo>
                      <a:pt x="2090" y="1088"/>
                      <a:pt x="2090" y="1088"/>
                      <a:pt x="2090" y="1088"/>
                    </a:cubicBezTo>
                    <a:cubicBezTo>
                      <a:pt x="2090" y="1088"/>
                      <a:pt x="2069" y="1090"/>
                      <a:pt x="2063" y="1090"/>
                    </a:cubicBezTo>
                    <a:cubicBezTo>
                      <a:pt x="2057" y="1090"/>
                      <a:pt x="2046" y="1092"/>
                      <a:pt x="2034" y="1089"/>
                    </a:cubicBezTo>
                    <a:cubicBezTo>
                      <a:pt x="2023" y="1087"/>
                      <a:pt x="1989" y="1062"/>
                      <a:pt x="1979" y="1057"/>
                    </a:cubicBezTo>
                    <a:cubicBezTo>
                      <a:pt x="1970" y="1052"/>
                      <a:pt x="1959" y="1051"/>
                      <a:pt x="1945" y="1050"/>
                    </a:cubicBezTo>
                    <a:cubicBezTo>
                      <a:pt x="1931" y="1049"/>
                      <a:pt x="1927" y="1036"/>
                      <a:pt x="1924" y="1026"/>
                    </a:cubicBezTo>
                    <a:cubicBezTo>
                      <a:pt x="1922" y="1016"/>
                      <a:pt x="1912" y="1016"/>
                      <a:pt x="1912" y="1016"/>
                    </a:cubicBezTo>
                    <a:cubicBezTo>
                      <a:pt x="1912" y="1016"/>
                      <a:pt x="1878" y="1006"/>
                      <a:pt x="1872" y="1003"/>
                    </a:cubicBezTo>
                    <a:cubicBezTo>
                      <a:pt x="1866" y="1001"/>
                      <a:pt x="1856" y="996"/>
                      <a:pt x="1852" y="996"/>
                    </a:cubicBezTo>
                    <a:cubicBezTo>
                      <a:pt x="1848" y="996"/>
                      <a:pt x="1836" y="994"/>
                      <a:pt x="1831" y="993"/>
                    </a:cubicBezTo>
                    <a:cubicBezTo>
                      <a:pt x="1826" y="992"/>
                      <a:pt x="1820" y="993"/>
                      <a:pt x="1817" y="996"/>
                    </a:cubicBezTo>
                    <a:cubicBezTo>
                      <a:pt x="1815" y="998"/>
                      <a:pt x="1814" y="996"/>
                      <a:pt x="1811" y="996"/>
                    </a:cubicBezTo>
                    <a:cubicBezTo>
                      <a:pt x="1808" y="996"/>
                      <a:pt x="1803" y="994"/>
                      <a:pt x="1798" y="994"/>
                    </a:cubicBezTo>
                    <a:cubicBezTo>
                      <a:pt x="1792" y="995"/>
                      <a:pt x="1760" y="996"/>
                      <a:pt x="1755" y="995"/>
                    </a:cubicBezTo>
                    <a:cubicBezTo>
                      <a:pt x="1750" y="995"/>
                      <a:pt x="1743" y="993"/>
                      <a:pt x="1737" y="992"/>
                    </a:cubicBezTo>
                    <a:cubicBezTo>
                      <a:pt x="1732" y="990"/>
                      <a:pt x="1713" y="987"/>
                      <a:pt x="1705" y="985"/>
                    </a:cubicBezTo>
                    <a:cubicBezTo>
                      <a:pt x="1696" y="983"/>
                      <a:pt x="1636" y="965"/>
                      <a:pt x="1629" y="962"/>
                    </a:cubicBezTo>
                    <a:cubicBezTo>
                      <a:pt x="1622" y="959"/>
                      <a:pt x="1623" y="961"/>
                      <a:pt x="1615" y="961"/>
                    </a:cubicBezTo>
                    <a:cubicBezTo>
                      <a:pt x="1607" y="961"/>
                      <a:pt x="1585" y="957"/>
                      <a:pt x="1579" y="958"/>
                    </a:cubicBezTo>
                    <a:cubicBezTo>
                      <a:pt x="1573" y="959"/>
                      <a:pt x="1564" y="953"/>
                      <a:pt x="1564" y="948"/>
                    </a:cubicBezTo>
                    <a:cubicBezTo>
                      <a:pt x="1564" y="943"/>
                      <a:pt x="1562" y="938"/>
                      <a:pt x="1561" y="934"/>
                    </a:cubicBezTo>
                    <a:cubicBezTo>
                      <a:pt x="1559" y="930"/>
                      <a:pt x="1545" y="911"/>
                      <a:pt x="1543" y="909"/>
                    </a:cubicBezTo>
                    <a:cubicBezTo>
                      <a:pt x="1540" y="907"/>
                      <a:pt x="1541" y="898"/>
                      <a:pt x="1541" y="893"/>
                    </a:cubicBezTo>
                    <a:cubicBezTo>
                      <a:pt x="1541" y="888"/>
                      <a:pt x="1538" y="878"/>
                      <a:pt x="1536" y="874"/>
                    </a:cubicBezTo>
                    <a:cubicBezTo>
                      <a:pt x="1534" y="870"/>
                      <a:pt x="1533" y="851"/>
                      <a:pt x="1531" y="844"/>
                    </a:cubicBezTo>
                    <a:cubicBezTo>
                      <a:pt x="1530" y="837"/>
                      <a:pt x="1529" y="836"/>
                      <a:pt x="1526" y="836"/>
                    </a:cubicBezTo>
                    <a:cubicBezTo>
                      <a:pt x="1524" y="835"/>
                      <a:pt x="1520" y="835"/>
                      <a:pt x="1517" y="833"/>
                    </a:cubicBezTo>
                    <a:cubicBezTo>
                      <a:pt x="1515" y="831"/>
                      <a:pt x="1517" y="828"/>
                      <a:pt x="1518" y="823"/>
                    </a:cubicBezTo>
                    <a:cubicBezTo>
                      <a:pt x="1520" y="818"/>
                      <a:pt x="1521" y="813"/>
                      <a:pt x="1523" y="812"/>
                    </a:cubicBezTo>
                    <a:cubicBezTo>
                      <a:pt x="1525" y="810"/>
                      <a:pt x="1521" y="808"/>
                      <a:pt x="1521" y="808"/>
                    </a:cubicBezTo>
                    <a:cubicBezTo>
                      <a:pt x="1521" y="808"/>
                      <a:pt x="1507" y="808"/>
                      <a:pt x="1502" y="808"/>
                    </a:cubicBezTo>
                    <a:cubicBezTo>
                      <a:pt x="1497" y="808"/>
                      <a:pt x="1497" y="808"/>
                      <a:pt x="1493" y="805"/>
                    </a:cubicBezTo>
                    <a:cubicBezTo>
                      <a:pt x="1489" y="803"/>
                      <a:pt x="1479" y="792"/>
                      <a:pt x="1476" y="788"/>
                    </a:cubicBezTo>
                    <a:cubicBezTo>
                      <a:pt x="1473" y="784"/>
                      <a:pt x="1463" y="780"/>
                      <a:pt x="1462" y="777"/>
                    </a:cubicBezTo>
                    <a:cubicBezTo>
                      <a:pt x="1461" y="774"/>
                      <a:pt x="1453" y="763"/>
                      <a:pt x="1451" y="760"/>
                    </a:cubicBezTo>
                    <a:cubicBezTo>
                      <a:pt x="1448" y="757"/>
                      <a:pt x="1433" y="747"/>
                      <a:pt x="1430" y="744"/>
                    </a:cubicBezTo>
                    <a:cubicBezTo>
                      <a:pt x="1428" y="741"/>
                      <a:pt x="1414" y="730"/>
                      <a:pt x="1413" y="728"/>
                    </a:cubicBezTo>
                    <a:cubicBezTo>
                      <a:pt x="1412" y="726"/>
                      <a:pt x="1405" y="724"/>
                      <a:pt x="1402" y="724"/>
                    </a:cubicBezTo>
                    <a:cubicBezTo>
                      <a:pt x="1400" y="724"/>
                      <a:pt x="1397" y="724"/>
                      <a:pt x="1396" y="722"/>
                    </a:cubicBezTo>
                    <a:cubicBezTo>
                      <a:pt x="1395" y="719"/>
                      <a:pt x="1388" y="718"/>
                      <a:pt x="1385" y="718"/>
                    </a:cubicBezTo>
                    <a:cubicBezTo>
                      <a:pt x="1382" y="718"/>
                      <a:pt x="1376" y="716"/>
                      <a:pt x="1374" y="714"/>
                    </a:cubicBezTo>
                    <a:cubicBezTo>
                      <a:pt x="1372" y="713"/>
                      <a:pt x="1364" y="710"/>
                      <a:pt x="1362" y="712"/>
                    </a:cubicBezTo>
                    <a:cubicBezTo>
                      <a:pt x="1359" y="714"/>
                      <a:pt x="1354" y="713"/>
                      <a:pt x="1351" y="712"/>
                    </a:cubicBezTo>
                    <a:cubicBezTo>
                      <a:pt x="1348" y="712"/>
                      <a:pt x="1345" y="710"/>
                      <a:pt x="1340" y="711"/>
                    </a:cubicBezTo>
                    <a:cubicBezTo>
                      <a:pt x="1336" y="711"/>
                      <a:pt x="1334" y="709"/>
                      <a:pt x="1329" y="706"/>
                    </a:cubicBezTo>
                    <a:cubicBezTo>
                      <a:pt x="1324" y="703"/>
                      <a:pt x="1310" y="702"/>
                      <a:pt x="1306" y="703"/>
                    </a:cubicBezTo>
                    <a:cubicBezTo>
                      <a:pt x="1301" y="703"/>
                      <a:pt x="1295" y="700"/>
                      <a:pt x="1294" y="696"/>
                    </a:cubicBezTo>
                    <a:cubicBezTo>
                      <a:pt x="1293" y="693"/>
                      <a:pt x="1288" y="692"/>
                      <a:pt x="1286" y="691"/>
                    </a:cubicBezTo>
                    <a:cubicBezTo>
                      <a:pt x="1283" y="691"/>
                      <a:pt x="1278" y="690"/>
                      <a:pt x="1275" y="690"/>
                    </a:cubicBezTo>
                    <a:cubicBezTo>
                      <a:pt x="1273" y="689"/>
                      <a:pt x="1270" y="685"/>
                      <a:pt x="1268" y="682"/>
                    </a:cubicBezTo>
                    <a:cubicBezTo>
                      <a:pt x="1266" y="679"/>
                      <a:pt x="1261" y="682"/>
                      <a:pt x="1257" y="683"/>
                    </a:cubicBezTo>
                    <a:cubicBezTo>
                      <a:pt x="1254" y="684"/>
                      <a:pt x="1253" y="679"/>
                      <a:pt x="1253" y="671"/>
                    </a:cubicBezTo>
                    <a:cubicBezTo>
                      <a:pt x="1253" y="663"/>
                      <a:pt x="1249" y="657"/>
                      <a:pt x="1248" y="655"/>
                    </a:cubicBezTo>
                    <a:cubicBezTo>
                      <a:pt x="1247" y="654"/>
                      <a:pt x="1246" y="649"/>
                      <a:pt x="1247" y="647"/>
                    </a:cubicBezTo>
                    <a:cubicBezTo>
                      <a:pt x="1248" y="645"/>
                      <a:pt x="1250" y="640"/>
                      <a:pt x="1254" y="633"/>
                    </a:cubicBezTo>
                    <a:cubicBezTo>
                      <a:pt x="1257" y="626"/>
                      <a:pt x="1265" y="620"/>
                      <a:pt x="1267" y="617"/>
                    </a:cubicBezTo>
                    <a:cubicBezTo>
                      <a:pt x="1270" y="614"/>
                      <a:pt x="1275" y="612"/>
                      <a:pt x="1276" y="609"/>
                    </a:cubicBezTo>
                    <a:cubicBezTo>
                      <a:pt x="1278" y="605"/>
                      <a:pt x="1276" y="593"/>
                      <a:pt x="1276" y="589"/>
                    </a:cubicBezTo>
                    <a:cubicBezTo>
                      <a:pt x="1276" y="585"/>
                      <a:pt x="1276" y="584"/>
                      <a:pt x="1276" y="583"/>
                    </a:cubicBezTo>
                    <a:cubicBezTo>
                      <a:pt x="1277" y="582"/>
                      <a:pt x="1282" y="575"/>
                      <a:pt x="1285" y="571"/>
                    </a:cubicBezTo>
                    <a:cubicBezTo>
                      <a:pt x="1289" y="567"/>
                      <a:pt x="1290" y="562"/>
                      <a:pt x="1288" y="561"/>
                    </a:cubicBezTo>
                    <a:cubicBezTo>
                      <a:pt x="1287" y="559"/>
                      <a:pt x="1288" y="558"/>
                      <a:pt x="1291" y="553"/>
                    </a:cubicBezTo>
                    <a:cubicBezTo>
                      <a:pt x="1293" y="549"/>
                      <a:pt x="1288" y="545"/>
                      <a:pt x="1287" y="543"/>
                    </a:cubicBezTo>
                    <a:cubicBezTo>
                      <a:pt x="1286" y="542"/>
                      <a:pt x="1285" y="540"/>
                      <a:pt x="1286" y="535"/>
                    </a:cubicBezTo>
                    <a:cubicBezTo>
                      <a:pt x="1287" y="530"/>
                      <a:pt x="1284" y="525"/>
                      <a:pt x="1281" y="521"/>
                    </a:cubicBezTo>
                    <a:cubicBezTo>
                      <a:pt x="1278" y="518"/>
                      <a:pt x="1274" y="514"/>
                      <a:pt x="1274" y="510"/>
                    </a:cubicBezTo>
                    <a:cubicBezTo>
                      <a:pt x="1273" y="505"/>
                      <a:pt x="1271" y="502"/>
                      <a:pt x="1269" y="499"/>
                    </a:cubicBezTo>
                    <a:cubicBezTo>
                      <a:pt x="1268" y="496"/>
                      <a:pt x="1269" y="490"/>
                      <a:pt x="1270" y="483"/>
                    </a:cubicBezTo>
                    <a:cubicBezTo>
                      <a:pt x="1271" y="476"/>
                      <a:pt x="1268" y="472"/>
                      <a:pt x="1267" y="470"/>
                    </a:cubicBezTo>
                    <a:cubicBezTo>
                      <a:pt x="1265" y="468"/>
                      <a:pt x="1265" y="464"/>
                      <a:pt x="1266" y="461"/>
                    </a:cubicBezTo>
                    <a:cubicBezTo>
                      <a:pt x="1266" y="457"/>
                      <a:pt x="1262" y="454"/>
                      <a:pt x="1259" y="452"/>
                    </a:cubicBezTo>
                    <a:cubicBezTo>
                      <a:pt x="1256" y="451"/>
                      <a:pt x="1252" y="448"/>
                      <a:pt x="1251" y="447"/>
                    </a:cubicBezTo>
                    <a:cubicBezTo>
                      <a:pt x="1249" y="446"/>
                      <a:pt x="1251" y="440"/>
                      <a:pt x="1251" y="436"/>
                    </a:cubicBezTo>
                    <a:cubicBezTo>
                      <a:pt x="1251" y="432"/>
                      <a:pt x="1244" y="433"/>
                      <a:pt x="1244" y="435"/>
                    </a:cubicBezTo>
                    <a:cubicBezTo>
                      <a:pt x="1243" y="437"/>
                      <a:pt x="1242" y="438"/>
                      <a:pt x="1240" y="438"/>
                    </a:cubicBezTo>
                    <a:cubicBezTo>
                      <a:pt x="1238" y="439"/>
                      <a:pt x="1236" y="437"/>
                      <a:pt x="1234" y="435"/>
                    </a:cubicBezTo>
                    <a:cubicBezTo>
                      <a:pt x="1233" y="434"/>
                      <a:pt x="1230" y="432"/>
                      <a:pt x="1230" y="431"/>
                    </a:cubicBezTo>
                    <a:cubicBezTo>
                      <a:pt x="1230" y="430"/>
                      <a:pt x="1230" y="429"/>
                      <a:pt x="1229" y="428"/>
                    </a:cubicBezTo>
                    <a:cubicBezTo>
                      <a:pt x="1228" y="428"/>
                      <a:pt x="1226" y="422"/>
                      <a:pt x="1226" y="420"/>
                    </a:cubicBezTo>
                    <a:cubicBezTo>
                      <a:pt x="1226" y="417"/>
                      <a:pt x="1222" y="416"/>
                      <a:pt x="1221" y="417"/>
                    </a:cubicBezTo>
                    <a:cubicBezTo>
                      <a:pt x="1219" y="417"/>
                      <a:pt x="1218" y="417"/>
                      <a:pt x="1217" y="416"/>
                    </a:cubicBezTo>
                    <a:cubicBezTo>
                      <a:pt x="1215" y="415"/>
                      <a:pt x="1211" y="414"/>
                      <a:pt x="1210" y="415"/>
                    </a:cubicBezTo>
                    <a:cubicBezTo>
                      <a:pt x="1209" y="415"/>
                      <a:pt x="1208" y="418"/>
                      <a:pt x="1205" y="417"/>
                    </a:cubicBezTo>
                    <a:cubicBezTo>
                      <a:pt x="1201" y="416"/>
                      <a:pt x="1198" y="415"/>
                      <a:pt x="1195" y="414"/>
                    </a:cubicBezTo>
                    <a:cubicBezTo>
                      <a:pt x="1193" y="413"/>
                      <a:pt x="1194" y="410"/>
                      <a:pt x="1193" y="408"/>
                    </a:cubicBezTo>
                    <a:cubicBezTo>
                      <a:pt x="1192" y="406"/>
                      <a:pt x="1184" y="404"/>
                      <a:pt x="1183" y="403"/>
                    </a:cubicBezTo>
                    <a:cubicBezTo>
                      <a:pt x="1182" y="402"/>
                      <a:pt x="1180" y="397"/>
                      <a:pt x="1179" y="395"/>
                    </a:cubicBezTo>
                    <a:cubicBezTo>
                      <a:pt x="1177" y="394"/>
                      <a:pt x="1172" y="389"/>
                      <a:pt x="1170" y="388"/>
                    </a:cubicBezTo>
                    <a:cubicBezTo>
                      <a:pt x="1169" y="386"/>
                      <a:pt x="1170" y="383"/>
                      <a:pt x="1170" y="383"/>
                    </a:cubicBezTo>
                    <a:cubicBezTo>
                      <a:pt x="1170" y="383"/>
                      <a:pt x="1170" y="376"/>
                      <a:pt x="1170" y="375"/>
                    </a:cubicBezTo>
                    <a:cubicBezTo>
                      <a:pt x="1170" y="373"/>
                      <a:pt x="1168" y="367"/>
                      <a:pt x="1167" y="370"/>
                    </a:cubicBezTo>
                    <a:cubicBezTo>
                      <a:pt x="1165" y="373"/>
                      <a:pt x="1162" y="375"/>
                      <a:pt x="1161" y="369"/>
                    </a:cubicBezTo>
                    <a:cubicBezTo>
                      <a:pt x="1160" y="364"/>
                      <a:pt x="1160" y="360"/>
                      <a:pt x="1155" y="358"/>
                    </a:cubicBezTo>
                    <a:cubicBezTo>
                      <a:pt x="1150" y="357"/>
                      <a:pt x="1149" y="354"/>
                      <a:pt x="1146" y="352"/>
                    </a:cubicBezTo>
                    <a:cubicBezTo>
                      <a:pt x="1144" y="352"/>
                      <a:pt x="1143" y="351"/>
                      <a:pt x="1143" y="351"/>
                    </a:cubicBezTo>
                    <a:cubicBezTo>
                      <a:pt x="1143" y="351"/>
                      <a:pt x="1144" y="350"/>
                      <a:pt x="1143" y="350"/>
                    </a:cubicBezTo>
                    <a:cubicBezTo>
                      <a:pt x="1141" y="347"/>
                      <a:pt x="1143" y="346"/>
                      <a:pt x="1144" y="343"/>
                    </a:cubicBezTo>
                    <a:cubicBezTo>
                      <a:pt x="1146" y="339"/>
                      <a:pt x="1146" y="336"/>
                      <a:pt x="1144" y="334"/>
                    </a:cubicBezTo>
                    <a:cubicBezTo>
                      <a:pt x="1143" y="333"/>
                      <a:pt x="1142" y="332"/>
                      <a:pt x="1142" y="331"/>
                    </a:cubicBezTo>
                    <a:cubicBezTo>
                      <a:pt x="1141" y="330"/>
                      <a:pt x="1141" y="330"/>
                      <a:pt x="1141" y="329"/>
                    </a:cubicBezTo>
                    <a:cubicBezTo>
                      <a:pt x="1140" y="324"/>
                      <a:pt x="1131" y="318"/>
                      <a:pt x="1131" y="314"/>
                    </a:cubicBezTo>
                    <a:cubicBezTo>
                      <a:pt x="1131" y="312"/>
                      <a:pt x="1132" y="310"/>
                      <a:pt x="1132" y="309"/>
                    </a:cubicBezTo>
                    <a:cubicBezTo>
                      <a:pt x="1135" y="307"/>
                      <a:pt x="1138" y="303"/>
                      <a:pt x="1138" y="300"/>
                    </a:cubicBezTo>
                    <a:cubicBezTo>
                      <a:pt x="1138" y="299"/>
                      <a:pt x="1138" y="299"/>
                      <a:pt x="1138" y="298"/>
                    </a:cubicBezTo>
                    <a:cubicBezTo>
                      <a:pt x="1138" y="297"/>
                      <a:pt x="1139" y="297"/>
                      <a:pt x="1139" y="296"/>
                    </a:cubicBezTo>
                    <a:cubicBezTo>
                      <a:pt x="1139" y="296"/>
                      <a:pt x="1139" y="295"/>
                      <a:pt x="1139" y="295"/>
                    </a:cubicBezTo>
                    <a:cubicBezTo>
                      <a:pt x="1141" y="293"/>
                      <a:pt x="1140" y="290"/>
                      <a:pt x="1137" y="288"/>
                    </a:cubicBezTo>
                    <a:cubicBezTo>
                      <a:pt x="1135" y="286"/>
                      <a:pt x="1130" y="287"/>
                      <a:pt x="1128" y="287"/>
                    </a:cubicBezTo>
                    <a:cubicBezTo>
                      <a:pt x="1126" y="287"/>
                      <a:pt x="1123" y="287"/>
                      <a:pt x="1121" y="288"/>
                    </a:cubicBezTo>
                    <a:cubicBezTo>
                      <a:pt x="1117" y="288"/>
                      <a:pt x="1114" y="288"/>
                      <a:pt x="1111" y="288"/>
                    </a:cubicBezTo>
                    <a:cubicBezTo>
                      <a:pt x="1110" y="287"/>
                      <a:pt x="1108" y="286"/>
                      <a:pt x="1107" y="285"/>
                    </a:cubicBezTo>
                    <a:cubicBezTo>
                      <a:pt x="1103" y="283"/>
                      <a:pt x="1097" y="278"/>
                      <a:pt x="1091" y="278"/>
                    </a:cubicBezTo>
                    <a:cubicBezTo>
                      <a:pt x="1090" y="278"/>
                      <a:pt x="1090" y="278"/>
                      <a:pt x="1090" y="278"/>
                    </a:cubicBezTo>
                    <a:cubicBezTo>
                      <a:pt x="1083" y="277"/>
                      <a:pt x="1076" y="279"/>
                      <a:pt x="1072" y="287"/>
                    </a:cubicBezTo>
                    <a:cubicBezTo>
                      <a:pt x="1072" y="287"/>
                      <a:pt x="1072" y="287"/>
                      <a:pt x="1072" y="287"/>
                    </a:cubicBezTo>
                    <a:cubicBezTo>
                      <a:pt x="1070" y="286"/>
                      <a:pt x="1067" y="287"/>
                      <a:pt x="1068" y="291"/>
                    </a:cubicBezTo>
                    <a:cubicBezTo>
                      <a:pt x="1068" y="294"/>
                      <a:pt x="1069" y="295"/>
                      <a:pt x="1070" y="296"/>
                    </a:cubicBezTo>
                    <a:cubicBezTo>
                      <a:pt x="1069" y="303"/>
                      <a:pt x="1067" y="310"/>
                      <a:pt x="1065" y="316"/>
                    </a:cubicBezTo>
                    <a:cubicBezTo>
                      <a:pt x="1064" y="318"/>
                      <a:pt x="1062" y="319"/>
                      <a:pt x="1059" y="322"/>
                    </a:cubicBezTo>
                    <a:cubicBezTo>
                      <a:pt x="1053" y="327"/>
                      <a:pt x="1049" y="329"/>
                      <a:pt x="1044" y="329"/>
                    </a:cubicBezTo>
                    <a:cubicBezTo>
                      <a:pt x="1039" y="330"/>
                      <a:pt x="1033" y="332"/>
                      <a:pt x="1024" y="329"/>
                    </a:cubicBezTo>
                    <a:cubicBezTo>
                      <a:pt x="1016" y="326"/>
                      <a:pt x="1015" y="326"/>
                      <a:pt x="1012" y="326"/>
                    </a:cubicBezTo>
                    <a:cubicBezTo>
                      <a:pt x="1009" y="326"/>
                      <a:pt x="1002" y="325"/>
                      <a:pt x="999" y="328"/>
                    </a:cubicBezTo>
                    <a:cubicBezTo>
                      <a:pt x="996" y="332"/>
                      <a:pt x="988" y="348"/>
                      <a:pt x="985" y="352"/>
                    </a:cubicBezTo>
                    <a:cubicBezTo>
                      <a:pt x="982" y="356"/>
                      <a:pt x="982" y="358"/>
                      <a:pt x="984" y="361"/>
                    </a:cubicBezTo>
                    <a:cubicBezTo>
                      <a:pt x="985" y="364"/>
                      <a:pt x="985" y="371"/>
                      <a:pt x="984" y="375"/>
                    </a:cubicBezTo>
                    <a:cubicBezTo>
                      <a:pt x="982" y="378"/>
                      <a:pt x="981" y="385"/>
                      <a:pt x="979" y="392"/>
                    </a:cubicBezTo>
                    <a:cubicBezTo>
                      <a:pt x="977" y="399"/>
                      <a:pt x="977" y="400"/>
                      <a:pt x="977" y="407"/>
                    </a:cubicBezTo>
                    <a:cubicBezTo>
                      <a:pt x="977" y="409"/>
                      <a:pt x="977" y="411"/>
                      <a:pt x="977" y="413"/>
                    </a:cubicBezTo>
                    <a:cubicBezTo>
                      <a:pt x="977" y="413"/>
                      <a:pt x="977" y="413"/>
                      <a:pt x="977" y="413"/>
                    </a:cubicBezTo>
                    <a:cubicBezTo>
                      <a:pt x="976" y="418"/>
                      <a:pt x="975" y="423"/>
                      <a:pt x="974" y="427"/>
                    </a:cubicBezTo>
                    <a:cubicBezTo>
                      <a:pt x="972" y="432"/>
                      <a:pt x="971" y="440"/>
                      <a:pt x="960" y="440"/>
                    </a:cubicBezTo>
                    <a:cubicBezTo>
                      <a:pt x="954" y="440"/>
                      <a:pt x="946" y="441"/>
                      <a:pt x="939" y="442"/>
                    </a:cubicBezTo>
                    <a:cubicBezTo>
                      <a:pt x="936" y="443"/>
                      <a:pt x="926" y="448"/>
                      <a:pt x="925" y="445"/>
                    </a:cubicBezTo>
                    <a:cubicBezTo>
                      <a:pt x="921" y="438"/>
                      <a:pt x="917" y="434"/>
                      <a:pt x="902" y="432"/>
                    </a:cubicBezTo>
                    <a:cubicBezTo>
                      <a:pt x="899" y="432"/>
                      <a:pt x="900" y="431"/>
                      <a:pt x="899" y="430"/>
                    </a:cubicBezTo>
                    <a:cubicBezTo>
                      <a:pt x="898" y="429"/>
                      <a:pt x="891" y="427"/>
                      <a:pt x="886" y="428"/>
                    </a:cubicBezTo>
                    <a:cubicBezTo>
                      <a:pt x="882" y="428"/>
                      <a:pt x="875" y="428"/>
                      <a:pt x="872" y="425"/>
                    </a:cubicBezTo>
                    <a:cubicBezTo>
                      <a:pt x="869" y="422"/>
                      <a:pt x="867" y="423"/>
                      <a:pt x="865" y="423"/>
                    </a:cubicBezTo>
                    <a:cubicBezTo>
                      <a:pt x="862" y="422"/>
                      <a:pt x="855" y="417"/>
                      <a:pt x="852" y="415"/>
                    </a:cubicBezTo>
                    <a:cubicBezTo>
                      <a:pt x="848" y="412"/>
                      <a:pt x="842" y="404"/>
                      <a:pt x="839" y="401"/>
                    </a:cubicBezTo>
                    <a:cubicBezTo>
                      <a:pt x="835" y="398"/>
                      <a:pt x="828" y="393"/>
                      <a:pt x="826" y="391"/>
                    </a:cubicBezTo>
                    <a:cubicBezTo>
                      <a:pt x="824" y="389"/>
                      <a:pt x="820" y="388"/>
                      <a:pt x="820" y="388"/>
                    </a:cubicBezTo>
                    <a:cubicBezTo>
                      <a:pt x="820" y="388"/>
                      <a:pt x="813" y="400"/>
                      <a:pt x="810" y="403"/>
                    </a:cubicBezTo>
                    <a:cubicBezTo>
                      <a:pt x="807" y="406"/>
                      <a:pt x="803" y="411"/>
                      <a:pt x="801" y="412"/>
                    </a:cubicBezTo>
                    <a:cubicBezTo>
                      <a:pt x="799" y="412"/>
                      <a:pt x="798" y="417"/>
                      <a:pt x="798" y="419"/>
                    </a:cubicBezTo>
                    <a:cubicBezTo>
                      <a:pt x="797" y="420"/>
                      <a:pt x="796" y="421"/>
                      <a:pt x="793" y="424"/>
                    </a:cubicBezTo>
                    <a:cubicBezTo>
                      <a:pt x="790" y="427"/>
                      <a:pt x="789" y="429"/>
                      <a:pt x="788" y="431"/>
                    </a:cubicBezTo>
                    <a:cubicBezTo>
                      <a:pt x="787" y="433"/>
                      <a:pt x="785" y="442"/>
                      <a:pt x="783" y="446"/>
                    </a:cubicBezTo>
                    <a:cubicBezTo>
                      <a:pt x="780" y="450"/>
                      <a:pt x="772" y="461"/>
                      <a:pt x="769" y="463"/>
                    </a:cubicBezTo>
                    <a:cubicBezTo>
                      <a:pt x="766" y="466"/>
                      <a:pt x="762" y="471"/>
                      <a:pt x="759" y="476"/>
                    </a:cubicBezTo>
                    <a:cubicBezTo>
                      <a:pt x="756" y="481"/>
                      <a:pt x="754" y="485"/>
                      <a:pt x="751" y="487"/>
                    </a:cubicBezTo>
                    <a:cubicBezTo>
                      <a:pt x="749" y="489"/>
                      <a:pt x="747" y="492"/>
                      <a:pt x="747" y="495"/>
                    </a:cubicBezTo>
                    <a:cubicBezTo>
                      <a:pt x="747" y="499"/>
                      <a:pt x="745" y="500"/>
                      <a:pt x="744" y="502"/>
                    </a:cubicBezTo>
                    <a:cubicBezTo>
                      <a:pt x="742" y="504"/>
                      <a:pt x="735" y="513"/>
                      <a:pt x="735" y="517"/>
                    </a:cubicBezTo>
                    <a:cubicBezTo>
                      <a:pt x="735" y="520"/>
                      <a:pt x="737" y="526"/>
                      <a:pt x="740" y="529"/>
                    </a:cubicBezTo>
                    <a:cubicBezTo>
                      <a:pt x="743" y="532"/>
                      <a:pt x="745" y="541"/>
                      <a:pt x="744" y="546"/>
                    </a:cubicBezTo>
                    <a:cubicBezTo>
                      <a:pt x="744" y="551"/>
                      <a:pt x="740" y="548"/>
                      <a:pt x="739" y="549"/>
                    </a:cubicBezTo>
                    <a:cubicBezTo>
                      <a:pt x="737" y="550"/>
                      <a:pt x="733" y="547"/>
                      <a:pt x="727" y="546"/>
                    </a:cubicBezTo>
                    <a:cubicBezTo>
                      <a:pt x="720" y="545"/>
                      <a:pt x="714" y="544"/>
                      <a:pt x="712" y="540"/>
                    </a:cubicBezTo>
                    <a:cubicBezTo>
                      <a:pt x="710" y="537"/>
                      <a:pt x="705" y="529"/>
                      <a:pt x="701" y="528"/>
                    </a:cubicBezTo>
                    <a:cubicBezTo>
                      <a:pt x="697" y="527"/>
                      <a:pt x="688" y="524"/>
                      <a:pt x="683" y="528"/>
                    </a:cubicBezTo>
                    <a:cubicBezTo>
                      <a:pt x="678" y="532"/>
                      <a:pt x="674" y="531"/>
                      <a:pt x="671" y="530"/>
                    </a:cubicBezTo>
                    <a:cubicBezTo>
                      <a:pt x="668" y="529"/>
                      <a:pt x="657" y="527"/>
                      <a:pt x="652" y="530"/>
                    </a:cubicBezTo>
                    <a:cubicBezTo>
                      <a:pt x="648" y="533"/>
                      <a:pt x="644" y="532"/>
                      <a:pt x="642" y="531"/>
                    </a:cubicBezTo>
                    <a:cubicBezTo>
                      <a:pt x="641" y="530"/>
                      <a:pt x="636" y="528"/>
                      <a:pt x="635" y="527"/>
                    </a:cubicBezTo>
                    <a:cubicBezTo>
                      <a:pt x="634" y="525"/>
                      <a:pt x="631" y="525"/>
                      <a:pt x="629" y="528"/>
                    </a:cubicBezTo>
                    <a:cubicBezTo>
                      <a:pt x="626" y="531"/>
                      <a:pt x="624" y="530"/>
                      <a:pt x="622" y="529"/>
                    </a:cubicBezTo>
                    <a:cubicBezTo>
                      <a:pt x="621" y="529"/>
                      <a:pt x="620" y="524"/>
                      <a:pt x="616" y="525"/>
                    </a:cubicBezTo>
                    <a:cubicBezTo>
                      <a:pt x="613" y="525"/>
                      <a:pt x="612" y="528"/>
                      <a:pt x="609" y="527"/>
                    </a:cubicBezTo>
                    <a:cubicBezTo>
                      <a:pt x="606" y="527"/>
                      <a:pt x="599" y="525"/>
                      <a:pt x="594" y="527"/>
                    </a:cubicBezTo>
                    <a:cubicBezTo>
                      <a:pt x="589" y="528"/>
                      <a:pt x="587" y="528"/>
                      <a:pt x="584" y="528"/>
                    </a:cubicBezTo>
                    <a:cubicBezTo>
                      <a:pt x="580" y="527"/>
                      <a:pt x="578" y="529"/>
                      <a:pt x="576" y="530"/>
                    </a:cubicBezTo>
                    <a:cubicBezTo>
                      <a:pt x="573" y="531"/>
                      <a:pt x="571" y="535"/>
                      <a:pt x="574" y="536"/>
                    </a:cubicBezTo>
                    <a:cubicBezTo>
                      <a:pt x="577" y="537"/>
                      <a:pt x="577" y="539"/>
                      <a:pt x="577" y="541"/>
                    </a:cubicBezTo>
                    <a:cubicBezTo>
                      <a:pt x="577" y="544"/>
                      <a:pt x="579" y="544"/>
                      <a:pt x="580" y="545"/>
                    </a:cubicBezTo>
                    <a:cubicBezTo>
                      <a:pt x="582" y="546"/>
                      <a:pt x="583" y="546"/>
                      <a:pt x="585" y="545"/>
                    </a:cubicBezTo>
                    <a:cubicBezTo>
                      <a:pt x="588" y="544"/>
                      <a:pt x="588" y="546"/>
                      <a:pt x="588" y="546"/>
                    </a:cubicBezTo>
                    <a:cubicBezTo>
                      <a:pt x="591" y="547"/>
                      <a:pt x="590" y="550"/>
                      <a:pt x="591" y="551"/>
                    </a:cubicBezTo>
                    <a:cubicBezTo>
                      <a:pt x="593" y="553"/>
                      <a:pt x="593" y="554"/>
                      <a:pt x="594" y="563"/>
                    </a:cubicBezTo>
                    <a:cubicBezTo>
                      <a:pt x="595" y="573"/>
                      <a:pt x="591" y="588"/>
                      <a:pt x="587" y="595"/>
                    </a:cubicBezTo>
                    <a:cubicBezTo>
                      <a:pt x="584" y="602"/>
                      <a:pt x="587" y="616"/>
                      <a:pt x="588" y="625"/>
                    </a:cubicBezTo>
                    <a:cubicBezTo>
                      <a:pt x="588" y="635"/>
                      <a:pt x="585" y="643"/>
                      <a:pt x="585" y="643"/>
                    </a:cubicBezTo>
                    <a:cubicBezTo>
                      <a:pt x="585" y="643"/>
                      <a:pt x="586" y="647"/>
                      <a:pt x="587" y="652"/>
                    </a:cubicBezTo>
                    <a:cubicBezTo>
                      <a:pt x="588" y="658"/>
                      <a:pt x="589" y="662"/>
                      <a:pt x="588" y="665"/>
                    </a:cubicBezTo>
                    <a:cubicBezTo>
                      <a:pt x="588" y="668"/>
                      <a:pt x="590" y="670"/>
                      <a:pt x="588" y="675"/>
                    </a:cubicBezTo>
                    <a:cubicBezTo>
                      <a:pt x="587" y="680"/>
                      <a:pt x="584" y="682"/>
                      <a:pt x="584" y="683"/>
                    </a:cubicBezTo>
                    <a:cubicBezTo>
                      <a:pt x="583" y="685"/>
                      <a:pt x="583" y="685"/>
                      <a:pt x="585" y="688"/>
                    </a:cubicBezTo>
                    <a:cubicBezTo>
                      <a:pt x="586" y="690"/>
                      <a:pt x="586" y="695"/>
                      <a:pt x="586" y="697"/>
                    </a:cubicBezTo>
                    <a:cubicBezTo>
                      <a:pt x="585" y="700"/>
                      <a:pt x="581" y="701"/>
                      <a:pt x="578" y="700"/>
                    </a:cubicBezTo>
                    <a:cubicBezTo>
                      <a:pt x="574" y="699"/>
                      <a:pt x="571" y="701"/>
                      <a:pt x="568" y="702"/>
                    </a:cubicBezTo>
                    <a:cubicBezTo>
                      <a:pt x="565" y="703"/>
                      <a:pt x="561" y="702"/>
                      <a:pt x="559" y="703"/>
                    </a:cubicBezTo>
                    <a:cubicBezTo>
                      <a:pt x="557" y="704"/>
                      <a:pt x="556" y="705"/>
                      <a:pt x="557" y="706"/>
                    </a:cubicBezTo>
                    <a:cubicBezTo>
                      <a:pt x="558" y="707"/>
                      <a:pt x="560" y="707"/>
                      <a:pt x="558" y="709"/>
                    </a:cubicBezTo>
                    <a:cubicBezTo>
                      <a:pt x="557" y="711"/>
                      <a:pt x="556" y="710"/>
                      <a:pt x="557" y="713"/>
                    </a:cubicBezTo>
                    <a:cubicBezTo>
                      <a:pt x="559" y="715"/>
                      <a:pt x="560" y="719"/>
                      <a:pt x="559" y="720"/>
                    </a:cubicBezTo>
                    <a:cubicBezTo>
                      <a:pt x="558" y="720"/>
                      <a:pt x="556" y="720"/>
                      <a:pt x="555" y="720"/>
                    </a:cubicBezTo>
                    <a:cubicBezTo>
                      <a:pt x="552" y="720"/>
                      <a:pt x="552" y="721"/>
                      <a:pt x="550" y="721"/>
                    </a:cubicBezTo>
                    <a:cubicBezTo>
                      <a:pt x="549" y="721"/>
                      <a:pt x="547" y="721"/>
                      <a:pt x="546" y="721"/>
                    </a:cubicBezTo>
                    <a:cubicBezTo>
                      <a:pt x="543" y="719"/>
                      <a:pt x="541" y="720"/>
                      <a:pt x="541" y="720"/>
                    </a:cubicBezTo>
                    <a:cubicBezTo>
                      <a:pt x="541" y="720"/>
                      <a:pt x="540" y="724"/>
                      <a:pt x="537" y="727"/>
                    </a:cubicBezTo>
                    <a:cubicBezTo>
                      <a:pt x="534" y="729"/>
                      <a:pt x="533" y="730"/>
                      <a:pt x="533" y="730"/>
                    </a:cubicBezTo>
                    <a:cubicBezTo>
                      <a:pt x="531" y="731"/>
                      <a:pt x="533" y="735"/>
                      <a:pt x="533" y="740"/>
                    </a:cubicBezTo>
                    <a:cubicBezTo>
                      <a:pt x="533" y="745"/>
                      <a:pt x="534" y="746"/>
                      <a:pt x="534" y="746"/>
                    </a:cubicBezTo>
                    <a:cubicBezTo>
                      <a:pt x="534" y="746"/>
                      <a:pt x="531" y="750"/>
                      <a:pt x="529" y="754"/>
                    </a:cubicBezTo>
                    <a:cubicBezTo>
                      <a:pt x="528" y="757"/>
                      <a:pt x="528" y="761"/>
                      <a:pt x="528" y="764"/>
                    </a:cubicBezTo>
                    <a:cubicBezTo>
                      <a:pt x="527" y="766"/>
                      <a:pt x="527" y="765"/>
                      <a:pt x="525" y="767"/>
                    </a:cubicBezTo>
                    <a:cubicBezTo>
                      <a:pt x="523" y="770"/>
                      <a:pt x="523" y="772"/>
                      <a:pt x="517" y="772"/>
                    </a:cubicBezTo>
                    <a:cubicBezTo>
                      <a:pt x="512" y="772"/>
                      <a:pt x="508" y="777"/>
                      <a:pt x="503" y="780"/>
                    </a:cubicBezTo>
                    <a:cubicBezTo>
                      <a:pt x="498" y="784"/>
                      <a:pt x="497" y="784"/>
                      <a:pt x="494" y="787"/>
                    </a:cubicBezTo>
                    <a:cubicBezTo>
                      <a:pt x="491" y="791"/>
                      <a:pt x="490" y="791"/>
                      <a:pt x="487" y="790"/>
                    </a:cubicBezTo>
                    <a:cubicBezTo>
                      <a:pt x="485" y="790"/>
                      <a:pt x="481" y="788"/>
                      <a:pt x="479" y="789"/>
                    </a:cubicBezTo>
                    <a:cubicBezTo>
                      <a:pt x="477" y="791"/>
                      <a:pt x="474" y="792"/>
                      <a:pt x="472" y="792"/>
                    </a:cubicBezTo>
                    <a:cubicBezTo>
                      <a:pt x="471" y="791"/>
                      <a:pt x="468" y="789"/>
                      <a:pt x="464" y="789"/>
                    </a:cubicBezTo>
                    <a:cubicBezTo>
                      <a:pt x="461" y="790"/>
                      <a:pt x="458" y="789"/>
                      <a:pt x="456" y="792"/>
                    </a:cubicBezTo>
                    <a:cubicBezTo>
                      <a:pt x="454" y="794"/>
                      <a:pt x="447" y="794"/>
                      <a:pt x="443" y="795"/>
                    </a:cubicBezTo>
                    <a:cubicBezTo>
                      <a:pt x="438" y="796"/>
                      <a:pt x="431" y="796"/>
                      <a:pt x="429" y="798"/>
                    </a:cubicBezTo>
                    <a:cubicBezTo>
                      <a:pt x="426" y="799"/>
                      <a:pt x="422" y="801"/>
                      <a:pt x="418" y="800"/>
                    </a:cubicBezTo>
                    <a:cubicBezTo>
                      <a:pt x="414" y="800"/>
                      <a:pt x="413" y="802"/>
                      <a:pt x="410" y="804"/>
                    </a:cubicBezTo>
                    <a:cubicBezTo>
                      <a:pt x="407" y="806"/>
                      <a:pt x="401" y="806"/>
                      <a:pt x="398" y="806"/>
                    </a:cubicBezTo>
                    <a:cubicBezTo>
                      <a:pt x="395" y="807"/>
                      <a:pt x="384" y="808"/>
                      <a:pt x="381" y="806"/>
                    </a:cubicBezTo>
                    <a:cubicBezTo>
                      <a:pt x="374" y="800"/>
                      <a:pt x="327" y="815"/>
                      <a:pt x="319" y="817"/>
                    </a:cubicBezTo>
                    <a:cubicBezTo>
                      <a:pt x="311" y="819"/>
                      <a:pt x="305" y="817"/>
                      <a:pt x="305" y="817"/>
                    </a:cubicBezTo>
                    <a:cubicBezTo>
                      <a:pt x="302" y="815"/>
                      <a:pt x="298" y="816"/>
                      <a:pt x="296" y="814"/>
                    </a:cubicBezTo>
                    <a:cubicBezTo>
                      <a:pt x="293" y="812"/>
                      <a:pt x="293" y="811"/>
                      <a:pt x="293" y="809"/>
                    </a:cubicBezTo>
                    <a:cubicBezTo>
                      <a:pt x="293" y="807"/>
                      <a:pt x="286" y="805"/>
                      <a:pt x="284" y="808"/>
                    </a:cubicBezTo>
                    <a:cubicBezTo>
                      <a:pt x="282" y="810"/>
                      <a:pt x="280" y="809"/>
                      <a:pt x="279" y="810"/>
                    </a:cubicBezTo>
                    <a:cubicBezTo>
                      <a:pt x="277" y="810"/>
                      <a:pt x="278" y="811"/>
                      <a:pt x="276" y="812"/>
                    </a:cubicBezTo>
                    <a:cubicBezTo>
                      <a:pt x="274" y="813"/>
                      <a:pt x="273" y="812"/>
                      <a:pt x="272" y="812"/>
                    </a:cubicBezTo>
                    <a:cubicBezTo>
                      <a:pt x="270" y="812"/>
                      <a:pt x="268" y="816"/>
                      <a:pt x="267" y="817"/>
                    </a:cubicBezTo>
                    <a:cubicBezTo>
                      <a:pt x="266" y="818"/>
                      <a:pt x="266" y="822"/>
                      <a:pt x="263" y="824"/>
                    </a:cubicBezTo>
                    <a:cubicBezTo>
                      <a:pt x="260" y="826"/>
                      <a:pt x="257" y="827"/>
                      <a:pt x="256" y="830"/>
                    </a:cubicBezTo>
                    <a:cubicBezTo>
                      <a:pt x="254" y="833"/>
                      <a:pt x="250" y="841"/>
                      <a:pt x="246" y="845"/>
                    </a:cubicBezTo>
                    <a:cubicBezTo>
                      <a:pt x="242" y="849"/>
                      <a:pt x="241" y="851"/>
                      <a:pt x="238" y="853"/>
                    </a:cubicBezTo>
                    <a:cubicBezTo>
                      <a:pt x="235" y="855"/>
                      <a:pt x="227" y="854"/>
                      <a:pt x="227" y="852"/>
                    </a:cubicBezTo>
                    <a:cubicBezTo>
                      <a:pt x="226" y="849"/>
                      <a:pt x="224" y="848"/>
                      <a:pt x="223" y="848"/>
                    </a:cubicBezTo>
                    <a:cubicBezTo>
                      <a:pt x="222" y="848"/>
                      <a:pt x="220" y="847"/>
                      <a:pt x="218" y="848"/>
                    </a:cubicBezTo>
                    <a:cubicBezTo>
                      <a:pt x="216" y="849"/>
                      <a:pt x="215" y="847"/>
                      <a:pt x="215" y="847"/>
                    </a:cubicBezTo>
                    <a:cubicBezTo>
                      <a:pt x="215" y="847"/>
                      <a:pt x="210" y="847"/>
                      <a:pt x="208" y="848"/>
                    </a:cubicBezTo>
                    <a:cubicBezTo>
                      <a:pt x="207" y="848"/>
                      <a:pt x="204" y="846"/>
                      <a:pt x="204" y="846"/>
                    </a:cubicBezTo>
                    <a:cubicBezTo>
                      <a:pt x="204" y="846"/>
                      <a:pt x="203" y="846"/>
                      <a:pt x="200" y="849"/>
                    </a:cubicBezTo>
                    <a:cubicBezTo>
                      <a:pt x="197" y="851"/>
                      <a:pt x="194" y="849"/>
                      <a:pt x="193" y="848"/>
                    </a:cubicBezTo>
                    <a:cubicBezTo>
                      <a:pt x="192" y="847"/>
                      <a:pt x="189" y="846"/>
                      <a:pt x="187" y="846"/>
                    </a:cubicBezTo>
                    <a:cubicBezTo>
                      <a:pt x="184" y="846"/>
                      <a:pt x="184" y="845"/>
                      <a:pt x="184" y="841"/>
                    </a:cubicBezTo>
                    <a:cubicBezTo>
                      <a:pt x="185" y="838"/>
                      <a:pt x="183" y="839"/>
                      <a:pt x="186" y="836"/>
                    </a:cubicBezTo>
                    <a:cubicBezTo>
                      <a:pt x="189" y="833"/>
                      <a:pt x="190" y="833"/>
                      <a:pt x="190" y="830"/>
                    </a:cubicBezTo>
                    <a:cubicBezTo>
                      <a:pt x="189" y="827"/>
                      <a:pt x="187" y="829"/>
                      <a:pt x="187" y="826"/>
                    </a:cubicBezTo>
                    <a:cubicBezTo>
                      <a:pt x="188" y="823"/>
                      <a:pt x="187" y="822"/>
                      <a:pt x="189" y="819"/>
                    </a:cubicBezTo>
                    <a:cubicBezTo>
                      <a:pt x="190" y="816"/>
                      <a:pt x="188" y="813"/>
                      <a:pt x="185" y="812"/>
                    </a:cubicBezTo>
                    <a:cubicBezTo>
                      <a:pt x="183" y="812"/>
                      <a:pt x="175" y="816"/>
                      <a:pt x="171" y="818"/>
                    </a:cubicBezTo>
                    <a:cubicBezTo>
                      <a:pt x="167" y="820"/>
                      <a:pt x="159" y="820"/>
                      <a:pt x="154" y="820"/>
                    </a:cubicBezTo>
                    <a:cubicBezTo>
                      <a:pt x="150" y="820"/>
                      <a:pt x="143" y="817"/>
                      <a:pt x="141" y="813"/>
                    </a:cubicBezTo>
                    <a:cubicBezTo>
                      <a:pt x="140" y="809"/>
                      <a:pt x="139" y="808"/>
                      <a:pt x="136" y="808"/>
                    </a:cubicBezTo>
                    <a:cubicBezTo>
                      <a:pt x="133" y="809"/>
                      <a:pt x="131" y="812"/>
                      <a:pt x="132" y="815"/>
                    </a:cubicBezTo>
                    <a:cubicBezTo>
                      <a:pt x="134" y="818"/>
                      <a:pt x="134" y="818"/>
                      <a:pt x="135" y="820"/>
                    </a:cubicBezTo>
                    <a:cubicBezTo>
                      <a:pt x="137" y="823"/>
                      <a:pt x="137" y="822"/>
                      <a:pt x="136" y="824"/>
                    </a:cubicBezTo>
                    <a:cubicBezTo>
                      <a:pt x="134" y="825"/>
                      <a:pt x="131" y="824"/>
                      <a:pt x="130" y="821"/>
                    </a:cubicBezTo>
                    <a:cubicBezTo>
                      <a:pt x="129" y="819"/>
                      <a:pt x="125" y="818"/>
                      <a:pt x="121" y="820"/>
                    </a:cubicBezTo>
                    <a:cubicBezTo>
                      <a:pt x="117" y="821"/>
                      <a:pt x="112" y="820"/>
                      <a:pt x="110" y="822"/>
                    </a:cubicBezTo>
                    <a:cubicBezTo>
                      <a:pt x="107" y="824"/>
                      <a:pt x="103" y="828"/>
                      <a:pt x="99" y="830"/>
                    </a:cubicBezTo>
                    <a:cubicBezTo>
                      <a:pt x="95" y="832"/>
                      <a:pt x="91" y="831"/>
                      <a:pt x="89" y="829"/>
                    </a:cubicBezTo>
                    <a:cubicBezTo>
                      <a:pt x="87" y="827"/>
                      <a:pt x="87" y="824"/>
                      <a:pt x="84" y="825"/>
                    </a:cubicBezTo>
                    <a:cubicBezTo>
                      <a:pt x="82" y="825"/>
                      <a:pt x="74" y="825"/>
                      <a:pt x="71" y="824"/>
                    </a:cubicBezTo>
                    <a:cubicBezTo>
                      <a:pt x="69" y="824"/>
                      <a:pt x="66" y="823"/>
                      <a:pt x="65" y="823"/>
                    </a:cubicBezTo>
                    <a:cubicBezTo>
                      <a:pt x="64" y="822"/>
                      <a:pt x="63" y="822"/>
                      <a:pt x="62" y="821"/>
                    </a:cubicBezTo>
                    <a:cubicBezTo>
                      <a:pt x="62" y="820"/>
                      <a:pt x="62" y="822"/>
                      <a:pt x="63" y="824"/>
                    </a:cubicBezTo>
                    <a:cubicBezTo>
                      <a:pt x="63" y="825"/>
                      <a:pt x="63" y="828"/>
                      <a:pt x="63" y="829"/>
                    </a:cubicBezTo>
                    <a:cubicBezTo>
                      <a:pt x="61" y="833"/>
                      <a:pt x="60" y="836"/>
                      <a:pt x="56" y="838"/>
                    </a:cubicBezTo>
                    <a:cubicBezTo>
                      <a:pt x="52" y="841"/>
                      <a:pt x="48" y="845"/>
                      <a:pt x="49" y="848"/>
                    </a:cubicBezTo>
                    <a:cubicBezTo>
                      <a:pt x="50" y="852"/>
                      <a:pt x="51" y="851"/>
                      <a:pt x="49" y="855"/>
                    </a:cubicBezTo>
                    <a:cubicBezTo>
                      <a:pt x="47" y="859"/>
                      <a:pt x="44" y="861"/>
                      <a:pt x="41" y="864"/>
                    </a:cubicBezTo>
                    <a:cubicBezTo>
                      <a:pt x="38" y="866"/>
                      <a:pt x="32" y="868"/>
                      <a:pt x="29" y="867"/>
                    </a:cubicBezTo>
                    <a:cubicBezTo>
                      <a:pt x="26" y="867"/>
                      <a:pt x="25" y="868"/>
                      <a:pt x="21" y="869"/>
                    </a:cubicBezTo>
                    <a:cubicBezTo>
                      <a:pt x="18" y="871"/>
                      <a:pt x="14" y="873"/>
                      <a:pt x="12" y="875"/>
                    </a:cubicBezTo>
                    <a:cubicBezTo>
                      <a:pt x="10" y="878"/>
                      <a:pt x="11" y="881"/>
                      <a:pt x="13" y="883"/>
                    </a:cubicBezTo>
                    <a:cubicBezTo>
                      <a:pt x="16" y="885"/>
                      <a:pt x="20" y="890"/>
                      <a:pt x="19" y="894"/>
                    </a:cubicBezTo>
                    <a:cubicBezTo>
                      <a:pt x="19" y="898"/>
                      <a:pt x="20" y="905"/>
                      <a:pt x="20" y="906"/>
                    </a:cubicBezTo>
                    <a:cubicBezTo>
                      <a:pt x="20" y="907"/>
                      <a:pt x="25" y="911"/>
                      <a:pt x="25" y="914"/>
                    </a:cubicBezTo>
                    <a:cubicBezTo>
                      <a:pt x="24" y="917"/>
                      <a:pt x="22" y="919"/>
                      <a:pt x="19" y="919"/>
                    </a:cubicBezTo>
                    <a:cubicBezTo>
                      <a:pt x="16" y="919"/>
                      <a:pt x="13" y="917"/>
                      <a:pt x="8" y="920"/>
                    </a:cubicBezTo>
                    <a:cubicBezTo>
                      <a:pt x="3" y="922"/>
                      <a:pt x="0" y="925"/>
                      <a:pt x="2" y="928"/>
                    </a:cubicBezTo>
                    <a:cubicBezTo>
                      <a:pt x="4" y="931"/>
                      <a:pt x="8" y="937"/>
                      <a:pt x="9" y="940"/>
                    </a:cubicBezTo>
                    <a:cubicBezTo>
                      <a:pt x="10" y="941"/>
                      <a:pt x="9" y="942"/>
                      <a:pt x="10" y="944"/>
                    </a:cubicBezTo>
                    <a:cubicBezTo>
                      <a:pt x="10" y="945"/>
                      <a:pt x="10" y="946"/>
                      <a:pt x="11" y="944"/>
                    </a:cubicBezTo>
                    <a:cubicBezTo>
                      <a:pt x="12" y="948"/>
                      <a:pt x="10" y="964"/>
                      <a:pt x="25" y="956"/>
                    </a:cubicBezTo>
                    <a:cubicBezTo>
                      <a:pt x="41" y="947"/>
                      <a:pt x="53" y="956"/>
                      <a:pt x="60" y="961"/>
                    </a:cubicBezTo>
                    <a:cubicBezTo>
                      <a:pt x="67" y="966"/>
                      <a:pt x="64" y="984"/>
                      <a:pt x="62" y="997"/>
                    </a:cubicBezTo>
                    <a:cubicBezTo>
                      <a:pt x="60" y="1010"/>
                      <a:pt x="62" y="1001"/>
                      <a:pt x="62" y="1026"/>
                    </a:cubicBezTo>
                    <a:cubicBezTo>
                      <a:pt x="62" y="1051"/>
                      <a:pt x="52" y="1042"/>
                      <a:pt x="49" y="1052"/>
                    </a:cubicBezTo>
                    <a:cubicBezTo>
                      <a:pt x="45" y="1062"/>
                      <a:pt x="50" y="1056"/>
                      <a:pt x="56" y="1076"/>
                    </a:cubicBezTo>
                    <a:cubicBezTo>
                      <a:pt x="63" y="1096"/>
                      <a:pt x="53" y="1084"/>
                      <a:pt x="46" y="1085"/>
                    </a:cubicBezTo>
                    <a:cubicBezTo>
                      <a:pt x="40" y="1085"/>
                      <a:pt x="31" y="1080"/>
                      <a:pt x="29" y="1080"/>
                    </a:cubicBezTo>
                    <a:cubicBezTo>
                      <a:pt x="26" y="1079"/>
                      <a:pt x="23" y="1080"/>
                      <a:pt x="22" y="1080"/>
                    </a:cubicBezTo>
                    <a:cubicBezTo>
                      <a:pt x="19" y="1079"/>
                      <a:pt x="16" y="1077"/>
                      <a:pt x="13" y="1080"/>
                    </a:cubicBezTo>
                    <a:cubicBezTo>
                      <a:pt x="9" y="1082"/>
                      <a:pt x="10" y="1084"/>
                      <a:pt x="9" y="1089"/>
                    </a:cubicBezTo>
                    <a:cubicBezTo>
                      <a:pt x="8" y="1094"/>
                      <a:pt x="11" y="1094"/>
                      <a:pt x="11" y="1097"/>
                    </a:cubicBezTo>
                    <a:cubicBezTo>
                      <a:pt x="12" y="1099"/>
                      <a:pt x="13" y="1099"/>
                      <a:pt x="15" y="1097"/>
                    </a:cubicBezTo>
                    <a:cubicBezTo>
                      <a:pt x="16" y="1095"/>
                      <a:pt x="21" y="1099"/>
                      <a:pt x="23" y="1101"/>
                    </a:cubicBezTo>
                    <a:cubicBezTo>
                      <a:pt x="25" y="1102"/>
                      <a:pt x="27" y="1104"/>
                      <a:pt x="28" y="1104"/>
                    </a:cubicBezTo>
                    <a:cubicBezTo>
                      <a:pt x="29" y="1104"/>
                      <a:pt x="28" y="1107"/>
                      <a:pt x="30" y="1109"/>
                    </a:cubicBezTo>
                    <a:cubicBezTo>
                      <a:pt x="31" y="1111"/>
                      <a:pt x="34" y="1111"/>
                      <a:pt x="36" y="1111"/>
                    </a:cubicBezTo>
                    <a:cubicBezTo>
                      <a:pt x="38" y="1110"/>
                      <a:pt x="48" y="1112"/>
                      <a:pt x="50" y="1116"/>
                    </a:cubicBezTo>
                    <a:cubicBezTo>
                      <a:pt x="52" y="1121"/>
                      <a:pt x="56" y="1122"/>
                      <a:pt x="57" y="1122"/>
                    </a:cubicBezTo>
                    <a:cubicBezTo>
                      <a:pt x="59" y="1121"/>
                      <a:pt x="64" y="1122"/>
                      <a:pt x="63" y="1127"/>
                    </a:cubicBezTo>
                    <a:cubicBezTo>
                      <a:pt x="62" y="1132"/>
                      <a:pt x="60" y="1144"/>
                      <a:pt x="61" y="1146"/>
                    </a:cubicBezTo>
                    <a:cubicBezTo>
                      <a:pt x="62" y="1148"/>
                      <a:pt x="66" y="1147"/>
                      <a:pt x="68" y="1146"/>
                    </a:cubicBezTo>
                    <a:cubicBezTo>
                      <a:pt x="71" y="1145"/>
                      <a:pt x="74" y="1148"/>
                      <a:pt x="76" y="1150"/>
                    </a:cubicBezTo>
                    <a:cubicBezTo>
                      <a:pt x="75" y="1150"/>
                      <a:pt x="76" y="1154"/>
                      <a:pt x="77" y="1155"/>
                    </a:cubicBezTo>
                    <a:cubicBezTo>
                      <a:pt x="78" y="1155"/>
                      <a:pt x="84" y="1162"/>
                      <a:pt x="85" y="1163"/>
                    </a:cubicBezTo>
                    <a:cubicBezTo>
                      <a:pt x="86" y="1165"/>
                      <a:pt x="87" y="1168"/>
                      <a:pt x="86" y="1170"/>
                    </a:cubicBezTo>
                    <a:cubicBezTo>
                      <a:pt x="85" y="1172"/>
                      <a:pt x="85" y="1173"/>
                      <a:pt x="87" y="1177"/>
                    </a:cubicBezTo>
                    <a:cubicBezTo>
                      <a:pt x="89" y="1180"/>
                      <a:pt x="88" y="1182"/>
                      <a:pt x="88" y="1182"/>
                    </a:cubicBezTo>
                    <a:cubicBezTo>
                      <a:pt x="88" y="1182"/>
                      <a:pt x="83" y="1188"/>
                      <a:pt x="83" y="1193"/>
                    </a:cubicBezTo>
                    <a:cubicBezTo>
                      <a:pt x="83" y="1198"/>
                      <a:pt x="82" y="1202"/>
                      <a:pt x="77" y="1205"/>
                    </a:cubicBezTo>
                    <a:cubicBezTo>
                      <a:pt x="73" y="1209"/>
                      <a:pt x="68" y="1212"/>
                      <a:pt x="73" y="1217"/>
                    </a:cubicBezTo>
                    <a:cubicBezTo>
                      <a:pt x="78" y="1223"/>
                      <a:pt x="83" y="1222"/>
                      <a:pt x="81" y="1226"/>
                    </a:cubicBezTo>
                    <a:cubicBezTo>
                      <a:pt x="80" y="1230"/>
                      <a:pt x="79" y="1233"/>
                      <a:pt x="77" y="1235"/>
                    </a:cubicBezTo>
                    <a:cubicBezTo>
                      <a:pt x="76" y="1237"/>
                      <a:pt x="78" y="1239"/>
                      <a:pt x="80" y="1240"/>
                    </a:cubicBezTo>
                    <a:cubicBezTo>
                      <a:pt x="82" y="1241"/>
                      <a:pt x="93" y="1245"/>
                      <a:pt x="97" y="1242"/>
                    </a:cubicBezTo>
                    <a:cubicBezTo>
                      <a:pt x="100" y="1239"/>
                      <a:pt x="105" y="1237"/>
                      <a:pt x="107" y="1237"/>
                    </a:cubicBezTo>
                    <a:cubicBezTo>
                      <a:pt x="108" y="1238"/>
                      <a:pt x="108" y="1243"/>
                      <a:pt x="106" y="1246"/>
                    </a:cubicBezTo>
                    <a:cubicBezTo>
                      <a:pt x="103" y="1249"/>
                      <a:pt x="104" y="1250"/>
                      <a:pt x="106" y="1252"/>
                    </a:cubicBezTo>
                    <a:cubicBezTo>
                      <a:pt x="108" y="1254"/>
                      <a:pt x="112" y="1257"/>
                      <a:pt x="113" y="1262"/>
                    </a:cubicBezTo>
                    <a:cubicBezTo>
                      <a:pt x="114" y="1266"/>
                      <a:pt x="115" y="1265"/>
                      <a:pt x="118" y="1269"/>
                    </a:cubicBezTo>
                    <a:cubicBezTo>
                      <a:pt x="121" y="1272"/>
                      <a:pt x="125" y="1275"/>
                      <a:pt x="128" y="1275"/>
                    </a:cubicBezTo>
                    <a:cubicBezTo>
                      <a:pt x="131" y="1275"/>
                      <a:pt x="134" y="1276"/>
                      <a:pt x="135" y="1280"/>
                    </a:cubicBezTo>
                    <a:cubicBezTo>
                      <a:pt x="136" y="1284"/>
                      <a:pt x="138" y="1284"/>
                      <a:pt x="141" y="1284"/>
                    </a:cubicBezTo>
                    <a:cubicBezTo>
                      <a:pt x="145" y="1284"/>
                      <a:pt x="149" y="1289"/>
                      <a:pt x="151" y="1291"/>
                    </a:cubicBezTo>
                    <a:cubicBezTo>
                      <a:pt x="154" y="1293"/>
                      <a:pt x="157" y="1297"/>
                      <a:pt x="160" y="1297"/>
                    </a:cubicBezTo>
                    <a:cubicBezTo>
                      <a:pt x="162" y="1297"/>
                      <a:pt x="163" y="1296"/>
                      <a:pt x="166" y="1298"/>
                    </a:cubicBezTo>
                    <a:cubicBezTo>
                      <a:pt x="169" y="1300"/>
                      <a:pt x="171" y="1300"/>
                      <a:pt x="173" y="1299"/>
                    </a:cubicBezTo>
                    <a:cubicBezTo>
                      <a:pt x="174" y="1299"/>
                      <a:pt x="176" y="1299"/>
                      <a:pt x="179" y="1302"/>
                    </a:cubicBezTo>
                    <a:cubicBezTo>
                      <a:pt x="182" y="1304"/>
                      <a:pt x="186" y="1304"/>
                      <a:pt x="188" y="1304"/>
                    </a:cubicBezTo>
                    <a:cubicBezTo>
                      <a:pt x="191" y="1303"/>
                      <a:pt x="193" y="1305"/>
                      <a:pt x="195" y="1305"/>
                    </a:cubicBezTo>
                    <a:cubicBezTo>
                      <a:pt x="196" y="1305"/>
                      <a:pt x="203" y="1306"/>
                      <a:pt x="200" y="1309"/>
                    </a:cubicBezTo>
                    <a:cubicBezTo>
                      <a:pt x="197" y="1312"/>
                      <a:pt x="193" y="1312"/>
                      <a:pt x="190" y="1316"/>
                    </a:cubicBezTo>
                    <a:cubicBezTo>
                      <a:pt x="188" y="1320"/>
                      <a:pt x="186" y="1321"/>
                      <a:pt x="187" y="1326"/>
                    </a:cubicBezTo>
                    <a:cubicBezTo>
                      <a:pt x="187" y="1331"/>
                      <a:pt x="187" y="1336"/>
                      <a:pt x="188" y="1338"/>
                    </a:cubicBezTo>
                    <a:cubicBezTo>
                      <a:pt x="190" y="1340"/>
                      <a:pt x="190" y="1340"/>
                      <a:pt x="190" y="1346"/>
                    </a:cubicBezTo>
                    <a:cubicBezTo>
                      <a:pt x="189" y="1352"/>
                      <a:pt x="189" y="1354"/>
                      <a:pt x="189" y="1357"/>
                    </a:cubicBezTo>
                    <a:cubicBezTo>
                      <a:pt x="189" y="1360"/>
                      <a:pt x="190" y="1363"/>
                      <a:pt x="190" y="1364"/>
                    </a:cubicBezTo>
                    <a:cubicBezTo>
                      <a:pt x="189" y="1365"/>
                      <a:pt x="189" y="1366"/>
                      <a:pt x="187" y="1368"/>
                    </a:cubicBezTo>
                    <a:cubicBezTo>
                      <a:pt x="186" y="1370"/>
                      <a:pt x="186" y="1370"/>
                      <a:pt x="186" y="1375"/>
                    </a:cubicBezTo>
                    <a:cubicBezTo>
                      <a:pt x="187" y="1379"/>
                      <a:pt x="188" y="1385"/>
                      <a:pt x="190" y="1386"/>
                    </a:cubicBezTo>
                    <a:cubicBezTo>
                      <a:pt x="192" y="1388"/>
                      <a:pt x="193" y="1391"/>
                      <a:pt x="196" y="1392"/>
                    </a:cubicBezTo>
                    <a:cubicBezTo>
                      <a:pt x="199" y="1393"/>
                      <a:pt x="203" y="1391"/>
                      <a:pt x="203" y="1394"/>
                    </a:cubicBezTo>
                    <a:cubicBezTo>
                      <a:pt x="203" y="1397"/>
                      <a:pt x="209" y="1400"/>
                      <a:pt x="211" y="1400"/>
                    </a:cubicBezTo>
                    <a:cubicBezTo>
                      <a:pt x="212" y="1400"/>
                      <a:pt x="215" y="1402"/>
                      <a:pt x="215" y="1405"/>
                    </a:cubicBezTo>
                    <a:cubicBezTo>
                      <a:pt x="216" y="1407"/>
                      <a:pt x="218" y="1410"/>
                      <a:pt x="219" y="1412"/>
                    </a:cubicBezTo>
                    <a:cubicBezTo>
                      <a:pt x="219" y="1414"/>
                      <a:pt x="222" y="1416"/>
                      <a:pt x="223" y="1418"/>
                    </a:cubicBezTo>
                    <a:cubicBezTo>
                      <a:pt x="225" y="1419"/>
                      <a:pt x="225" y="1419"/>
                      <a:pt x="227" y="1419"/>
                    </a:cubicBezTo>
                    <a:cubicBezTo>
                      <a:pt x="229" y="1419"/>
                      <a:pt x="235" y="1423"/>
                      <a:pt x="232" y="1425"/>
                    </a:cubicBezTo>
                    <a:cubicBezTo>
                      <a:pt x="230" y="1427"/>
                      <a:pt x="226" y="1426"/>
                      <a:pt x="226" y="1428"/>
                    </a:cubicBezTo>
                    <a:cubicBezTo>
                      <a:pt x="226" y="1431"/>
                      <a:pt x="225" y="1432"/>
                      <a:pt x="223" y="1435"/>
                    </a:cubicBezTo>
                    <a:cubicBezTo>
                      <a:pt x="221" y="1437"/>
                      <a:pt x="217" y="1438"/>
                      <a:pt x="214" y="1437"/>
                    </a:cubicBezTo>
                    <a:cubicBezTo>
                      <a:pt x="212" y="1437"/>
                      <a:pt x="208" y="1440"/>
                      <a:pt x="206" y="1439"/>
                    </a:cubicBezTo>
                    <a:cubicBezTo>
                      <a:pt x="203" y="1438"/>
                      <a:pt x="198" y="1440"/>
                      <a:pt x="199" y="1441"/>
                    </a:cubicBezTo>
                    <a:cubicBezTo>
                      <a:pt x="200" y="1443"/>
                      <a:pt x="200" y="1446"/>
                      <a:pt x="202" y="1448"/>
                    </a:cubicBezTo>
                    <a:cubicBezTo>
                      <a:pt x="203" y="1450"/>
                      <a:pt x="203" y="1453"/>
                      <a:pt x="202" y="1457"/>
                    </a:cubicBezTo>
                    <a:cubicBezTo>
                      <a:pt x="200" y="1462"/>
                      <a:pt x="198" y="1471"/>
                      <a:pt x="195" y="1473"/>
                    </a:cubicBezTo>
                    <a:cubicBezTo>
                      <a:pt x="193" y="1474"/>
                      <a:pt x="187" y="1471"/>
                      <a:pt x="190" y="1483"/>
                    </a:cubicBezTo>
                    <a:cubicBezTo>
                      <a:pt x="192" y="1494"/>
                      <a:pt x="193" y="1496"/>
                      <a:pt x="194" y="1498"/>
                    </a:cubicBezTo>
                    <a:cubicBezTo>
                      <a:pt x="195" y="1500"/>
                      <a:pt x="197" y="1503"/>
                      <a:pt x="199" y="1506"/>
                    </a:cubicBezTo>
                    <a:cubicBezTo>
                      <a:pt x="200" y="1508"/>
                      <a:pt x="201" y="1509"/>
                      <a:pt x="203" y="1513"/>
                    </a:cubicBezTo>
                    <a:cubicBezTo>
                      <a:pt x="204" y="1517"/>
                      <a:pt x="204" y="1523"/>
                      <a:pt x="205" y="1525"/>
                    </a:cubicBezTo>
                    <a:cubicBezTo>
                      <a:pt x="206" y="1527"/>
                      <a:pt x="208" y="1530"/>
                      <a:pt x="204" y="1532"/>
                    </a:cubicBezTo>
                    <a:cubicBezTo>
                      <a:pt x="200" y="1534"/>
                      <a:pt x="200" y="1539"/>
                      <a:pt x="201" y="1541"/>
                    </a:cubicBezTo>
                    <a:cubicBezTo>
                      <a:pt x="202" y="1543"/>
                      <a:pt x="205" y="1546"/>
                      <a:pt x="207" y="1547"/>
                    </a:cubicBezTo>
                    <a:cubicBezTo>
                      <a:pt x="209" y="1549"/>
                      <a:pt x="210" y="1551"/>
                      <a:pt x="208" y="1553"/>
                    </a:cubicBezTo>
                    <a:cubicBezTo>
                      <a:pt x="206" y="1555"/>
                      <a:pt x="204" y="1558"/>
                      <a:pt x="204" y="1562"/>
                    </a:cubicBezTo>
                    <a:cubicBezTo>
                      <a:pt x="205" y="1566"/>
                      <a:pt x="208" y="1569"/>
                      <a:pt x="205" y="1573"/>
                    </a:cubicBezTo>
                    <a:cubicBezTo>
                      <a:pt x="201" y="1578"/>
                      <a:pt x="199" y="1587"/>
                      <a:pt x="195" y="1587"/>
                    </a:cubicBezTo>
                    <a:cubicBezTo>
                      <a:pt x="192" y="1587"/>
                      <a:pt x="191" y="1587"/>
                      <a:pt x="189" y="1590"/>
                    </a:cubicBezTo>
                    <a:cubicBezTo>
                      <a:pt x="187" y="1593"/>
                      <a:pt x="185" y="1594"/>
                      <a:pt x="183" y="1599"/>
                    </a:cubicBezTo>
                    <a:cubicBezTo>
                      <a:pt x="180" y="1604"/>
                      <a:pt x="179" y="1605"/>
                      <a:pt x="174" y="1598"/>
                    </a:cubicBezTo>
                    <a:cubicBezTo>
                      <a:pt x="169" y="1592"/>
                      <a:pt x="165" y="1586"/>
                      <a:pt x="166" y="1580"/>
                    </a:cubicBezTo>
                    <a:cubicBezTo>
                      <a:pt x="167" y="1575"/>
                      <a:pt x="168" y="1568"/>
                      <a:pt x="169" y="1565"/>
                    </a:cubicBezTo>
                    <a:cubicBezTo>
                      <a:pt x="169" y="1562"/>
                      <a:pt x="169" y="1559"/>
                      <a:pt x="163" y="1559"/>
                    </a:cubicBezTo>
                    <a:cubicBezTo>
                      <a:pt x="157" y="1559"/>
                      <a:pt x="144" y="1564"/>
                      <a:pt x="141" y="1566"/>
                    </a:cubicBezTo>
                    <a:cubicBezTo>
                      <a:pt x="138" y="1568"/>
                      <a:pt x="138" y="1570"/>
                      <a:pt x="138" y="1574"/>
                    </a:cubicBezTo>
                    <a:cubicBezTo>
                      <a:pt x="138" y="1578"/>
                      <a:pt x="139" y="1580"/>
                      <a:pt x="140" y="1582"/>
                    </a:cubicBezTo>
                    <a:cubicBezTo>
                      <a:pt x="140" y="1584"/>
                      <a:pt x="140" y="1589"/>
                      <a:pt x="135" y="1592"/>
                    </a:cubicBezTo>
                    <a:cubicBezTo>
                      <a:pt x="131" y="1594"/>
                      <a:pt x="133" y="1599"/>
                      <a:pt x="134" y="1602"/>
                    </a:cubicBezTo>
                    <a:cubicBezTo>
                      <a:pt x="135" y="1605"/>
                      <a:pt x="139" y="1607"/>
                      <a:pt x="140" y="1607"/>
                    </a:cubicBezTo>
                    <a:cubicBezTo>
                      <a:pt x="142" y="1607"/>
                      <a:pt x="148" y="1612"/>
                      <a:pt x="143" y="1614"/>
                    </a:cubicBezTo>
                    <a:cubicBezTo>
                      <a:pt x="138" y="1616"/>
                      <a:pt x="134" y="1617"/>
                      <a:pt x="135" y="1623"/>
                    </a:cubicBezTo>
                    <a:cubicBezTo>
                      <a:pt x="135" y="1629"/>
                      <a:pt x="137" y="1632"/>
                      <a:pt x="138" y="1634"/>
                    </a:cubicBezTo>
                    <a:cubicBezTo>
                      <a:pt x="139" y="1636"/>
                      <a:pt x="140" y="1641"/>
                      <a:pt x="137" y="1642"/>
                    </a:cubicBezTo>
                    <a:cubicBezTo>
                      <a:pt x="134" y="1643"/>
                      <a:pt x="131" y="1646"/>
                      <a:pt x="130" y="1650"/>
                    </a:cubicBezTo>
                    <a:cubicBezTo>
                      <a:pt x="129" y="1653"/>
                      <a:pt x="131" y="1655"/>
                      <a:pt x="131" y="1657"/>
                    </a:cubicBezTo>
                    <a:cubicBezTo>
                      <a:pt x="130" y="1659"/>
                      <a:pt x="125" y="1659"/>
                      <a:pt x="127" y="1662"/>
                    </a:cubicBezTo>
                    <a:cubicBezTo>
                      <a:pt x="130" y="1665"/>
                      <a:pt x="134" y="1667"/>
                      <a:pt x="135" y="1668"/>
                    </a:cubicBezTo>
                    <a:cubicBezTo>
                      <a:pt x="136" y="1668"/>
                      <a:pt x="136" y="1670"/>
                      <a:pt x="136" y="1675"/>
                    </a:cubicBezTo>
                    <a:cubicBezTo>
                      <a:pt x="136" y="1680"/>
                      <a:pt x="135" y="1688"/>
                      <a:pt x="136" y="1692"/>
                    </a:cubicBezTo>
                    <a:cubicBezTo>
                      <a:pt x="137" y="1695"/>
                      <a:pt x="142" y="1700"/>
                      <a:pt x="145" y="1700"/>
                    </a:cubicBezTo>
                    <a:cubicBezTo>
                      <a:pt x="147" y="1700"/>
                      <a:pt x="149" y="1701"/>
                      <a:pt x="149" y="1704"/>
                    </a:cubicBezTo>
                    <a:cubicBezTo>
                      <a:pt x="149" y="1706"/>
                      <a:pt x="152" y="1707"/>
                      <a:pt x="154" y="1707"/>
                    </a:cubicBezTo>
                    <a:cubicBezTo>
                      <a:pt x="156" y="1707"/>
                      <a:pt x="158" y="1706"/>
                      <a:pt x="159" y="1704"/>
                    </a:cubicBezTo>
                    <a:cubicBezTo>
                      <a:pt x="161" y="1702"/>
                      <a:pt x="165" y="1701"/>
                      <a:pt x="167" y="1704"/>
                    </a:cubicBezTo>
                    <a:cubicBezTo>
                      <a:pt x="168" y="1707"/>
                      <a:pt x="168" y="1707"/>
                      <a:pt x="170" y="1708"/>
                    </a:cubicBezTo>
                    <a:cubicBezTo>
                      <a:pt x="172" y="1708"/>
                      <a:pt x="173" y="1713"/>
                      <a:pt x="173" y="1714"/>
                    </a:cubicBezTo>
                    <a:cubicBezTo>
                      <a:pt x="174" y="1716"/>
                      <a:pt x="176" y="1716"/>
                      <a:pt x="178" y="1716"/>
                    </a:cubicBezTo>
                    <a:cubicBezTo>
                      <a:pt x="180" y="1716"/>
                      <a:pt x="183" y="1717"/>
                      <a:pt x="184" y="1717"/>
                    </a:cubicBezTo>
                    <a:cubicBezTo>
                      <a:pt x="186" y="1717"/>
                      <a:pt x="188" y="1717"/>
                      <a:pt x="188" y="1721"/>
                    </a:cubicBezTo>
                    <a:cubicBezTo>
                      <a:pt x="188" y="1725"/>
                      <a:pt x="190" y="1726"/>
                      <a:pt x="191" y="1729"/>
                    </a:cubicBezTo>
                    <a:cubicBezTo>
                      <a:pt x="193" y="1732"/>
                      <a:pt x="197" y="1735"/>
                      <a:pt x="196" y="1742"/>
                    </a:cubicBezTo>
                    <a:cubicBezTo>
                      <a:pt x="195" y="1749"/>
                      <a:pt x="194" y="1749"/>
                      <a:pt x="200" y="1755"/>
                    </a:cubicBezTo>
                    <a:cubicBezTo>
                      <a:pt x="206" y="1761"/>
                      <a:pt x="215" y="1764"/>
                      <a:pt x="218" y="1767"/>
                    </a:cubicBezTo>
                    <a:cubicBezTo>
                      <a:pt x="222" y="1770"/>
                      <a:pt x="228" y="1778"/>
                      <a:pt x="232" y="1780"/>
                    </a:cubicBezTo>
                    <a:cubicBezTo>
                      <a:pt x="235" y="1782"/>
                      <a:pt x="239" y="1784"/>
                      <a:pt x="241" y="1787"/>
                    </a:cubicBezTo>
                    <a:cubicBezTo>
                      <a:pt x="243" y="1790"/>
                      <a:pt x="246" y="1793"/>
                      <a:pt x="247" y="1795"/>
                    </a:cubicBezTo>
                    <a:cubicBezTo>
                      <a:pt x="247" y="1797"/>
                      <a:pt x="253" y="1800"/>
                      <a:pt x="256" y="1804"/>
                    </a:cubicBezTo>
                    <a:cubicBezTo>
                      <a:pt x="259" y="1808"/>
                      <a:pt x="263" y="1808"/>
                      <a:pt x="262" y="1816"/>
                    </a:cubicBezTo>
                    <a:cubicBezTo>
                      <a:pt x="262" y="1824"/>
                      <a:pt x="261" y="1825"/>
                      <a:pt x="264" y="1828"/>
                    </a:cubicBezTo>
                    <a:cubicBezTo>
                      <a:pt x="268" y="1830"/>
                      <a:pt x="274" y="1831"/>
                      <a:pt x="275" y="1827"/>
                    </a:cubicBezTo>
                    <a:cubicBezTo>
                      <a:pt x="276" y="1823"/>
                      <a:pt x="275" y="1820"/>
                      <a:pt x="280" y="1821"/>
                    </a:cubicBezTo>
                    <a:cubicBezTo>
                      <a:pt x="286" y="1822"/>
                      <a:pt x="289" y="1820"/>
                      <a:pt x="289" y="1817"/>
                    </a:cubicBezTo>
                    <a:cubicBezTo>
                      <a:pt x="289" y="1814"/>
                      <a:pt x="294" y="1806"/>
                      <a:pt x="295" y="1804"/>
                    </a:cubicBezTo>
                    <a:cubicBezTo>
                      <a:pt x="296" y="1802"/>
                      <a:pt x="299" y="1802"/>
                      <a:pt x="300" y="1803"/>
                    </a:cubicBezTo>
                    <a:cubicBezTo>
                      <a:pt x="301" y="1804"/>
                      <a:pt x="302" y="1808"/>
                      <a:pt x="304" y="1808"/>
                    </a:cubicBezTo>
                    <a:cubicBezTo>
                      <a:pt x="306" y="1808"/>
                      <a:pt x="309" y="1807"/>
                      <a:pt x="310" y="1806"/>
                    </a:cubicBezTo>
                    <a:cubicBezTo>
                      <a:pt x="311" y="1804"/>
                      <a:pt x="317" y="1807"/>
                      <a:pt x="320" y="1810"/>
                    </a:cubicBezTo>
                    <a:cubicBezTo>
                      <a:pt x="322" y="1813"/>
                      <a:pt x="330" y="1820"/>
                      <a:pt x="335" y="1821"/>
                    </a:cubicBezTo>
                    <a:cubicBezTo>
                      <a:pt x="339" y="1822"/>
                      <a:pt x="339" y="1823"/>
                      <a:pt x="341" y="1823"/>
                    </a:cubicBezTo>
                    <a:cubicBezTo>
                      <a:pt x="342" y="1823"/>
                      <a:pt x="345" y="1825"/>
                      <a:pt x="343" y="1829"/>
                    </a:cubicBezTo>
                    <a:cubicBezTo>
                      <a:pt x="342" y="1833"/>
                      <a:pt x="342" y="1834"/>
                      <a:pt x="343" y="1835"/>
                    </a:cubicBezTo>
                    <a:cubicBezTo>
                      <a:pt x="344" y="1837"/>
                      <a:pt x="346" y="1838"/>
                      <a:pt x="345" y="1841"/>
                    </a:cubicBezTo>
                    <a:cubicBezTo>
                      <a:pt x="344" y="1845"/>
                      <a:pt x="346" y="1849"/>
                      <a:pt x="347" y="1851"/>
                    </a:cubicBezTo>
                    <a:cubicBezTo>
                      <a:pt x="349" y="1852"/>
                      <a:pt x="367" y="1868"/>
                      <a:pt x="367" y="1868"/>
                    </a:cubicBezTo>
                    <a:cubicBezTo>
                      <a:pt x="367" y="1868"/>
                      <a:pt x="370" y="1870"/>
                      <a:pt x="370" y="1874"/>
                    </a:cubicBezTo>
                    <a:cubicBezTo>
                      <a:pt x="370" y="1877"/>
                      <a:pt x="371" y="1878"/>
                      <a:pt x="372" y="1879"/>
                    </a:cubicBezTo>
                    <a:cubicBezTo>
                      <a:pt x="373" y="1880"/>
                      <a:pt x="375" y="1880"/>
                      <a:pt x="375" y="1883"/>
                    </a:cubicBezTo>
                    <a:cubicBezTo>
                      <a:pt x="375" y="1886"/>
                      <a:pt x="376" y="1888"/>
                      <a:pt x="377" y="1889"/>
                    </a:cubicBezTo>
                    <a:cubicBezTo>
                      <a:pt x="378" y="1890"/>
                      <a:pt x="382" y="1895"/>
                      <a:pt x="383" y="1895"/>
                    </a:cubicBezTo>
                    <a:cubicBezTo>
                      <a:pt x="385" y="1895"/>
                      <a:pt x="386" y="1897"/>
                      <a:pt x="387" y="1896"/>
                    </a:cubicBezTo>
                    <a:cubicBezTo>
                      <a:pt x="389" y="1895"/>
                      <a:pt x="396" y="1904"/>
                      <a:pt x="397" y="1906"/>
                    </a:cubicBezTo>
                    <a:cubicBezTo>
                      <a:pt x="399" y="1908"/>
                      <a:pt x="405" y="1906"/>
                      <a:pt x="406" y="1908"/>
                    </a:cubicBezTo>
                    <a:cubicBezTo>
                      <a:pt x="407" y="1909"/>
                      <a:pt x="410" y="1910"/>
                      <a:pt x="410" y="1913"/>
                    </a:cubicBezTo>
                    <a:cubicBezTo>
                      <a:pt x="411" y="1917"/>
                      <a:pt x="410" y="1917"/>
                      <a:pt x="413" y="1921"/>
                    </a:cubicBezTo>
                    <a:cubicBezTo>
                      <a:pt x="417" y="1924"/>
                      <a:pt x="417" y="1927"/>
                      <a:pt x="417" y="1935"/>
                    </a:cubicBezTo>
                    <a:cubicBezTo>
                      <a:pt x="417" y="1943"/>
                      <a:pt x="419" y="1947"/>
                      <a:pt x="421" y="1950"/>
                    </a:cubicBezTo>
                    <a:cubicBezTo>
                      <a:pt x="424" y="1954"/>
                      <a:pt x="430" y="1962"/>
                      <a:pt x="433" y="1958"/>
                    </a:cubicBezTo>
                    <a:cubicBezTo>
                      <a:pt x="435" y="1954"/>
                      <a:pt x="435" y="1952"/>
                      <a:pt x="440" y="1952"/>
                    </a:cubicBezTo>
                    <a:cubicBezTo>
                      <a:pt x="444" y="1953"/>
                      <a:pt x="445" y="1953"/>
                      <a:pt x="446" y="1951"/>
                    </a:cubicBezTo>
                    <a:cubicBezTo>
                      <a:pt x="448" y="1949"/>
                      <a:pt x="451" y="1950"/>
                      <a:pt x="453" y="1950"/>
                    </a:cubicBezTo>
                    <a:cubicBezTo>
                      <a:pt x="454" y="1950"/>
                      <a:pt x="458" y="1950"/>
                      <a:pt x="459" y="1952"/>
                    </a:cubicBezTo>
                    <a:cubicBezTo>
                      <a:pt x="460" y="1954"/>
                      <a:pt x="463" y="1955"/>
                      <a:pt x="464" y="1956"/>
                    </a:cubicBezTo>
                    <a:cubicBezTo>
                      <a:pt x="465" y="1957"/>
                      <a:pt x="473" y="1962"/>
                      <a:pt x="473" y="1962"/>
                    </a:cubicBezTo>
                    <a:cubicBezTo>
                      <a:pt x="473" y="1962"/>
                      <a:pt x="472" y="1966"/>
                      <a:pt x="470" y="1967"/>
                    </a:cubicBezTo>
                    <a:cubicBezTo>
                      <a:pt x="468" y="1969"/>
                      <a:pt x="468" y="1969"/>
                      <a:pt x="468" y="1975"/>
                    </a:cubicBezTo>
                    <a:cubicBezTo>
                      <a:pt x="468" y="1981"/>
                      <a:pt x="470" y="1979"/>
                      <a:pt x="471" y="1980"/>
                    </a:cubicBezTo>
                    <a:cubicBezTo>
                      <a:pt x="472" y="1980"/>
                      <a:pt x="473" y="1983"/>
                      <a:pt x="471" y="1984"/>
                    </a:cubicBezTo>
                    <a:cubicBezTo>
                      <a:pt x="469" y="1986"/>
                      <a:pt x="466" y="1992"/>
                      <a:pt x="468" y="1993"/>
                    </a:cubicBezTo>
                    <a:cubicBezTo>
                      <a:pt x="469" y="1995"/>
                      <a:pt x="472" y="1997"/>
                      <a:pt x="475" y="1998"/>
                    </a:cubicBezTo>
                    <a:cubicBezTo>
                      <a:pt x="477" y="1999"/>
                      <a:pt x="481" y="2000"/>
                      <a:pt x="481" y="2004"/>
                    </a:cubicBezTo>
                    <a:cubicBezTo>
                      <a:pt x="481" y="2009"/>
                      <a:pt x="481" y="2009"/>
                      <a:pt x="483" y="2011"/>
                    </a:cubicBezTo>
                    <a:cubicBezTo>
                      <a:pt x="486" y="2013"/>
                      <a:pt x="489" y="2015"/>
                      <a:pt x="491" y="2015"/>
                    </a:cubicBezTo>
                    <a:cubicBezTo>
                      <a:pt x="492" y="2015"/>
                      <a:pt x="497" y="2016"/>
                      <a:pt x="497" y="2021"/>
                    </a:cubicBezTo>
                    <a:cubicBezTo>
                      <a:pt x="496" y="2025"/>
                      <a:pt x="499" y="2026"/>
                      <a:pt x="502" y="2029"/>
                    </a:cubicBezTo>
                    <a:cubicBezTo>
                      <a:pt x="505" y="2032"/>
                      <a:pt x="511" y="2036"/>
                      <a:pt x="516" y="2034"/>
                    </a:cubicBezTo>
                    <a:cubicBezTo>
                      <a:pt x="520" y="2031"/>
                      <a:pt x="521" y="2031"/>
                      <a:pt x="523" y="2029"/>
                    </a:cubicBezTo>
                    <a:cubicBezTo>
                      <a:pt x="525" y="2028"/>
                      <a:pt x="531" y="2029"/>
                      <a:pt x="533" y="2031"/>
                    </a:cubicBezTo>
                    <a:cubicBezTo>
                      <a:pt x="534" y="2032"/>
                      <a:pt x="536" y="2037"/>
                      <a:pt x="533" y="2039"/>
                    </a:cubicBezTo>
                    <a:cubicBezTo>
                      <a:pt x="530" y="2042"/>
                      <a:pt x="528" y="2044"/>
                      <a:pt x="526" y="2046"/>
                    </a:cubicBezTo>
                    <a:cubicBezTo>
                      <a:pt x="524" y="2047"/>
                      <a:pt x="523" y="2048"/>
                      <a:pt x="523" y="2053"/>
                    </a:cubicBezTo>
                    <a:cubicBezTo>
                      <a:pt x="522" y="2058"/>
                      <a:pt x="523" y="2063"/>
                      <a:pt x="528" y="2062"/>
                    </a:cubicBezTo>
                    <a:cubicBezTo>
                      <a:pt x="532" y="2060"/>
                      <a:pt x="535" y="2057"/>
                      <a:pt x="535" y="2062"/>
                    </a:cubicBezTo>
                    <a:cubicBezTo>
                      <a:pt x="536" y="2067"/>
                      <a:pt x="537" y="2068"/>
                      <a:pt x="540" y="2067"/>
                    </a:cubicBezTo>
                    <a:cubicBezTo>
                      <a:pt x="544" y="2066"/>
                      <a:pt x="553" y="2063"/>
                      <a:pt x="555" y="2069"/>
                    </a:cubicBezTo>
                    <a:cubicBezTo>
                      <a:pt x="557" y="2075"/>
                      <a:pt x="556" y="2078"/>
                      <a:pt x="559" y="2075"/>
                    </a:cubicBezTo>
                    <a:cubicBezTo>
                      <a:pt x="562" y="2073"/>
                      <a:pt x="564" y="2074"/>
                      <a:pt x="564" y="2071"/>
                    </a:cubicBezTo>
                    <a:cubicBezTo>
                      <a:pt x="565" y="2067"/>
                      <a:pt x="572" y="2066"/>
                      <a:pt x="570" y="2071"/>
                    </a:cubicBezTo>
                    <a:cubicBezTo>
                      <a:pt x="569" y="2077"/>
                      <a:pt x="568" y="2082"/>
                      <a:pt x="571" y="2084"/>
                    </a:cubicBezTo>
                    <a:cubicBezTo>
                      <a:pt x="573" y="2086"/>
                      <a:pt x="576" y="2088"/>
                      <a:pt x="576" y="2090"/>
                    </a:cubicBezTo>
                    <a:cubicBezTo>
                      <a:pt x="576" y="2092"/>
                      <a:pt x="575" y="2098"/>
                      <a:pt x="576" y="2101"/>
                    </a:cubicBezTo>
                    <a:cubicBezTo>
                      <a:pt x="577" y="2104"/>
                      <a:pt x="579" y="2105"/>
                      <a:pt x="577" y="2107"/>
                    </a:cubicBezTo>
                    <a:cubicBezTo>
                      <a:pt x="576" y="2109"/>
                      <a:pt x="576" y="2111"/>
                      <a:pt x="578" y="2113"/>
                    </a:cubicBezTo>
                    <a:cubicBezTo>
                      <a:pt x="580" y="2116"/>
                      <a:pt x="585" y="2118"/>
                      <a:pt x="586" y="2114"/>
                    </a:cubicBezTo>
                    <a:cubicBezTo>
                      <a:pt x="587" y="2110"/>
                      <a:pt x="586" y="2112"/>
                      <a:pt x="588" y="2111"/>
                    </a:cubicBezTo>
                    <a:cubicBezTo>
                      <a:pt x="590" y="2110"/>
                      <a:pt x="590" y="2106"/>
                      <a:pt x="591" y="2103"/>
                    </a:cubicBezTo>
                    <a:cubicBezTo>
                      <a:pt x="591" y="2100"/>
                      <a:pt x="599" y="2094"/>
                      <a:pt x="600" y="2093"/>
                    </a:cubicBezTo>
                    <a:cubicBezTo>
                      <a:pt x="602" y="2092"/>
                      <a:pt x="607" y="2097"/>
                      <a:pt x="604" y="2100"/>
                    </a:cubicBezTo>
                    <a:cubicBezTo>
                      <a:pt x="602" y="2102"/>
                      <a:pt x="601" y="2103"/>
                      <a:pt x="600" y="2107"/>
                    </a:cubicBezTo>
                    <a:cubicBezTo>
                      <a:pt x="600" y="2110"/>
                      <a:pt x="600" y="2111"/>
                      <a:pt x="603" y="2113"/>
                    </a:cubicBezTo>
                    <a:cubicBezTo>
                      <a:pt x="605" y="2115"/>
                      <a:pt x="610" y="2117"/>
                      <a:pt x="611" y="2118"/>
                    </a:cubicBezTo>
                    <a:cubicBezTo>
                      <a:pt x="612" y="2120"/>
                      <a:pt x="616" y="2124"/>
                      <a:pt x="619" y="2119"/>
                    </a:cubicBezTo>
                    <a:cubicBezTo>
                      <a:pt x="622" y="2114"/>
                      <a:pt x="622" y="2114"/>
                      <a:pt x="623" y="2112"/>
                    </a:cubicBezTo>
                    <a:cubicBezTo>
                      <a:pt x="624" y="2109"/>
                      <a:pt x="628" y="2107"/>
                      <a:pt x="632" y="2108"/>
                    </a:cubicBezTo>
                    <a:cubicBezTo>
                      <a:pt x="635" y="2110"/>
                      <a:pt x="640" y="2111"/>
                      <a:pt x="640" y="2111"/>
                    </a:cubicBezTo>
                    <a:cubicBezTo>
                      <a:pt x="640" y="2111"/>
                      <a:pt x="644" y="2114"/>
                      <a:pt x="645" y="2118"/>
                    </a:cubicBezTo>
                    <a:cubicBezTo>
                      <a:pt x="645" y="2122"/>
                      <a:pt x="649" y="2122"/>
                      <a:pt x="650" y="2123"/>
                    </a:cubicBezTo>
                    <a:cubicBezTo>
                      <a:pt x="651" y="2123"/>
                      <a:pt x="655" y="2127"/>
                      <a:pt x="655" y="2128"/>
                    </a:cubicBezTo>
                    <a:cubicBezTo>
                      <a:pt x="656" y="2129"/>
                      <a:pt x="657" y="2129"/>
                      <a:pt x="661" y="2130"/>
                    </a:cubicBezTo>
                    <a:cubicBezTo>
                      <a:pt x="666" y="2131"/>
                      <a:pt x="665" y="2133"/>
                      <a:pt x="665" y="2136"/>
                    </a:cubicBezTo>
                    <a:cubicBezTo>
                      <a:pt x="665" y="2138"/>
                      <a:pt x="668" y="2140"/>
                      <a:pt x="670" y="2142"/>
                    </a:cubicBezTo>
                    <a:cubicBezTo>
                      <a:pt x="672" y="2144"/>
                      <a:pt x="675" y="2145"/>
                      <a:pt x="677" y="2145"/>
                    </a:cubicBezTo>
                    <a:cubicBezTo>
                      <a:pt x="680" y="2146"/>
                      <a:pt x="685" y="2144"/>
                      <a:pt x="685" y="2144"/>
                    </a:cubicBezTo>
                    <a:cubicBezTo>
                      <a:pt x="685" y="2144"/>
                      <a:pt x="688" y="2145"/>
                      <a:pt x="689" y="2146"/>
                    </a:cubicBezTo>
                    <a:cubicBezTo>
                      <a:pt x="690" y="2148"/>
                      <a:pt x="693" y="2148"/>
                      <a:pt x="694" y="2147"/>
                    </a:cubicBezTo>
                    <a:cubicBezTo>
                      <a:pt x="695" y="2147"/>
                      <a:pt x="697" y="2146"/>
                      <a:pt x="700" y="2147"/>
                    </a:cubicBezTo>
                    <a:cubicBezTo>
                      <a:pt x="702" y="2149"/>
                      <a:pt x="704" y="2150"/>
                      <a:pt x="707" y="2152"/>
                    </a:cubicBezTo>
                    <a:cubicBezTo>
                      <a:pt x="709" y="2153"/>
                      <a:pt x="710" y="2153"/>
                      <a:pt x="712" y="2150"/>
                    </a:cubicBezTo>
                    <a:cubicBezTo>
                      <a:pt x="714" y="2148"/>
                      <a:pt x="717" y="2142"/>
                      <a:pt x="722" y="2145"/>
                    </a:cubicBezTo>
                    <a:cubicBezTo>
                      <a:pt x="726" y="2147"/>
                      <a:pt x="737" y="2154"/>
                      <a:pt x="741" y="2151"/>
                    </a:cubicBezTo>
                    <a:cubicBezTo>
                      <a:pt x="743" y="2150"/>
                      <a:pt x="749" y="2148"/>
                      <a:pt x="752" y="2150"/>
                    </a:cubicBezTo>
                    <a:cubicBezTo>
                      <a:pt x="755" y="2153"/>
                      <a:pt x="756" y="2154"/>
                      <a:pt x="759" y="2153"/>
                    </a:cubicBezTo>
                    <a:cubicBezTo>
                      <a:pt x="762" y="2152"/>
                      <a:pt x="770" y="2148"/>
                      <a:pt x="771" y="2147"/>
                    </a:cubicBezTo>
                    <a:cubicBezTo>
                      <a:pt x="773" y="2147"/>
                      <a:pt x="778" y="2146"/>
                      <a:pt x="780" y="2144"/>
                    </a:cubicBezTo>
                    <a:cubicBezTo>
                      <a:pt x="783" y="2142"/>
                      <a:pt x="787" y="2145"/>
                      <a:pt x="790" y="2145"/>
                    </a:cubicBezTo>
                    <a:cubicBezTo>
                      <a:pt x="793" y="2146"/>
                      <a:pt x="796" y="2147"/>
                      <a:pt x="797" y="2149"/>
                    </a:cubicBezTo>
                    <a:cubicBezTo>
                      <a:pt x="798" y="2150"/>
                      <a:pt x="799" y="2165"/>
                      <a:pt x="799" y="2170"/>
                    </a:cubicBezTo>
                    <a:cubicBezTo>
                      <a:pt x="799" y="2174"/>
                      <a:pt x="796" y="2182"/>
                      <a:pt x="792" y="2186"/>
                    </a:cubicBezTo>
                    <a:cubicBezTo>
                      <a:pt x="788" y="2191"/>
                      <a:pt x="786" y="2195"/>
                      <a:pt x="786" y="2198"/>
                    </a:cubicBezTo>
                    <a:cubicBezTo>
                      <a:pt x="786" y="2201"/>
                      <a:pt x="791" y="2211"/>
                      <a:pt x="793" y="2216"/>
                    </a:cubicBezTo>
                    <a:cubicBezTo>
                      <a:pt x="796" y="2221"/>
                      <a:pt x="797" y="2224"/>
                      <a:pt x="804" y="2224"/>
                    </a:cubicBezTo>
                    <a:cubicBezTo>
                      <a:pt x="811" y="2223"/>
                      <a:pt x="815" y="2220"/>
                      <a:pt x="814" y="2213"/>
                    </a:cubicBezTo>
                    <a:cubicBezTo>
                      <a:pt x="813" y="2206"/>
                      <a:pt x="812" y="2205"/>
                      <a:pt x="814" y="2202"/>
                    </a:cubicBezTo>
                    <a:cubicBezTo>
                      <a:pt x="817" y="2198"/>
                      <a:pt x="818" y="2192"/>
                      <a:pt x="818" y="2189"/>
                    </a:cubicBezTo>
                    <a:cubicBezTo>
                      <a:pt x="819" y="2187"/>
                      <a:pt x="821" y="2186"/>
                      <a:pt x="824" y="2183"/>
                    </a:cubicBezTo>
                    <a:cubicBezTo>
                      <a:pt x="828" y="2179"/>
                      <a:pt x="841" y="2172"/>
                      <a:pt x="844" y="2168"/>
                    </a:cubicBezTo>
                    <a:cubicBezTo>
                      <a:pt x="847" y="2163"/>
                      <a:pt x="845" y="2162"/>
                      <a:pt x="849" y="2160"/>
                    </a:cubicBezTo>
                    <a:cubicBezTo>
                      <a:pt x="853" y="2158"/>
                      <a:pt x="855" y="2158"/>
                      <a:pt x="858" y="2156"/>
                    </a:cubicBezTo>
                    <a:cubicBezTo>
                      <a:pt x="860" y="2153"/>
                      <a:pt x="864" y="2152"/>
                      <a:pt x="867" y="2153"/>
                    </a:cubicBezTo>
                    <a:cubicBezTo>
                      <a:pt x="870" y="2153"/>
                      <a:pt x="872" y="2155"/>
                      <a:pt x="874" y="2153"/>
                    </a:cubicBezTo>
                    <a:cubicBezTo>
                      <a:pt x="875" y="2151"/>
                      <a:pt x="875" y="2149"/>
                      <a:pt x="881" y="2152"/>
                    </a:cubicBezTo>
                    <a:cubicBezTo>
                      <a:pt x="887" y="2155"/>
                      <a:pt x="894" y="2162"/>
                      <a:pt x="895" y="2162"/>
                    </a:cubicBezTo>
                    <a:cubicBezTo>
                      <a:pt x="897" y="2162"/>
                      <a:pt x="901" y="2162"/>
                      <a:pt x="904" y="2162"/>
                    </a:cubicBezTo>
                    <a:cubicBezTo>
                      <a:pt x="906" y="2161"/>
                      <a:pt x="909" y="2161"/>
                      <a:pt x="912" y="2164"/>
                    </a:cubicBezTo>
                    <a:cubicBezTo>
                      <a:pt x="915" y="2167"/>
                      <a:pt x="922" y="2170"/>
                      <a:pt x="924" y="2173"/>
                    </a:cubicBezTo>
                    <a:cubicBezTo>
                      <a:pt x="926" y="2175"/>
                      <a:pt x="934" y="2179"/>
                      <a:pt x="936" y="2179"/>
                    </a:cubicBezTo>
                    <a:cubicBezTo>
                      <a:pt x="938" y="2179"/>
                      <a:pt x="947" y="2179"/>
                      <a:pt x="948" y="2181"/>
                    </a:cubicBezTo>
                    <a:cubicBezTo>
                      <a:pt x="950" y="2183"/>
                      <a:pt x="957" y="2190"/>
                      <a:pt x="960" y="2192"/>
                    </a:cubicBezTo>
                    <a:cubicBezTo>
                      <a:pt x="963" y="2195"/>
                      <a:pt x="966" y="2196"/>
                      <a:pt x="969" y="2198"/>
                    </a:cubicBezTo>
                    <a:cubicBezTo>
                      <a:pt x="972" y="2200"/>
                      <a:pt x="973" y="2202"/>
                      <a:pt x="975" y="2199"/>
                    </a:cubicBezTo>
                    <a:cubicBezTo>
                      <a:pt x="977" y="2195"/>
                      <a:pt x="976" y="2194"/>
                      <a:pt x="980" y="2194"/>
                    </a:cubicBezTo>
                    <a:cubicBezTo>
                      <a:pt x="983" y="2195"/>
                      <a:pt x="988" y="2196"/>
                      <a:pt x="989" y="2193"/>
                    </a:cubicBezTo>
                    <a:cubicBezTo>
                      <a:pt x="991" y="2189"/>
                      <a:pt x="997" y="2189"/>
                      <a:pt x="999" y="2194"/>
                    </a:cubicBezTo>
                    <a:cubicBezTo>
                      <a:pt x="1001" y="2198"/>
                      <a:pt x="1002" y="2202"/>
                      <a:pt x="1005" y="2204"/>
                    </a:cubicBezTo>
                    <a:cubicBezTo>
                      <a:pt x="1008" y="2206"/>
                      <a:pt x="1012" y="2206"/>
                      <a:pt x="1009" y="2208"/>
                    </a:cubicBezTo>
                    <a:cubicBezTo>
                      <a:pt x="1007" y="2211"/>
                      <a:pt x="1004" y="2214"/>
                      <a:pt x="1007" y="2216"/>
                    </a:cubicBezTo>
                    <a:cubicBezTo>
                      <a:pt x="1009" y="2217"/>
                      <a:pt x="1011" y="2221"/>
                      <a:pt x="1009" y="2225"/>
                    </a:cubicBezTo>
                    <a:cubicBezTo>
                      <a:pt x="1007" y="2229"/>
                      <a:pt x="1007" y="2235"/>
                      <a:pt x="1008" y="2239"/>
                    </a:cubicBezTo>
                    <a:cubicBezTo>
                      <a:pt x="1008" y="2240"/>
                      <a:pt x="1008" y="2240"/>
                      <a:pt x="1008" y="2241"/>
                    </a:cubicBezTo>
                    <a:cubicBezTo>
                      <a:pt x="1008" y="2241"/>
                      <a:pt x="1008" y="2241"/>
                      <a:pt x="1008" y="2241"/>
                    </a:cubicBezTo>
                    <a:cubicBezTo>
                      <a:pt x="1010" y="2245"/>
                      <a:pt x="1011" y="2246"/>
                      <a:pt x="1016" y="2246"/>
                    </a:cubicBezTo>
                    <a:cubicBezTo>
                      <a:pt x="1021" y="2247"/>
                      <a:pt x="1029" y="2249"/>
                      <a:pt x="1031" y="2249"/>
                    </a:cubicBezTo>
                    <a:cubicBezTo>
                      <a:pt x="1033" y="2250"/>
                      <a:pt x="1037" y="2254"/>
                      <a:pt x="1039" y="2257"/>
                    </a:cubicBezTo>
                    <a:cubicBezTo>
                      <a:pt x="1041" y="2261"/>
                      <a:pt x="1042" y="2267"/>
                      <a:pt x="1038" y="2270"/>
                    </a:cubicBezTo>
                    <a:cubicBezTo>
                      <a:pt x="1033" y="2274"/>
                      <a:pt x="1032" y="2275"/>
                      <a:pt x="1032" y="2283"/>
                    </a:cubicBezTo>
                    <a:cubicBezTo>
                      <a:pt x="1032" y="2290"/>
                      <a:pt x="1035" y="2297"/>
                      <a:pt x="1035" y="2300"/>
                    </a:cubicBezTo>
                    <a:cubicBezTo>
                      <a:pt x="1034" y="2303"/>
                      <a:pt x="1039" y="2307"/>
                      <a:pt x="1044" y="2307"/>
                    </a:cubicBezTo>
                    <a:cubicBezTo>
                      <a:pt x="1048" y="2306"/>
                      <a:pt x="1058" y="2307"/>
                      <a:pt x="1063" y="2307"/>
                    </a:cubicBezTo>
                    <a:cubicBezTo>
                      <a:pt x="1068" y="2307"/>
                      <a:pt x="1074" y="2303"/>
                      <a:pt x="1078" y="2306"/>
                    </a:cubicBezTo>
                    <a:cubicBezTo>
                      <a:pt x="1082" y="2308"/>
                      <a:pt x="1083" y="2312"/>
                      <a:pt x="1090" y="2313"/>
                    </a:cubicBezTo>
                    <a:cubicBezTo>
                      <a:pt x="1096" y="2313"/>
                      <a:pt x="1104" y="2317"/>
                      <a:pt x="1106" y="2319"/>
                    </a:cubicBezTo>
                    <a:cubicBezTo>
                      <a:pt x="1108" y="2320"/>
                      <a:pt x="1113" y="2321"/>
                      <a:pt x="1117" y="2320"/>
                    </a:cubicBezTo>
                    <a:cubicBezTo>
                      <a:pt x="1121" y="2318"/>
                      <a:pt x="1138" y="2320"/>
                      <a:pt x="1142" y="2320"/>
                    </a:cubicBezTo>
                    <a:cubicBezTo>
                      <a:pt x="1146" y="2320"/>
                      <a:pt x="1156" y="2320"/>
                      <a:pt x="1160" y="2319"/>
                    </a:cubicBezTo>
                    <a:cubicBezTo>
                      <a:pt x="1164" y="2319"/>
                      <a:pt x="1171" y="2317"/>
                      <a:pt x="1174" y="2311"/>
                    </a:cubicBezTo>
                    <a:cubicBezTo>
                      <a:pt x="1177" y="2306"/>
                      <a:pt x="1181" y="2296"/>
                      <a:pt x="1188" y="2290"/>
                    </a:cubicBezTo>
                    <a:cubicBezTo>
                      <a:pt x="1196" y="2285"/>
                      <a:pt x="1204" y="2276"/>
                      <a:pt x="1205" y="2275"/>
                    </a:cubicBezTo>
                    <a:cubicBezTo>
                      <a:pt x="1206" y="2275"/>
                      <a:pt x="1208" y="2270"/>
                      <a:pt x="1212" y="2270"/>
                    </a:cubicBezTo>
                    <a:cubicBezTo>
                      <a:pt x="1216" y="2270"/>
                      <a:pt x="1229" y="2270"/>
                      <a:pt x="1229" y="2270"/>
                    </a:cubicBezTo>
                    <a:cubicBezTo>
                      <a:pt x="1229" y="2270"/>
                      <a:pt x="1232" y="2271"/>
                      <a:pt x="1240" y="2270"/>
                    </a:cubicBezTo>
                    <a:cubicBezTo>
                      <a:pt x="1249" y="2269"/>
                      <a:pt x="1258" y="2264"/>
                      <a:pt x="1264" y="2261"/>
                    </a:cubicBezTo>
                    <a:cubicBezTo>
                      <a:pt x="1270" y="2258"/>
                      <a:pt x="1281" y="2256"/>
                      <a:pt x="1287" y="2254"/>
                    </a:cubicBezTo>
                    <a:cubicBezTo>
                      <a:pt x="1292" y="2253"/>
                      <a:pt x="1295" y="2252"/>
                      <a:pt x="1297" y="2248"/>
                    </a:cubicBezTo>
                    <a:cubicBezTo>
                      <a:pt x="1300" y="2244"/>
                      <a:pt x="1305" y="2237"/>
                      <a:pt x="1307" y="2235"/>
                    </a:cubicBezTo>
                    <a:cubicBezTo>
                      <a:pt x="1308" y="2233"/>
                      <a:pt x="1310" y="2231"/>
                      <a:pt x="1316" y="2231"/>
                    </a:cubicBezTo>
                    <a:cubicBezTo>
                      <a:pt x="1321" y="2230"/>
                      <a:pt x="1332" y="2228"/>
                      <a:pt x="1336" y="2227"/>
                    </a:cubicBezTo>
                    <a:cubicBezTo>
                      <a:pt x="1339" y="2225"/>
                      <a:pt x="1343" y="2223"/>
                      <a:pt x="1348" y="2229"/>
                    </a:cubicBezTo>
                    <a:cubicBezTo>
                      <a:pt x="1352" y="2235"/>
                      <a:pt x="1359" y="2236"/>
                      <a:pt x="1361" y="2236"/>
                    </a:cubicBezTo>
                    <a:cubicBezTo>
                      <a:pt x="1363" y="2236"/>
                      <a:pt x="1371" y="2235"/>
                      <a:pt x="1372" y="2235"/>
                    </a:cubicBezTo>
                    <a:cubicBezTo>
                      <a:pt x="1373" y="2235"/>
                      <a:pt x="1378" y="2237"/>
                      <a:pt x="1378" y="2240"/>
                    </a:cubicBezTo>
                    <a:cubicBezTo>
                      <a:pt x="1379" y="2243"/>
                      <a:pt x="1380" y="2246"/>
                      <a:pt x="1383" y="2245"/>
                    </a:cubicBezTo>
                    <a:cubicBezTo>
                      <a:pt x="1386" y="2244"/>
                      <a:pt x="1387" y="2241"/>
                      <a:pt x="1390" y="2243"/>
                    </a:cubicBezTo>
                    <a:cubicBezTo>
                      <a:pt x="1393" y="2245"/>
                      <a:pt x="1396" y="2248"/>
                      <a:pt x="1395" y="2252"/>
                    </a:cubicBezTo>
                    <a:cubicBezTo>
                      <a:pt x="1394" y="2254"/>
                      <a:pt x="1395" y="2253"/>
                      <a:pt x="1398" y="2255"/>
                    </a:cubicBezTo>
                    <a:cubicBezTo>
                      <a:pt x="1401" y="2256"/>
                      <a:pt x="1407" y="2263"/>
                      <a:pt x="1409" y="2263"/>
                    </a:cubicBezTo>
                    <a:cubicBezTo>
                      <a:pt x="1411" y="2264"/>
                      <a:pt x="1414" y="2265"/>
                      <a:pt x="1414" y="2269"/>
                    </a:cubicBezTo>
                    <a:cubicBezTo>
                      <a:pt x="1415" y="2272"/>
                      <a:pt x="1418" y="2273"/>
                      <a:pt x="1420" y="2273"/>
                    </a:cubicBezTo>
                    <a:cubicBezTo>
                      <a:pt x="1423" y="2273"/>
                      <a:pt x="1430" y="2278"/>
                      <a:pt x="1430" y="2278"/>
                    </a:cubicBezTo>
                    <a:cubicBezTo>
                      <a:pt x="1430" y="2278"/>
                      <a:pt x="1430" y="2290"/>
                      <a:pt x="1436" y="2287"/>
                    </a:cubicBezTo>
                    <a:cubicBezTo>
                      <a:pt x="1443" y="2284"/>
                      <a:pt x="1443" y="2283"/>
                      <a:pt x="1447" y="2281"/>
                    </a:cubicBezTo>
                    <a:cubicBezTo>
                      <a:pt x="1450" y="2280"/>
                      <a:pt x="1452" y="2277"/>
                      <a:pt x="1453" y="2276"/>
                    </a:cubicBezTo>
                    <a:cubicBezTo>
                      <a:pt x="1455" y="2275"/>
                      <a:pt x="1455" y="2276"/>
                      <a:pt x="1457" y="2277"/>
                    </a:cubicBezTo>
                    <a:cubicBezTo>
                      <a:pt x="1458" y="2277"/>
                      <a:pt x="1460" y="2277"/>
                      <a:pt x="1460" y="2272"/>
                    </a:cubicBezTo>
                    <a:cubicBezTo>
                      <a:pt x="1460" y="2268"/>
                      <a:pt x="1462" y="2263"/>
                      <a:pt x="1460" y="2260"/>
                    </a:cubicBezTo>
                    <a:cubicBezTo>
                      <a:pt x="1458" y="2257"/>
                      <a:pt x="1458" y="2255"/>
                      <a:pt x="1459" y="2253"/>
                    </a:cubicBezTo>
                    <a:cubicBezTo>
                      <a:pt x="1461" y="2250"/>
                      <a:pt x="1466" y="2243"/>
                      <a:pt x="1467" y="2242"/>
                    </a:cubicBezTo>
                    <a:cubicBezTo>
                      <a:pt x="1468" y="2241"/>
                      <a:pt x="1473" y="2244"/>
                      <a:pt x="1474" y="2240"/>
                    </a:cubicBezTo>
                    <a:cubicBezTo>
                      <a:pt x="1475" y="2237"/>
                      <a:pt x="1475" y="2233"/>
                      <a:pt x="1476" y="2230"/>
                    </a:cubicBezTo>
                    <a:cubicBezTo>
                      <a:pt x="1476" y="2227"/>
                      <a:pt x="1476" y="2225"/>
                      <a:pt x="1481" y="2225"/>
                    </a:cubicBezTo>
                    <a:cubicBezTo>
                      <a:pt x="1486" y="2224"/>
                      <a:pt x="1493" y="2227"/>
                      <a:pt x="1493" y="2231"/>
                    </a:cubicBezTo>
                    <a:cubicBezTo>
                      <a:pt x="1493" y="2234"/>
                      <a:pt x="1493" y="2238"/>
                      <a:pt x="1495" y="2240"/>
                    </a:cubicBezTo>
                    <a:cubicBezTo>
                      <a:pt x="1497" y="2242"/>
                      <a:pt x="1501" y="2246"/>
                      <a:pt x="1503" y="2243"/>
                    </a:cubicBezTo>
                    <a:cubicBezTo>
                      <a:pt x="1506" y="2241"/>
                      <a:pt x="1507" y="2242"/>
                      <a:pt x="1508" y="2245"/>
                    </a:cubicBezTo>
                    <a:cubicBezTo>
                      <a:pt x="1509" y="2249"/>
                      <a:pt x="1511" y="2252"/>
                      <a:pt x="1512" y="2255"/>
                    </a:cubicBezTo>
                    <a:cubicBezTo>
                      <a:pt x="1513" y="2258"/>
                      <a:pt x="1516" y="2258"/>
                      <a:pt x="1518" y="2258"/>
                    </a:cubicBezTo>
                    <a:cubicBezTo>
                      <a:pt x="1520" y="2258"/>
                      <a:pt x="1524" y="2260"/>
                      <a:pt x="1522" y="2265"/>
                    </a:cubicBezTo>
                    <a:cubicBezTo>
                      <a:pt x="1521" y="2270"/>
                      <a:pt x="1519" y="2276"/>
                      <a:pt x="1521" y="2279"/>
                    </a:cubicBezTo>
                    <a:cubicBezTo>
                      <a:pt x="1523" y="2282"/>
                      <a:pt x="1525" y="2285"/>
                      <a:pt x="1524" y="2288"/>
                    </a:cubicBezTo>
                    <a:cubicBezTo>
                      <a:pt x="1524" y="2290"/>
                      <a:pt x="1524" y="2302"/>
                      <a:pt x="1526" y="2304"/>
                    </a:cubicBezTo>
                    <a:cubicBezTo>
                      <a:pt x="1529" y="2306"/>
                      <a:pt x="1529" y="2306"/>
                      <a:pt x="1529" y="2311"/>
                    </a:cubicBezTo>
                    <a:cubicBezTo>
                      <a:pt x="1529" y="2315"/>
                      <a:pt x="1527" y="2316"/>
                      <a:pt x="1530" y="2319"/>
                    </a:cubicBezTo>
                    <a:cubicBezTo>
                      <a:pt x="1533" y="2323"/>
                      <a:pt x="1534" y="2323"/>
                      <a:pt x="1536" y="2321"/>
                    </a:cubicBezTo>
                    <a:cubicBezTo>
                      <a:pt x="1538" y="2318"/>
                      <a:pt x="1539" y="2317"/>
                      <a:pt x="1539" y="2314"/>
                    </a:cubicBezTo>
                    <a:cubicBezTo>
                      <a:pt x="1539" y="2312"/>
                      <a:pt x="1542" y="2307"/>
                      <a:pt x="1546" y="2311"/>
                    </a:cubicBezTo>
                    <a:cubicBezTo>
                      <a:pt x="1550" y="2315"/>
                      <a:pt x="1552" y="2316"/>
                      <a:pt x="1551" y="2318"/>
                    </a:cubicBezTo>
                    <a:cubicBezTo>
                      <a:pt x="1551" y="2319"/>
                      <a:pt x="1553" y="2318"/>
                      <a:pt x="1554" y="2317"/>
                    </a:cubicBezTo>
                    <a:cubicBezTo>
                      <a:pt x="1556" y="2316"/>
                      <a:pt x="1560" y="2318"/>
                      <a:pt x="1559" y="2322"/>
                    </a:cubicBezTo>
                    <a:cubicBezTo>
                      <a:pt x="1558" y="2327"/>
                      <a:pt x="1557" y="2328"/>
                      <a:pt x="1558" y="2334"/>
                    </a:cubicBezTo>
                    <a:cubicBezTo>
                      <a:pt x="1559" y="2340"/>
                      <a:pt x="1562" y="2338"/>
                      <a:pt x="1559" y="2344"/>
                    </a:cubicBezTo>
                    <a:cubicBezTo>
                      <a:pt x="1556" y="2351"/>
                      <a:pt x="1550" y="2356"/>
                      <a:pt x="1555" y="2360"/>
                    </a:cubicBezTo>
                    <a:cubicBezTo>
                      <a:pt x="1560" y="2364"/>
                      <a:pt x="1560" y="2366"/>
                      <a:pt x="1558" y="2369"/>
                    </a:cubicBezTo>
                    <a:cubicBezTo>
                      <a:pt x="1557" y="2372"/>
                      <a:pt x="1556" y="2374"/>
                      <a:pt x="1556" y="2378"/>
                    </a:cubicBezTo>
                    <a:cubicBezTo>
                      <a:pt x="1556" y="2381"/>
                      <a:pt x="1557" y="2401"/>
                      <a:pt x="1557" y="2405"/>
                    </a:cubicBezTo>
                    <a:cubicBezTo>
                      <a:pt x="1556" y="2409"/>
                      <a:pt x="1553" y="2408"/>
                      <a:pt x="1553" y="2413"/>
                    </a:cubicBezTo>
                    <a:cubicBezTo>
                      <a:pt x="1553" y="2418"/>
                      <a:pt x="1553" y="2423"/>
                      <a:pt x="1550" y="2425"/>
                    </a:cubicBezTo>
                    <a:cubicBezTo>
                      <a:pt x="1548" y="2428"/>
                      <a:pt x="1542" y="2431"/>
                      <a:pt x="1544" y="2434"/>
                    </a:cubicBezTo>
                    <a:cubicBezTo>
                      <a:pt x="1546" y="2437"/>
                      <a:pt x="1547" y="2441"/>
                      <a:pt x="1547" y="2441"/>
                    </a:cubicBezTo>
                    <a:cubicBezTo>
                      <a:pt x="1547" y="2441"/>
                      <a:pt x="1546" y="2447"/>
                      <a:pt x="1542" y="2446"/>
                    </a:cubicBezTo>
                    <a:cubicBezTo>
                      <a:pt x="1538" y="2445"/>
                      <a:pt x="1534" y="2441"/>
                      <a:pt x="1533" y="2447"/>
                    </a:cubicBezTo>
                    <a:cubicBezTo>
                      <a:pt x="1531" y="2454"/>
                      <a:pt x="1531" y="2453"/>
                      <a:pt x="1534" y="2456"/>
                    </a:cubicBezTo>
                    <a:cubicBezTo>
                      <a:pt x="1537" y="2459"/>
                      <a:pt x="1540" y="2464"/>
                      <a:pt x="1541" y="2467"/>
                    </a:cubicBezTo>
                    <a:cubicBezTo>
                      <a:pt x="1542" y="2471"/>
                      <a:pt x="1538" y="2474"/>
                      <a:pt x="1536" y="2472"/>
                    </a:cubicBezTo>
                    <a:cubicBezTo>
                      <a:pt x="1533" y="2471"/>
                      <a:pt x="1529" y="2471"/>
                      <a:pt x="1526" y="2475"/>
                    </a:cubicBezTo>
                    <a:cubicBezTo>
                      <a:pt x="1522" y="2479"/>
                      <a:pt x="1515" y="2492"/>
                      <a:pt x="1513" y="2494"/>
                    </a:cubicBezTo>
                    <a:cubicBezTo>
                      <a:pt x="1510" y="2496"/>
                      <a:pt x="1505" y="2495"/>
                      <a:pt x="1504" y="2492"/>
                    </a:cubicBezTo>
                    <a:cubicBezTo>
                      <a:pt x="1503" y="2488"/>
                      <a:pt x="1503" y="2488"/>
                      <a:pt x="1501" y="2487"/>
                    </a:cubicBezTo>
                    <a:cubicBezTo>
                      <a:pt x="1498" y="2486"/>
                      <a:pt x="1496" y="2483"/>
                      <a:pt x="1495" y="2489"/>
                    </a:cubicBezTo>
                    <a:cubicBezTo>
                      <a:pt x="1495" y="2495"/>
                      <a:pt x="1495" y="2494"/>
                      <a:pt x="1494" y="2496"/>
                    </a:cubicBezTo>
                    <a:cubicBezTo>
                      <a:pt x="1492" y="2497"/>
                      <a:pt x="1492" y="2497"/>
                      <a:pt x="1493" y="2499"/>
                    </a:cubicBezTo>
                    <a:cubicBezTo>
                      <a:pt x="1494" y="2501"/>
                      <a:pt x="1495" y="2504"/>
                      <a:pt x="1492" y="2507"/>
                    </a:cubicBezTo>
                    <a:cubicBezTo>
                      <a:pt x="1489" y="2509"/>
                      <a:pt x="1482" y="2516"/>
                      <a:pt x="1480" y="2519"/>
                    </a:cubicBezTo>
                    <a:cubicBezTo>
                      <a:pt x="1477" y="2521"/>
                      <a:pt x="1473" y="2518"/>
                      <a:pt x="1471" y="2517"/>
                    </a:cubicBezTo>
                    <a:cubicBezTo>
                      <a:pt x="1468" y="2516"/>
                      <a:pt x="1465" y="2517"/>
                      <a:pt x="1464" y="2520"/>
                    </a:cubicBezTo>
                    <a:cubicBezTo>
                      <a:pt x="1463" y="2523"/>
                      <a:pt x="1459" y="2529"/>
                      <a:pt x="1459" y="2533"/>
                    </a:cubicBezTo>
                    <a:cubicBezTo>
                      <a:pt x="1458" y="2536"/>
                      <a:pt x="1455" y="2540"/>
                      <a:pt x="1457" y="2544"/>
                    </a:cubicBezTo>
                    <a:cubicBezTo>
                      <a:pt x="1459" y="2549"/>
                      <a:pt x="1459" y="2553"/>
                      <a:pt x="1459" y="2555"/>
                    </a:cubicBezTo>
                    <a:cubicBezTo>
                      <a:pt x="1458" y="2557"/>
                      <a:pt x="1454" y="2553"/>
                      <a:pt x="1452" y="2554"/>
                    </a:cubicBezTo>
                    <a:cubicBezTo>
                      <a:pt x="1451" y="2554"/>
                      <a:pt x="1442" y="2559"/>
                      <a:pt x="1442" y="2559"/>
                    </a:cubicBezTo>
                    <a:cubicBezTo>
                      <a:pt x="1442" y="2559"/>
                      <a:pt x="1442" y="2558"/>
                      <a:pt x="1440" y="2567"/>
                    </a:cubicBezTo>
                    <a:cubicBezTo>
                      <a:pt x="1438" y="2577"/>
                      <a:pt x="1439" y="2576"/>
                      <a:pt x="1437" y="2581"/>
                    </a:cubicBezTo>
                    <a:cubicBezTo>
                      <a:pt x="1435" y="2585"/>
                      <a:pt x="1436" y="2587"/>
                      <a:pt x="1437" y="2587"/>
                    </a:cubicBezTo>
                    <a:cubicBezTo>
                      <a:pt x="1437" y="2588"/>
                      <a:pt x="1438" y="2591"/>
                      <a:pt x="1441" y="2590"/>
                    </a:cubicBezTo>
                    <a:cubicBezTo>
                      <a:pt x="1444" y="2589"/>
                      <a:pt x="1446" y="2590"/>
                      <a:pt x="1446" y="2590"/>
                    </a:cubicBezTo>
                    <a:cubicBezTo>
                      <a:pt x="1446" y="2590"/>
                      <a:pt x="1447" y="2591"/>
                      <a:pt x="1447" y="2595"/>
                    </a:cubicBezTo>
                    <a:cubicBezTo>
                      <a:pt x="1447" y="2600"/>
                      <a:pt x="1447" y="2601"/>
                      <a:pt x="1446" y="2601"/>
                    </a:cubicBezTo>
                    <a:cubicBezTo>
                      <a:pt x="1444" y="2602"/>
                      <a:pt x="1444" y="2604"/>
                      <a:pt x="1447" y="2605"/>
                    </a:cubicBezTo>
                    <a:cubicBezTo>
                      <a:pt x="1450" y="2606"/>
                      <a:pt x="1450" y="2609"/>
                      <a:pt x="1448" y="2611"/>
                    </a:cubicBezTo>
                    <a:cubicBezTo>
                      <a:pt x="1446" y="2614"/>
                      <a:pt x="1444" y="2617"/>
                      <a:pt x="1439" y="2621"/>
                    </a:cubicBezTo>
                    <a:cubicBezTo>
                      <a:pt x="1435" y="2625"/>
                      <a:pt x="1431" y="2630"/>
                      <a:pt x="1428" y="2632"/>
                    </a:cubicBezTo>
                    <a:cubicBezTo>
                      <a:pt x="1426" y="2634"/>
                      <a:pt x="1429" y="2636"/>
                      <a:pt x="1431" y="2638"/>
                    </a:cubicBezTo>
                    <a:cubicBezTo>
                      <a:pt x="1432" y="2639"/>
                      <a:pt x="1432" y="2648"/>
                      <a:pt x="1442" y="2641"/>
                    </a:cubicBezTo>
                    <a:cubicBezTo>
                      <a:pt x="1452" y="2635"/>
                      <a:pt x="1459" y="2628"/>
                      <a:pt x="1467" y="2628"/>
                    </a:cubicBezTo>
                    <a:cubicBezTo>
                      <a:pt x="1474" y="2628"/>
                      <a:pt x="1481" y="2628"/>
                      <a:pt x="1484" y="2626"/>
                    </a:cubicBezTo>
                    <a:cubicBezTo>
                      <a:pt x="1487" y="2624"/>
                      <a:pt x="1500" y="2626"/>
                      <a:pt x="1504" y="2625"/>
                    </a:cubicBezTo>
                    <a:cubicBezTo>
                      <a:pt x="1508" y="2624"/>
                      <a:pt x="1516" y="2627"/>
                      <a:pt x="1518" y="2626"/>
                    </a:cubicBezTo>
                    <a:cubicBezTo>
                      <a:pt x="1518" y="2626"/>
                      <a:pt x="1518" y="2628"/>
                      <a:pt x="1519" y="2629"/>
                    </a:cubicBezTo>
                    <a:cubicBezTo>
                      <a:pt x="1520" y="2629"/>
                      <a:pt x="1525" y="2631"/>
                      <a:pt x="1527" y="2628"/>
                    </a:cubicBezTo>
                    <a:cubicBezTo>
                      <a:pt x="1530" y="2626"/>
                      <a:pt x="1540" y="2629"/>
                      <a:pt x="1540" y="2629"/>
                    </a:cubicBezTo>
                    <a:cubicBezTo>
                      <a:pt x="1540" y="2629"/>
                      <a:pt x="1536" y="2634"/>
                      <a:pt x="1530" y="2637"/>
                    </a:cubicBezTo>
                    <a:cubicBezTo>
                      <a:pt x="1524" y="2640"/>
                      <a:pt x="1522" y="2641"/>
                      <a:pt x="1522" y="2643"/>
                    </a:cubicBezTo>
                    <a:cubicBezTo>
                      <a:pt x="1522" y="2645"/>
                      <a:pt x="1522" y="2646"/>
                      <a:pt x="1522" y="2650"/>
                    </a:cubicBezTo>
                    <a:cubicBezTo>
                      <a:pt x="1522" y="2654"/>
                      <a:pt x="1521" y="2655"/>
                      <a:pt x="1524" y="2656"/>
                    </a:cubicBezTo>
                    <a:cubicBezTo>
                      <a:pt x="1526" y="2656"/>
                      <a:pt x="1530" y="2655"/>
                      <a:pt x="1530" y="2660"/>
                    </a:cubicBezTo>
                    <a:cubicBezTo>
                      <a:pt x="1531" y="2666"/>
                      <a:pt x="1533" y="2668"/>
                      <a:pt x="1534" y="2670"/>
                    </a:cubicBezTo>
                    <a:cubicBezTo>
                      <a:pt x="1534" y="2673"/>
                      <a:pt x="1536" y="2677"/>
                      <a:pt x="1533" y="2679"/>
                    </a:cubicBezTo>
                    <a:cubicBezTo>
                      <a:pt x="1531" y="2681"/>
                      <a:pt x="1531" y="2682"/>
                      <a:pt x="1533" y="2683"/>
                    </a:cubicBezTo>
                    <a:cubicBezTo>
                      <a:pt x="1535" y="2684"/>
                      <a:pt x="1534" y="2685"/>
                      <a:pt x="1534" y="2690"/>
                    </a:cubicBezTo>
                    <a:cubicBezTo>
                      <a:pt x="1533" y="2694"/>
                      <a:pt x="1537" y="2702"/>
                      <a:pt x="1537" y="2704"/>
                    </a:cubicBezTo>
                    <a:cubicBezTo>
                      <a:pt x="1536" y="2707"/>
                      <a:pt x="1536" y="2706"/>
                      <a:pt x="1535" y="2709"/>
                    </a:cubicBezTo>
                    <a:cubicBezTo>
                      <a:pt x="1534" y="2711"/>
                      <a:pt x="1535" y="2712"/>
                      <a:pt x="1537" y="2712"/>
                    </a:cubicBezTo>
                    <a:cubicBezTo>
                      <a:pt x="1539" y="2712"/>
                      <a:pt x="1543" y="2710"/>
                      <a:pt x="1545" y="2714"/>
                    </a:cubicBezTo>
                    <a:cubicBezTo>
                      <a:pt x="1546" y="2718"/>
                      <a:pt x="1545" y="2719"/>
                      <a:pt x="1551" y="2719"/>
                    </a:cubicBezTo>
                    <a:cubicBezTo>
                      <a:pt x="1558" y="2719"/>
                      <a:pt x="1558" y="2718"/>
                      <a:pt x="1560" y="2720"/>
                    </a:cubicBezTo>
                    <a:cubicBezTo>
                      <a:pt x="1563" y="2721"/>
                      <a:pt x="1564" y="2721"/>
                      <a:pt x="1567" y="2720"/>
                    </a:cubicBezTo>
                    <a:cubicBezTo>
                      <a:pt x="1570" y="2719"/>
                      <a:pt x="1571" y="2719"/>
                      <a:pt x="1573" y="2721"/>
                    </a:cubicBezTo>
                    <a:cubicBezTo>
                      <a:pt x="1576" y="2724"/>
                      <a:pt x="1577" y="2725"/>
                      <a:pt x="1582" y="2724"/>
                    </a:cubicBezTo>
                    <a:cubicBezTo>
                      <a:pt x="1588" y="2724"/>
                      <a:pt x="1584" y="2731"/>
                      <a:pt x="1584" y="2736"/>
                    </a:cubicBezTo>
                    <a:cubicBezTo>
                      <a:pt x="1584" y="2739"/>
                      <a:pt x="1584" y="2742"/>
                      <a:pt x="1584" y="2743"/>
                    </a:cubicBezTo>
                    <a:cubicBezTo>
                      <a:pt x="1584" y="2743"/>
                      <a:pt x="1584" y="2743"/>
                      <a:pt x="1584" y="2743"/>
                    </a:cubicBezTo>
                    <a:cubicBezTo>
                      <a:pt x="1583" y="2745"/>
                      <a:pt x="1583" y="2745"/>
                      <a:pt x="1583" y="2745"/>
                    </a:cubicBezTo>
                    <a:cubicBezTo>
                      <a:pt x="1582" y="2744"/>
                      <a:pt x="1582" y="2744"/>
                      <a:pt x="1581" y="2743"/>
                    </a:cubicBezTo>
                    <a:cubicBezTo>
                      <a:pt x="1582" y="2744"/>
                      <a:pt x="1583" y="2744"/>
                      <a:pt x="1584" y="2743"/>
                    </a:cubicBezTo>
                    <a:cubicBezTo>
                      <a:pt x="1580" y="2742"/>
                      <a:pt x="1579" y="2741"/>
                      <a:pt x="1578" y="2741"/>
                    </a:cubicBezTo>
                    <a:cubicBezTo>
                      <a:pt x="1577" y="2740"/>
                      <a:pt x="1576" y="2740"/>
                      <a:pt x="1576" y="2740"/>
                    </a:cubicBezTo>
                    <a:cubicBezTo>
                      <a:pt x="1574" y="2741"/>
                      <a:pt x="1571" y="2744"/>
                      <a:pt x="1571" y="2746"/>
                    </a:cubicBezTo>
                    <a:cubicBezTo>
                      <a:pt x="1570" y="2748"/>
                      <a:pt x="1571" y="2748"/>
                      <a:pt x="1570" y="2751"/>
                    </a:cubicBezTo>
                    <a:cubicBezTo>
                      <a:pt x="1569" y="2754"/>
                      <a:pt x="1567" y="2755"/>
                      <a:pt x="1567" y="2755"/>
                    </a:cubicBezTo>
                    <a:cubicBezTo>
                      <a:pt x="1565" y="2756"/>
                      <a:pt x="1563" y="2759"/>
                      <a:pt x="1564" y="2762"/>
                    </a:cubicBezTo>
                    <a:cubicBezTo>
                      <a:pt x="1565" y="2764"/>
                      <a:pt x="1567" y="2767"/>
                      <a:pt x="1566" y="2772"/>
                    </a:cubicBezTo>
                    <a:cubicBezTo>
                      <a:pt x="1566" y="2777"/>
                      <a:pt x="1563" y="2779"/>
                      <a:pt x="1560" y="2781"/>
                    </a:cubicBezTo>
                    <a:cubicBezTo>
                      <a:pt x="1556" y="2784"/>
                      <a:pt x="1557" y="2785"/>
                      <a:pt x="1555" y="2791"/>
                    </a:cubicBezTo>
                    <a:cubicBezTo>
                      <a:pt x="1554" y="2797"/>
                      <a:pt x="1543" y="2805"/>
                      <a:pt x="1545" y="2806"/>
                    </a:cubicBezTo>
                    <a:cubicBezTo>
                      <a:pt x="1547" y="2807"/>
                      <a:pt x="1557" y="2812"/>
                      <a:pt x="1565" y="2810"/>
                    </a:cubicBezTo>
                    <a:cubicBezTo>
                      <a:pt x="1573" y="2809"/>
                      <a:pt x="1578" y="2810"/>
                      <a:pt x="1581" y="2812"/>
                    </a:cubicBezTo>
                    <a:cubicBezTo>
                      <a:pt x="1585" y="2814"/>
                      <a:pt x="1587" y="2815"/>
                      <a:pt x="1589" y="2816"/>
                    </a:cubicBezTo>
                    <a:cubicBezTo>
                      <a:pt x="1591" y="2818"/>
                      <a:pt x="1591" y="2819"/>
                      <a:pt x="1595" y="2817"/>
                    </a:cubicBezTo>
                    <a:cubicBezTo>
                      <a:pt x="1598" y="2816"/>
                      <a:pt x="1603" y="2816"/>
                      <a:pt x="1606" y="2818"/>
                    </a:cubicBezTo>
                    <a:cubicBezTo>
                      <a:pt x="1609" y="2821"/>
                      <a:pt x="1613" y="2823"/>
                      <a:pt x="1614" y="2825"/>
                    </a:cubicBezTo>
                    <a:cubicBezTo>
                      <a:pt x="1614" y="2827"/>
                      <a:pt x="1613" y="2831"/>
                      <a:pt x="1610" y="2836"/>
                    </a:cubicBezTo>
                    <a:cubicBezTo>
                      <a:pt x="1607" y="2841"/>
                      <a:pt x="1607" y="2846"/>
                      <a:pt x="1610" y="2848"/>
                    </a:cubicBezTo>
                    <a:cubicBezTo>
                      <a:pt x="1612" y="2850"/>
                      <a:pt x="1616" y="2852"/>
                      <a:pt x="1621" y="2853"/>
                    </a:cubicBezTo>
                    <a:cubicBezTo>
                      <a:pt x="1625" y="2854"/>
                      <a:pt x="1626" y="2854"/>
                      <a:pt x="1625" y="2857"/>
                    </a:cubicBezTo>
                    <a:cubicBezTo>
                      <a:pt x="1624" y="2860"/>
                      <a:pt x="1624" y="2860"/>
                      <a:pt x="1622" y="2863"/>
                    </a:cubicBezTo>
                    <a:cubicBezTo>
                      <a:pt x="1621" y="2867"/>
                      <a:pt x="1621" y="2867"/>
                      <a:pt x="1623" y="2870"/>
                    </a:cubicBezTo>
                    <a:cubicBezTo>
                      <a:pt x="1626" y="2872"/>
                      <a:pt x="1633" y="2873"/>
                      <a:pt x="1637" y="2871"/>
                    </a:cubicBezTo>
                    <a:cubicBezTo>
                      <a:pt x="1641" y="2869"/>
                      <a:pt x="1646" y="2867"/>
                      <a:pt x="1649" y="2873"/>
                    </a:cubicBezTo>
                    <a:cubicBezTo>
                      <a:pt x="1652" y="2879"/>
                      <a:pt x="1656" y="2879"/>
                      <a:pt x="1660" y="2879"/>
                    </a:cubicBezTo>
                    <a:cubicBezTo>
                      <a:pt x="1665" y="2879"/>
                      <a:pt x="1668" y="2876"/>
                      <a:pt x="1671" y="2873"/>
                    </a:cubicBezTo>
                    <a:cubicBezTo>
                      <a:pt x="1673" y="2871"/>
                      <a:pt x="1681" y="2865"/>
                      <a:pt x="1683" y="2862"/>
                    </a:cubicBezTo>
                    <a:cubicBezTo>
                      <a:pt x="1685" y="2859"/>
                      <a:pt x="1693" y="2861"/>
                      <a:pt x="1695" y="2859"/>
                    </a:cubicBezTo>
                    <a:cubicBezTo>
                      <a:pt x="1698" y="2858"/>
                      <a:pt x="1702" y="2856"/>
                      <a:pt x="1703" y="2855"/>
                    </a:cubicBezTo>
                    <a:cubicBezTo>
                      <a:pt x="1703" y="2854"/>
                      <a:pt x="1710" y="2856"/>
                      <a:pt x="1711" y="2856"/>
                    </a:cubicBezTo>
                    <a:cubicBezTo>
                      <a:pt x="1710" y="2856"/>
                      <a:pt x="1710" y="2858"/>
                      <a:pt x="1709" y="2860"/>
                    </a:cubicBezTo>
                    <a:cubicBezTo>
                      <a:pt x="1707" y="2862"/>
                      <a:pt x="1709" y="2865"/>
                      <a:pt x="1710" y="2866"/>
                    </a:cubicBezTo>
                    <a:cubicBezTo>
                      <a:pt x="1711" y="2866"/>
                      <a:pt x="1711" y="2868"/>
                      <a:pt x="1710" y="2870"/>
                    </a:cubicBezTo>
                    <a:cubicBezTo>
                      <a:pt x="1709" y="2872"/>
                      <a:pt x="1711" y="2875"/>
                      <a:pt x="1711" y="2875"/>
                    </a:cubicBezTo>
                    <a:cubicBezTo>
                      <a:pt x="1711" y="2875"/>
                      <a:pt x="1717" y="2879"/>
                      <a:pt x="1713" y="2883"/>
                    </a:cubicBezTo>
                    <a:cubicBezTo>
                      <a:pt x="1710" y="2887"/>
                      <a:pt x="1708" y="2891"/>
                      <a:pt x="1709" y="2893"/>
                    </a:cubicBezTo>
                    <a:cubicBezTo>
                      <a:pt x="1711" y="2896"/>
                      <a:pt x="1715" y="2896"/>
                      <a:pt x="1714" y="2900"/>
                    </a:cubicBezTo>
                    <a:cubicBezTo>
                      <a:pt x="1713" y="2904"/>
                      <a:pt x="1717" y="2908"/>
                      <a:pt x="1721" y="2906"/>
                    </a:cubicBezTo>
                    <a:cubicBezTo>
                      <a:pt x="1725" y="2905"/>
                      <a:pt x="1730" y="2905"/>
                      <a:pt x="1736" y="2904"/>
                    </a:cubicBezTo>
                    <a:cubicBezTo>
                      <a:pt x="1741" y="2902"/>
                      <a:pt x="1744" y="2905"/>
                      <a:pt x="1744" y="2907"/>
                    </a:cubicBezTo>
                    <a:cubicBezTo>
                      <a:pt x="1744" y="2909"/>
                      <a:pt x="1744" y="2910"/>
                      <a:pt x="1746" y="2910"/>
                    </a:cubicBezTo>
                    <a:cubicBezTo>
                      <a:pt x="1748" y="2910"/>
                      <a:pt x="1750" y="2908"/>
                      <a:pt x="1751" y="2911"/>
                    </a:cubicBezTo>
                    <a:cubicBezTo>
                      <a:pt x="1752" y="2913"/>
                      <a:pt x="1754" y="2914"/>
                      <a:pt x="1760" y="2911"/>
                    </a:cubicBezTo>
                    <a:cubicBezTo>
                      <a:pt x="1766" y="2908"/>
                      <a:pt x="1766" y="2904"/>
                      <a:pt x="1763" y="2904"/>
                    </a:cubicBezTo>
                    <a:cubicBezTo>
                      <a:pt x="1760" y="2903"/>
                      <a:pt x="1753" y="2899"/>
                      <a:pt x="1755" y="2893"/>
                    </a:cubicBezTo>
                    <a:cubicBezTo>
                      <a:pt x="1757" y="2886"/>
                      <a:pt x="1757" y="2885"/>
                      <a:pt x="1757" y="2882"/>
                    </a:cubicBezTo>
                    <a:cubicBezTo>
                      <a:pt x="1757" y="2880"/>
                      <a:pt x="1757" y="2879"/>
                      <a:pt x="1760" y="2877"/>
                    </a:cubicBezTo>
                    <a:cubicBezTo>
                      <a:pt x="1762" y="2876"/>
                      <a:pt x="1764" y="2874"/>
                      <a:pt x="1764" y="2872"/>
                    </a:cubicBezTo>
                    <a:cubicBezTo>
                      <a:pt x="1764" y="2869"/>
                      <a:pt x="1758" y="2869"/>
                      <a:pt x="1760" y="2863"/>
                    </a:cubicBezTo>
                    <a:cubicBezTo>
                      <a:pt x="1761" y="2856"/>
                      <a:pt x="1761" y="2853"/>
                      <a:pt x="1760" y="2850"/>
                    </a:cubicBezTo>
                    <a:cubicBezTo>
                      <a:pt x="1758" y="2848"/>
                      <a:pt x="1755" y="2843"/>
                      <a:pt x="1753" y="2841"/>
                    </a:cubicBezTo>
                    <a:cubicBezTo>
                      <a:pt x="1750" y="2839"/>
                      <a:pt x="1751" y="2836"/>
                      <a:pt x="1751" y="2833"/>
                    </a:cubicBezTo>
                    <a:cubicBezTo>
                      <a:pt x="1751" y="2830"/>
                      <a:pt x="1749" y="2832"/>
                      <a:pt x="1749" y="2829"/>
                    </a:cubicBezTo>
                    <a:cubicBezTo>
                      <a:pt x="1749" y="2826"/>
                      <a:pt x="1748" y="2826"/>
                      <a:pt x="1750" y="2824"/>
                    </a:cubicBezTo>
                    <a:cubicBezTo>
                      <a:pt x="1752" y="2822"/>
                      <a:pt x="1749" y="2819"/>
                      <a:pt x="1748" y="2817"/>
                    </a:cubicBezTo>
                    <a:cubicBezTo>
                      <a:pt x="1746" y="2815"/>
                      <a:pt x="1748" y="2814"/>
                      <a:pt x="1751" y="2812"/>
                    </a:cubicBezTo>
                    <a:cubicBezTo>
                      <a:pt x="1755" y="2809"/>
                      <a:pt x="1756" y="2804"/>
                      <a:pt x="1757" y="2800"/>
                    </a:cubicBezTo>
                    <a:cubicBezTo>
                      <a:pt x="1757" y="2796"/>
                      <a:pt x="1765" y="2791"/>
                      <a:pt x="1768" y="2796"/>
                    </a:cubicBezTo>
                    <a:cubicBezTo>
                      <a:pt x="1770" y="2802"/>
                      <a:pt x="1774" y="2806"/>
                      <a:pt x="1776" y="2803"/>
                    </a:cubicBezTo>
                    <a:cubicBezTo>
                      <a:pt x="1778" y="2800"/>
                      <a:pt x="1780" y="2800"/>
                      <a:pt x="1782" y="2800"/>
                    </a:cubicBezTo>
                    <a:cubicBezTo>
                      <a:pt x="1785" y="2800"/>
                      <a:pt x="1794" y="2802"/>
                      <a:pt x="1794" y="2802"/>
                    </a:cubicBezTo>
                    <a:cubicBezTo>
                      <a:pt x="1794" y="2802"/>
                      <a:pt x="1801" y="2808"/>
                      <a:pt x="1806" y="2802"/>
                    </a:cubicBezTo>
                    <a:cubicBezTo>
                      <a:pt x="1810" y="2797"/>
                      <a:pt x="1813" y="2793"/>
                      <a:pt x="1815" y="2790"/>
                    </a:cubicBezTo>
                    <a:cubicBezTo>
                      <a:pt x="1817" y="2786"/>
                      <a:pt x="1817" y="2785"/>
                      <a:pt x="1819" y="2783"/>
                    </a:cubicBezTo>
                    <a:cubicBezTo>
                      <a:pt x="1821" y="2780"/>
                      <a:pt x="1827" y="2777"/>
                      <a:pt x="1828" y="2776"/>
                    </a:cubicBezTo>
                    <a:cubicBezTo>
                      <a:pt x="1830" y="2775"/>
                      <a:pt x="1832" y="2779"/>
                      <a:pt x="1833" y="2781"/>
                    </a:cubicBezTo>
                    <a:cubicBezTo>
                      <a:pt x="1835" y="2782"/>
                      <a:pt x="1840" y="2782"/>
                      <a:pt x="1841" y="2782"/>
                    </a:cubicBezTo>
                    <a:cubicBezTo>
                      <a:pt x="1842" y="2782"/>
                      <a:pt x="1847" y="2785"/>
                      <a:pt x="1849" y="2788"/>
                    </a:cubicBezTo>
                    <a:cubicBezTo>
                      <a:pt x="1851" y="2790"/>
                      <a:pt x="1856" y="2793"/>
                      <a:pt x="1856" y="2793"/>
                    </a:cubicBezTo>
                    <a:cubicBezTo>
                      <a:pt x="1856" y="2793"/>
                      <a:pt x="1859" y="2794"/>
                      <a:pt x="1860" y="2800"/>
                    </a:cubicBezTo>
                    <a:cubicBezTo>
                      <a:pt x="1861" y="2805"/>
                      <a:pt x="1866" y="2807"/>
                      <a:pt x="1866" y="2807"/>
                    </a:cubicBezTo>
                    <a:cubicBezTo>
                      <a:pt x="1866" y="2807"/>
                      <a:pt x="1869" y="2809"/>
                      <a:pt x="1875" y="2805"/>
                    </a:cubicBezTo>
                    <a:cubicBezTo>
                      <a:pt x="1880" y="2802"/>
                      <a:pt x="1891" y="2786"/>
                      <a:pt x="1893" y="2783"/>
                    </a:cubicBezTo>
                    <a:cubicBezTo>
                      <a:pt x="1895" y="2779"/>
                      <a:pt x="1898" y="2779"/>
                      <a:pt x="1900" y="2779"/>
                    </a:cubicBezTo>
                    <a:cubicBezTo>
                      <a:pt x="1902" y="2779"/>
                      <a:pt x="1903" y="2778"/>
                      <a:pt x="1904" y="2785"/>
                    </a:cubicBezTo>
                    <a:cubicBezTo>
                      <a:pt x="1905" y="2792"/>
                      <a:pt x="1909" y="2796"/>
                      <a:pt x="1910" y="2797"/>
                    </a:cubicBezTo>
                    <a:cubicBezTo>
                      <a:pt x="1911" y="2798"/>
                      <a:pt x="1914" y="2798"/>
                      <a:pt x="1915" y="2793"/>
                    </a:cubicBezTo>
                    <a:cubicBezTo>
                      <a:pt x="1915" y="2789"/>
                      <a:pt x="1916" y="2784"/>
                      <a:pt x="1920" y="2782"/>
                    </a:cubicBezTo>
                    <a:cubicBezTo>
                      <a:pt x="1920" y="2782"/>
                      <a:pt x="1920" y="2780"/>
                      <a:pt x="1922" y="2779"/>
                    </a:cubicBezTo>
                    <a:cubicBezTo>
                      <a:pt x="1923" y="2778"/>
                      <a:pt x="1929" y="2786"/>
                      <a:pt x="1931" y="2789"/>
                    </a:cubicBezTo>
                    <a:cubicBezTo>
                      <a:pt x="1933" y="2791"/>
                      <a:pt x="1942" y="2797"/>
                      <a:pt x="1945" y="2801"/>
                    </a:cubicBezTo>
                    <a:cubicBezTo>
                      <a:pt x="1948" y="2806"/>
                      <a:pt x="1949" y="2806"/>
                      <a:pt x="1949" y="2806"/>
                    </a:cubicBezTo>
                    <a:cubicBezTo>
                      <a:pt x="1949" y="2806"/>
                      <a:pt x="1955" y="2785"/>
                      <a:pt x="1960" y="2781"/>
                    </a:cubicBezTo>
                    <a:cubicBezTo>
                      <a:pt x="1964" y="2777"/>
                      <a:pt x="1966" y="2779"/>
                      <a:pt x="1970" y="2779"/>
                    </a:cubicBezTo>
                    <a:cubicBezTo>
                      <a:pt x="1972" y="2779"/>
                      <a:pt x="1974" y="2779"/>
                      <a:pt x="1975" y="2779"/>
                    </a:cubicBezTo>
                    <a:cubicBezTo>
                      <a:pt x="1975" y="2780"/>
                      <a:pt x="1975" y="2781"/>
                      <a:pt x="1975" y="2781"/>
                    </a:cubicBezTo>
                    <a:cubicBezTo>
                      <a:pt x="1975" y="2784"/>
                      <a:pt x="1973" y="2791"/>
                      <a:pt x="1976" y="2792"/>
                    </a:cubicBezTo>
                    <a:cubicBezTo>
                      <a:pt x="1980" y="2792"/>
                      <a:pt x="1988" y="2790"/>
                      <a:pt x="1993" y="2786"/>
                    </a:cubicBezTo>
                    <a:cubicBezTo>
                      <a:pt x="1997" y="2782"/>
                      <a:pt x="1996" y="2778"/>
                      <a:pt x="2002" y="2780"/>
                    </a:cubicBezTo>
                    <a:cubicBezTo>
                      <a:pt x="2008" y="2781"/>
                      <a:pt x="2010" y="2782"/>
                      <a:pt x="2013" y="2779"/>
                    </a:cubicBezTo>
                    <a:cubicBezTo>
                      <a:pt x="2016" y="2775"/>
                      <a:pt x="2016" y="2774"/>
                      <a:pt x="2020" y="2773"/>
                    </a:cubicBezTo>
                    <a:cubicBezTo>
                      <a:pt x="2024" y="2773"/>
                      <a:pt x="2025" y="2770"/>
                      <a:pt x="2023" y="2767"/>
                    </a:cubicBezTo>
                    <a:cubicBezTo>
                      <a:pt x="2020" y="2764"/>
                      <a:pt x="2019" y="2759"/>
                      <a:pt x="2025" y="2756"/>
                    </a:cubicBezTo>
                    <a:cubicBezTo>
                      <a:pt x="2031" y="2753"/>
                      <a:pt x="2031" y="2754"/>
                      <a:pt x="2036" y="2752"/>
                    </a:cubicBezTo>
                    <a:cubicBezTo>
                      <a:pt x="2041" y="2750"/>
                      <a:pt x="2042" y="2747"/>
                      <a:pt x="2045" y="2746"/>
                    </a:cubicBezTo>
                    <a:cubicBezTo>
                      <a:pt x="2049" y="2744"/>
                      <a:pt x="2054" y="2746"/>
                      <a:pt x="2058" y="2743"/>
                    </a:cubicBezTo>
                    <a:cubicBezTo>
                      <a:pt x="2061" y="2739"/>
                      <a:pt x="2066" y="2736"/>
                      <a:pt x="2070" y="2738"/>
                    </a:cubicBezTo>
                    <a:cubicBezTo>
                      <a:pt x="2074" y="2741"/>
                      <a:pt x="2076" y="2744"/>
                      <a:pt x="2077" y="2747"/>
                    </a:cubicBezTo>
                    <a:cubicBezTo>
                      <a:pt x="2078" y="2750"/>
                      <a:pt x="2078" y="2751"/>
                      <a:pt x="2080" y="2753"/>
                    </a:cubicBezTo>
                    <a:cubicBezTo>
                      <a:pt x="2082" y="2755"/>
                      <a:pt x="2084" y="2755"/>
                      <a:pt x="2083" y="2760"/>
                    </a:cubicBezTo>
                    <a:cubicBezTo>
                      <a:pt x="2083" y="2765"/>
                      <a:pt x="2081" y="2765"/>
                      <a:pt x="2088" y="2765"/>
                    </a:cubicBezTo>
                    <a:cubicBezTo>
                      <a:pt x="2094" y="2766"/>
                      <a:pt x="2102" y="2770"/>
                      <a:pt x="2106" y="2773"/>
                    </a:cubicBezTo>
                    <a:cubicBezTo>
                      <a:pt x="2109" y="2777"/>
                      <a:pt x="2111" y="2779"/>
                      <a:pt x="2115" y="2776"/>
                    </a:cubicBezTo>
                    <a:cubicBezTo>
                      <a:pt x="2119" y="2774"/>
                      <a:pt x="2121" y="2772"/>
                      <a:pt x="2127" y="2773"/>
                    </a:cubicBezTo>
                    <a:cubicBezTo>
                      <a:pt x="2133" y="2774"/>
                      <a:pt x="2135" y="2777"/>
                      <a:pt x="2136" y="2780"/>
                    </a:cubicBezTo>
                    <a:cubicBezTo>
                      <a:pt x="2137" y="2783"/>
                      <a:pt x="2139" y="2785"/>
                      <a:pt x="2144" y="2785"/>
                    </a:cubicBezTo>
                    <a:cubicBezTo>
                      <a:pt x="2149" y="2785"/>
                      <a:pt x="2149" y="2784"/>
                      <a:pt x="2153" y="2781"/>
                    </a:cubicBezTo>
                    <a:cubicBezTo>
                      <a:pt x="2156" y="2779"/>
                      <a:pt x="2156" y="2777"/>
                      <a:pt x="2161" y="2779"/>
                    </a:cubicBezTo>
                    <a:cubicBezTo>
                      <a:pt x="2166" y="2781"/>
                      <a:pt x="2183" y="2789"/>
                      <a:pt x="2183" y="2790"/>
                    </a:cubicBezTo>
                    <a:cubicBezTo>
                      <a:pt x="2183" y="2791"/>
                      <a:pt x="2180" y="2798"/>
                      <a:pt x="2177" y="2802"/>
                    </a:cubicBezTo>
                    <a:cubicBezTo>
                      <a:pt x="2174" y="2807"/>
                      <a:pt x="2172" y="2810"/>
                      <a:pt x="2169" y="2811"/>
                    </a:cubicBezTo>
                    <a:cubicBezTo>
                      <a:pt x="2166" y="2811"/>
                      <a:pt x="2166" y="2811"/>
                      <a:pt x="2163" y="2815"/>
                    </a:cubicBezTo>
                    <a:cubicBezTo>
                      <a:pt x="2160" y="2819"/>
                      <a:pt x="2158" y="2826"/>
                      <a:pt x="2161" y="2829"/>
                    </a:cubicBezTo>
                    <a:cubicBezTo>
                      <a:pt x="2165" y="2832"/>
                      <a:pt x="2168" y="2836"/>
                      <a:pt x="2168" y="2842"/>
                    </a:cubicBezTo>
                    <a:cubicBezTo>
                      <a:pt x="2169" y="2848"/>
                      <a:pt x="2168" y="2853"/>
                      <a:pt x="2168" y="2858"/>
                    </a:cubicBezTo>
                    <a:cubicBezTo>
                      <a:pt x="2167" y="2863"/>
                      <a:pt x="2168" y="2865"/>
                      <a:pt x="2169" y="2866"/>
                    </a:cubicBezTo>
                    <a:cubicBezTo>
                      <a:pt x="2171" y="2868"/>
                      <a:pt x="2173" y="2866"/>
                      <a:pt x="2174" y="2864"/>
                    </a:cubicBezTo>
                    <a:cubicBezTo>
                      <a:pt x="2176" y="2862"/>
                      <a:pt x="2179" y="2862"/>
                      <a:pt x="2182" y="2864"/>
                    </a:cubicBezTo>
                    <a:cubicBezTo>
                      <a:pt x="2184" y="2866"/>
                      <a:pt x="2186" y="2866"/>
                      <a:pt x="2189" y="2866"/>
                    </a:cubicBezTo>
                    <a:cubicBezTo>
                      <a:pt x="2191" y="2867"/>
                      <a:pt x="2193" y="2867"/>
                      <a:pt x="2194" y="2867"/>
                    </a:cubicBezTo>
                    <a:cubicBezTo>
                      <a:pt x="2196" y="2867"/>
                      <a:pt x="2198" y="2865"/>
                      <a:pt x="2198" y="2869"/>
                    </a:cubicBezTo>
                    <a:cubicBezTo>
                      <a:pt x="2198" y="2872"/>
                      <a:pt x="2197" y="2876"/>
                      <a:pt x="2199" y="2877"/>
                    </a:cubicBezTo>
                    <a:cubicBezTo>
                      <a:pt x="2201" y="2878"/>
                      <a:pt x="2207" y="2881"/>
                      <a:pt x="2209" y="2884"/>
                    </a:cubicBezTo>
                    <a:cubicBezTo>
                      <a:pt x="2211" y="2886"/>
                      <a:pt x="2214" y="2890"/>
                      <a:pt x="2217" y="2888"/>
                    </a:cubicBezTo>
                    <a:cubicBezTo>
                      <a:pt x="2220" y="2887"/>
                      <a:pt x="2222" y="2887"/>
                      <a:pt x="2223" y="2889"/>
                    </a:cubicBezTo>
                    <a:cubicBezTo>
                      <a:pt x="2225" y="2891"/>
                      <a:pt x="2225" y="2891"/>
                      <a:pt x="2225" y="2894"/>
                    </a:cubicBezTo>
                    <a:cubicBezTo>
                      <a:pt x="2224" y="2898"/>
                      <a:pt x="2226" y="2898"/>
                      <a:pt x="2228" y="2896"/>
                    </a:cubicBezTo>
                    <a:cubicBezTo>
                      <a:pt x="2231" y="2894"/>
                      <a:pt x="2234" y="2895"/>
                      <a:pt x="2236" y="2896"/>
                    </a:cubicBezTo>
                    <a:cubicBezTo>
                      <a:pt x="2237" y="2897"/>
                      <a:pt x="2238" y="2899"/>
                      <a:pt x="2238" y="2900"/>
                    </a:cubicBezTo>
                    <a:cubicBezTo>
                      <a:pt x="2238" y="2901"/>
                      <a:pt x="2241" y="2901"/>
                      <a:pt x="2244" y="2901"/>
                    </a:cubicBezTo>
                    <a:cubicBezTo>
                      <a:pt x="2247" y="2900"/>
                      <a:pt x="2257" y="2898"/>
                      <a:pt x="2262" y="2897"/>
                    </a:cubicBezTo>
                    <a:cubicBezTo>
                      <a:pt x="2263" y="2897"/>
                      <a:pt x="2264" y="2897"/>
                      <a:pt x="2263" y="2898"/>
                    </a:cubicBezTo>
                    <a:cubicBezTo>
                      <a:pt x="2262" y="2899"/>
                      <a:pt x="2272" y="2907"/>
                      <a:pt x="2282" y="2907"/>
                    </a:cubicBezTo>
                    <a:cubicBezTo>
                      <a:pt x="2292" y="2908"/>
                      <a:pt x="2296" y="2907"/>
                      <a:pt x="2302" y="2907"/>
                    </a:cubicBezTo>
                    <a:cubicBezTo>
                      <a:pt x="2309" y="2907"/>
                      <a:pt x="2321" y="2911"/>
                      <a:pt x="2324" y="2904"/>
                    </a:cubicBezTo>
                    <a:cubicBezTo>
                      <a:pt x="2328" y="2898"/>
                      <a:pt x="2325" y="2895"/>
                      <a:pt x="2323" y="2887"/>
                    </a:cubicBezTo>
                    <a:cubicBezTo>
                      <a:pt x="2322" y="2879"/>
                      <a:pt x="2332" y="2874"/>
                      <a:pt x="2334" y="2883"/>
                    </a:cubicBezTo>
                    <a:cubicBezTo>
                      <a:pt x="2336" y="2892"/>
                      <a:pt x="2339" y="2898"/>
                      <a:pt x="2342" y="2901"/>
                    </a:cubicBezTo>
                    <a:cubicBezTo>
                      <a:pt x="2346" y="2904"/>
                      <a:pt x="2350" y="2901"/>
                      <a:pt x="2350" y="2894"/>
                    </a:cubicBezTo>
                    <a:cubicBezTo>
                      <a:pt x="2350" y="2887"/>
                      <a:pt x="2356" y="2887"/>
                      <a:pt x="2356" y="2895"/>
                    </a:cubicBezTo>
                    <a:cubicBezTo>
                      <a:pt x="2356" y="2903"/>
                      <a:pt x="2358" y="2904"/>
                      <a:pt x="2365" y="2905"/>
                    </a:cubicBezTo>
                    <a:cubicBezTo>
                      <a:pt x="2372" y="2906"/>
                      <a:pt x="2375" y="2905"/>
                      <a:pt x="2375" y="2908"/>
                    </a:cubicBezTo>
                    <a:cubicBezTo>
                      <a:pt x="2375" y="2910"/>
                      <a:pt x="2367" y="2914"/>
                      <a:pt x="2369" y="2917"/>
                    </a:cubicBezTo>
                    <a:cubicBezTo>
                      <a:pt x="2371" y="2920"/>
                      <a:pt x="2385" y="2919"/>
                      <a:pt x="2393" y="2919"/>
                    </a:cubicBezTo>
                    <a:cubicBezTo>
                      <a:pt x="2400" y="2919"/>
                      <a:pt x="2411" y="2918"/>
                      <a:pt x="2410" y="2908"/>
                    </a:cubicBezTo>
                    <a:cubicBezTo>
                      <a:pt x="2410" y="2897"/>
                      <a:pt x="2416" y="2903"/>
                      <a:pt x="2419" y="2908"/>
                    </a:cubicBezTo>
                    <a:cubicBezTo>
                      <a:pt x="2423" y="2913"/>
                      <a:pt x="2425" y="2917"/>
                      <a:pt x="2429" y="2915"/>
                    </a:cubicBezTo>
                    <a:cubicBezTo>
                      <a:pt x="2432" y="2913"/>
                      <a:pt x="2436" y="2913"/>
                      <a:pt x="2440" y="2914"/>
                    </a:cubicBezTo>
                    <a:cubicBezTo>
                      <a:pt x="2441" y="2915"/>
                      <a:pt x="2442" y="2916"/>
                      <a:pt x="2443" y="2917"/>
                    </a:cubicBezTo>
                    <a:cubicBezTo>
                      <a:pt x="2445" y="2922"/>
                      <a:pt x="2431" y="2924"/>
                      <a:pt x="2429" y="2929"/>
                    </a:cubicBezTo>
                    <a:cubicBezTo>
                      <a:pt x="2427" y="2935"/>
                      <a:pt x="2429" y="2941"/>
                      <a:pt x="2425" y="2943"/>
                    </a:cubicBezTo>
                    <a:cubicBezTo>
                      <a:pt x="2420" y="2945"/>
                      <a:pt x="2422" y="2950"/>
                      <a:pt x="2423" y="2954"/>
                    </a:cubicBezTo>
                    <a:cubicBezTo>
                      <a:pt x="2424" y="2958"/>
                      <a:pt x="2419" y="2961"/>
                      <a:pt x="2420" y="2966"/>
                    </a:cubicBezTo>
                    <a:cubicBezTo>
                      <a:pt x="2422" y="2971"/>
                      <a:pt x="2426" y="2970"/>
                      <a:pt x="2427" y="2975"/>
                    </a:cubicBezTo>
                    <a:cubicBezTo>
                      <a:pt x="2428" y="2981"/>
                      <a:pt x="2426" y="2988"/>
                      <a:pt x="2429" y="2990"/>
                    </a:cubicBezTo>
                    <a:cubicBezTo>
                      <a:pt x="2433" y="2993"/>
                      <a:pt x="2434" y="2997"/>
                      <a:pt x="2433" y="2999"/>
                    </a:cubicBezTo>
                    <a:cubicBezTo>
                      <a:pt x="2432" y="3001"/>
                      <a:pt x="2434" y="3003"/>
                      <a:pt x="2440" y="3003"/>
                    </a:cubicBezTo>
                    <a:cubicBezTo>
                      <a:pt x="2445" y="3004"/>
                      <a:pt x="2451" y="3010"/>
                      <a:pt x="2449" y="3014"/>
                    </a:cubicBezTo>
                    <a:cubicBezTo>
                      <a:pt x="2447" y="3018"/>
                      <a:pt x="2440" y="3005"/>
                      <a:pt x="2436" y="3010"/>
                    </a:cubicBezTo>
                    <a:cubicBezTo>
                      <a:pt x="2434" y="3012"/>
                      <a:pt x="2438" y="3014"/>
                      <a:pt x="2439" y="3016"/>
                    </a:cubicBezTo>
                    <a:cubicBezTo>
                      <a:pt x="2441" y="3019"/>
                      <a:pt x="2440" y="3024"/>
                      <a:pt x="2444" y="3023"/>
                    </a:cubicBezTo>
                    <a:cubicBezTo>
                      <a:pt x="2448" y="3022"/>
                      <a:pt x="2459" y="3019"/>
                      <a:pt x="2466" y="3022"/>
                    </a:cubicBezTo>
                    <a:cubicBezTo>
                      <a:pt x="2473" y="3024"/>
                      <a:pt x="2477" y="3020"/>
                      <a:pt x="2483" y="3018"/>
                    </a:cubicBezTo>
                    <a:cubicBezTo>
                      <a:pt x="2489" y="3016"/>
                      <a:pt x="2491" y="3010"/>
                      <a:pt x="2491" y="3002"/>
                    </a:cubicBezTo>
                    <a:cubicBezTo>
                      <a:pt x="2491" y="2994"/>
                      <a:pt x="2489" y="2994"/>
                      <a:pt x="2480" y="2990"/>
                    </a:cubicBezTo>
                    <a:cubicBezTo>
                      <a:pt x="2471" y="2986"/>
                      <a:pt x="2477" y="2984"/>
                      <a:pt x="2480" y="2981"/>
                    </a:cubicBezTo>
                    <a:cubicBezTo>
                      <a:pt x="2482" y="2979"/>
                      <a:pt x="2482" y="2977"/>
                      <a:pt x="2478" y="2973"/>
                    </a:cubicBezTo>
                    <a:cubicBezTo>
                      <a:pt x="2474" y="2970"/>
                      <a:pt x="2465" y="2974"/>
                      <a:pt x="2461" y="2971"/>
                    </a:cubicBezTo>
                    <a:cubicBezTo>
                      <a:pt x="2457" y="2969"/>
                      <a:pt x="2460" y="2962"/>
                      <a:pt x="2463" y="2956"/>
                    </a:cubicBezTo>
                    <a:cubicBezTo>
                      <a:pt x="2466" y="2950"/>
                      <a:pt x="2469" y="2950"/>
                      <a:pt x="2471" y="2950"/>
                    </a:cubicBezTo>
                    <a:cubicBezTo>
                      <a:pt x="2473" y="2950"/>
                      <a:pt x="2478" y="2951"/>
                      <a:pt x="2475" y="2955"/>
                    </a:cubicBezTo>
                    <a:cubicBezTo>
                      <a:pt x="2472" y="2958"/>
                      <a:pt x="2469" y="2961"/>
                      <a:pt x="2477" y="2959"/>
                    </a:cubicBezTo>
                    <a:cubicBezTo>
                      <a:pt x="2485" y="2958"/>
                      <a:pt x="2487" y="2959"/>
                      <a:pt x="2490" y="2961"/>
                    </a:cubicBezTo>
                    <a:cubicBezTo>
                      <a:pt x="2493" y="2962"/>
                      <a:pt x="2493" y="2960"/>
                      <a:pt x="2492" y="2954"/>
                    </a:cubicBezTo>
                    <a:cubicBezTo>
                      <a:pt x="2491" y="2948"/>
                      <a:pt x="2483" y="2953"/>
                      <a:pt x="2480" y="2949"/>
                    </a:cubicBezTo>
                    <a:cubicBezTo>
                      <a:pt x="2476" y="2946"/>
                      <a:pt x="2478" y="2945"/>
                      <a:pt x="2479" y="2938"/>
                    </a:cubicBezTo>
                    <a:cubicBezTo>
                      <a:pt x="2479" y="2931"/>
                      <a:pt x="2477" y="2924"/>
                      <a:pt x="2480" y="2923"/>
                    </a:cubicBezTo>
                    <a:cubicBezTo>
                      <a:pt x="2484" y="2922"/>
                      <a:pt x="2487" y="2926"/>
                      <a:pt x="2487" y="2931"/>
                    </a:cubicBezTo>
                    <a:cubicBezTo>
                      <a:pt x="2488" y="2937"/>
                      <a:pt x="2491" y="2936"/>
                      <a:pt x="2497" y="2937"/>
                    </a:cubicBezTo>
                    <a:cubicBezTo>
                      <a:pt x="2503" y="2937"/>
                      <a:pt x="2505" y="2929"/>
                      <a:pt x="2509" y="2925"/>
                    </a:cubicBezTo>
                    <a:cubicBezTo>
                      <a:pt x="2512" y="2921"/>
                      <a:pt x="2518" y="2921"/>
                      <a:pt x="2524" y="2920"/>
                    </a:cubicBezTo>
                    <a:cubicBezTo>
                      <a:pt x="2524" y="2920"/>
                      <a:pt x="2525" y="2920"/>
                      <a:pt x="2526" y="2919"/>
                    </a:cubicBezTo>
                    <a:cubicBezTo>
                      <a:pt x="2527" y="2919"/>
                      <a:pt x="2527" y="2919"/>
                      <a:pt x="2527" y="2919"/>
                    </a:cubicBezTo>
                    <a:cubicBezTo>
                      <a:pt x="2528" y="2919"/>
                      <a:pt x="2529" y="2919"/>
                      <a:pt x="2530" y="2919"/>
                    </a:cubicBezTo>
                    <a:cubicBezTo>
                      <a:pt x="2539" y="2916"/>
                      <a:pt x="2555" y="2912"/>
                      <a:pt x="2555" y="2915"/>
                    </a:cubicBezTo>
                    <a:cubicBezTo>
                      <a:pt x="2554" y="2920"/>
                      <a:pt x="2559" y="2919"/>
                      <a:pt x="2566" y="2915"/>
                    </a:cubicBezTo>
                    <a:cubicBezTo>
                      <a:pt x="2573" y="2910"/>
                      <a:pt x="2578" y="2904"/>
                      <a:pt x="2588" y="2904"/>
                    </a:cubicBezTo>
                    <a:cubicBezTo>
                      <a:pt x="2597" y="2904"/>
                      <a:pt x="2598" y="2903"/>
                      <a:pt x="2599" y="2898"/>
                    </a:cubicBezTo>
                    <a:cubicBezTo>
                      <a:pt x="2600" y="2893"/>
                      <a:pt x="2608" y="2895"/>
                      <a:pt x="2606" y="2901"/>
                    </a:cubicBezTo>
                    <a:cubicBezTo>
                      <a:pt x="2603" y="2906"/>
                      <a:pt x="2601" y="2909"/>
                      <a:pt x="2604" y="2910"/>
                    </a:cubicBezTo>
                    <a:cubicBezTo>
                      <a:pt x="2605" y="2910"/>
                      <a:pt x="2607" y="2907"/>
                      <a:pt x="2610" y="2906"/>
                    </a:cubicBezTo>
                    <a:cubicBezTo>
                      <a:pt x="2626" y="2897"/>
                      <a:pt x="2608" y="2897"/>
                      <a:pt x="2614" y="2892"/>
                    </a:cubicBezTo>
                    <a:cubicBezTo>
                      <a:pt x="2620" y="2887"/>
                      <a:pt x="2624" y="2879"/>
                      <a:pt x="2630" y="2882"/>
                    </a:cubicBezTo>
                    <a:cubicBezTo>
                      <a:pt x="2637" y="2884"/>
                      <a:pt x="2632" y="2889"/>
                      <a:pt x="2637" y="2893"/>
                    </a:cubicBezTo>
                    <a:cubicBezTo>
                      <a:pt x="2643" y="2897"/>
                      <a:pt x="2649" y="2895"/>
                      <a:pt x="2651" y="2891"/>
                    </a:cubicBezTo>
                    <a:cubicBezTo>
                      <a:pt x="2653" y="2887"/>
                      <a:pt x="2657" y="2887"/>
                      <a:pt x="2663" y="2889"/>
                    </a:cubicBezTo>
                    <a:cubicBezTo>
                      <a:pt x="2669" y="2891"/>
                      <a:pt x="2671" y="2886"/>
                      <a:pt x="2673" y="2882"/>
                    </a:cubicBezTo>
                    <a:cubicBezTo>
                      <a:pt x="2675" y="2878"/>
                      <a:pt x="2681" y="2871"/>
                      <a:pt x="2686" y="2871"/>
                    </a:cubicBezTo>
                    <a:cubicBezTo>
                      <a:pt x="2691" y="2871"/>
                      <a:pt x="2691" y="2874"/>
                      <a:pt x="2691" y="2878"/>
                    </a:cubicBezTo>
                    <a:cubicBezTo>
                      <a:pt x="2692" y="2882"/>
                      <a:pt x="2699" y="2879"/>
                      <a:pt x="2701" y="2872"/>
                    </a:cubicBezTo>
                    <a:cubicBezTo>
                      <a:pt x="2703" y="2865"/>
                      <a:pt x="2705" y="2856"/>
                      <a:pt x="2703" y="2848"/>
                    </a:cubicBezTo>
                    <a:cubicBezTo>
                      <a:pt x="2702" y="2840"/>
                      <a:pt x="2701" y="2837"/>
                      <a:pt x="2707" y="2837"/>
                    </a:cubicBezTo>
                    <a:cubicBezTo>
                      <a:pt x="2712" y="2837"/>
                      <a:pt x="2716" y="2839"/>
                      <a:pt x="2715" y="2843"/>
                    </a:cubicBezTo>
                    <a:cubicBezTo>
                      <a:pt x="2713" y="2847"/>
                      <a:pt x="2709" y="2854"/>
                      <a:pt x="2711" y="2861"/>
                    </a:cubicBezTo>
                    <a:cubicBezTo>
                      <a:pt x="2713" y="2867"/>
                      <a:pt x="2722" y="2864"/>
                      <a:pt x="2722" y="2858"/>
                    </a:cubicBezTo>
                    <a:cubicBezTo>
                      <a:pt x="2722" y="2852"/>
                      <a:pt x="2725" y="2850"/>
                      <a:pt x="2723" y="2844"/>
                    </a:cubicBezTo>
                    <a:cubicBezTo>
                      <a:pt x="2721" y="2839"/>
                      <a:pt x="2725" y="2831"/>
                      <a:pt x="2728" y="2838"/>
                    </a:cubicBezTo>
                    <a:cubicBezTo>
                      <a:pt x="2731" y="2846"/>
                      <a:pt x="2737" y="2848"/>
                      <a:pt x="2737" y="2852"/>
                    </a:cubicBezTo>
                    <a:cubicBezTo>
                      <a:pt x="2738" y="2857"/>
                      <a:pt x="2746" y="2863"/>
                      <a:pt x="2751" y="2853"/>
                    </a:cubicBezTo>
                    <a:cubicBezTo>
                      <a:pt x="2755" y="2842"/>
                      <a:pt x="2753" y="2836"/>
                      <a:pt x="2750" y="2832"/>
                    </a:cubicBezTo>
                    <a:cubicBezTo>
                      <a:pt x="2748" y="2829"/>
                      <a:pt x="2748" y="2820"/>
                      <a:pt x="2744" y="2815"/>
                    </a:cubicBezTo>
                    <a:cubicBezTo>
                      <a:pt x="2741" y="2810"/>
                      <a:pt x="2753" y="2812"/>
                      <a:pt x="2748" y="2804"/>
                    </a:cubicBezTo>
                    <a:cubicBezTo>
                      <a:pt x="2743" y="2795"/>
                      <a:pt x="2741" y="2793"/>
                      <a:pt x="2739" y="2790"/>
                    </a:cubicBezTo>
                    <a:cubicBezTo>
                      <a:pt x="2738" y="2786"/>
                      <a:pt x="2737" y="2769"/>
                      <a:pt x="2742" y="2778"/>
                    </a:cubicBezTo>
                    <a:cubicBezTo>
                      <a:pt x="2746" y="2788"/>
                      <a:pt x="2746" y="2797"/>
                      <a:pt x="2755" y="2796"/>
                    </a:cubicBezTo>
                    <a:cubicBezTo>
                      <a:pt x="2763" y="2796"/>
                      <a:pt x="2765" y="2798"/>
                      <a:pt x="2767" y="2807"/>
                    </a:cubicBezTo>
                    <a:cubicBezTo>
                      <a:pt x="2770" y="2815"/>
                      <a:pt x="2771" y="2817"/>
                      <a:pt x="2778" y="2820"/>
                    </a:cubicBezTo>
                    <a:cubicBezTo>
                      <a:pt x="2786" y="2823"/>
                      <a:pt x="2783" y="2824"/>
                      <a:pt x="2780" y="2826"/>
                    </a:cubicBezTo>
                    <a:cubicBezTo>
                      <a:pt x="2776" y="2828"/>
                      <a:pt x="2774" y="2834"/>
                      <a:pt x="2780" y="2834"/>
                    </a:cubicBezTo>
                    <a:cubicBezTo>
                      <a:pt x="2786" y="2834"/>
                      <a:pt x="2786" y="2832"/>
                      <a:pt x="2791" y="2836"/>
                    </a:cubicBezTo>
                    <a:cubicBezTo>
                      <a:pt x="2795" y="2839"/>
                      <a:pt x="2800" y="2835"/>
                      <a:pt x="2804" y="2837"/>
                    </a:cubicBezTo>
                    <a:cubicBezTo>
                      <a:pt x="2808" y="2839"/>
                      <a:pt x="2808" y="2839"/>
                      <a:pt x="2807" y="2833"/>
                    </a:cubicBezTo>
                    <a:cubicBezTo>
                      <a:pt x="2807" y="2828"/>
                      <a:pt x="2815" y="2834"/>
                      <a:pt x="2816" y="2830"/>
                    </a:cubicBezTo>
                    <a:cubicBezTo>
                      <a:pt x="2816" y="2826"/>
                      <a:pt x="2813" y="2823"/>
                      <a:pt x="2809" y="2824"/>
                    </a:cubicBezTo>
                    <a:cubicBezTo>
                      <a:pt x="2806" y="2825"/>
                      <a:pt x="2804" y="2825"/>
                      <a:pt x="2803" y="2822"/>
                    </a:cubicBezTo>
                    <a:cubicBezTo>
                      <a:pt x="2801" y="2818"/>
                      <a:pt x="2810" y="2822"/>
                      <a:pt x="2809" y="2816"/>
                    </a:cubicBezTo>
                    <a:cubicBezTo>
                      <a:pt x="2808" y="2810"/>
                      <a:pt x="2820" y="2810"/>
                      <a:pt x="2823" y="2817"/>
                    </a:cubicBezTo>
                    <a:cubicBezTo>
                      <a:pt x="2826" y="2823"/>
                      <a:pt x="2828" y="2823"/>
                      <a:pt x="2831" y="2820"/>
                    </a:cubicBezTo>
                    <a:cubicBezTo>
                      <a:pt x="2835" y="2817"/>
                      <a:pt x="2824" y="2814"/>
                      <a:pt x="2827" y="2811"/>
                    </a:cubicBezTo>
                    <a:cubicBezTo>
                      <a:pt x="2829" y="2809"/>
                      <a:pt x="2824" y="2807"/>
                      <a:pt x="2826" y="2803"/>
                    </a:cubicBezTo>
                    <a:cubicBezTo>
                      <a:pt x="2828" y="2800"/>
                      <a:pt x="2829" y="2800"/>
                      <a:pt x="2833" y="2798"/>
                    </a:cubicBezTo>
                    <a:cubicBezTo>
                      <a:pt x="2837" y="2796"/>
                      <a:pt x="2842" y="2794"/>
                      <a:pt x="2844" y="2792"/>
                    </a:cubicBezTo>
                    <a:cubicBezTo>
                      <a:pt x="2845" y="2791"/>
                      <a:pt x="2849" y="2789"/>
                      <a:pt x="2848" y="2793"/>
                    </a:cubicBezTo>
                    <a:cubicBezTo>
                      <a:pt x="2847" y="2797"/>
                      <a:pt x="2843" y="2798"/>
                      <a:pt x="2843" y="2805"/>
                    </a:cubicBezTo>
                    <a:cubicBezTo>
                      <a:pt x="2843" y="2812"/>
                      <a:pt x="2845" y="2812"/>
                      <a:pt x="2849" y="2811"/>
                    </a:cubicBezTo>
                    <a:cubicBezTo>
                      <a:pt x="2852" y="2809"/>
                      <a:pt x="2856" y="2813"/>
                      <a:pt x="2858" y="2809"/>
                    </a:cubicBezTo>
                    <a:cubicBezTo>
                      <a:pt x="2860" y="2805"/>
                      <a:pt x="2863" y="2802"/>
                      <a:pt x="2865" y="2799"/>
                    </a:cubicBezTo>
                    <a:cubicBezTo>
                      <a:pt x="2867" y="2795"/>
                      <a:pt x="2866" y="2792"/>
                      <a:pt x="2873" y="2792"/>
                    </a:cubicBezTo>
                    <a:cubicBezTo>
                      <a:pt x="2879" y="2792"/>
                      <a:pt x="2885" y="2792"/>
                      <a:pt x="2889" y="2790"/>
                    </a:cubicBezTo>
                    <a:cubicBezTo>
                      <a:pt x="2893" y="2788"/>
                      <a:pt x="2897" y="2790"/>
                      <a:pt x="2893" y="2794"/>
                    </a:cubicBezTo>
                    <a:cubicBezTo>
                      <a:pt x="2890" y="2798"/>
                      <a:pt x="2894" y="2800"/>
                      <a:pt x="2901" y="2798"/>
                    </a:cubicBezTo>
                    <a:cubicBezTo>
                      <a:pt x="2908" y="2797"/>
                      <a:pt x="2914" y="2802"/>
                      <a:pt x="2914" y="2798"/>
                    </a:cubicBezTo>
                    <a:cubicBezTo>
                      <a:pt x="2914" y="2793"/>
                      <a:pt x="2914" y="2793"/>
                      <a:pt x="2911" y="2793"/>
                    </a:cubicBezTo>
                    <a:cubicBezTo>
                      <a:pt x="2909" y="2793"/>
                      <a:pt x="2909" y="2787"/>
                      <a:pt x="2913" y="2784"/>
                    </a:cubicBezTo>
                    <a:cubicBezTo>
                      <a:pt x="2917" y="2781"/>
                      <a:pt x="2919" y="2780"/>
                      <a:pt x="2923" y="2782"/>
                    </a:cubicBezTo>
                    <a:cubicBezTo>
                      <a:pt x="2932" y="2789"/>
                      <a:pt x="2930" y="2792"/>
                      <a:pt x="2939" y="2786"/>
                    </a:cubicBezTo>
                    <a:cubicBezTo>
                      <a:pt x="2946" y="2782"/>
                      <a:pt x="2948" y="2781"/>
                      <a:pt x="2953" y="2782"/>
                    </a:cubicBezTo>
                    <a:cubicBezTo>
                      <a:pt x="2959" y="2782"/>
                      <a:pt x="2961" y="2780"/>
                      <a:pt x="2964" y="2776"/>
                    </a:cubicBezTo>
                    <a:cubicBezTo>
                      <a:pt x="2967" y="2772"/>
                      <a:pt x="2969" y="2768"/>
                      <a:pt x="2975" y="2770"/>
                    </a:cubicBezTo>
                    <a:cubicBezTo>
                      <a:pt x="2980" y="2772"/>
                      <a:pt x="2992" y="2771"/>
                      <a:pt x="2992" y="2756"/>
                    </a:cubicBezTo>
                    <a:cubicBezTo>
                      <a:pt x="2992" y="2742"/>
                      <a:pt x="3004" y="2747"/>
                      <a:pt x="3007" y="2739"/>
                    </a:cubicBezTo>
                    <a:cubicBezTo>
                      <a:pt x="3010" y="2731"/>
                      <a:pt x="3014" y="2726"/>
                      <a:pt x="3017" y="2717"/>
                    </a:cubicBezTo>
                    <a:cubicBezTo>
                      <a:pt x="3020" y="2709"/>
                      <a:pt x="3021" y="2703"/>
                      <a:pt x="3029" y="2705"/>
                    </a:cubicBezTo>
                    <a:cubicBezTo>
                      <a:pt x="3037" y="2706"/>
                      <a:pt x="3038" y="2708"/>
                      <a:pt x="3043" y="2701"/>
                    </a:cubicBezTo>
                    <a:cubicBezTo>
                      <a:pt x="3049" y="2694"/>
                      <a:pt x="3048" y="2691"/>
                      <a:pt x="3054" y="2690"/>
                    </a:cubicBezTo>
                    <a:cubicBezTo>
                      <a:pt x="3059" y="2688"/>
                      <a:pt x="3060" y="2680"/>
                      <a:pt x="3066" y="2677"/>
                    </a:cubicBezTo>
                    <a:cubicBezTo>
                      <a:pt x="3071" y="2674"/>
                      <a:pt x="3079" y="2674"/>
                      <a:pt x="3079" y="2671"/>
                    </a:cubicBezTo>
                    <a:cubicBezTo>
                      <a:pt x="3080" y="2668"/>
                      <a:pt x="3082" y="2665"/>
                      <a:pt x="3085" y="2666"/>
                    </a:cubicBezTo>
                    <a:cubicBezTo>
                      <a:pt x="3089" y="2667"/>
                      <a:pt x="3083" y="2675"/>
                      <a:pt x="3084" y="2676"/>
                    </a:cubicBezTo>
                    <a:cubicBezTo>
                      <a:pt x="3085" y="2678"/>
                      <a:pt x="3089" y="2674"/>
                      <a:pt x="3092" y="2669"/>
                    </a:cubicBezTo>
                    <a:cubicBezTo>
                      <a:pt x="3096" y="2664"/>
                      <a:pt x="3099" y="2661"/>
                      <a:pt x="3099" y="2657"/>
                    </a:cubicBezTo>
                    <a:cubicBezTo>
                      <a:pt x="3099" y="2652"/>
                      <a:pt x="3100" y="2652"/>
                      <a:pt x="3105" y="2649"/>
                    </a:cubicBezTo>
                    <a:cubicBezTo>
                      <a:pt x="3110" y="2647"/>
                      <a:pt x="3117" y="2639"/>
                      <a:pt x="3113" y="2637"/>
                    </a:cubicBezTo>
                    <a:cubicBezTo>
                      <a:pt x="3110" y="2635"/>
                      <a:pt x="3108" y="2632"/>
                      <a:pt x="3101" y="2633"/>
                    </a:cubicBezTo>
                    <a:cubicBezTo>
                      <a:pt x="3094" y="2635"/>
                      <a:pt x="3091" y="2633"/>
                      <a:pt x="3091" y="2630"/>
                    </a:cubicBezTo>
                    <a:cubicBezTo>
                      <a:pt x="3091" y="2627"/>
                      <a:pt x="3104" y="2626"/>
                      <a:pt x="3109" y="2625"/>
                    </a:cubicBezTo>
                    <a:cubicBezTo>
                      <a:pt x="3113" y="2625"/>
                      <a:pt x="3112" y="2619"/>
                      <a:pt x="3111" y="2613"/>
                    </a:cubicBezTo>
                    <a:cubicBezTo>
                      <a:pt x="3110" y="2607"/>
                      <a:pt x="3118" y="2607"/>
                      <a:pt x="3118" y="2612"/>
                    </a:cubicBezTo>
                    <a:cubicBezTo>
                      <a:pt x="3118" y="2617"/>
                      <a:pt x="3124" y="2616"/>
                      <a:pt x="3131" y="2613"/>
                    </a:cubicBezTo>
                    <a:cubicBezTo>
                      <a:pt x="3138" y="2610"/>
                      <a:pt x="3145" y="2608"/>
                      <a:pt x="3147" y="2613"/>
                    </a:cubicBezTo>
                    <a:cubicBezTo>
                      <a:pt x="3150" y="2617"/>
                      <a:pt x="3155" y="2610"/>
                      <a:pt x="3159" y="2602"/>
                    </a:cubicBezTo>
                    <a:cubicBezTo>
                      <a:pt x="3163" y="2595"/>
                      <a:pt x="3162" y="2592"/>
                      <a:pt x="3158" y="2592"/>
                    </a:cubicBezTo>
                    <a:cubicBezTo>
                      <a:pt x="3153" y="2592"/>
                      <a:pt x="3149" y="2593"/>
                      <a:pt x="3150" y="2588"/>
                    </a:cubicBezTo>
                    <a:cubicBezTo>
                      <a:pt x="3152" y="2583"/>
                      <a:pt x="3162" y="2590"/>
                      <a:pt x="3166" y="2585"/>
                    </a:cubicBezTo>
                    <a:cubicBezTo>
                      <a:pt x="3170" y="2580"/>
                      <a:pt x="3174" y="2583"/>
                      <a:pt x="3176" y="2576"/>
                    </a:cubicBezTo>
                    <a:cubicBezTo>
                      <a:pt x="3179" y="2569"/>
                      <a:pt x="3178" y="2569"/>
                      <a:pt x="3171" y="2571"/>
                    </a:cubicBezTo>
                    <a:cubicBezTo>
                      <a:pt x="3164" y="2572"/>
                      <a:pt x="3165" y="2563"/>
                      <a:pt x="3169" y="2562"/>
                    </a:cubicBezTo>
                    <a:cubicBezTo>
                      <a:pt x="3172" y="2561"/>
                      <a:pt x="3173" y="2558"/>
                      <a:pt x="3170" y="2555"/>
                    </a:cubicBezTo>
                    <a:cubicBezTo>
                      <a:pt x="3168" y="2552"/>
                      <a:pt x="3177" y="2548"/>
                      <a:pt x="3178" y="2555"/>
                    </a:cubicBezTo>
                    <a:cubicBezTo>
                      <a:pt x="3179" y="2563"/>
                      <a:pt x="3183" y="2561"/>
                      <a:pt x="3187" y="2560"/>
                    </a:cubicBezTo>
                    <a:cubicBezTo>
                      <a:pt x="3190" y="2560"/>
                      <a:pt x="3188" y="2555"/>
                      <a:pt x="3192" y="2555"/>
                    </a:cubicBezTo>
                    <a:cubicBezTo>
                      <a:pt x="3195" y="2555"/>
                      <a:pt x="3201" y="2557"/>
                      <a:pt x="3202" y="2550"/>
                    </a:cubicBezTo>
                    <a:cubicBezTo>
                      <a:pt x="3202" y="2544"/>
                      <a:pt x="3199" y="2543"/>
                      <a:pt x="3191" y="2540"/>
                    </a:cubicBezTo>
                    <a:cubicBezTo>
                      <a:pt x="3184" y="2538"/>
                      <a:pt x="3191" y="2532"/>
                      <a:pt x="3195" y="2529"/>
                    </a:cubicBezTo>
                    <a:cubicBezTo>
                      <a:pt x="3199" y="2527"/>
                      <a:pt x="3210" y="2522"/>
                      <a:pt x="3211" y="2528"/>
                    </a:cubicBezTo>
                    <a:cubicBezTo>
                      <a:pt x="3213" y="2533"/>
                      <a:pt x="3213" y="2532"/>
                      <a:pt x="3219" y="2535"/>
                    </a:cubicBezTo>
                    <a:cubicBezTo>
                      <a:pt x="3225" y="2538"/>
                      <a:pt x="3227" y="2539"/>
                      <a:pt x="3227" y="2533"/>
                    </a:cubicBezTo>
                    <a:cubicBezTo>
                      <a:pt x="3227" y="2526"/>
                      <a:pt x="3220" y="2522"/>
                      <a:pt x="3218" y="2518"/>
                    </a:cubicBezTo>
                    <a:cubicBezTo>
                      <a:pt x="3216" y="2514"/>
                      <a:pt x="3210" y="2519"/>
                      <a:pt x="3211" y="2511"/>
                    </a:cubicBezTo>
                    <a:cubicBezTo>
                      <a:pt x="3212" y="2503"/>
                      <a:pt x="3222" y="2510"/>
                      <a:pt x="3221" y="2498"/>
                    </a:cubicBezTo>
                    <a:cubicBezTo>
                      <a:pt x="3221" y="2485"/>
                      <a:pt x="3228" y="2486"/>
                      <a:pt x="3226" y="2478"/>
                    </a:cubicBezTo>
                    <a:cubicBezTo>
                      <a:pt x="3223" y="2471"/>
                      <a:pt x="3211" y="2480"/>
                      <a:pt x="3211" y="2474"/>
                    </a:cubicBezTo>
                    <a:cubicBezTo>
                      <a:pt x="3211" y="2468"/>
                      <a:pt x="3218" y="2457"/>
                      <a:pt x="3225" y="2454"/>
                    </a:cubicBezTo>
                    <a:cubicBezTo>
                      <a:pt x="3232" y="2452"/>
                      <a:pt x="3241" y="2450"/>
                      <a:pt x="3241" y="2444"/>
                    </a:cubicBezTo>
                    <a:cubicBezTo>
                      <a:pt x="3240" y="2438"/>
                      <a:pt x="3231" y="2441"/>
                      <a:pt x="3228" y="2445"/>
                    </a:cubicBezTo>
                    <a:cubicBezTo>
                      <a:pt x="3226" y="2448"/>
                      <a:pt x="3220" y="2449"/>
                      <a:pt x="3218" y="2445"/>
                    </a:cubicBezTo>
                    <a:cubicBezTo>
                      <a:pt x="3215" y="2440"/>
                      <a:pt x="3215" y="2436"/>
                      <a:pt x="3220" y="2437"/>
                    </a:cubicBezTo>
                    <a:cubicBezTo>
                      <a:pt x="3225" y="2439"/>
                      <a:pt x="3231" y="2441"/>
                      <a:pt x="3230" y="2436"/>
                    </a:cubicBezTo>
                    <a:cubicBezTo>
                      <a:pt x="3229" y="2430"/>
                      <a:pt x="3224" y="2423"/>
                      <a:pt x="3220" y="2423"/>
                    </a:cubicBezTo>
                    <a:cubicBezTo>
                      <a:pt x="3217" y="2424"/>
                      <a:pt x="3210" y="2425"/>
                      <a:pt x="3213" y="2417"/>
                    </a:cubicBezTo>
                    <a:cubicBezTo>
                      <a:pt x="3215" y="2408"/>
                      <a:pt x="3221" y="2411"/>
                      <a:pt x="3226" y="2413"/>
                    </a:cubicBezTo>
                    <a:cubicBezTo>
                      <a:pt x="3231" y="2416"/>
                      <a:pt x="3234" y="2418"/>
                      <a:pt x="3235" y="2413"/>
                    </a:cubicBezTo>
                    <a:cubicBezTo>
                      <a:pt x="3235" y="2408"/>
                      <a:pt x="3236" y="2406"/>
                      <a:pt x="3242" y="2406"/>
                    </a:cubicBezTo>
                    <a:cubicBezTo>
                      <a:pt x="3248" y="2407"/>
                      <a:pt x="3244" y="2410"/>
                      <a:pt x="3242" y="2416"/>
                    </a:cubicBezTo>
                    <a:cubicBezTo>
                      <a:pt x="3240" y="2423"/>
                      <a:pt x="3230" y="2422"/>
                      <a:pt x="3231" y="2428"/>
                    </a:cubicBezTo>
                    <a:cubicBezTo>
                      <a:pt x="3231" y="2433"/>
                      <a:pt x="3237" y="2429"/>
                      <a:pt x="3241" y="2424"/>
                    </a:cubicBezTo>
                    <a:cubicBezTo>
                      <a:pt x="3246" y="2419"/>
                      <a:pt x="3260" y="2417"/>
                      <a:pt x="3252" y="2405"/>
                    </a:cubicBezTo>
                    <a:cubicBezTo>
                      <a:pt x="3251" y="2403"/>
                      <a:pt x="3248" y="2403"/>
                      <a:pt x="3246" y="2399"/>
                    </a:cubicBezTo>
                    <a:cubicBezTo>
                      <a:pt x="3244" y="2395"/>
                      <a:pt x="3249" y="2392"/>
                      <a:pt x="3254" y="2391"/>
                    </a:cubicBezTo>
                    <a:cubicBezTo>
                      <a:pt x="3259" y="2390"/>
                      <a:pt x="3258" y="2379"/>
                      <a:pt x="3265" y="2376"/>
                    </a:cubicBezTo>
                    <a:cubicBezTo>
                      <a:pt x="3272" y="2374"/>
                      <a:pt x="3278" y="2372"/>
                      <a:pt x="3279" y="2364"/>
                    </a:cubicBezTo>
                    <a:cubicBezTo>
                      <a:pt x="3279" y="2355"/>
                      <a:pt x="3283" y="2350"/>
                      <a:pt x="3286" y="2346"/>
                    </a:cubicBezTo>
                    <a:cubicBezTo>
                      <a:pt x="3288" y="2341"/>
                      <a:pt x="3289" y="2339"/>
                      <a:pt x="3283" y="2334"/>
                    </a:cubicBezTo>
                    <a:cubicBezTo>
                      <a:pt x="3277" y="2328"/>
                      <a:pt x="3286" y="2328"/>
                      <a:pt x="3287" y="2320"/>
                    </a:cubicBezTo>
                    <a:cubicBezTo>
                      <a:pt x="3288" y="2312"/>
                      <a:pt x="3294" y="2304"/>
                      <a:pt x="3297" y="2299"/>
                    </a:cubicBezTo>
                    <a:cubicBezTo>
                      <a:pt x="3298" y="2297"/>
                      <a:pt x="3298" y="2295"/>
                      <a:pt x="3298" y="2294"/>
                    </a:cubicBezTo>
                    <a:cubicBezTo>
                      <a:pt x="3297" y="2285"/>
                      <a:pt x="3306" y="2295"/>
                      <a:pt x="3309" y="2282"/>
                    </a:cubicBezTo>
                    <a:cubicBezTo>
                      <a:pt x="3311" y="2275"/>
                      <a:pt x="3316" y="2274"/>
                      <a:pt x="3316" y="2268"/>
                    </a:cubicBezTo>
                    <a:cubicBezTo>
                      <a:pt x="3315" y="2261"/>
                      <a:pt x="3315" y="2256"/>
                      <a:pt x="3321" y="2255"/>
                    </a:cubicBezTo>
                    <a:cubicBezTo>
                      <a:pt x="3327" y="2253"/>
                      <a:pt x="3328" y="2262"/>
                      <a:pt x="3325" y="2268"/>
                    </a:cubicBezTo>
                    <a:cubicBezTo>
                      <a:pt x="3322" y="2274"/>
                      <a:pt x="3318" y="2281"/>
                      <a:pt x="3322" y="2283"/>
                    </a:cubicBezTo>
                    <a:cubicBezTo>
                      <a:pt x="3326" y="2285"/>
                      <a:pt x="3332" y="2279"/>
                      <a:pt x="3335" y="2269"/>
                    </a:cubicBezTo>
                    <a:cubicBezTo>
                      <a:pt x="3339" y="2258"/>
                      <a:pt x="3341" y="2251"/>
                      <a:pt x="3347" y="2256"/>
                    </a:cubicBezTo>
                    <a:cubicBezTo>
                      <a:pt x="3352" y="2260"/>
                      <a:pt x="3355" y="2260"/>
                      <a:pt x="3356" y="2255"/>
                    </a:cubicBezTo>
                    <a:cubicBezTo>
                      <a:pt x="3357" y="2249"/>
                      <a:pt x="3351" y="2244"/>
                      <a:pt x="3350" y="2236"/>
                    </a:cubicBezTo>
                    <a:cubicBezTo>
                      <a:pt x="3349" y="2229"/>
                      <a:pt x="3339" y="2229"/>
                      <a:pt x="3341" y="2222"/>
                    </a:cubicBezTo>
                    <a:cubicBezTo>
                      <a:pt x="3343" y="2215"/>
                      <a:pt x="3353" y="2220"/>
                      <a:pt x="3352" y="2209"/>
                    </a:cubicBezTo>
                    <a:cubicBezTo>
                      <a:pt x="3350" y="2199"/>
                      <a:pt x="3355" y="2202"/>
                      <a:pt x="3352" y="2196"/>
                    </a:cubicBezTo>
                    <a:cubicBezTo>
                      <a:pt x="3350" y="2189"/>
                      <a:pt x="3352" y="2183"/>
                      <a:pt x="3344" y="2183"/>
                    </a:cubicBezTo>
                    <a:cubicBezTo>
                      <a:pt x="3337" y="2183"/>
                      <a:pt x="3332" y="2185"/>
                      <a:pt x="3332" y="2180"/>
                    </a:cubicBezTo>
                    <a:cubicBezTo>
                      <a:pt x="3333" y="2175"/>
                      <a:pt x="3344" y="2168"/>
                      <a:pt x="3348" y="2173"/>
                    </a:cubicBezTo>
                    <a:cubicBezTo>
                      <a:pt x="3351" y="2177"/>
                      <a:pt x="3353" y="2173"/>
                      <a:pt x="3359" y="2174"/>
                    </a:cubicBezTo>
                    <a:cubicBezTo>
                      <a:pt x="3365" y="2174"/>
                      <a:pt x="3369" y="2174"/>
                      <a:pt x="3372" y="2170"/>
                    </a:cubicBezTo>
                    <a:cubicBezTo>
                      <a:pt x="3374" y="2167"/>
                      <a:pt x="3365" y="2163"/>
                      <a:pt x="3366" y="2154"/>
                    </a:cubicBezTo>
                    <a:cubicBezTo>
                      <a:pt x="3368" y="2145"/>
                      <a:pt x="3367" y="2145"/>
                      <a:pt x="3369" y="2140"/>
                    </a:cubicBezTo>
                    <a:cubicBezTo>
                      <a:pt x="3370" y="2136"/>
                      <a:pt x="3366" y="2133"/>
                      <a:pt x="3361" y="2134"/>
                    </a:cubicBezTo>
                    <a:cubicBezTo>
                      <a:pt x="3356" y="2136"/>
                      <a:pt x="3356" y="2139"/>
                      <a:pt x="3354" y="2142"/>
                    </a:cubicBezTo>
                    <a:cubicBezTo>
                      <a:pt x="3352" y="2145"/>
                      <a:pt x="3348" y="2145"/>
                      <a:pt x="3345" y="2149"/>
                    </a:cubicBezTo>
                    <a:cubicBezTo>
                      <a:pt x="3342" y="2152"/>
                      <a:pt x="3336" y="2152"/>
                      <a:pt x="3333" y="2152"/>
                    </a:cubicBezTo>
                    <a:cubicBezTo>
                      <a:pt x="3331" y="2153"/>
                      <a:pt x="3326" y="2149"/>
                      <a:pt x="3334" y="2145"/>
                    </a:cubicBezTo>
                    <a:cubicBezTo>
                      <a:pt x="3341" y="2142"/>
                      <a:pt x="3344" y="2142"/>
                      <a:pt x="3349" y="2137"/>
                    </a:cubicBezTo>
                    <a:cubicBezTo>
                      <a:pt x="3353" y="2131"/>
                      <a:pt x="3357" y="2128"/>
                      <a:pt x="3360" y="2124"/>
                    </a:cubicBezTo>
                    <a:cubicBezTo>
                      <a:pt x="3363" y="2119"/>
                      <a:pt x="3368" y="2119"/>
                      <a:pt x="3372" y="2115"/>
                    </a:cubicBezTo>
                    <a:cubicBezTo>
                      <a:pt x="3375" y="2112"/>
                      <a:pt x="3377" y="2112"/>
                      <a:pt x="3375" y="2109"/>
                    </a:cubicBezTo>
                    <a:cubicBezTo>
                      <a:pt x="3374" y="2107"/>
                      <a:pt x="3363" y="2109"/>
                      <a:pt x="3357" y="2109"/>
                    </a:cubicBezTo>
                    <a:cubicBezTo>
                      <a:pt x="3351" y="2108"/>
                      <a:pt x="3346" y="2106"/>
                      <a:pt x="3340" y="2104"/>
                    </a:cubicBezTo>
                    <a:cubicBezTo>
                      <a:pt x="3335" y="2101"/>
                      <a:pt x="3332" y="2098"/>
                      <a:pt x="3329" y="2090"/>
                    </a:cubicBezTo>
                    <a:cubicBezTo>
                      <a:pt x="3326" y="2082"/>
                      <a:pt x="3319" y="2081"/>
                      <a:pt x="3312" y="2079"/>
                    </a:cubicBezTo>
                    <a:cubicBezTo>
                      <a:pt x="3306" y="2077"/>
                      <a:pt x="3297" y="2081"/>
                      <a:pt x="3290" y="2088"/>
                    </a:cubicBezTo>
                    <a:cubicBezTo>
                      <a:pt x="3282" y="2095"/>
                      <a:pt x="3274" y="2097"/>
                      <a:pt x="3269" y="2099"/>
                    </a:cubicBezTo>
                    <a:cubicBezTo>
                      <a:pt x="3263" y="2101"/>
                      <a:pt x="3258" y="2099"/>
                      <a:pt x="3258" y="2091"/>
                    </a:cubicBezTo>
                    <a:cubicBezTo>
                      <a:pt x="3257" y="2083"/>
                      <a:pt x="3255" y="2073"/>
                      <a:pt x="3264" y="2077"/>
                    </a:cubicBezTo>
                    <a:cubicBezTo>
                      <a:pt x="3273" y="2080"/>
                      <a:pt x="3278" y="2080"/>
                      <a:pt x="3280" y="2071"/>
                    </a:cubicBezTo>
                    <a:cubicBezTo>
                      <a:pt x="3282" y="2061"/>
                      <a:pt x="3290" y="2058"/>
                      <a:pt x="3297" y="2050"/>
                    </a:cubicBezTo>
                    <a:cubicBezTo>
                      <a:pt x="3304" y="2042"/>
                      <a:pt x="3310" y="2033"/>
                      <a:pt x="3328" y="2031"/>
                    </a:cubicBezTo>
                    <a:cubicBezTo>
                      <a:pt x="3345" y="2028"/>
                      <a:pt x="3353" y="2018"/>
                      <a:pt x="3342" y="2006"/>
                    </a:cubicBezTo>
                    <a:cubicBezTo>
                      <a:pt x="3331" y="1994"/>
                      <a:pt x="3334" y="1989"/>
                      <a:pt x="3309" y="1975"/>
                    </a:cubicBezTo>
                    <a:cubicBezTo>
                      <a:pt x="3285" y="1960"/>
                      <a:pt x="3287" y="1954"/>
                      <a:pt x="3273" y="1951"/>
                    </a:cubicBezTo>
                    <a:cubicBezTo>
                      <a:pt x="3259" y="1948"/>
                      <a:pt x="3257" y="1948"/>
                      <a:pt x="3256" y="1942"/>
                    </a:cubicBezTo>
                    <a:cubicBezTo>
                      <a:pt x="3256" y="1936"/>
                      <a:pt x="3261" y="1931"/>
                      <a:pt x="3264" y="1937"/>
                    </a:cubicBezTo>
                    <a:cubicBezTo>
                      <a:pt x="3267" y="1942"/>
                      <a:pt x="3273" y="1945"/>
                      <a:pt x="3280" y="1941"/>
                    </a:cubicBezTo>
                    <a:cubicBezTo>
                      <a:pt x="3287" y="1937"/>
                      <a:pt x="3294" y="1933"/>
                      <a:pt x="3308" y="1941"/>
                    </a:cubicBezTo>
                    <a:cubicBezTo>
                      <a:pt x="3321" y="1949"/>
                      <a:pt x="3338" y="1953"/>
                      <a:pt x="3339" y="1946"/>
                    </a:cubicBezTo>
                    <a:cubicBezTo>
                      <a:pt x="3339" y="1939"/>
                      <a:pt x="3336" y="1927"/>
                      <a:pt x="3319" y="1918"/>
                    </a:cubicBezTo>
                    <a:cubicBezTo>
                      <a:pt x="3302" y="1910"/>
                      <a:pt x="3300" y="1912"/>
                      <a:pt x="3294" y="1900"/>
                    </a:cubicBezTo>
                    <a:cubicBezTo>
                      <a:pt x="3288" y="1888"/>
                      <a:pt x="3288" y="1885"/>
                      <a:pt x="3269" y="1878"/>
                    </a:cubicBezTo>
                    <a:cubicBezTo>
                      <a:pt x="3249" y="1870"/>
                      <a:pt x="3258" y="1860"/>
                      <a:pt x="3255" y="1849"/>
                    </a:cubicBezTo>
                    <a:cubicBezTo>
                      <a:pt x="3252" y="1838"/>
                      <a:pt x="3242" y="1828"/>
                      <a:pt x="3235" y="1813"/>
                    </a:cubicBezTo>
                    <a:cubicBezTo>
                      <a:pt x="3229" y="1798"/>
                      <a:pt x="3221" y="1778"/>
                      <a:pt x="3213" y="1762"/>
                    </a:cubicBezTo>
                    <a:cubicBezTo>
                      <a:pt x="3211" y="1758"/>
                      <a:pt x="3206" y="1750"/>
                      <a:pt x="3201" y="1741"/>
                    </a:cubicBezTo>
                    <a:cubicBezTo>
                      <a:pt x="3204" y="1740"/>
                      <a:pt x="3204" y="1740"/>
                      <a:pt x="3204" y="1740"/>
                    </a:cubicBezTo>
                    <a:cubicBezTo>
                      <a:pt x="3200" y="1732"/>
                      <a:pt x="3197" y="1725"/>
                      <a:pt x="3191" y="1721"/>
                    </a:cubicBezTo>
                    <a:cubicBezTo>
                      <a:pt x="3190" y="1720"/>
                      <a:pt x="3188" y="1719"/>
                      <a:pt x="3187" y="1718"/>
                    </a:cubicBezTo>
                    <a:cubicBezTo>
                      <a:pt x="3186" y="1718"/>
                      <a:pt x="3186" y="1717"/>
                      <a:pt x="3185" y="1716"/>
                    </a:cubicBezTo>
                    <a:cubicBezTo>
                      <a:pt x="3185" y="1716"/>
                      <a:pt x="3184" y="1716"/>
                      <a:pt x="3183" y="1717"/>
                    </a:cubicBezTo>
                    <a:cubicBezTo>
                      <a:pt x="3173" y="1713"/>
                      <a:pt x="3160" y="1711"/>
                      <a:pt x="3153" y="1708"/>
                    </a:cubicBezTo>
                    <a:cubicBezTo>
                      <a:pt x="3142" y="1704"/>
                      <a:pt x="3142" y="1698"/>
                      <a:pt x="3132" y="1693"/>
                    </a:cubicBezTo>
                    <a:cubicBezTo>
                      <a:pt x="3122" y="1688"/>
                      <a:pt x="3118" y="1693"/>
                      <a:pt x="3113" y="1684"/>
                    </a:cubicBezTo>
                    <a:cubicBezTo>
                      <a:pt x="3108" y="1675"/>
                      <a:pt x="3111" y="1668"/>
                      <a:pt x="3118" y="1661"/>
                    </a:cubicBezTo>
                    <a:cubicBezTo>
                      <a:pt x="3125" y="1654"/>
                      <a:pt x="3124" y="1647"/>
                      <a:pt x="3127" y="1642"/>
                    </a:cubicBezTo>
                    <a:cubicBezTo>
                      <a:pt x="3129" y="1636"/>
                      <a:pt x="3135" y="1631"/>
                      <a:pt x="3136" y="1619"/>
                    </a:cubicBezTo>
                    <a:cubicBezTo>
                      <a:pt x="3138" y="1607"/>
                      <a:pt x="3156" y="1602"/>
                      <a:pt x="3165" y="1596"/>
                    </a:cubicBezTo>
                    <a:cubicBezTo>
                      <a:pt x="3175" y="1589"/>
                      <a:pt x="3176" y="1588"/>
                      <a:pt x="3174" y="1583"/>
                    </a:cubicBezTo>
                    <a:cubicBezTo>
                      <a:pt x="3173" y="1578"/>
                      <a:pt x="3162" y="1581"/>
                      <a:pt x="3162" y="1571"/>
                    </a:cubicBezTo>
                    <a:cubicBezTo>
                      <a:pt x="3162" y="1562"/>
                      <a:pt x="3173" y="1572"/>
                      <a:pt x="3184" y="1574"/>
                    </a:cubicBezTo>
                    <a:cubicBezTo>
                      <a:pt x="3195" y="1576"/>
                      <a:pt x="3204" y="1570"/>
                      <a:pt x="3206" y="1562"/>
                    </a:cubicBezTo>
                    <a:cubicBezTo>
                      <a:pt x="3208" y="1554"/>
                      <a:pt x="3203" y="1552"/>
                      <a:pt x="3203" y="1543"/>
                    </a:cubicBezTo>
                    <a:cubicBezTo>
                      <a:pt x="3203" y="1534"/>
                      <a:pt x="3213" y="1532"/>
                      <a:pt x="3213" y="1538"/>
                    </a:cubicBezTo>
                    <a:cubicBezTo>
                      <a:pt x="3214" y="1544"/>
                      <a:pt x="3221" y="1540"/>
                      <a:pt x="3222" y="1530"/>
                    </a:cubicBezTo>
                    <a:cubicBezTo>
                      <a:pt x="3223" y="1520"/>
                      <a:pt x="3227" y="1514"/>
                      <a:pt x="3238" y="1510"/>
                    </a:cubicBezTo>
                    <a:cubicBezTo>
                      <a:pt x="3249" y="1507"/>
                      <a:pt x="3251" y="1502"/>
                      <a:pt x="3261" y="1500"/>
                    </a:cubicBezTo>
                    <a:cubicBezTo>
                      <a:pt x="3272" y="1497"/>
                      <a:pt x="3271" y="1492"/>
                      <a:pt x="3276" y="1488"/>
                    </a:cubicBezTo>
                    <a:cubicBezTo>
                      <a:pt x="3282" y="1484"/>
                      <a:pt x="3283" y="1479"/>
                      <a:pt x="3288" y="1479"/>
                    </a:cubicBezTo>
                    <a:cubicBezTo>
                      <a:pt x="3292" y="1479"/>
                      <a:pt x="3292" y="1482"/>
                      <a:pt x="3297" y="1483"/>
                    </a:cubicBezTo>
                    <a:cubicBezTo>
                      <a:pt x="3302" y="1484"/>
                      <a:pt x="3301" y="1487"/>
                      <a:pt x="3307" y="1488"/>
                    </a:cubicBezTo>
                    <a:cubicBezTo>
                      <a:pt x="3313" y="1489"/>
                      <a:pt x="3321" y="1488"/>
                      <a:pt x="3327" y="1480"/>
                    </a:cubicBezTo>
                    <a:cubicBezTo>
                      <a:pt x="3332" y="1472"/>
                      <a:pt x="3331" y="1470"/>
                      <a:pt x="3328" y="1469"/>
                    </a:cubicBezTo>
                    <a:cubicBezTo>
                      <a:pt x="3325" y="1468"/>
                      <a:pt x="3320" y="1470"/>
                      <a:pt x="3319" y="1465"/>
                    </a:cubicBezTo>
                    <a:cubicBezTo>
                      <a:pt x="3317" y="1459"/>
                      <a:pt x="3330" y="1455"/>
                      <a:pt x="3327" y="1451"/>
                    </a:cubicBezTo>
                    <a:cubicBezTo>
                      <a:pt x="3323" y="1446"/>
                      <a:pt x="3322" y="1444"/>
                      <a:pt x="3327" y="1439"/>
                    </a:cubicBezTo>
                    <a:cubicBezTo>
                      <a:pt x="3333" y="1433"/>
                      <a:pt x="3331" y="1430"/>
                      <a:pt x="3326" y="1434"/>
                    </a:cubicBezTo>
                    <a:cubicBezTo>
                      <a:pt x="3320" y="1437"/>
                      <a:pt x="3318" y="1438"/>
                      <a:pt x="3308" y="1436"/>
                    </a:cubicBezTo>
                    <a:cubicBezTo>
                      <a:pt x="3297" y="1434"/>
                      <a:pt x="3294" y="1432"/>
                      <a:pt x="3293" y="1428"/>
                    </a:cubicBezTo>
                    <a:cubicBezTo>
                      <a:pt x="3292" y="1425"/>
                      <a:pt x="3285" y="1423"/>
                      <a:pt x="3284" y="1427"/>
                    </a:cubicBezTo>
                    <a:cubicBezTo>
                      <a:pt x="3283" y="1431"/>
                      <a:pt x="3280" y="1434"/>
                      <a:pt x="3272" y="1434"/>
                    </a:cubicBezTo>
                    <a:cubicBezTo>
                      <a:pt x="3265" y="1435"/>
                      <a:pt x="3257" y="1445"/>
                      <a:pt x="3249" y="1437"/>
                    </a:cubicBezTo>
                    <a:cubicBezTo>
                      <a:pt x="3240" y="1428"/>
                      <a:pt x="3240" y="1425"/>
                      <a:pt x="3237" y="1425"/>
                    </a:cubicBezTo>
                    <a:cubicBezTo>
                      <a:pt x="3234" y="1425"/>
                      <a:pt x="3237" y="1434"/>
                      <a:pt x="3229" y="1430"/>
                    </a:cubicBezTo>
                    <a:cubicBezTo>
                      <a:pt x="3222" y="1425"/>
                      <a:pt x="3221" y="1420"/>
                      <a:pt x="3213" y="1416"/>
                    </a:cubicBezTo>
                    <a:cubicBezTo>
                      <a:pt x="3205" y="1413"/>
                      <a:pt x="3203" y="1407"/>
                      <a:pt x="3192" y="1411"/>
                    </a:cubicBezTo>
                    <a:cubicBezTo>
                      <a:pt x="3182" y="1415"/>
                      <a:pt x="3177" y="1420"/>
                      <a:pt x="3171" y="1421"/>
                    </a:cubicBezTo>
                    <a:cubicBezTo>
                      <a:pt x="3165" y="1423"/>
                      <a:pt x="3164" y="1425"/>
                      <a:pt x="3163" y="1432"/>
                    </a:cubicBezTo>
                    <a:cubicBezTo>
                      <a:pt x="3161" y="1439"/>
                      <a:pt x="3154" y="1446"/>
                      <a:pt x="3147" y="1451"/>
                    </a:cubicBezTo>
                    <a:cubicBezTo>
                      <a:pt x="3139" y="1455"/>
                      <a:pt x="3138" y="1456"/>
                      <a:pt x="3139" y="1464"/>
                    </a:cubicBezTo>
                    <a:cubicBezTo>
                      <a:pt x="3141" y="1473"/>
                      <a:pt x="3131" y="1483"/>
                      <a:pt x="3122" y="1483"/>
                    </a:cubicBezTo>
                    <a:cubicBezTo>
                      <a:pt x="3112" y="1483"/>
                      <a:pt x="3108" y="1484"/>
                      <a:pt x="3101" y="1485"/>
                    </a:cubicBezTo>
                    <a:cubicBezTo>
                      <a:pt x="3095" y="1487"/>
                      <a:pt x="3092" y="1486"/>
                      <a:pt x="3088" y="1484"/>
                    </a:cubicBezTo>
                    <a:cubicBezTo>
                      <a:pt x="3084" y="1481"/>
                      <a:pt x="3080" y="1477"/>
                      <a:pt x="3078" y="1474"/>
                    </a:cubicBezTo>
                    <a:cubicBezTo>
                      <a:pt x="3076" y="1471"/>
                      <a:pt x="3067" y="1471"/>
                      <a:pt x="3065" y="1466"/>
                    </a:cubicBezTo>
                    <a:cubicBezTo>
                      <a:pt x="3062" y="1461"/>
                      <a:pt x="3069" y="1461"/>
                      <a:pt x="3069" y="1455"/>
                    </a:cubicBezTo>
                    <a:cubicBezTo>
                      <a:pt x="3068" y="1449"/>
                      <a:pt x="3071" y="1441"/>
                      <a:pt x="3073" y="1437"/>
                    </a:cubicBezTo>
                    <a:cubicBezTo>
                      <a:pt x="3076" y="1433"/>
                      <a:pt x="3077" y="1429"/>
                      <a:pt x="3071" y="1426"/>
                    </a:cubicBezTo>
                    <a:cubicBezTo>
                      <a:pt x="3066" y="1424"/>
                      <a:pt x="3073" y="1418"/>
                      <a:pt x="3070" y="1413"/>
                    </a:cubicBezTo>
                    <a:cubicBezTo>
                      <a:pt x="3067" y="1409"/>
                      <a:pt x="3064" y="1406"/>
                      <a:pt x="3060" y="1402"/>
                    </a:cubicBezTo>
                    <a:cubicBezTo>
                      <a:pt x="3056" y="1398"/>
                      <a:pt x="3050" y="1398"/>
                      <a:pt x="3046" y="1403"/>
                    </a:cubicBezTo>
                    <a:cubicBezTo>
                      <a:pt x="3043" y="1408"/>
                      <a:pt x="3040" y="1412"/>
                      <a:pt x="3035" y="1407"/>
                    </a:cubicBezTo>
                    <a:cubicBezTo>
                      <a:pt x="3030" y="1403"/>
                      <a:pt x="3028" y="1404"/>
                      <a:pt x="3022" y="1403"/>
                    </a:cubicBezTo>
                    <a:cubicBezTo>
                      <a:pt x="3015" y="1403"/>
                      <a:pt x="3014" y="1401"/>
                      <a:pt x="3010" y="1404"/>
                    </a:cubicBezTo>
                    <a:cubicBezTo>
                      <a:pt x="3007" y="1407"/>
                      <a:pt x="3000" y="1405"/>
                      <a:pt x="2993" y="1401"/>
                    </a:cubicBezTo>
                    <a:cubicBezTo>
                      <a:pt x="2986" y="1396"/>
                      <a:pt x="2985" y="1385"/>
                      <a:pt x="2979" y="1380"/>
                    </a:cubicBezTo>
                    <a:cubicBezTo>
                      <a:pt x="2973" y="1374"/>
                      <a:pt x="2967" y="1365"/>
                      <a:pt x="2966" y="1353"/>
                    </a:cubicBezTo>
                    <a:cubicBezTo>
                      <a:pt x="2966" y="1341"/>
                      <a:pt x="2979" y="1334"/>
                      <a:pt x="2980" y="1327"/>
                    </a:cubicBezTo>
                    <a:cubicBezTo>
                      <a:pt x="2981" y="1320"/>
                      <a:pt x="2984" y="1313"/>
                      <a:pt x="2988" y="1308"/>
                    </a:cubicBezTo>
                    <a:cubicBezTo>
                      <a:pt x="2993" y="1303"/>
                      <a:pt x="3001" y="1302"/>
                      <a:pt x="3004" y="1307"/>
                    </a:cubicBezTo>
                    <a:cubicBezTo>
                      <a:pt x="3008" y="1312"/>
                      <a:pt x="3010" y="1324"/>
                      <a:pt x="3019" y="1319"/>
                    </a:cubicBezTo>
                    <a:cubicBezTo>
                      <a:pt x="3027" y="1314"/>
                      <a:pt x="3033" y="1304"/>
                      <a:pt x="3042" y="1309"/>
                    </a:cubicBezTo>
                    <a:cubicBezTo>
                      <a:pt x="3052" y="1313"/>
                      <a:pt x="3061" y="1303"/>
                      <a:pt x="3066" y="1296"/>
                    </a:cubicBezTo>
                    <a:cubicBezTo>
                      <a:pt x="3072" y="1289"/>
                      <a:pt x="3074" y="1285"/>
                      <a:pt x="3074" y="1278"/>
                    </a:cubicBezTo>
                    <a:cubicBezTo>
                      <a:pt x="3074" y="1270"/>
                      <a:pt x="3078" y="1259"/>
                      <a:pt x="3085" y="1254"/>
                    </a:cubicBezTo>
                    <a:cubicBezTo>
                      <a:pt x="3091" y="1249"/>
                      <a:pt x="3098" y="1240"/>
                      <a:pt x="3106" y="1240"/>
                    </a:cubicBezTo>
                    <a:cubicBezTo>
                      <a:pt x="3114" y="1240"/>
                      <a:pt x="3117" y="1227"/>
                      <a:pt x="3120" y="1221"/>
                    </a:cubicBezTo>
                    <a:cubicBezTo>
                      <a:pt x="3123" y="1216"/>
                      <a:pt x="3139" y="1209"/>
                      <a:pt x="3146" y="1207"/>
                    </a:cubicBezTo>
                    <a:cubicBezTo>
                      <a:pt x="3153" y="1206"/>
                      <a:pt x="3153" y="1194"/>
                      <a:pt x="3155" y="1187"/>
                    </a:cubicBezTo>
                    <a:cubicBezTo>
                      <a:pt x="3158" y="1180"/>
                      <a:pt x="3163" y="1173"/>
                      <a:pt x="3167" y="1165"/>
                    </a:cubicBezTo>
                    <a:cubicBezTo>
                      <a:pt x="3170" y="1156"/>
                      <a:pt x="3174" y="1158"/>
                      <a:pt x="3178" y="1156"/>
                    </a:cubicBezTo>
                    <a:cubicBezTo>
                      <a:pt x="3182" y="1155"/>
                      <a:pt x="3182" y="1146"/>
                      <a:pt x="3188" y="1139"/>
                    </a:cubicBezTo>
                    <a:cubicBezTo>
                      <a:pt x="3194" y="1132"/>
                      <a:pt x="3194" y="1131"/>
                      <a:pt x="3205" y="1133"/>
                    </a:cubicBezTo>
                    <a:cubicBezTo>
                      <a:pt x="3216" y="1135"/>
                      <a:pt x="3219" y="1138"/>
                      <a:pt x="3227" y="1132"/>
                    </a:cubicBezTo>
                    <a:cubicBezTo>
                      <a:pt x="3235" y="1126"/>
                      <a:pt x="3231" y="1120"/>
                      <a:pt x="3235" y="1120"/>
                    </a:cubicBezTo>
                    <a:cubicBezTo>
                      <a:pt x="3239" y="1120"/>
                      <a:pt x="3241" y="1126"/>
                      <a:pt x="3241" y="1133"/>
                    </a:cubicBezTo>
                    <a:cubicBezTo>
                      <a:pt x="3241" y="1141"/>
                      <a:pt x="3255" y="1142"/>
                      <a:pt x="3259" y="1152"/>
                    </a:cubicBezTo>
                    <a:cubicBezTo>
                      <a:pt x="3264" y="1163"/>
                      <a:pt x="3267" y="1162"/>
                      <a:pt x="3262" y="1174"/>
                    </a:cubicBezTo>
                    <a:cubicBezTo>
                      <a:pt x="3256" y="1186"/>
                      <a:pt x="3255" y="1190"/>
                      <a:pt x="3252" y="1196"/>
                    </a:cubicBezTo>
                    <a:cubicBezTo>
                      <a:pt x="3250" y="1202"/>
                      <a:pt x="3247" y="1204"/>
                      <a:pt x="3245" y="1211"/>
                    </a:cubicBezTo>
                    <a:cubicBezTo>
                      <a:pt x="3243" y="1217"/>
                      <a:pt x="3239" y="1221"/>
                      <a:pt x="3230" y="1227"/>
                    </a:cubicBezTo>
                    <a:cubicBezTo>
                      <a:pt x="3220" y="1233"/>
                      <a:pt x="3222" y="1239"/>
                      <a:pt x="3226" y="1243"/>
                    </a:cubicBezTo>
                    <a:cubicBezTo>
                      <a:pt x="3231" y="1247"/>
                      <a:pt x="3231" y="1254"/>
                      <a:pt x="3230" y="1258"/>
                    </a:cubicBezTo>
                    <a:cubicBezTo>
                      <a:pt x="3230" y="1262"/>
                      <a:pt x="3225" y="1260"/>
                      <a:pt x="3226" y="1266"/>
                    </a:cubicBezTo>
                    <a:cubicBezTo>
                      <a:pt x="3226" y="1271"/>
                      <a:pt x="3234" y="1272"/>
                      <a:pt x="3242" y="1267"/>
                    </a:cubicBezTo>
                    <a:cubicBezTo>
                      <a:pt x="3250" y="1263"/>
                      <a:pt x="3250" y="1272"/>
                      <a:pt x="3243" y="1277"/>
                    </a:cubicBezTo>
                    <a:cubicBezTo>
                      <a:pt x="3235" y="1281"/>
                      <a:pt x="3236" y="1285"/>
                      <a:pt x="3239" y="1287"/>
                    </a:cubicBezTo>
                    <a:cubicBezTo>
                      <a:pt x="3243" y="1289"/>
                      <a:pt x="3242" y="1292"/>
                      <a:pt x="3236" y="1296"/>
                    </a:cubicBezTo>
                    <a:cubicBezTo>
                      <a:pt x="3229" y="1299"/>
                      <a:pt x="3225" y="1296"/>
                      <a:pt x="3220" y="1301"/>
                    </a:cubicBezTo>
                    <a:cubicBezTo>
                      <a:pt x="3215" y="1305"/>
                      <a:pt x="3215" y="1308"/>
                      <a:pt x="3208" y="1308"/>
                    </a:cubicBezTo>
                    <a:cubicBezTo>
                      <a:pt x="3202" y="1308"/>
                      <a:pt x="3204" y="1316"/>
                      <a:pt x="3208" y="1323"/>
                    </a:cubicBezTo>
                    <a:cubicBezTo>
                      <a:pt x="3212" y="1330"/>
                      <a:pt x="3219" y="1326"/>
                      <a:pt x="3223" y="1323"/>
                    </a:cubicBezTo>
                    <a:cubicBezTo>
                      <a:pt x="3227" y="1320"/>
                      <a:pt x="3235" y="1316"/>
                      <a:pt x="3241" y="1314"/>
                    </a:cubicBezTo>
                    <a:cubicBezTo>
                      <a:pt x="3248" y="1312"/>
                      <a:pt x="3250" y="1310"/>
                      <a:pt x="3246" y="1308"/>
                    </a:cubicBezTo>
                    <a:cubicBezTo>
                      <a:pt x="3242" y="1306"/>
                      <a:pt x="3240" y="1303"/>
                      <a:pt x="3244" y="1301"/>
                    </a:cubicBezTo>
                    <a:cubicBezTo>
                      <a:pt x="3245" y="1300"/>
                      <a:pt x="3247" y="1299"/>
                      <a:pt x="3249" y="1299"/>
                    </a:cubicBezTo>
                    <a:cubicBezTo>
                      <a:pt x="3262" y="1299"/>
                      <a:pt x="3255" y="1305"/>
                      <a:pt x="3269" y="1291"/>
                    </a:cubicBezTo>
                    <a:cubicBezTo>
                      <a:pt x="3282" y="1276"/>
                      <a:pt x="3278" y="1269"/>
                      <a:pt x="3287" y="1263"/>
                    </a:cubicBezTo>
                    <a:cubicBezTo>
                      <a:pt x="3297" y="1257"/>
                      <a:pt x="3297" y="1261"/>
                      <a:pt x="3307" y="1250"/>
                    </a:cubicBezTo>
                    <a:cubicBezTo>
                      <a:pt x="3318" y="1239"/>
                      <a:pt x="3331" y="1236"/>
                      <a:pt x="3336" y="1232"/>
                    </a:cubicBezTo>
                    <a:cubicBezTo>
                      <a:pt x="3342" y="1229"/>
                      <a:pt x="3340" y="1226"/>
                      <a:pt x="3345" y="1222"/>
                    </a:cubicBezTo>
                    <a:cubicBezTo>
                      <a:pt x="3350" y="1218"/>
                      <a:pt x="3351" y="1219"/>
                      <a:pt x="3351" y="1223"/>
                    </a:cubicBezTo>
                    <a:cubicBezTo>
                      <a:pt x="3351" y="1226"/>
                      <a:pt x="3358" y="1228"/>
                      <a:pt x="3358" y="1219"/>
                    </a:cubicBezTo>
                    <a:cubicBezTo>
                      <a:pt x="3359" y="1211"/>
                      <a:pt x="3366" y="1208"/>
                      <a:pt x="3373" y="1206"/>
                    </a:cubicBezTo>
                    <a:cubicBezTo>
                      <a:pt x="3380" y="1205"/>
                      <a:pt x="3390" y="1212"/>
                      <a:pt x="3397" y="1207"/>
                    </a:cubicBezTo>
                    <a:cubicBezTo>
                      <a:pt x="3404" y="1202"/>
                      <a:pt x="3409" y="1196"/>
                      <a:pt x="3412" y="1188"/>
                    </a:cubicBezTo>
                    <a:cubicBezTo>
                      <a:pt x="3412" y="1186"/>
                      <a:pt x="3412" y="1187"/>
                      <a:pt x="3412" y="1183"/>
                    </a:cubicBezTo>
                    <a:cubicBezTo>
                      <a:pt x="3413" y="1180"/>
                      <a:pt x="3414" y="1179"/>
                      <a:pt x="3415" y="1177"/>
                    </a:cubicBezTo>
                    <a:cubicBezTo>
                      <a:pt x="3417" y="1174"/>
                      <a:pt x="3419" y="1167"/>
                      <a:pt x="3423" y="1164"/>
                    </a:cubicBezTo>
                    <a:cubicBezTo>
                      <a:pt x="3426" y="1161"/>
                      <a:pt x="3436" y="1148"/>
                      <a:pt x="3438" y="1147"/>
                    </a:cubicBezTo>
                    <a:cubicBezTo>
                      <a:pt x="3439" y="1145"/>
                      <a:pt x="3441" y="1142"/>
                      <a:pt x="3444" y="1141"/>
                    </a:cubicBezTo>
                    <a:cubicBezTo>
                      <a:pt x="3447" y="1141"/>
                      <a:pt x="3450" y="1138"/>
                      <a:pt x="3450" y="1136"/>
                    </a:cubicBezTo>
                    <a:cubicBezTo>
                      <a:pt x="3449" y="1134"/>
                      <a:pt x="3449" y="1132"/>
                      <a:pt x="3454" y="1131"/>
                    </a:cubicBezTo>
                    <a:cubicBezTo>
                      <a:pt x="3458" y="1129"/>
                      <a:pt x="3458" y="1129"/>
                      <a:pt x="3461" y="1125"/>
                    </a:cubicBezTo>
                    <a:cubicBezTo>
                      <a:pt x="3463" y="1121"/>
                      <a:pt x="3463" y="1119"/>
                      <a:pt x="3469" y="1122"/>
                    </a:cubicBezTo>
                    <a:cubicBezTo>
                      <a:pt x="3476" y="1125"/>
                      <a:pt x="3473" y="1121"/>
                      <a:pt x="3473" y="1119"/>
                    </a:cubicBezTo>
                    <a:cubicBezTo>
                      <a:pt x="3473" y="1117"/>
                      <a:pt x="3473" y="1116"/>
                      <a:pt x="3475" y="1116"/>
                    </a:cubicBezTo>
                    <a:cubicBezTo>
                      <a:pt x="3477" y="1115"/>
                      <a:pt x="3477" y="1115"/>
                      <a:pt x="3479" y="1112"/>
                    </a:cubicBezTo>
                    <a:cubicBezTo>
                      <a:pt x="3480" y="1109"/>
                      <a:pt x="3483" y="1110"/>
                      <a:pt x="3485" y="1110"/>
                    </a:cubicBezTo>
                    <a:cubicBezTo>
                      <a:pt x="3486" y="1110"/>
                      <a:pt x="3487" y="1110"/>
                      <a:pt x="3487" y="1107"/>
                    </a:cubicBezTo>
                    <a:cubicBezTo>
                      <a:pt x="3487" y="1103"/>
                      <a:pt x="3490" y="1099"/>
                      <a:pt x="3492" y="1098"/>
                    </a:cubicBezTo>
                    <a:cubicBezTo>
                      <a:pt x="3493" y="1097"/>
                      <a:pt x="3496" y="1093"/>
                      <a:pt x="3503" y="1093"/>
                    </a:cubicBezTo>
                    <a:cubicBezTo>
                      <a:pt x="3510" y="1093"/>
                      <a:pt x="3509" y="1091"/>
                      <a:pt x="3510" y="1087"/>
                    </a:cubicBezTo>
                    <a:cubicBezTo>
                      <a:pt x="3510" y="1083"/>
                      <a:pt x="3510" y="1085"/>
                      <a:pt x="3511" y="1083"/>
                    </a:cubicBezTo>
                    <a:cubicBezTo>
                      <a:pt x="3513" y="1080"/>
                      <a:pt x="3513" y="1081"/>
                      <a:pt x="3514" y="1079"/>
                    </a:cubicBezTo>
                    <a:cubicBezTo>
                      <a:pt x="3515" y="1076"/>
                      <a:pt x="3514" y="1077"/>
                      <a:pt x="3516" y="1074"/>
                    </a:cubicBezTo>
                    <a:cubicBezTo>
                      <a:pt x="3517" y="1072"/>
                      <a:pt x="3522" y="1066"/>
                      <a:pt x="3524" y="1064"/>
                    </a:cubicBezTo>
                    <a:cubicBezTo>
                      <a:pt x="3525" y="1061"/>
                      <a:pt x="3526" y="1061"/>
                      <a:pt x="3526" y="1058"/>
                    </a:cubicBezTo>
                    <a:cubicBezTo>
                      <a:pt x="3526" y="1055"/>
                      <a:pt x="3527" y="1055"/>
                      <a:pt x="3529" y="1051"/>
                    </a:cubicBezTo>
                    <a:cubicBezTo>
                      <a:pt x="3531" y="1047"/>
                      <a:pt x="3533" y="1045"/>
                      <a:pt x="3534" y="1046"/>
                    </a:cubicBezTo>
                    <a:cubicBezTo>
                      <a:pt x="3535" y="1047"/>
                      <a:pt x="3536" y="1048"/>
                      <a:pt x="3538" y="1047"/>
                    </a:cubicBezTo>
                    <a:cubicBezTo>
                      <a:pt x="3540" y="1046"/>
                      <a:pt x="3537" y="1044"/>
                      <a:pt x="3536" y="1042"/>
                    </a:cubicBezTo>
                    <a:cubicBezTo>
                      <a:pt x="3534" y="1039"/>
                      <a:pt x="3535" y="1040"/>
                      <a:pt x="3535" y="1037"/>
                    </a:cubicBezTo>
                    <a:cubicBezTo>
                      <a:pt x="3535" y="1033"/>
                      <a:pt x="3536" y="1031"/>
                      <a:pt x="3535" y="1027"/>
                    </a:cubicBezTo>
                    <a:cubicBezTo>
                      <a:pt x="3533" y="1023"/>
                      <a:pt x="3534" y="1020"/>
                      <a:pt x="3536" y="1018"/>
                    </a:cubicBezTo>
                    <a:cubicBezTo>
                      <a:pt x="3538" y="1015"/>
                      <a:pt x="3541" y="1014"/>
                      <a:pt x="3541" y="1011"/>
                    </a:cubicBezTo>
                    <a:cubicBezTo>
                      <a:pt x="3541" y="1008"/>
                      <a:pt x="3546" y="1009"/>
                      <a:pt x="3547" y="1009"/>
                    </a:cubicBezTo>
                    <a:cubicBezTo>
                      <a:pt x="3549" y="1009"/>
                      <a:pt x="3550" y="1009"/>
                      <a:pt x="3552" y="1005"/>
                    </a:cubicBezTo>
                    <a:cubicBezTo>
                      <a:pt x="3554" y="1001"/>
                      <a:pt x="3556" y="1004"/>
                      <a:pt x="3559" y="1005"/>
                    </a:cubicBezTo>
                    <a:cubicBezTo>
                      <a:pt x="3561" y="1005"/>
                      <a:pt x="3565" y="1007"/>
                      <a:pt x="3564" y="1010"/>
                    </a:cubicBezTo>
                    <a:cubicBezTo>
                      <a:pt x="3564" y="1013"/>
                      <a:pt x="3568" y="1014"/>
                      <a:pt x="3570" y="1016"/>
                    </a:cubicBezTo>
                    <a:cubicBezTo>
                      <a:pt x="3572" y="1017"/>
                      <a:pt x="3572" y="1017"/>
                      <a:pt x="3571" y="1019"/>
                    </a:cubicBezTo>
                    <a:cubicBezTo>
                      <a:pt x="3570" y="1020"/>
                      <a:pt x="3570" y="1023"/>
                      <a:pt x="3574" y="1022"/>
                    </a:cubicBezTo>
                    <a:cubicBezTo>
                      <a:pt x="3579" y="1022"/>
                      <a:pt x="3579" y="1022"/>
                      <a:pt x="3580" y="1024"/>
                    </a:cubicBezTo>
                    <a:cubicBezTo>
                      <a:pt x="3580" y="1025"/>
                      <a:pt x="3582" y="1027"/>
                      <a:pt x="3589" y="1025"/>
                    </a:cubicBezTo>
                    <a:cubicBezTo>
                      <a:pt x="3596" y="1023"/>
                      <a:pt x="3597" y="1022"/>
                      <a:pt x="3599" y="1024"/>
                    </a:cubicBezTo>
                    <a:cubicBezTo>
                      <a:pt x="3602" y="1025"/>
                      <a:pt x="3603" y="1027"/>
                      <a:pt x="3608" y="1026"/>
                    </a:cubicBezTo>
                    <a:cubicBezTo>
                      <a:pt x="3613" y="1024"/>
                      <a:pt x="3617" y="1027"/>
                      <a:pt x="3619" y="1024"/>
                    </a:cubicBezTo>
                    <a:cubicBezTo>
                      <a:pt x="3622" y="1022"/>
                      <a:pt x="3623" y="1021"/>
                      <a:pt x="3624" y="1021"/>
                    </a:cubicBezTo>
                    <a:cubicBezTo>
                      <a:pt x="3626" y="1020"/>
                      <a:pt x="3631" y="1020"/>
                      <a:pt x="3634" y="1023"/>
                    </a:cubicBezTo>
                    <a:cubicBezTo>
                      <a:pt x="3637" y="1026"/>
                      <a:pt x="3637" y="1029"/>
                      <a:pt x="3639" y="1024"/>
                    </a:cubicBezTo>
                    <a:cubicBezTo>
                      <a:pt x="3642" y="1020"/>
                      <a:pt x="3642" y="1021"/>
                      <a:pt x="3643" y="1018"/>
                    </a:cubicBezTo>
                    <a:cubicBezTo>
                      <a:pt x="3645" y="1014"/>
                      <a:pt x="3644" y="1015"/>
                      <a:pt x="3645" y="1010"/>
                    </a:cubicBezTo>
                    <a:cubicBezTo>
                      <a:pt x="3646" y="1005"/>
                      <a:pt x="3645" y="1000"/>
                      <a:pt x="3644" y="999"/>
                    </a:cubicBezTo>
                    <a:cubicBezTo>
                      <a:pt x="3643" y="998"/>
                      <a:pt x="3637" y="995"/>
                      <a:pt x="3634" y="994"/>
                    </a:cubicBezTo>
                    <a:cubicBezTo>
                      <a:pt x="3632" y="992"/>
                      <a:pt x="3631" y="987"/>
                      <a:pt x="3627" y="982"/>
                    </a:cubicBezTo>
                    <a:cubicBezTo>
                      <a:pt x="3621" y="973"/>
                      <a:pt x="3624" y="980"/>
                      <a:pt x="3619" y="975"/>
                    </a:cubicBezTo>
                    <a:cubicBezTo>
                      <a:pt x="3617" y="972"/>
                      <a:pt x="3621" y="967"/>
                      <a:pt x="3623" y="967"/>
                    </a:cubicBezTo>
                    <a:cubicBezTo>
                      <a:pt x="3626" y="967"/>
                      <a:pt x="3639" y="965"/>
                      <a:pt x="3640" y="967"/>
                    </a:cubicBezTo>
                    <a:cubicBezTo>
                      <a:pt x="3645" y="966"/>
                      <a:pt x="3648" y="966"/>
                      <a:pt x="3650" y="966"/>
                    </a:cubicBezTo>
                    <a:cubicBezTo>
                      <a:pt x="3653" y="966"/>
                      <a:pt x="3656" y="965"/>
                      <a:pt x="3659" y="963"/>
                    </a:cubicBezTo>
                    <a:cubicBezTo>
                      <a:pt x="3662" y="960"/>
                      <a:pt x="3671" y="957"/>
                      <a:pt x="3675" y="959"/>
                    </a:cubicBezTo>
                    <a:cubicBezTo>
                      <a:pt x="3678" y="960"/>
                      <a:pt x="3681" y="955"/>
                      <a:pt x="3682" y="952"/>
                    </a:cubicBezTo>
                    <a:cubicBezTo>
                      <a:pt x="3683" y="949"/>
                      <a:pt x="3689" y="943"/>
                      <a:pt x="3691" y="940"/>
                    </a:cubicBezTo>
                    <a:cubicBezTo>
                      <a:pt x="3692" y="937"/>
                      <a:pt x="3692" y="934"/>
                      <a:pt x="3692" y="929"/>
                    </a:cubicBezTo>
                    <a:cubicBezTo>
                      <a:pt x="3692" y="925"/>
                      <a:pt x="3693" y="923"/>
                      <a:pt x="3698" y="918"/>
                    </a:cubicBezTo>
                    <a:cubicBezTo>
                      <a:pt x="3703" y="913"/>
                      <a:pt x="3708" y="915"/>
                      <a:pt x="3709" y="918"/>
                    </a:cubicBezTo>
                    <a:cubicBezTo>
                      <a:pt x="3711" y="920"/>
                      <a:pt x="3713" y="919"/>
                      <a:pt x="3715" y="916"/>
                    </a:cubicBezTo>
                    <a:cubicBezTo>
                      <a:pt x="3717" y="913"/>
                      <a:pt x="3718" y="910"/>
                      <a:pt x="3720" y="912"/>
                    </a:cubicBezTo>
                    <a:cubicBezTo>
                      <a:pt x="3721" y="914"/>
                      <a:pt x="3722" y="906"/>
                      <a:pt x="3723" y="901"/>
                    </a:cubicBezTo>
                    <a:cubicBezTo>
                      <a:pt x="3723" y="896"/>
                      <a:pt x="3723" y="879"/>
                      <a:pt x="3722" y="870"/>
                    </a:cubicBezTo>
                    <a:cubicBezTo>
                      <a:pt x="3722" y="861"/>
                      <a:pt x="3727" y="856"/>
                      <a:pt x="3728" y="857"/>
                    </a:cubicBezTo>
                    <a:cubicBezTo>
                      <a:pt x="3729" y="858"/>
                      <a:pt x="3734" y="861"/>
                      <a:pt x="3737" y="858"/>
                    </a:cubicBezTo>
                    <a:cubicBezTo>
                      <a:pt x="3740" y="855"/>
                      <a:pt x="3740" y="857"/>
                      <a:pt x="3740" y="860"/>
                    </a:cubicBezTo>
                    <a:cubicBezTo>
                      <a:pt x="3740" y="863"/>
                      <a:pt x="3745" y="863"/>
                      <a:pt x="3748" y="863"/>
                    </a:cubicBezTo>
                    <a:cubicBezTo>
                      <a:pt x="3751" y="863"/>
                      <a:pt x="3749" y="867"/>
                      <a:pt x="3748" y="872"/>
                    </a:cubicBezTo>
                    <a:cubicBezTo>
                      <a:pt x="3747" y="876"/>
                      <a:pt x="3761" y="886"/>
                      <a:pt x="3761" y="886"/>
                    </a:cubicBezTo>
                    <a:cubicBezTo>
                      <a:pt x="3761" y="886"/>
                      <a:pt x="3766" y="890"/>
                      <a:pt x="3768" y="890"/>
                    </a:cubicBezTo>
                    <a:cubicBezTo>
                      <a:pt x="3771" y="890"/>
                      <a:pt x="3769" y="888"/>
                      <a:pt x="3771" y="886"/>
                    </a:cubicBezTo>
                    <a:cubicBezTo>
                      <a:pt x="3773" y="885"/>
                      <a:pt x="3776" y="892"/>
                      <a:pt x="3777" y="896"/>
                    </a:cubicBezTo>
                    <a:cubicBezTo>
                      <a:pt x="3777" y="897"/>
                      <a:pt x="3778" y="898"/>
                      <a:pt x="3780" y="899"/>
                    </a:cubicBezTo>
                    <a:cubicBezTo>
                      <a:pt x="3781" y="899"/>
                      <a:pt x="3781" y="898"/>
                      <a:pt x="3782" y="897"/>
                    </a:cubicBezTo>
                    <a:cubicBezTo>
                      <a:pt x="3784" y="894"/>
                      <a:pt x="3784" y="895"/>
                      <a:pt x="3783" y="892"/>
                    </a:cubicBezTo>
                    <a:cubicBezTo>
                      <a:pt x="3781" y="889"/>
                      <a:pt x="3779" y="888"/>
                      <a:pt x="3779" y="884"/>
                    </a:cubicBezTo>
                    <a:cubicBezTo>
                      <a:pt x="3779" y="880"/>
                      <a:pt x="3774" y="879"/>
                      <a:pt x="3775" y="875"/>
                    </a:cubicBezTo>
                    <a:cubicBezTo>
                      <a:pt x="3775" y="873"/>
                      <a:pt x="3772" y="873"/>
                      <a:pt x="3770" y="874"/>
                    </a:cubicBezTo>
                    <a:cubicBezTo>
                      <a:pt x="3768" y="875"/>
                      <a:pt x="3765" y="877"/>
                      <a:pt x="3762" y="875"/>
                    </a:cubicBezTo>
                    <a:cubicBezTo>
                      <a:pt x="3760" y="872"/>
                      <a:pt x="3764" y="871"/>
                      <a:pt x="3766" y="869"/>
                    </a:cubicBezTo>
                    <a:cubicBezTo>
                      <a:pt x="3769" y="867"/>
                      <a:pt x="3769" y="864"/>
                      <a:pt x="3773" y="864"/>
                    </a:cubicBezTo>
                    <a:cubicBezTo>
                      <a:pt x="3776" y="864"/>
                      <a:pt x="3780" y="862"/>
                      <a:pt x="3783" y="859"/>
                    </a:cubicBezTo>
                    <a:cubicBezTo>
                      <a:pt x="3785" y="856"/>
                      <a:pt x="3789" y="856"/>
                      <a:pt x="3791" y="855"/>
                    </a:cubicBezTo>
                    <a:cubicBezTo>
                      <a:pt x="3794" y="855"/>
                      <a:pt x="3798" y="851"/>
                      <a:pt x="3800" y="849"/>
                    </a:cubicBezTo>
                    <a:cubicBezTo>
                      <a:pt x="3801" y="847"/>
                      <a:pt x="3802" y="845"/>
                      <a:pt x="3801" y="843"/>
                    </a:cubicBezTo>
                    <a:cubicBezTo>
                      <a:pt x="3799" y="840"/>
                      <a:pt x="3801" y="834"/>
                      <a:pt x="3802" y="832"/>
                    </a:cubicBezTo>
                    <a:cubicBezTo>
                      <a:pt x="3804" y="829"/>
                      <a:pt x="3803" y="828"/>
                      <a:pt x="3803" y="826"/>
                    </a:cubicBezTo>
                    <a:cubicBezTo>
                      <a:pt x="3803" y="823"/>
                      <a:pt x="3803" y="820"/>
                      <a:pt x="3802" y="819"/>
                    </a:cubicBezTo>
                    <a:cubicBezTo>
                      <a:pt x="3801" y="818"/>
                      <a:pt x="3802" y="815"/>
                      <a:pt x="3804" y="811"/>
                    </a:cubicBezTo>
                    <a:cubicBezTo>
                      <a:pt x="3806" y="807"/>
                      <a:pt x="3805" y="798"/>
                      <a:pt x="3805" y="798"/>
                    </a:cubicBezTo>
                    <a:cubicBezTo>
                      <a:pt x="3805" y="798"/>
                      <a:pt x="3804" y="793"/>
                      <a:pt x="3798" y="793"/>
                    </a:cubicBezTo>
                    <a:cubicBezTo>
                      <a:pt x="3793" y="793"/>
                      <a:pt x="3795" y="791"/>
                      <a:pt x="3795" y="785"/>
                    </a:cubicBezTo>
                    <a:cubicBezTo>
                      <a:pt x="3795" y="778"/>
                      <a:pt x="3794" y="776"/>
                      <a:pt x="3792" y="772"/>
                    </a:cubicBezTo>
                    <a:cubicBezTo>
                      <a:pt x="3790" y="768"/>
                      <a:pt x="3789" y="767"/>
                      <a:pt x="3790" y="762"/>
                    </a:cubicBezTo>
                    <a:cubicBezTo>
                      <a:pt x="3791" y="757"/>
                      <a:pt x="3790" y="756"/>
                      <a:pt x="3790" y="754"/>
                    </a:cubicBezTo>
                    <a:cubicBezTo>
                      <a:pt x="3790" y="752"/>
                      <a:pt x="3788" y="750"/>
                      <a:pt x="3791" y="747"/>
                    </a:cubicBezTo>
                    <a:cubicBezTo>
                      <a:pt x="3794" y="745"/>
                      <a:pt x="3793" y="738"/>
                      <a:pt x="3793" y="739"/>
                    </a:cubicBezTo>
                    <a:cubicBezTo>
                      <a:pt x="3783" y="720"/>
                      <a:pt x="3783" y="720"/>
                      <a:pt x="3783" y="720"/>
                    </a:cubicBezTo>
                    <a:cubicBezTo>
                      <a:pt x="3783" y="720"/>
                      <a:pt x="3766" y="690"/>
                      <a:pt x="3764" y="686"/>
                    </a:cubicBezTo>
                    <a:cubicBezTo>
                      <a:pt x="3761" y="682"/>
                      <a:pt x="3759" y="684"/>
                      <a:pt x="3757" y="684"/>
                    </a:cubicBezTo>
                    <a:cubicBezTo>
                      <a:pt x="3755" y="684"/>
                      <a:pt x="3757" y="678"/>
                      <a:pt x="3761" y="672"/>
                    </a:cubicBezTo>
                    <a:cubicBezTo>
                      <a:pt x="3765" y="666"/>
                      <a:pt x="3766" y="669"/>
                      <a:pt x="3768" y="669"/>
                    </a:cubicBezTo>
                    <a:cubicBezTo>
                      <a:pt x="3770" y="669"/>
                      <a:pt x="3771" y="670"/>
                      <a:pt x="3772" y="668"/>
                    </a:cubicBezTo>
                    <a:cubicBezTo>
                      <a:pt x="3773" y="666"/>
                      <a:pt x="3776" y="668"/>
                      <a:pt x="3781" y="666"/>
                    </a:cubicBezTo>
                    <a:cubicBezTo>
                      <a:pt x="3786" y="664"/>
                      <a:pt x="3787" y="662"/>
                      <a:pt x="3787" y="660"/>
                    </a:cubicBezTo>
                    <a:cubicBezTo>
                      <a:pt x="3787" y="657"/>
                      <a:pt x="3787" y="657"/>
                      <a:pt x="3789" y="654"/>
                    </a:cubicBezTo>
                    <a:cubicBezTo>
                      <a:pt x="3791" y="651"/>
                      <a:pt x="3792" y="648"/>
                      <a:pt x="3793" y="646"/>
                    </a:cubicBezTo>
                    <a:cubicBezTo>
                      <a:pt x="3793" y="643"/>
                      <a:pt x="3794" y="639"/>
                      <a:pt x="3796" y="637"/>
                    </a:cubicBezTo>
                    <a:cubicBezTo>
                      <a:pt x="3798" y="634"/>
                      <a:pt x="3801" y="630"/>
                      <a:pt x="3801" y="628"/>
                    </a:cubicBezTo>
                    <a:cubicBezTo>
                      <a:pt x="3801" y="626"/>
                      <a:pt x="3803" y="623"/>
                      <a:pt x="3805" y="625"/>
                    </a:cubicBezTo>
                    <a:cubicBezTo>
                      <a:pt x="3806" y="627"/>
                      <a:pt x="3808" y="628"/>
                      <a:pt x="3813" y="630"/>
                    </a:cubicBezTo>
                    <a:cubicBezTo>
                      <a:pt x="3817" y="632"/>
                      <a:pt x="3824" y="632"/>
                      <a:pt x="3830" y="633"/>
                    </a:cubicBezTo>
                    <a:cubicBezTo>
                      <a:pt x="3835" y="633"/>
                      <a:pt x="3856" y="635"/>
                      <a:pt x="3865" y="636"/>
                    </a:cubicBezTo>
                    <a:cubicBezTo>
                      <a:pt x="3868" y="637"/>
                      <a:pt x="3870" y="637"/>
                      <a:pt x="3873" y="636"/>
                    </a:cubicBezTo>
                    <a:cubicBezTo>
                      <a:pt x="3876" y="636"/>
                      <a:pt x="3879" y="635"/>
                      <a:pt x="3881" y="632"/>
                    </a:cubicBezTo>
                    <a:cubicBezTo>
                      <a:pt x="3884" y="628"/>
                      <a:pt x="3886" y="621"/>
                      <a:pt x="3884" y="618"/>
                    </a:cubicBezTo>
                    <a:cubicBezTo>
                      <a:pt x="3883" y="618"/>
                      <a:pt x="3883" y="617"/>
                      <a:pt x="3883" y="617"/>
                    </a:cubicBezTo>
                    <a:cubicBezTo>
                      <a:pt x="3878" y="614"/>
                      <a:pt x="3878" y="610"/>
                      <a:pt x="3879" y="604"/>
                    </a:cubicBezTo>
                    <a:cubicBezTo>
                      <a:pt x="3880" y="598"/>
                      <a:pt x="3879" y="590"/>
                      <a:pt x="3884" y="587"/>
                    </a:cubicBezTo>
                    <a:cubicBezTo>
                      <a:pt x="3889" y="583"/>
                      <a:pt x="3891" y="582"/>
                      <a:pt x="3892" y="576"/>
                    </a:cubicBezTo>
                    <a:cubicBezTo>
                      <a:pt x="3892" y="576"/>
                      <a:pt x="3892" y="575"/>
                      <a:pt x="3892" y="575"/>
                    </a:cubicBezTo>
                    <a:cubicBezTo>
                      <a:pt x="3892" y="570"/>
                      <a:pt x="3891" y="569"/>
                      <a:pt x="3892" y="566"/>
                    </a:cubicBezTo>
                    <a:cubicBezTo>
                      <a:pt x="3892" y="562"/>
                      <a:pt x="3893" y="562"/>
                      <a:pt x="3891" y="560"/>
                    </a:cubicBezTo>
                    <a:cubicBezTo>
                      <a:pt x="3889" y="558"/>
                      <a:pt x="3889" y="557"/>
                      <a:pt x="3890" y="555"/>
                    </a:cubicBezTo>
                    <a:cubicBezTo>
                      <a:pt x="3891" y="555"/>
                      <a:pt x="3891" y="555"/>
                      <a:pt x="3891" y="555"/>
                    </a:cubicBezTo>
                    <a:cubicBezTo>
                      <a:pt x="3894" y="554"/>
                      <a:pt x="3896" y="553"/>
                      <a:pt x="3896" y="552"/>
                    </a:cubicBezTo>
                    <a:cubicBezTo>
                      <a:pt x="3896" y="550"/>
                      <a:pt x="3897" y="547"/>
                      <a:pt x="3899" y="545"/>
                    </a:cubicBezTo>
                    <a:cubicBezTo>
                      <a:pt x="3900" y="542"/>
                      <a:pt x="3901" y="537"/>
                      <a:pt x="3899" y="533"/>
                    </a:cubicBezTo>
                    <a:cubicBezTo>
                      <a:pt x="3896" y="529"/>
                      <a:pt x="3898" y="526"/>
                      <a:pt x="3902" y="523"/>
                    </a:cubicBezTo>
                    <a:cubicBezTo>
                      <a:pt x="3905" y="520"/>
                      <a:pt x="3905" y="515"/>
                      <a:pt x="3904" y="512"/>
                    </a:cubicBezTo>
                    <a:cubicBezTo>
                      <a:pt x="3904" y="510"/>
                      <a:pt x="3904" y="507"/>
                      <a:pt x="3902" y="504"/>
                    </a:cubicBezTo>
                    <a:cubicBezTo>
                      <a:pt x="3901" y="502"/>
                      <a:pt x="3900" y="499"/>
                      <a:pt x="3899" y="497"/>
                    </a:cubicBezTo>
                    <a:cubicBezTo>
                      <a:pt x="3898" y="495"/>
                      <a:pt x="3899" y="488"/>
                      <a:pt x="3902" y="483"/>
                    </a:cubicBezTo>
                    <a:cubicBezTo>
                      <a:pt x="3904" y="479"/>
                      <a:pt x="3904" y="477"/>
                      <a:pt x="3903" y="474"/>
                    </a:cubicBezTo>
                    <a:cubicBezTo>
                      <a:pt x="3903" y="472"/>
                      <a:pt x="3902" y="466"/>
                      <a:pt x="3900" y="458"/>
                    </a:cubicBezTo>
                    <a:cubicBezTo>
                      <a:pt x="3899" y="450"/>
                      <a:pt x="3900" y="443"/>
                      <a:pt x="3904" y="440"/>
                    </a:cubicBezTo>
                    <a:cubicBezTo>
                      <a:pt x="3908" y="436"/>
                      <a:pt x="3904" y="430"/>
                      <a:pt x="3902" y="428"/>
                    </a:cubicBezTo>
                    <a:cubicBezTo>
                      <a:pt x="3900" y="425"/>
                      <a:pt x="3901" y="421"/>
                      <a:pt x="3904" y="415"/>
                    </a:cubicBezTo>
                    <a:cubicBezTo>
                      <a:pt x="3907" y="410"/>
                      <a:pt x="3913" y="406"/>
                      <a:pt x="3915" y="405"/>
                    </a:cubicBezTo>
                    <a:cubicBezTo>
                      <a:pt x="3917" y="405"/>
                      <a:pt x="3919" y="405"/>
                      <a:pt x="3920" y="401"/>
                    </a:cubicBezTo>
                    <a:cubicBezTo>
                      <a:pt x="3920" y="398"/>
                      <a:pt x="3920" y="397"/>
                      <a:pt x="3921" y="394"/>
                    </a:cubicBezTo>
                    <a:cubicBezTo>
                      <a:pt x="3922" y="391"/>
                      <a:pt x="3924" y="391"/>
                      <a:pt x="3925" y="383"/>
                    </a:cubicBezTo>
                    <a:cubicBezTo>
                      <a:pt x="3925" y="376"/>
                      <a:pt x="3924" y="375"/>
                      <a:pt x="3922" y="373"/>
                    </a:cubicBezTo>
                    <a:cubicBezTo>
                      <a:pt x="3920" y="372"/>
                      <a:pt x="3918" y="372"/>
                      <a:pt x="3918" y="370"/>
                    </a:cubicBezTo>
                    <a:cubicBezTo>
                      <a:pt x="3917" y="369"/>
                      <a:pt x="3918" y="366"/>
                      <a:pt x="3914" y="366"/>
                    </a:cubicBezTo>
                    <a:cubicBezTo>
                      <a:pt x="3911" y="365"/>
                      <a:pt x="3910" y="362"/>
                      <a:pt x="3909" y="359"/>
                    </a:cubicBezTo>
                    <a:cubicBezTo>
                      <a:pt x="3908" y="356"/>
                      <a:pt x="3908" y="354"/>
                      <a:pt x="3910" y="350"/>
                    </a:cubicBezTo>
                    <a:cubicBezTo>
                      <a:pt x="3912" y="347"/>
                      <a:pt x="3911" y="342"/>
                      <a:pt x="3910" y="340"/>
                    </a:cubicBezTo>
                    <a:cubicBezTo>
                      <a:pt x="3910" y="338"/>
                      <a:pt x="3911" y="335"/>
                      <a:pt x="3912" y="331"/>
                    </a:cubicBezTo>
                    <a:cubicBezTo>
                      <a:pt x="3914" y="328"/>
                      <a:pt x="3922" y="323"/>
                      <a:pt x="3926" y="317"/>
                    </a:cubicBezTo>
                    <a:close/>
                  </a:path>
                </a:pathLst>
              </a:custGeom>
              <a:solidFill>
                <a:srgbClr val="D9E5F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4" name="íSḷiḑé"/>
              <p:cNvSpPr/>
              <p:nvPr/>
            </p:nvSpPr>
            <p:spPr bwMode="auto">
              <a:xfrm>
                <a:off x="3732213" y="4791075"/>
                <a:ext cx="25400" cy="7938"/>
              </a:xfrm>
              <a:custGeom>
                <a:avLst/>
                <a:gdLst>
                  <a:gd name="T0" fmla="*/ 0 w 12"/>
                  <a:gd name="T1" fmla="*/ 4 h 4"/>
                  <a:gd name="T2" fmla="*/ 10 w 12"/>
                  <a:gd name="T3" fmla="*/ 0 h 4"/>
                  <a:gd name="T4" fmla="*/ 12 w 12"/>
                  <a:gd name="T5" fmla="*/ 1 h 4"/>
                  <a:gd name="T6" fmla="*/ 0 w 1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4">
                    <a:moveTo>
                      <a:pt x="0" y="4"/>
                    </a:moveTo>
                    <a:cubicBezTo>
                      <a:pt x="5" y="2"/>
                      <a:pt x="10" y="1"/>
                      <a:pt x="10" y="0"/>
                    </a:cubicBezTo>
                    <a:cubicBezTo>
                      <a:pt x="10" y="1"/>
                      <a:pt x="11" y="1"/>
                      <a:pt x="12" y="1"/>
                    </a:cubicBezTo>
                    <a:cubicBezTo>
                      <a:pt x="10" y="2"/>
                      <a:pt x="5" y="3"/>
                      <a:pt x="0" y="4"/>
                    </a:cubicBezTo>
                    <a:close/>
                  </a:path>
                </a:pathLst>
              </a:custGeom>
              <a:solidFill>
                <a:srgbClr val="FFF8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5" name="iṧḻíďé"/>
              <p:cNvSpPr/>
              <p:nvPr/>
            </p:nvSpPr>
            <p:spPr bwMode="auto">
              <a:xfrm>
                <a:off x="8097838" y="1316038"/>
                <a:ext cx="1588" cy="1588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FFF8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6" name="iṩ1ide"/>
              <p:cNvSpPr/>
              <p:nvPr/>
            </p:nvSpPr>
            <p:spPr bwMode="auto">
              <a:xfrm>
                <a:off x="8582025" y="5387975"/>
                <a:ext cx="312738" cy="681038"/>
              </a:xfrm>
              <a:custGeom>
                <a:avLst/>
                <a:gdLst>
                  <a:gd name="T0" fmla="*/ 132 w 146"/>
                  <a:gd name="T1" fmla="*/ 21 h 318"/>
                  <a:gd name="T2" fmla="*/ 115 w 146"/>
                  <a:gd name="T3" fmla="*/ 10 h 318"/>
                  <a:gd name="T4" fmla="*/ 107 w 146"/>
                  <a:gd name="T5" fmla="*/ 4 h 318"/>
                  <a:gd name="T6" fmla="*/ 88 w 146"/>
                  <a:gd name="T7" fmla="*/ 25 h 318"/>
                  <a:gd name="T8" fmla="*/ 61 w 146"/>
                  <a:gd name="T9" fmla="*/ 49 h 318"/>
                  <a:gd name="T10" fmla="*/ 49 w 146"/>
                  <a:gd name="T11" fmla="*/ 72 h 318"/>
                  <a:gd name="T12" fmla="*/ 41 w 146"/>
                  <a:gd name="T13" fmla="*/ 83 h 318"/>
                  <a:gd name="T14" fmla="*/ 39 w 146"/>
                  <a:gd name="T15" fmla="*/ 91 h 318"/>
                  <a:gd name="T16" fmla="*/ 35 w 146"/>
                  <a:gd name="T17" fmla="*/ 98 h 318"/>
                  <a:gd name="T18" fmla="*/ 31 w 146"/>
                  <a:gd name="T19" fmla="*/ 106 h 318"/>
                  <a:gd name="T20" fmla="*/ 28 w 146"/>
                  <a:gd name="T21" fmla="*/ 115 h 318"/>
                  <a:gd name="T22" fmla="*/ 24 w 146"/>
                  <a:gd name="T23" fmla="*/ 126 h 318"/>
                  <a:gd name="T24" fmla="*/ 18 w 146"/>
                  <a:gd name="T25" fmla="*/ 137 h 318"/>
                  <a:gd name="T26" fmla="*/ 15 w 146"/>
                  <a:gd name="T27" fmla="*/ 144 h 318"/>
                  <a:gd name="T28" fmla="*/ 5 w 146"/>
                  <a:gd name="T29" fmla="*/ 173 h 318"/>
                  <a:gd name="T30" fmla="*/ 7 w 146"/>
                  <a:gd name="T31" fmla="*/ 187 h 318"/>
                  <a:gd name="T32" fmla="*/ 4 w 146"/>
                  <a:gd name="T33" fmla="*/ 206 h 318"/>
                  <a:gd name="T34" fmla="*/ 5 w 146"/>
                  <a:gd name="T35" fmla="*/ 214 h 318"/>
                  <a:gd name="T36" fmla="*/ 3 w 146"/>
                  <a:gd name="T37" fmla="*/ 220 h 318"/>
                  <a:gd name="T38" fmla="*/ 10 w 146"/>
                  <a:gd name="T39" fmla="*/ 227 h 318"/>
                  <a:gd name="T40" fmla="*/ 18 w 146"/>
                  <a:gd name="T41" fmla="*/ 244 h 318"/>
                  <a:gd name="T42" fmla="*/ 26 w 146"/>
                  <a:gd name="T43" fmla="*/ 258 h 318"/>
                  <a:gd name="T44" fmla="*/ 48 w 146"/>
                  <a:gd name="T45" fmla="*/ 276 h 318"/>
                  <a:gd name="T46" fmla="*/ 59 w 146"/>
                  <a:gd name="T47" fmla="*/ 291 h 318"/>
                  <a:gd name="T48" fmla="*/ 65 w 146"/>
                  <a:gd name="T49" fmla="*/ 309 h 318"/>
                  <a:gd name="T50" fmla="*/ 72 w 146"/>
                  <a:gd name="T51" fmla="*/ 316 h 318"/>
                  <a:gd name="T52" fmla="*/ 80 w 146"/>
                  <a:gd name="T53" fmla="*/ 309 h 318"/>
                  <a:gd name="T54" fmla="*/ 80 w 146"/>
                  <a:gd name="T55" fmla="*/ 289 h 318"/>
                  <a:gd name="T56" fmla="*/ 86 w 146"/>
                  <a:gd name="T57" fmla="*/ 264 h 318"/>
                  <a:gd name="T58" fmla="*/ 93 w 146"/>
                  <a:gd name="T59" fmla="*/ 252 h 318"/>
                  <a:gd name="T60" fmla="*/ 101 w 146"/>
                  <a:gd name="T61" fmla="*/ 233 h 318"/>
                  <a:gd name="T62" fmla="*/ 107 w 146"/>
                  <a:gd name="T63" fmla="*/ 223 h 318"/>
                  <a:gd name="T64" fmla="*/ 116 w 146"/>
                  <a:gd name="T65" fmla="*/ 213 h 318"/>
                  <a:gd name="T66" fmla="*/ 118 w 146"/>
                  <a:gd name="T67" fmla="*/ 200 h 318"/>
                  <a:gd name="T68" fmla="*/ 122 w 146"/>
                  <a:gd name="T69" fmla="*/ 183 h 318"/>
                  <a:gd name="T70" fmla="*/ 125 w 146"/>
                  <a:gd name="T71" fmla="*/ 167 h 318"/>
                  <a:gd name="T72" fmla="*/ 123 w 146"/>
                  <a:gd name="T73" fmla="*/ 166 h 318"/>
                  <a:gd name="T74" fmla="*/ 123 w 146"/>
                  <a:gd name="T75" fmla="*/ 166 h 318"/>
                  <a:gd name="T76" fmla="*/ 125 w 146"/>
                  <a:gd name="T77" fmla="*/ 159 h 318"/>
                  <a:gd name="T78" fmla="*/ 128 w 146"/>
                  <a:gd name="T79" fmla="*/ 132 h 318"/>
                  <a:gd name="T80" fmla="*/ 133 w 146"/>
                  <a:gd name="T81" fmla="*/ 106 h 318"/>
                  <a:gd name="T82" fmla="*/ 139 w 146"/>
                  <a:gd name="T83" fmla="*/ 83 h 318"/>
                  <a:gd name="T84" fmla="*/ 139 w 146"/>
                  <a:gd name="T85" fmla="*/ 70 h 318"/>
                  <a:gd name="T86" fmla="*/ 136 w 146"/>
                  <a:gd name="T87" fmla="*/ 50 h 318"/>
                  <a:gd name="T88" fmla="*/ 144 w 146"/>
                  <a:gd name="T89" fmla="*/ 37 h 318"/>
                  <a:gd name="T90" fmla="*/ 132 w 146"/>
                  <a:gd name="T91" fmla="*/ 21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6" h="318">
                    <a:moveTo>
                      <a:pt x="132" y="21"/>
                    </a:moveTo>
                    <a:cubicBezTo>
                      <a:pt x="128" y="20"/>
                      <a:pt x="114" y="14"/>
                      <a:pt x="115" y="10"/>
                    </a:cubicBezTo>
                    <a:cubicBezTo>
                      <a:pt x="116" y="5"/>
                      <a:pt x="111" y="0"/>
                      <a:pt x="107" y="4"/>
                    </a:cubicBezTo>
                    <a:cubicBezTo>
                      <a:pt x="102" y="9"/>
                      <a:pt x="93" y="22"/>
                      <a:pt x="88" y="25"/>
                    </a:cubicBezTo>
                    <a:cubicBezTo>
                      <a:pt x="84" y="27"/>
                      <a:pt x="65" y="36"/>
                      <a:pt x="61" y="49"/>
                    </a:cubicBezTo>
                    <a:cubicBezTo>
                      <a:pt x="58" y="62"/>
                      <a:pt x="52" y="68"/>
                      <a:pt x="49" y="72"/>
                    </a:cubicBezTo>
                    <a:cubicBezTo>
                      <a:pt x="46" y="76"/>
                      <a:pt x="40" y="79"/>
                      <a:pt x="41" y="83"/>
                    </a:cubicBezTo>
                    <a:cubicBezTo>
                      <a:pt x="42" y="88"/>
                      <a:pt x="41" y="88"/>
                      <a:pt x="39" y="91"/>
                    </a:cubicBezTo>
                    <a:cubicBezTo>
                      <a:pt x="36" y="94"/>
                      <a:pt x="36" y="94"/>
                      <a:pt x="35" y="98"/>
                    </a:cubicBezTo>
                    <a:cubicBezTo>
                      <a:pt x="35" y="102"/>
                      <a:pt x="33" y="103"/>
                      <a:pt x="31" y="106"/>
                    </a:cubicBezTo>
                    <a:cubicBezTo>
                      <a:pt x="29" y="108"/>
                      <a:pt x="28" y="112"/>
                      <a:pt x="28" y="115"/>
                    </a:cubicBezTo>
                    <a:cubicBezTo>
                      <a:pt x="28" y="118"/>
                      <a:pt x="26" y="123"/>
                      <a:pt x="24" y="126"/>
                    </a:cubicBezTo>
                    <a:cubicBezTo>
                      <a:pt x="22" y="129"/>
                      <a:pt x="20" y="134"/>
                      <a:pt x="18" y="137"/>
                    </a:cubicBezTo>
                    <a:cubicBezTo>
                      <a:pt x="17" y="140"/>
                      <a:pt x="16" y="142"/>
                      <a:pt x="15" y="144"/>
                    </a:cubicBezTo>
                    <a:cubicBezTo>
                      <a:pt x="12" y="147"/>
                      <a:pt x="5" y="171"/>
                      <a:pt x="5" y="173"/>
                    </a:cubicBezTo>
                    <a:cubicBezTo>
                      <a:pt x="7" y="177"/>
                      <a:pt x="7" y="179"/>
                      <a:pt x="7" y="187"/>
                    </a:cubicBezTo>
                    <a:cubicBezTo>
                      <a:pt x="7" y="192"/>
                      <a:pt x="5" y="200"/>
                      <a:pt x="4" y="206"/>
                    </a:cubicBezTo>
                    <a:cubicBezTo>
                      <a:pt x="4" y="208"/>
                      <a:pt x="4" y="211"/>
                      <a:pt x="5" y="214"/>
                    </a:cubicBezTo>
                    <a:cubicBezTo>
                      <a:pt x="6" y="217"/>
                      <a:pt x="5" y="218"/>
                      <a:pt x="3" y="220"/>
                    </a:cubicBezTo>
                    <a:cubicBezTo>
                      <a:pt x="0" y="225"/>
                      <a:pt x="9" y="223"/>
                      <a:pt x="10" y="227"/>
                    </a:cubicBezTo>
                    <a:cubicBezTo>
                      <a:pt x="12" y="234"/>
                      <a:pt x="18" y="238"/>
                      <a:pt x="18" y="244"/>
                    </a:cubicBezTo>
                    <a:cubicBezTo>
                      <a:pt x="18" y="250"/>
                      <a:pt x="26" y="251"/>
                      <a:pt x="26" y="258"/>
                    </a:cubicBezTo>
                    <a:cubicBezTo>
                      <a:pt x="25" y="273"/>
                      <a:pt x="42" y="269"/>
                      <a:pt x="48" y="276"/>
                    </a:cubicBezTo>
                    <a:cubicBezTo>
                      <a:pt x="52" y="280"/>
                      <a:pt x="57" y="284"/>
                      <a:pt x="59" y="291"/>
                    </a:cubicBezTo>
                    <a:cubicBezTo>
                      <a:pt x="61" y="297"/>
                      <a:pt x="61" y="304"/>
                      <a:pt x="65" y="309"/>
                    </a:cubicBezTo>
                    <a:cubicBezTo>
                      <a:pt x="68" y="314"/>
                      <a:pt x="70" y="315"/>
                      <a:pt x="72" y="316"/>
                    </a:cubicBezTo>
                    <a:cubicBezTo>
                      <a:pt x="75" y="316"/>
                      <a:pt x="80" y="318"/>
                      <a:pt x="80" y="309"/>
                    </a:cubicBezTo>
                    <a:cubicBezTo>
                      <a:pt x="80" y="301"/>
                      <a:pt x="81" y="298"/>
                      <a:pt x="80" y="289"/>
                    </a:cubicBezTo>
                    <a:cubicBezTo>
                      <a:pt x="79" y="280"/>
                      <a:pt x="85" y="269"/>
                      <a:pt x="86" y="264"/>
                    </a:cubicBezTo>
                    <a:cubicBezTo>
                      <a:pt x="88" y="259"/>
                      <a:pt x="88" y="257"/>
                      <a:pt x="93" y="252"/>
                    </a:cubicBezTo>
                    <a:cubicBezTo>
                      <a:pt x="97" y="247"/>
                      <a:pt x="99" y="237"/>
                      <a:pt x="101" y="233"/>
                    </a:cubicBezTo>
                    <a:cubicBezTo>
                      <a:pt x="104" y="228"/>
                      <a:pt x="104" y="227"/>
                      <a:pt x="107" y="223"/>
                    </a:cubicBezTo>
                    <a:cubicBezTo>
                      <a:pt x="111" y="220"/>
                      <a:pt x="112" y="219"/>
                      <a:pt x="116" y="213"/>
                    </a:cubicBezTo>
                    <a:cubicBezTo>
                      <a:pt x="120" y="207"/>
                      <a:pt x="118" y="207"/>
                      <a:pt x="118" y="200"/>
                    </a:cubicBezTo>
                    <a:cubicBezTo>
                      <a:pt x="118" y="194"/>
                      <a:pt x="118" y="194"/>
                      <a:pt x="122" y="183"/>
                    </a:cubicBezTo>
                    <a:cubicBezTo>
                      <a:pt x="124" y="175"/>
                      <a:pt x="125" y="173"/>
                      <a:pt x="125" y="167"/>
                    </a:cubicBezTo>
                    <a:cubicBezTo>
                      <a:pt x="123" y="166"/>
                      <a:pt x="123" y="166"/>
                      <a:pt x="123" y="166"/>
                    </a:cubicBezTo>
                    <a:cubicBezTo>
                      <a:pt x="123" y="166"/>
                      <a:pt x="123" y="166"/>
                      <a:pt x="123" y="166"/>
                    </a:cubicBezTo>
                    <a:cubicBezTo>
                      <a:pt x="125" y="165"/>
                      <a:pt x="125" y="163"/>
                      <a:pt x="125" y="159"/>
                    </a:cubicBezTo>
                    <a:cubicBezTo>
                      <a:pt x="124" y="147"/>
                      <a:pt x="126" y="141"/>
                      <a:pt x="128" y="132"/>
                    </a:cubicBezTo>
                    <a:cubicBezTo>
                      <a:pt x="130" y="119"/>
                      <a:pt x="127" y="120"/>
                      <a:pt x="133" y="106"/>
                    </a:cubicBezTo>
                    <a:cubicBezTo>
                      <a:pt x="136" y="98"/>
                      <a:pt x="138" y="88"/>
                      <a:pt x="139" y="83"/>
                    </a:cubicBezTo>
                    <a:cubicBezTo>
                      <a:pt x="140" y="78"/>
                      <a:pt x="141" y="72"/>
                      <a:pt x="139" y="70"/>
                    </a:cubicBezTo>
                    <a:cubicBezTo>
                      <a:pt x="137" y="67"/>
                      <a:pt x="131" y="55"/>
                      <a:pt x="136" y="50"/>
                    </a:cubicBezTo>
                    <a:cubicBezTo>
                      <a:pt x="141" y="45"/>
                      <a:pt x="143" y="41"/>
                      <a:pt x="144" y="37"/>
                    </a:cubicBezTo>
                    <a:cubicBezTo>
                      <a:pt x="146" y="30"/>
                      <a:pt x="137" y="23"/>
                      <a:pt x="132" y="21"/>
                    </a:cubicBezTo>
                    <a:close/>
                  </a:path>
                </a:pathLst>
              </a:custGeom>
              <a:solidFill>
                <a:srgbClr val="D9E5F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7" name="íṥḻïḋè"/>
              <p:cNvSpPr/>
              <p:nvPr/>
            </p:nvSpPr>
            <p:spPr bwMode="auto">
              <a:xfrm>
                <a:off x="6540500" y="6489700"/>
                <a:ext cx="463550" cy="366713"/>
              </a:xfrm>
              <a:custGeom>
                <a:avLst/>
                <a:gdLst>
                  <a:gd name="T0" fmla="*/ 211 w 216"/>
                  <a:gd name="T1" fmla="*/ 34 h 171"/>
                  <a:gd name="T2" fmla="*/ 206 w 216"/>
                  <a:gd name="T3" fmla="*/ 20 h 171"/>
                  <a:gd name="T4" fmla="*/ 187 w 216"/>
                  <a:gd name="T5" fmla="*/ 15 h 171"/>
                  <a:gd name="T6" fmla="*/ 178 w 216"/>
                  <a:gd name="T7" fmla="*/ 6 h 171"/>
                  <a:gd name="T8" fmla="*/ 176 w 216"/>
                  <a:gd name="T9" fmla="*/ 17 h 171"/>
                  <a:gd name="T10" fmla="*/ 166 w 216"/>
                  <a:gd name="T11" fmla="*/ 14 h 171"/>
                  <a:gd name="T12" fmla="*/ 145 w 216"/>
                  <a:gd name="T13" fmla="*/ 11 h 171"/>
                  <a:gd name="T14" fmla="*/ 123 w 216"/>
                  <a:gd name="T15" fmla="*/ 24 h 171"/>
                  <a:gd name="T16" fmla="*/ 106 w 216"/>
                  <a:gd name="T17" fmla="*/ 21 h 171"/>
                  <a:gd name="T18" fmla="*/ 85 w 216"/>
                  <a:gd name="T19" fmla="*/ 24 h 171"/>
                  <a:gd name="T20" fmla="*/ 68 w 216"/>
                  <a:gd name="T21" fmla="*/ 25 h 171"/>
                  <a:gd name="T22" fmla="*/ 53 w 216"/>
                  <a:gd name="T23" fmla="*/ 36 h 171"/>
                  <a:gd name="T24" fmla="*/ 63 w 216"/>
                  <a:gd name="T25" fmla="*/ 36 h 171"/>
                  <a:gd name="T26" fmla="*/ 26 w 216"/>
                  <a:gd name="T27" fmla="*/ 61 h 171"/>
                  <a:gd name="T28" fmla="*/ 6 w 216"/>
                  <a:gd name="T29" fmla="*/ 76 h 171"/>
                  <a:gd name="T30" fmla="*/ 5 w 216"/>
                  <a:gd name="T31" fmla="*/ 94 h 171"/>
                  <a:gd name="T32" fmla="*/ 7 w 216"/>
                  <a:gd name="T33" fmla="*/ 124 h 171"/>
                  <a:gd name="T34" fmla="*/ 9 w 216"/>
                  <a:gd name="T35" fmla="*/ 134 h 171"/>
                  <a:gd name="T36" fmla="*/ 21 w 216"/>
                  <a:gd name="T37" fmla="*/ 146 h 171"/>
                  <a:gd name="T38" fmla="*/ 33 w 216"/>
                  <a:gd name="T39" fmla="*/ 155 h 171"/>
                  <a:gd name="T40" fmla="*/ 43 w 216"/>
                  <a:gd name="T41" fmla="*/ 158 h 171"/>
                  <a:gd name="T42" fmla="*/ 67 w 216"/>
                  <a:gd name="T43" fmla="*/ 165 h 171"/>
                  <a:gd name="T44" fmla="*/ 92 w 216"/>
                  <a:gd name="T45" fmla="*/ 170 h 171"/>
                  <a:gd name="T46" fmla="*/ 102 w 216"/>
                  <a:gd name="T47" fmla="*/ 159 h 171"/>
                  <a:gd name="T48" fmla="*/ 122 w 216"/>
                  <a:gd name="T49" fmla="*/ 149 h 171"/>
                  <a:gd name="T50" fmla="*/ 133 w 216"/>
                  <a:gd name="T51" fmla="*/ 146 h 171"/>
                  <a:gd name="T52" fmla="*/ 155 w 216"/>
                  <a:gd name="T53" fmla="*/ 126 h 171"/>
                  <a:gd name="T54" fmla="*/ 166 w 216"/>
                  <a:gd name="T55" fmla="*/ 123 h 171"/>
                  <a:gd name="T56" fmla="*/ 168 w 216"/>
                  <a:gd name="T57" fmla="*/ 111 h 171"/>
                  <a:gd name="T58" fmla="*/ 172 w 216"/>
                  <a:gd name="T59" fmla="*/ 94 h 171"/>
                  <a:gd name="T60" fmla="*/ 179 w 216"/>
                  <a:gd name="T61" fmla="*/ 76 h 171"/>
                  <a:gd name="T62" fmla="*/ 190 w 216"/>
                  <a:gd name="T63" fmla="*/ 57 h 171"/>
                  <a:gd name="T64" fmla="*/ 201 w 216"/>
                  <a:gd name="T65" fmla="*/ 57 h 171"/>
                  <a:gd name="T66" fmla="*/ 212 w 216"/>
                  <a:gd name="T67" fmla="*/ 45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6" h="171">
                    <a:moveTo>
                      <a:pt x="212" y="45"/>
                    </a:moveTo>
                    <a:cubicBezTo>
                      <a:pt x="209" y="43"/>
                      <a:pt x="211" y="41"/>
                      <a:pt x="211" y="34"/>
                    </a:cubicBezTo>
                    <a:cubicBezTo>
                      <a:pt x="211" y="27"/>
                      <a:pt x="211" y="29"/>
                      <a:pt x="210" y="28"/>
                    </a:cubicBezTo>
                    <a:cubicBezTo>
                      <a:pt x="210" y="27"/>
                      <a:pt x="207" y="25"/>
                      <a:pt x="206" y="20"/>
                    </a:cubicBezTo>
                    <a:cubicBezTo>
                      <a:pt x="205" y="16"/>
                      <a:pt x="201" y="16"/>
                      <a:pt x="198" y="16"/>
                    </a:cubicBezTo>
                    <a:cubicBezTo>
                      <a:pt x="196" y="16"/>
                      <a:pt x="190" y="16"/>
                      <a:pt x="187" y="15"/>
                    </a:cubicBezTo>
                    <a:cubicBezTo>
                      <a:pt x="184" y="13"/>
                      <a:pt x="183" y="10"/>
                      <a:pt x="182" y="5"/>
                    </a:cubicBezTo>
                    <a:cubicBezTo>
                      <a:pt x="182" y="0"/>
                      <a:pt x="180" y="3"/>
                      <a:pt x="178" y="6"/>
                    </a:cubicBezTo>
                    <a:cubicBezTo>
                      <a:pt x="175" y="9"/>
                      <a:pt x="177" y="7"/>
                      <a:pt x="174" y="9"/>
                    </a:cubicBezTo>
                    <a:cubicBezTo>
                      <a:pt x="171" y="11"/>
                      <a:pt x="172" y="14"/>
                      <a:pt x="176" y="17"/>
                    </a:cubicBezTo>
                    <a:cubicBezTo>
                      <a:pt x="179" y="20"/>
                      <a:pt x="173" y="20"/>
                      <a:pt x="172" y="19"/>
                    </a:cubicBezTo>
                    <a:cubicBezTo>
                      <a:pt x="171" y="18"/>
                      <a:pt x="170" y="16"/>
                      <a:pt x="166" y="14"/>
                    </a:cubicBezTo>
                    <a:cubicBezTo>
                      <a:pt x="162" y="12"/>
                      <a:pt x="162" y="8"/>
                      <a:pt x="159" y="9"/>
                    </a:cubicBezTo>
                    <a:cubicBezTo>
                      <a:pt x="156" y="10"/>
                      <a:pt x="151" y="12"/>
                      <a:pt x="145" y="11"/>
                    </a:cubicBezTo>
                    <a:cubicBezTo>
                      <a:pt x="139" y="10"/>
                      <a:pt x="135" y="12"/>
                      <a:pt x="134" y="18"/>
                    </a:cubicBezTo>
                    <a:cubicBezTo>
                      <a:pt x="133" y="24"/>
                      <a:pt x="124" y="26"/>
                      <a:pt x="123" y="24"/>
                    </a:cubicBezTo>
                    <a:cubicBezTo>
                      <a:pt x="121" y="22"/>
                      <a:pt x="121" y="24"/>
                      <a:pt x="115" y="20"/>
                    </a:cubicBezTo>
                    <a:cubicBezTo>
                      <a:pt x="109" y="17"/>
                      <a:pt x="112" y="21"/>
                      <a:pt x="106" y="21"/>
                    </a:cubicBezTo>
                    <a:cubicBezTo>
                      <a:pt x="100" y="21"/>
                      <a:pt x="98" y="19"/>
                      <a:pt x="93" y="19"/>
                    </a:cubicBezTo>
                    <a:cubicBezTo>
                      <a:pt x="89" y="19"/>
                      <a:pt x="84" y="19"/>
                      <a:pt x="85" y="24"/>
                    </a:cubicBezTo>
                    <a:cubicBezTo>
                      <a:pt x="86" y="28"/>
                      <a:pt x="81" y="27"/>
                      <a:pt x="78" y="27"/>
                    </a:cubicBezTo>
                    <a:cubicBezTo>
                      <a:pt x="76" y="27"/>
                      <a:pt x="74" y="27"/>
                      <a:pt x="68" y="25"/>
                    </a:cubicBezTo>
                    <a:cubicBezTo>
                      <a:pt x="62" y="23"/>
                      <a:pt x="61" y="26"/>
                      <a:pt x="57" y="29"/>
                    </a:cubicBezTo>
                    <a:cubicBezTo>
                      <a:pt x="54" y="33"/>
                      <a:pt x="53" y="36"/>
                      <a:pt x="53" y="36"/>
                    </a:cubicBezTo>
                    <a:cubicBezTo>
                      <a:pt x="53" y="36"/>
                      <a:pt x="54" y="39"/>
                      <a:pt x="58" y="36"/>
                    </a:cubicBezTo>
                    <a:cubicBezTo>
                      <a:pt x="63" y="33"/>
                      <a:pt x="63" y="33"/>
                      <a:pt x="63" y="36"/>
                    </a:cubicBezTo>
                    <a:cubicBezTo>
                      <a:pt x="64" y="38"/>
                      <a:pt x="62" y="39"/>
                      <a:pt x="55" y="44"/>
                    </a:cubicBezTo>
                    <a:cubicBezTo>
                      <a:pt x="47" y="48"/>
                      <a:pt x="29" y="58"/>
                      <a:pt x="26" y="61"/>
                    </a:cubicBezTo>
                    <a:cubicBezTo>
                      <a:pt x="23" y="63"/>
                      <a:pt x="18" y="69"/>
                      <a:pt x="13" y="69"/>
                    </a:cubicBezTo>
                    <a:cubicBezTo>
                      <a:pt x="8" y="70"/>
                      <a:pt x="10" y="70"/>
                      <a:pt x="6" y="76"/>
                    </a:cubicBezTo>
                    <a:cubicBezTo>
                      <a:pt x="3" y="82"/>
                      <a:pt x="7" y="79"/>
                      <a:pt x="7" y="85"/>
                    </a:cubicBezTo>
                    <a:cubicBezTo>
                      <a:pt x="8" y="90"/>
                      <a:pt x="5" y="91"/>
                      <a:pt x="5" y="94"/>
                    </a:cubicBezTo>
                    <a:cubicBezTo>
                      <a:pt x="6" y="97"/>
                      <a:pt x="8" y="101"/>
                      <a:pt x="4" y="109"/>
                    </a:cubicBezTo>
                    <a:cubicBezTo>
                      <a:pt x="0" y="117"/>
                      <a:pt x="7" y="124"/>
                      <a:pt x="7" y="124"/>
                    </a:cubicBezTo>
                    <a:cubicBezTo>
                      <a:pt x="7" y="124"/>
                      <a:pt x="8" y="125"/>
                      <a:pt x="9" y="126"/>
                    </a:cubicBezTo>
                    <a:cubicBezTo>
                      <a:pt x="11" y="127"/>
                      <a:pt x="12" y="128"/>
                      <a:pt x="9" y="134"/>
                    </a:cubicBezTo>
                    <a:cubicBezTo>
                      <a:pt x="6" y="140"/>
                      <a:pt x="10" y="143"/>
                      <a:pt x="12" y="143"/>
                    </a:cubicBezTo>
                    <a:cubicBezTo>
                      <a:pt x="14" y="144"/>
                      <a:pt x="21" y="144"/>
                      <a:pt x="21" y="146"/>
                    </a:cubicBezTo>
                    <a:cubicBezTo>
                      <a:pt x="22" y="149"/>
                      <a:pt x="27" y="153"/>
                      <a:pt x="30" y="153"/>
                    </a:cubicBezTo>
                    <a:cubicBezTo>
                      <a:pt x="33" y="153"/>
                      <a:pt x="33" y="153"/>
                      <a:pt x="33" y="155"/>
                    </a:cubicBezTo>
                    <a:cubicBezTo>
                      <a:pt x="33" y="157"/>
                      <a:pt x="34" y="157"/>
                      <a:pt x="37" y="157"/>
                    </a:cubicBezTo>
                    <a:cubicBezTo>
                      <a:pt x="40" y="156"/>
                      <a:pt x="41" y="157"/>
                      <a:pt x="43" y="158"/>
                    </a:cubicBezTo>
                    <a:cubicBezTo>
                      <a:pt x="45" y="159"/>
                      <a:pt x="45" y="162"/>
                      <a:pt x="56" y="162"/>
                    </a:cubicBezTo>
                    <a:cubicBezTo>
                      <a:pt x="68" y="163"/>
                      <a:pt x="58" y="164"/>
                      <a:pt x="67" y="165"/>
                    </a:cubicBezTo>
                    <a:cubicBezTo>
                      <a:pt x="76" y="166"/>
                      <a:pt x="74" y="164"/>
                      <a:pt x="82" y="165"/>
                    </a:cubicBezTo>
                    <a:cubicBezTo>
                      <a:pt x="89" y="166"/>
                      <a:pt x="89" y="168"/>
                      <a:pt x="92" y="170"/>
                    </a:cubicBezTo>
                    <a:cubicBezTo>
                      <a:pt x="94" y="171"/>
                      <a:pt x="100" y="170"/>
                      <a:pt x="98" y="166"/>
                    </a:cubicBezTo>
                    <a:cubicBezTo>
                      <a:pt x="96" y="162"/>
                      <a:pt x="102" y="160"/>
                      <a:pt x="102" y="159"/>
                    </a:cubicBezTo>
                    <a:cubicBezTo>
                      <a:pt x="102" y="158"/>
                      <a:pt x="101" y="156"/>
                      <a:pt x="103" y="154"/>
                    </a:cubicBezTo>
                    <a:cubicBezTo>
                      <a:pt x="106" y="152"/>
                      <a:pt x="122" y="148"/>
                      <a:pt x="122" y="149"/>
                    </a:cubicBezTo>
                    <a:cubicBezTo>
                      <a:pt x="122" y="151"/>
                      <a:pt x="121" y="154"/>
                      <a:pt x="126" y="154"/>
                    </a:cubicBezTo>
                    <a:cubicBezTo>
                      <a:pt x="131" y="154"/>
                      <a:pt x="132" y="151"/>
                      <a:pt x="133" y="146"/>
                    </a:cubicBezTo>
                    <a:cubicBezTo>
                      <a:pt x="134" y="141"/>
                      <a:pt x="136" y="138"/>
                      <a:pt x="140" y="134"/>
                    </a:cubicBezTo>
                    <a:cubicBezTo>
                      <a:pt x="144" y="130"/>
                      <a:pt x="150" y="126"/>
                      <a:pt x="155" y="126"/>
                    </a:cubicBezTo>
                    <a:cubicBezTo>
                      <a:pt x="159" y="126"/>
                      <a:pt x="158" y="128"/>
                      <a:pt x="160" y="127"/>
                    </a:cubicBezTo>
                    <a:cubicBezTo>
                      <a:pt x="162" y="126"/>
                      <a:pt x="163" y="124"/>
                      <a:pt x="166" y="123"/>
                    </a:cubicBezTo>
                    <a:cubicBezTo>
                      <a:pt x="169" y="121"/>
                      <a:pt x="168" y="119"/>
                      <a:pt x="168" y="119"/>
                    </a:cubicBezTo>
                    <a:cubicBezTo>
                      <a:pt x="168" y="119"/>
                      <a:pt x="169" y="115"/>
                      <a:pt x="168" y="111"/>
                    </a:cubicBezTo>
                    <a:cubicBezTo>
                      <a:pt x="166" y="108"/>
                      <a:pt x="169" y="104"/>
                      <a:pt x="170" y="100"/>
                    </a:cubicBezTo>
                    <a:cubicBezTo>
                      <a:pt x="171" y="97"/>
                      <a:pt x="173" y="96"/>
                      <a:pt x="172" y="94"/>
                    </a:cubicBezTo>
                    <a:cubicBezTo>
                      <a:pt x="171" y="92"/>
                      <a:pt x="173" y="91"/>
                      <a:pt x="176" y="89"/>
                    </a:cubicBezTo>
                    <a:cubicBezTo>
                      <a:pt x="179" y="87"/>
                      <a:pt x="179" y="80"/>
                      <a:pt x="179" y="76"/>
                    </a:cubicBezTo>
                    <a:cubicBezTo>
                      <a:pt x="180" y="72"/>
                      <a:pt x="182" y="67"/>
                      <a:pt x="184" y="65"/>
                    </a:cubicBezTo>
                    <a:cubicBezTo>
                      <a:pt x="187" y="63"/>
                      <a:pt x="189" y="61"/>
                      <a:pt x="190" y="57"/>
                    </a:cubicBezTo>
                    <a:cubicBezTo>
                      <a:pt x="191" y="53"/>
                      <a:pt x="193" y="52"/>
                      <a:pt x="195" y="54"/>
                    </a:cubicBezTo>
                    <a:cubicBezTo>
                      <a:pt x="197" y="55"/>
                      <a:pt x="199" y="60"/>
                      <a:pt x="201" y="57"/>
                    </a:cubicBezTo>
                    <a:cubicBezTo>
                      <a:pt x="204" y="54"/>
                      <a:pt x="206" y="51"/>
                      <a:pt x="211" y="50"/>
                    </a:cubicBezTo>
                    <a:cubicBezTo>
                      <a:pt x="216" y="49"/>
                      <a:pt x="215" y="47"/>
                      <a:pt x="212" y="45"/>
                    </a:cubicBezTo>
                    <a:close/>
                  </a:path>
                </a:pathLst>
              </a:custGeom>
              <a:solidFill>
                <a:srgbClr val="D9E5F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8" name="ïşľîďè"/>
              <p:cNvSpPr/>
              <p:nvPr/>
            </p:nvSpPr>
            <p:spPr bwMode="auto">
              <a:xfrm>
                <a:off x="8599488" y="4149725"/>
                <a:ext cx="122238" cy="73025"/>
              </a:xfrm>
              <a:custGeom>
                <a:avLst/>
                <a:gdLst>
                  <a:gd name="T0" fmla="*/ 35 w 57"/>
                  <a:gd name="T1" fmla="*/ 17 h 34"/>
                  <a:gd name="T2" fmla="*/ 24 w 57"/>
                  <a:gd name="T3" fmla="*/ 11 h 34"/>
                  <a:gd name="T4" fmla="*/ 17 w 57"/>
                  <a:gd name="T5" fmla="*/ 6 h 34"/>
                  <a:gd name="T6" fmla="*/ 5 w 57"/>
                  <a:gd name="T7" fmla="*/ 4 h 34"/>
                  <a:gd name="T8" fmla="*/ 1 w 57"/>
                  <a:gd name="T9" fmla="*/ 10 h 34"/>
                  <a:gd name="T10" fmla="*/ 4 w 57"/>
                  <a:gd name="T11" fmla="*/ 14 h 34"/>
                  <a:gd name="T12" fmla="*/ 7 w 57"/>
                  <a:gd name="T13" fmla="*/ 14 h 34"/>
                  <a:gd name="T14" fmla="*/ 20 w 57"/>
                  <a:gd name="T15" fmla="*/ 23 h 34"/>
                  <a:gd name="T16" fmla="*/ 35 w 57"/>
                  <a:gd name="T17" fmla="*/ 29 h 34"/>
                  <a:gd name="T18" fmla="*/ 51 w 57"/>
                  <a:gd name="T19" fmla="*/ 33 h 34"/>
                  <a:gd name="T20" fmla="*/ 56 w 57"/>
                  <a:gd name="T21" fmla="*/ 29 h 34"/>
                  <a:gd name="T22" fmla="*/ 52 w 57"/>
                  <a:gd name="T23" fmla="*/ 23 h 34"/>
                  <a:gd name="T24" fmla="*/ 35 w 57"/>
                  <a:gd name="T25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34">
                    <a:moveTo>
                      <a:pt x="35" y="17"/>
                    </a:moveTo>
                    <a:cubicBezTo>
                      <a:pt x="33" y="14"/>
                      <a:pt x="27" y="13"/>
                      <a:pt x="24" y="11"/>
                    </a:cubicBezTo>
                    <a:cubicBezTo>
                      <a:pt x="22" y="10"/>
                      <a:pt x="18" y="7"/>
                      <a:pt x="17" y="6"/>
                    </a:cubicBezTo>
                    <a:cubicBezTo>
                      <a:pt x="16" y="4"/>
                      <a:pt x="9" y="0"/>
                      <a:pt x="5" y="4"/>
                    </a:cubicBezTo>
                    <a:cubicBezTo>
                      <a:pt x="2" y="7"/>
                      <a:pt x="0" y="9"/>
                      <a:pt x="1" y="10"/>
                    </a:cubicBezTo>
                    <a:cubicBezTo>
                      <a:pt x="1" y="12"/>
                      <a:pt x="3" y="15"/>
                      <a:pt x="4" y="14"/>
                    </a:cubicBezTo>
                    <a:cubicBezTo>
                      <a:pt x="6" y="13"/>
                      <a:pt x="4" y="11"/>
                      <a:pt x="7" y="14"/>
                    </a:cubicBezTo>
                    <a:cubicBezTo>
                      <a:pt x="9" y="16"/>
                      <a:pt x="16" y="21"/>
                      <a:pt x="20" y="23"/>
                    </a:cubicBezTo>
                    <a:cubicBezTo>
                      <a:pt x="24" y="24"/>
                      <a:pt x="31" y="27"/>
                      <a:pt x="35" y="29"/>
                    </a:cubicBezTo>
                    <a:cubicBezTo>
                      <a:pt x="39" y="30"/>
                      <a:pt x="49" y="34"/>
                      <a:pt x="51" y="33"/>
                    </a:cubicBezTo>
                    <a:cubicBezTo>
                      <a:pt x="53" y="33"/>
                      <a:pt x="54" y="32"/>
                      <a:pt x="56" y="29"/>
                    </a:cubicBezTo>
                    <a:cubicBezTo>
                      <a:pt x="57" y="26"/>
                      <a:pt x="56" y="24"/>
                      <a:pt x="52" y="23"/>
                    </a:cubicBezTo>
                    <a:cubicBezTo>
                      <a:pt x="49" y="23"/>
                      <a:pt x="37" y="19"/>
                      <a:pt x="35" y="17"/>
                    </a:cubicBezTo>
                    <a:close/>
                  </a:path>
                </a:pathLst>
              </a:custGeom>
              <a:solidFill>
                <a:srgbClr val="FFF8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9" name="íSliďè"/>
              <p:cNvSpPr/>
              <p:nvPr/>
            </p:nvSpPr>
            <p:spPr bwMode="auto">
              <a:xfrm>
                <a:off x="9420225" y="5037138"/>
                <a:ext cx="876300" cy="271463"/>
              </a:xfrm>
              <a:custGeom>
                <a:avLst/>
                <a:gdLst>
                  <a:gd name="T0" fmla="*/ 14 w 408"/>
                  <a:gd name="T1" fmla="*/ 18 h 127"/>
                  <a:gd name="T2" fmla="*/ 28 w 408"/>
                  <a:gd name="T3" fmla="*/ 29 h 127"/>
                  <a:gd name="T4" fmla="*/ 33 w 408"/>
                  <a:gd name="T5" fmla="*/ 40 h 127"/>
                  <a:gd name="T6" fmla="*/ 37 w 408"/>
                  <a:gd name="T7" fmla="*/ 57 h 127"/>
                  <a:gd name="T8" fmla="*/ 62 w 408"/>
                  <a:gd name="T9" fmla="*/ 76 h 127"/>
                  <a:gd name="T10" fmla="*/ 82 w 408"/>
                  <a:gd name="T11" fmla="*/ 82 h 127"/>
                  <a:gd name="T12" fmla="*/ 94 w 408"/>
                  <a:gd name="T13" fmla="*/ 81 h 127"/>
                  <a:gd name="T14" fmla="*/ 106 w 408"/>
                  <a:gd name="T15" fmla="*/ 77 h 127"/>
                  <a:gd name="T16" fmla="*/ 118 w 408"/>
                  <a:gd name="T17" fmla="*/ 82 h 127"/>
                  <a:gd name="T18" fmla="*/ 128 w 408"/>
                  <a:gd name="T19" fmla="*/ 83 h 127"/>
                  <a:gd name="T20" fmla="*/ 144 w 408"/>
                  <a:gd name="T21" fmla="*/ 84 h 127"/>
                  <a:gd name="T22" fmla="*/ 144 w 408"/>
                  <a:gd name="T23" fmla="*/ 85 h 127"/>
                  <a:gd name="T24" fmla="*/ 144 w 408"/>
                  <a:gd name="T25" fmla="*/ 89 h 127"/>
                  <a:gd name="T26" fmla="*/ 144 w 408"/>
                  <a:gd name="T27" fmla="*/ 90 h 127"/>
                  <a:gd name="T28" fmla="*/ 143 w 408"/>
                  <a:gd name="T29" fmla="*/ 91 h 127"/>
                  <a:gd name="T30" fmla="*/ 141 w 408"/>
                  <a:gd name="T31" fmla="*/ 93 h 127"/>
                  <a:gd name="T32" fmla="*/ 140 w 408"/>
                  <a:gd name="T33" fmla="*/ 96 h 127"/>
                  <a:gd name="T34" fmla="*/ 144 w 408"/>
                  <a:gd name="T35" fmla="*/ 112 h 127"/>
                  <a:gd name="T36" fmla="*/ 157 w 408"/>
                  <a:gd name="T37" fmla="*/ 127 h 127"/>
                  <a:gd name="T38" fmla="*/ 169 w 408"/>
                  <a:gd name="T39" fmla="*/ 118 h 127"/>
                  <a:gd name="T40" fmla="*/ 161 w 408"/>
                  <a:gd name="T41" fmla="*/ 106 h 127"/>
                  <a:gd name="T42" fmla="*/ 160 w 408"/>
                  <a:gd name="T43" fmla="*/ 101 h 127"/>
                  <a:gd name="T44" fmla="*/ 168 w 408"/>
                  <a:gd name="T45" fmla="*/ 98 h 127"/>
                  <a:gd name="T46" fmla="*/ 168 w 408"/>
                  <a:gd name="T47" fmla="*/ 95 h 127"/>
                  <a:gd name="T48" fmla="*/ 176 w 408"/>
                  <a:gd name="T49" fmla="*/ 87 h 127"/>
                  <a:gd name="T50" fmla="*/ 206 w 408"/>
                  <a:gd name="T51" fmla="*/ 82 h 127"/>
                  <a:gd name="T52" fmla="*/ 224 w 408"/>
                  <a:gd name="T53" fmla="*/ 76 h 127"/>
                  <a:gd name="T54" fmla="*/ 250 w 408"/>
                  <a:gd name="T55" fmla="*/ 68 h 127"/>
                  <a:gd name="T56" fmla="*/ 272 w 408"/>
                  <a:gd name="T57" fmla="*/ 59 h 127"/>
                  <a:gd name="T58" fmla="*/ 271 w 408"/>
                  <a:gd name="T59" fmla="*/ 37 h 127"/>
                  <a:gd name="T60" fmla="*/ 282 w 408"/>
                  <a:gd name="T61" fmla="*/ 44 h 127"/>
                  <a:gd name="T62" fmla="*/ 292 w 408"/>
                  <a:gd name="T63" fmla="*/ 51 h 127"/>
                  <a:gd name="T64" fmla="*/ 310 w 408"/>
                  <a:gd name="T65" fmla="*/ 46 h 127"/>
                  <a:gd name="T66" fmla="*/ 333 w 408"/>
                  <a:gd name="T67" fmla="*/ 38 h 127"/>
                  <a:gd name="T68" fmla="*/ 358 w 408"/>
                  <a:gd name="T69" fmla="*/ 34 h 127"/>
                  <a:gd name="T70" fmla="*/ 381 w 408"/>
                  <a:gd name="T71" fmla="*/ 18 h 127"/>
                  <a:gd name="T72" fmla="*/ 393 w 408"/>
                  <a:gd name="T73" fmla="*/ 6 h 127"/>
                  <a:gd name="T74" fmla="*/ 408 w 408"/>
                  <a:gd name="T75" fmla="*/ 2 h 127"/>
                  <a:gd name="T76" fmla="*/ 0 w 408"/>
                  <a:gd name="T77" fmla="*/ 0 h 127"/>
                  <a:gd name="T78" fmla="*/ 14 w 408"/>
                  <a:gd name="T79" fmla="*/ 18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8" h="127">
                    <a:moveTo>
                      <a:pt x="14" y="18"/>
                    </a:moveTo>
                    <a:cubicBezTo>
                      <a:pt x="18" y="24"/>
                      <a:pt x="19" y="24"/>
                      <a:pt x="28" y="29"/>
                    </a:cubicBezTo>
                    <a:cubicBezTo>
                      <a:pt x="37" y="35"/>
                      <a:pt x="37" y="32"/>
                      <a:pt x="33" y="40"/>
                    </a:cubicBezTo>
                    <a:cubicBezTo>
                      <a:pt x="28" y="47"/>
                      <a:pt x="33" y="46"/>
                      <a:pt x="37" y="57"/>
                    </a:cubicBezTo>
                    <a:cubicBezTo>
                      <a:pt x="40" y="67"/>
                      <a:pt x="52" y="71"/>
                      <a:pt x="62" y="76"/>
                    </a:cubicBezTo>
                    <a:cubicBezTo>
                      <a:pt x="72" y="82"/>
                      <a:pt x="82" y="82"/>
                      <a:pt x="82" y="82"/>
                    </a:cubicBezTo>
                    <a:cubicBezTo>
                      <a:pt x="82" y="82"/>
                      <a:pt x="89" y="84"/>
                      <a:pt x="94" y="81"/>
                    </a:cubicBezTo>
                    <a:cubicBezTo>
                      <a:pt x="99" y="78"/>
                      <a:pt x="102" y="75"/>
                      <a:pt x="106" y="77"/>
                    </a:cubicBezTo>
                    <a:cubicBezTo>
                      <a:pt x="111" y="79"/>
                      <a:pt x="118" y="78"/>
                      <a:pt x="118" y="82"/>
                    </a:cubicBezTo>
                    <a:cubicBezTo>
                      <a:pt x="119" y="86"/>
                      <a:pt x="123" y="84"/>
                      <a:pt x="128" y="83"/>
                    </a:cubicBezTo>
                    <a:cubicBezTo>
                      <a:pt x="132" y="82"/>
                      <a:pt x="142" y="80"/>
                      <a:pt x="144" y="84"/>
                    </a:cubicBezTo>
                    <a:cubicBezTo>
                      <a:pt x="144" y="84"/>
                      <a:pt x="144" y="85"/>
                      <a:pt x="144" y="85"/>
                    </a:cubicBezTo>
                    <a:cubicBezTo>
                      <a:pt x="145" y="87"/>
                      <a:pt x="145" y="88"/>
                      <a:pt x="144" y="89"/>
                    </a:cubicBezTo>
                    <a:cubicBezTo>
                      <a:pt x="144" y="89"/>
                      <a:pt x="144" y="89"/>
                      <a:pt x="144" y="90"/>
                    </a:cubicBezTo>
                    <a:cubicBezTo>
                      <a:pt x="144" y="90"/>
                      <a:pt x="144" y="91"/>
                      <a:pt x="143" y="91"/>
                    </a:cubicBezTo>
                    <a:cubicBezTo>
                      <a:pt x="143" y="92"/>
                      <a:pt x="142" y="92"/>
                      <a:pt x="141" y="93"/>
                    </a:cubicBezTo>
                    <a:cubicBezTo>
                      <a:pt x="141" y="94"/>
                      <a:pt x="140" y="95"/>
                      <a:pt x="140" y="96"/>
                    </a:cubicBezTo>
                    <a:cubicBezTo>
                      <a:pt x="140" y="99"/>
                      <a:pt x="142" y="105"/>
                      <a:pt x="144" y="112"/>
                    </a:cubicBezTo>
                    <a:cubicBezTo>
                      <a:pt x="145" y="120"/>
                      <a:pt x="147" y="127"/>
                      <a:pt x="157" y="127"/>
                    </a:cubicBezTo>
                    <a:cubicBezTo>
                      <a:pt x="167" y="127"/>
                      <a:pt x="168" y="121"/>
                      <a:pt x="169" y="118"/>
                    </a:cubicBezTo>
                    <a:cubicBezTo>
                      <a:pt x="169" y="115"/>
                      <a:pt x="164" y="110"/>
                      <a:pt x="161" y="106"/>
                    </a:cubicBezTo>
                    <a:cubicBezTo>
                      <a:pt x="160" y="105"/>
                      <a:pt x="159" y="102"/>
                      <a:pt x="160" y="101"/>
                    </a:cubicBezTo>
                    <a:cubicBezTo>
                      <a:pt x="165" y="99"/>
                      <a:pt x="168" y="102"/>
                      <a:pt x="168" y="98"/>
                    </a:cubicBezTo>
                    <a:cubicBezTo>
                      <a:pt x="168" y="97"/>
                      <a:pt x="168" y="96"/>
                      <a:pt x="168" y="95"/>
                    </a:cubicBezTo>
                    <a:cubicBezTo>
                      <a:pt x="167" y="93"/>
                      <a:pt x="169" y="90"/>
                      <a:pt x="176" y="87"/>
                    </a:cubicBezTo>
                    <a:cubicBezTo>
                      <a:pt x="184" y="84"/>
                      <a:pt x="201" y="85"/>
                      <a:pt x="206" y="82"/>
                    </a:cubicBezTo>
                    <a:cubicBezTo>
                      <a:pt x="211" y="80"/>
                      <a:pt x="215" y="78"/>
                      <a:pt x="224" y="76"/>
                    </a:cubicBezTo>
                    <a:cubicBezTo>
                      <a:pt x="233" y="73"/>
                      <a:pt x="242" y="71"/>
                      <a:pt x="250" y="68"/>
                    </a:cubicBezTo>
                    <a:cubicBezTo>
                      <a:pt x="258" y="66"/>
                      <a:pt x="270" y="63"/>
                      <a:pt x="272" y="59"/>
                    </a:cubicBezTo>
                    <a:cubicBezTo>
                      <a:pt x="275" y="54"/>
                      <a:pt x="272" y="42"/>
                      <a:pt x="271" y="37"/>
                    </a:cubicBezTo>
                    <a:cubicBezTo>
                      <a:pt x="270" y="32"/>
                      <a:pt x="281" y="37"/>
                      <a:pt x="282" y="44"/>
                    </a:cubicBezTo>
                    <a:cubicBezTo>
                      <a:pt x="284" y="50"/>
                      <a:pt x="287" y="55"/>
                      <a:pt x="292" y="51"/>
                    </a:cubicBezTo>
                    <a:cubicBezTo>
                      <a:pt x="297" y="48"/>
                      <a:pt x="301" y="50"/>
                      <a:pt x="310" y="46"/>
                    </a:cubicBezTo>
                    <a:cubicBezTo>
                      <a:pt x="318" y="41"/>
                      <a:pt x="326" y="35"/>
                      <a:pt x="333" y="38"/>
                    </a:cubicBezTo>
                    <a:cubicBezTo>
                      <a:pt x="340" y="42"/>
                      <a:pt x="349" y="36"/>
                      <a:pt x="358" y="34"/>
                    </a:cubicBezTo>
                    <a:cubicBezTo>
                      <a:pt x="367" y="32"/>
                      <a:pt x="376" y="24"/>
                      <a:pt x="381" y="18"/>
                    </a:cubicBezTo>
                    <a:cubicBezTo>
                      <a:pt x="386" y="13"/>
                      <a:pt x="388" y="7"/>
                      <a:pt x="393" y="6"/>
                    </a:cubicBezTo>
                    <a:cubicBezTo>
                      <a:pt x="399" y="5"/>
                      <a:pt x="401" y="8"/>
                      <a:pt x="408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1" y="11"/>
                      <a:pt x="14" y="18"/>
                    </a:cubicBezTo>
                    <a:close/>
                  </a:path>
                </a:pathLst>
              </a:custGeom>
              <a:solidFill>
                <a:srgbClr val="D9E5F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0" name="iş1íḑé"/>
              <p:cNvSpPr/>
              <p:nvPr/>
            </p:nvSpPr>
            <p:spPr bwMode="auto">
              <a:xfrm>
                <a:off x="10479088" y="5038725"/>
                <a:ext cx="106363" cy="138113"/>
              </a:xfrm>
              <a:custGeom>
                <a:avLst/>
                <a:gdLst>
                  <a:gd name="T0" fmla="*/ 2 w 50"/>
                  <a:gd name="T1" fmla="*/ 0 h 64"/>
                  <a:gd name="T2" fmla="*/ 1 w 50"/>
                  <a:gd name="T3" fmla="*/ 12 h 64"/>
                  <a:gd name="T4" fmla="*/ 5 w 50"/>
                  <a:gd name="T5" fmla="*/ 28 h 64"/>
                  <a:gd name="T6" fmla="*/ 15 w 50"/>
                  <a:gd name="T7" fmla="*/ 45 h 64"/>
                  <a:gd name="T8" fmla="*/ 26 w 50"/>
                  <a:gd name="T9" fmla="*/ 57 h 64"/>
                  <a:gd name="T10" fmla="*/ 28 w 50"/>
                  <a:gd name="T11" fmla="*/ 63 h 64"/>
                  <a:gd name="T12" fmla="*/ 31 w 50"/>
                  <a:gd name="T13" fmla="*/ 57 h 64"/>
                  <a:gd name="T14" fmla="*/ 33 w 50"/>
                  <a:gd name="T15" fmla="*/ 41 h 64"/>
                  <a:gd name="T16" fmla="*/ 46 w 50"/>
                  <a:gd name="T17" fmla="*/ 18 h 64"/>
                  <a:gd name="T18" fmla="*/ 50 w 50"/>
                  <a:gd name="T19" fmla="*/ 0 h 64"/>
                  <a:gd name="T20" fmla="*/ 2 w 50"/>
                  <a:gd name="T21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0" h="64">
                    <a:moveTo>
                      <a:pt x="2" y="0"/>
                    </a:moveTo>
                    <a:cubicBezTo>
                      <a:pt x="2" y="0"/>
                      <a:pt x="3" y="8"/>
                      <a:pt x="1" y="12"/>
                    </a:cubicBezTo>
                    <a:cubicBezTo>
                      <a:pt x="0" y="17"/>
                      <a:pt x="3" y="24"/>
                      <a:pt x="5" y="28"/>
                    </a:cubicBezTo>
                    <a:cubicBezTo>
                      <a:pt x="6" y="32"/>
                      <a:pt x="12" y="42"/>
                      <a:pt x="15" y="45"/>
                    </a:cubicBezTo>
                    <a:cubicBezTo>
                      <a:pt x="19" y="47"/>
                      <a:pt x="27" y="53"/>
                      <a:pt x="26" y="57"/>
                    </a:cubicBezTo>
                    <a:cubicBezTo>
                      <a:pt x="25" y="62"/>
                      <a:pt x="26" y="62"/>
                      <a:pt x="28" y="63"/>
                    </a:cubicBezTo>
                    <a:cubicBezTo>
                      <a:pt x="29" y="64"/>
                      <a:pt x="32" y="62"/>
                      <a:pt x="31" y="57"/>
                    </a:cubicBezTo>
                    <a:cubicBezTo>
                      <a:pt x="29" y="52"/>
                      <a:pt x="29" y="44"/>
                      <a:pt x="33" y="41"/>
                    </a:cubicBezTo>
                    <a:cubicBezTo>
                      <a:pt x="36" y="38"/>
                      <a:pt x="43" y="28"/>
                      <a:pt x="46" y="18"/>
                    </a:cubicBezTo>
                    <a:cubicBezTo>
                      <a:pt x="49" y="8"/>
                      <a:pt x="50" y="9"/>
                      <a:pt x="50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E5F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1" name="iṧ1îde"/>
              <p:cNvSpPr/>
              <p:nvPr/>
            </p:nvSpPr>
            <p:spPr bwMode="auto">
              <a:xfrm>
                <a:off x="9637713" y="5321300"/>
                <a:ext cx="182563" cy="157163"/>
              </a:xfrm>
              <a:custGeom>
                <a:avLst/>
                <a:gdLst>
                  <a:gd name="T0" fmla="*/ 67 w 85"/>
                  <a:gd name="T1" fmla="*/ 5 h 73"/>
                  <a:gd name="T2" fmla="*/ 38 w 85"/>
                  <a:gd name="T3" fmla="*/ 5 h 73"/>
                  <a:gd name="T4" fmla="*/ 21 w 85"/>
                  <a:gd name="T5" fmla="*/ 12 h 73"/>
                  <a:gd name="T6" fmla="*/ 7 w 85"/>
                  <a:gd name="T7" fmla="*/ 26 h 73"/>
                  <a:gd name="T8" fmla="*/ 2 w 85"/>
                  <a:gd name="T9" fmla="*/ 46 h 73"/>
                  <a:gd name="T10" fmla="*/ 12 w 85"/>
                  <a:gd name="T11" fmla="*/ 64 h 73"/>
                  <a:gd name="T12" fmla="*/ 39 w 85"/>
                  <a:gd name="T13" fmla="*/ 69 h 73"/>
                  <a:gd name="T14" fmla="*/ 64 w 85"/>
                  <a:gd name="T15" fmla="*/ 52 h 73"/>
                  <a:gd name="T16" fmla="*/ 71 w 85"/>
                  <a:gd name="T17" fmla="*/ 31 h 73"/>
                  <a:gd name="T18" fmla="*/ 82 w 85"/>
                  <a:gd name="T19" fmla="*/ 8 h 73"/>
                  <a:gd name="T20" fmla="*/ 67 w 85"/>
                  <a:gd name="T21" fmla="*/ 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73">
                    <a:moveTo>
                      <a:pt x="67" y="5"/>
                    </a:moveTo>
                    <a:cubicBezTo>
                      <a:pt x="61" y="5"/>
                      <a:pt x="42" y="4"/>
                      <a:pt x="38" y="5"/>
                    </a:cubicBezTo>
                    <a:cubicBezTo>
                      <a:pt x="34" y="6"/>
                      <a:pt x="24" y="9"/>
                      <a:pt x="21" y="12"/>
                    </a:cubicBezTo>
                    <a:cubicBezTo>
                      <a:pt x="17" y="15"/>
                      <a:pt x="14" y="20"/>
                      <a:pt x="7" y="26"/>
                    </a:cubicBezTo>
                    <a:cubicBezTo>
                      <a:pt x="0" y="32"/>
                      <a:pt x="0" y="40"/>
                      <a:pt x="2" y="46"/>
                    </a:cubicBezTo>
                    <a:cubicBezTo>
                      <a:pt x="5" y="53"/>
                      <a:pt x="6" y="62"/>
                      <a:pt x="12" y="64"/>
                    </a:cubicBezTo>
                    <a:cubicBezTo>
                      <a:pt x="19" y="66"/>
                      <a:pt x="33" y="73"/>
                      <a:pt x="39" y="69"/>
                    </a:cubicBezTo>
                    <a:cubicBezTo>
                      <a:pt x="46" y="65"/>
                      <a:pt x="59" y="56"/>
                      <a:pt x="64" y="52"/>
                    </a:cubicBezTo>
                    <a:cubicBezTo>
                      <a:pt x="69" y="47"/>
                      <a:pt x="65" y="38"/>
                      <a:pt x="71" y="31"/>
                    </a:cubicBezTo>
                    <a:cubicBezTo>
                      <a:pt x="78" y="23"/>
                      <a:pt x="85" y="16"/>
                      <a:pt x="82" y="8"/>
                    </a:cubicBezTo>
                    <a:cubicBezTo>
                      <a:pt x="80" y="0"/>
                      <a:pt x="73" y="5"/>
                      <a:pt x="67" y="5"/>
                    </a:cubicBezTo>
                    <a:close/>
                  </a:path>
                </a:pathLst>
              </a:custGeom>
              <a:solidFill>
                <a:srgbClr val="D9E5F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2" name="işlïďê"/>
              <p:cNvSpPr/>
              <p:nvPr/>
            </p:nvSpPr>
            <p:spPr bwMode="auto">
              <a:xfrm>
                <a:off x="8751888" y="4462463"/>
                <a:ext cx="63500" cy="42863"/>
              </a:xfrm>
              <a:custGeom>
                <a:avLst/>
                <a:gdLst>
                  <a:gd name="T0" fmla="*/ 22 w 30"/>
                  <a:gd name="T1" fmla="*/ 8 h 20"/>
                  <a:gd name="T2" fmla="*/ 15 w 30"/>
                  <a:gd name="T3" fmla="*/ 5 h 20"/>
                  <a:gd name="T4" fmla="*/ 5 w 30"/>
                  <a:gd name="T5" fmla="*/ 8 h 20"/>
                  <a:gd name="T6" fmla="*/ 9 w 30"/>
                  <a:gd name="T7" fmla="*/ 16 h 20"/>
                  <a:gd name="T8" fmla="*/ 15 w 30"/>
                  <a:gd name="T9" fmla="*/ 20 h 20"/>
                  <a:gd name="T10" fmla="*/ 29 w 30"/>
                  <a:gd name="T11" fmla="*/ 14 h 20"/>
                  <a:gd name="T12" fmla="*/ 22 w 30"/>
                  <a:gd name="T13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20">
                    <a:moveTo>
                      <a:pt x="22" y="8"/>
                    </a:moveTo>
                    <a:cubicBezTo>
                      <a:pt x="18" y="7"/>
                      <a:pt x="17" y="7"/>
                      <a:pt x="15" y="5"/>
                    </a:cubicBezTo>
                    <a:cubicBezTo>
                      <a:pt x="14" y="4"/>
                      <a:pt x="0" y="0"/>
                      <a:pt x="5" y="8"/>
                    </a:cubicBezTo>
                    <a:cubicBezTo>
                      <a:pt x="8" y="14"/>
                      <a:pt x="8" y="12"/>
                      <a:pt x="9" y="16"/>
                    </a:cubicBezTo>
                    <a:cubicBezTo>
                      <a:pt x="10" y="20"/>
                      <a:pt x="12" y="19"/>
                      <a:pt x="15" y="20"/>
                    </a:cubicBezTo>
                    <a:cubicBezTo>
                      <a:pt x="18" y="20"/>
                      <a:pt x="30" y="18"/>
                      <a:pt x="29" y="14"/>
                    </a:cubicBezTo>
                    <a:cubicBezTo>
                      <a:pt x="29" y="12"/>
                      <a:pt x="27" y="9"/>
                      <a:pt x="22" y="8"/>
                    </a:cubicBezTo>
                    <a:close/>
                  </a:path>
                </a:pathLst>
              </a:custGeom>
              <a:solidFill>
                <a:srgbClr val="FFF8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3" name="iṥḻíḋé"/>
              <p:cNvSpPr/>
              <p:nvPr/>
            </p:nvSpPr>
            <p:spPr bwMode="auto">
              <a:xfrm>
                <a:off x="7294563" y="6188075"/>
                <a:ext cx="34925" cy="46038"/>
              </a:xfrm>
              <a:custGeom>
                <a:avLst/>
                <a:gdLst>
                  <a:gd name="T0" fmla="*/ 14 w 16"/>
                  <a:gd name="T1" fmla="*/ 1 h 22"/>
                  <a:gd name="T2" fmla="*/ 8 w 16"/>
                  <a:gd name="T3" fmla="*/ 3 h 22"/>
                  <a:gd name="T4" fmla="*/ 4 w 16"/>
                  <a:gd name="T5" fmla="*/ 6 h 22"/>
                  <a:gd name="T6" fmla="*/ 2 w 16"/>
                  <a:gd name="T7" fmla="*/ 12 h 22"/>
                  <a:gd name="T8" fmla="*/ 3 w 16"/>
                  <a:gd name="T9" fmla="*/ 15 h 22"/>
                  <a:gd name="T10" fmla="*/ 3 w 16"/>
                  <a:gd name="T11" fmla="*/ 19 h 22"/>
                  <a:gd name="T12" fmla="*/ 6 w 16"/>
                  <a:gd name="T13" fmla="*/ 21 h 22"/>
                  <a:gd name="T14" fmla="*/ 8 w 16"/>
                  <a:gd name="T15" fmla="*/ 17 h 22"/>
                  <a:gd name="T16" fmla="*/ 8 w 16"/>
                  <a:gd name="T17" fmla="*/ 9 h 22"/>
                  <a:gd name="T18" fmla="*/ 13 w 16"/>
                  <a:gd name="T19" fmla="*/ 5 h 22"/>
                  <a:gd name="T20" fmla="*/ 14 w 16"/>
                  <a:gd name="T21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22">
                    <a:moveTo>
                      <a:pt x="14" y="1"/>
                    </a:moveTo>
                    <a:cubicBezTo>
                      <a:pt x="12" y="0"/>
                      <a:pt x="9" y="1"/>
                      <a:pt x="8" y="3"/>
                    </a:cubicBezTo>
                    <a:cubicBezTo>
                      <a:pt x="6" y="4"/>
                      <a:pt x="7" y="5"/>
                      <a:pt x="4" y="6"/>
                    </a:cubicBezTo>
                    <a:cubicBezTo>
                      <a:pt x="0" y="8"/>
                      <a:pt x="0" y="12"/>
                      <a:pt x="2" y="12"/>
                    </a:cubicBezTo>
                    <a:cubicBezTo>
                      <a:pt x="4" y="12"/>
                      <a:pt x="4" y="13"/>
                      <a:pt x="3" y="15"/>
                    </a:cubicBezTo>
                    <a:cubicBezTo>
                      <a:pt x="2" y="16"/>
                      <a:pt x="3" y="15"/>
                      <a:pt x="3" y="19"/>
                    </a:cubicBezTo>
                    <a:cubicBezTo>
                      <a:pt x="3" y="22"/>
                      <a:pt x="5" y="22"/>
                      <a:pt x="6" y="21"/>
                    </a:cubicBezTo>
                    <a:cubicBezTo>
                      <a:pt x="7" y="19"/>
                      <a:pt x="7" y="19"/>
                      <a:pt x="8" y="17"/>
                    </a:cubicBezTo>
                    <a:cubicBezTo>
                      <a:pt x="9" y="15"/>
                      <a:pt x="8" y="11"/>
                      <a:pt x="8" y="9"/>
                    </a:cubicBezTo>
                    <a:cubicBezTo>
                      <a:pt x="8" y="7"/>
                      <a:pt x="11" y="6"/>
                      <a:pt x="13" y="5"/>
                    </a:cubicBezTo>
                    <a:cubicBezTo>
                      <a:pt x="15" y="4"/>
                      <a:pt x="16" y="2"/>
                      <a:pt x="14" y="1"/>
                    </a:cubicBezTo>
                    <a:close/>
                  </a:path>
                </a:pathLst>
              </a:custGeom>
              <a:solidFill>
                <a:srgbClr val="FFF8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4" name="iṡḻíďê"/>
              <p:cNvSpPr/>
              <p:nvPr/>
            </p:nvSpPr>
            <p:spPr bwMode="auto">
              <a:xfrm>
                <a:off x="7258050" y="6196013"/>
                <a:ext cx="30163" cy="31750"/>
              </a:xfrm>
              <a:custGeom>
                <a:avLst/>
                <a:gdLst>
                  <a:gd name="T0" fmla="*/ 8 w 14"/>
                  <a:gd name="T1" fmla="*/ 3 h 15"/>
                  <a:gd name="T2" fmla="*/ 3 w 14"/>
                  <a:gd name="T3" fmla="*/ 9 h 15"/>
                  <a:gd name="T4" fmla="*/ 2 w 14"/>
                  <a:gd name="T5" fmla="*/ 15 h 15"/>
                  <a:gd name="T6" fmla="*/ 7 w 14"/>
                  <a:gd name="T7" fmla="*/ 12 h 15"/>
                  <a:gd name="T8" fmla="*/ 12 w 14"/>
                  <a:gd name="T9" fmla="*/ 10 h 15"/>
                  <a:gd name="T10" fmla="*/ 13 w 14"/>
                  <a:gd name="T11" fmla="*/ 6 h 15"/>
                  <a:gd name="T12" fmla="*/ 8 w 14"/>
                  <a:gd name="T13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5">
                    <a:moveTo>
                      <a:pt x="8" y="3"/>
                    </a:moveTo>
                    <a:cubicBezTo>
                      <a:pt x="5" y="6"/>
                      <a:pt x="5" y="6"/>
                      <a:pt x="3" y="9"/>
                    </a:cubicBezTo>
                    <a:cubicBezTo>
                      <a:pt x="0" y="11"/>
                      <a:pt x="0" y="15"/>
                      <a:pt x="2" y="15"/>
                    </a:cubicBezTo>
                    <a:cubicBezTo>
                      <a:pt x="3" y="14"/>
                      <a:pt x="4" y="12"/>
                      <a:pt x="7" y="12"/>
                    </a:cubicBezTo>
                    <a:cubicBezTo>
                      <a:pt x="10" y="12"/>
                      <a:pt x="11" y="12"/>
                      <a:pt x="12" y="10"/>
                    </a:cubicBezTo>
                    <a:cubicBezTo>
                      <a:pt x="12" y="8"/>
                      <a:pt x="13" y="8"/>
                      <a:pt x="13" y="6"/>
                    </a:cubicBezTo>
                    <a:cubicBezTo>
                      <a:pt x="14" y="3"/>
                      <a:pt x="10" y="0"/>
                      <a:pt x="8" y="3"/>
                    </a:cubicBezTo>
                    <a:close/>
                  </a:path>
                </a:pathLst>
              </a:custGeom>
              <a:solidFill>
                <a:srgbClr val="FFF8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5" name="ísļïde"/>
              <p:cNvSpPr/>
              <p:nvPr/>
            </p:nvSpPr>
            <p:spPr bwMode="auto">
              <a:xfrm>
                <a:off x="7402513" y="6121400"/>
                <a:ext cx="20638" cy="26988"/>
              </a:xfrm>
              <a:custGeom>
                <a:avLst/>
                <a:gdLst>
                  <a:gd name="T0" fmla="*/ 1 w 10"/>
                  <a:gd name="T1" fmla="*/ 4 h 13"/>
                  <a:gd name="T2" fmla="*/ 1 w 10"/>
                  <a:gd name="T3" fmla="*/ 9 h 13"/>
                  <a:gd name="T4" fmla="*/ 2 w 10"/>
                  <a:gd name="T5" fmla="*/ 11 h 13"/>
                  <a:gd name="T6" fmla="*/ 7 w 10"/>
                  <a:gd name="T7" fmla="*/ 12 h 13"/>
                  <a:gd name="T8" fmla="*/ 8 w 10"/>
                  <a:gd name="T9" fmla="*/ 9 h 13"/>
                  <a:gd name="T10" fmla="*/ 9 w 10"/>
                  <a:gd name="T11" fmla="*/ 5 h 13"/>
                  <a:gd name="T12" fmla="*/ 1 w 10"/>
                  <a:gd name="T13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3">
                    <a:moveTo>
                      <a:pt x="1" y="4"/>
                    </a:moveTo>
                    <a:cubicBezTo>
                      <a:pt x="1" y="7"/>
                      <a:pt x="2" y="8"/>
                      <a:pt x="1" y="9"/>
                    </a:cubicBezTo>
                    <a:cubicBezTo>
                      <a:pt x="0" y="10"/>
                      <a:pt x="1" y="11"/>
                      <a:pt x="2" y="11"/>
                    </a:cubicBezTo>
                    <a:cubicBezTo>
                      <a:pt x="3" y="10"/>
                      <a:pt x="5" y="13"/>
                      <a:pt x="7" y="12"/>
                    </a:cubicBezTo>
                    <a:cubicBezTo>
                      <a:pt x="8" y="12"/>
                      <a:pt x="7" y="11"/>
                      <a:pt x="8" y="9"/>
                    </a:cubicBezTo>
                    <a:cubicBezTo>
                      <a:pt x="10" y="7"/>
                      <a:pt x="10" y="6"/>
                      <a:pt x="9" y="5"/>
                    </a:cubicBezTo>
                    <a:cubicBezTo>
                      <a:pt x="8" y="4"/>
                      <a:pt x="1" y="0"/>
                      <a:pt x="1" y="4"/>
                    </a:cubicBezTo>
                    <a:close/>
                  </a:path>
                </a:pathLst>
              </a:custGeom>
              <a:solidFill>
                <a:srgbClr val="FFF8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6" name="ïSḻíďè"/>
              <p:cNvSpPr/>
              <p:nvPr/>
            </p:nvSpPr>
            <p:spPr bwMode="auto">
              <a:xfrm>
                <a:off x="7496175" y="6065838"/>
                <a:ext cx="42863" cy="44450"/>
              </a:xfrm>
              <a:custGeom>
                <a:avLst/>
                <a:gdLst>
                  <a:gd name="T0" fmla="*/ 4 w 20"/>
                  <a:gd name="T1" fmla="*/ 11 h 21"/>
                  <a:gd name="T2" fmla="*/ 1 w 20"/>
                  <a:gd name="T3" fmla="*/ 15 h 21"/>
                  <a:gd name="T4" fmla="*/ 3 w 20"/>
                  <a:gd name="T5" fmla="*/ 18 h 21"/>
                  <a:gd name="T6" fmla="*/ 3 w 20"/>
                  <a:gd name="T7" fmla="*/ 18 h 21"/>
                  <a:gd name="T8" fmla="*/ 8 w 20"/>
                  <a:gd name="T9" fmla="*/ 16 h 21"/>
                  <a:gd name="T10" fmla="*/ 12 w 20"/>
                  <a:gd name="T11" fmla="*/ 15 h 21"/>
                  <a:gd name="T12" fmla="*/ 4 w 20"/>
                  <a:gd name="T13" fmla="*/ 1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21">
                    <a:moveTo>
                      <a:pt x="4" y="11"/>
                    </a:moveTo>
                    <a:cubicBezTo>
                      <a:pt x="2" y="13"/>
                      <a:pt x="2" y="13"/>
                      <a:pt x="1" y="15"/>
                    </a:cubicBezTo>
                    <a:cubicBezTo>
                      <a:pt x="0" y="16"/>
                      <a:pt x="2" y="19"/>
                      <a:pt x="3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18"/>
                      <a:pt x="7" y="18"/>
                      <a:pt x="8" y="16"/>
                    </a:cubicBezTo>
                    <a:cubicBezTo>
                      <a:pt x="10" y="15"/>
                      <a:pt x="11" y="14"/>
                      <a:pt x="12" y="15"/>
                    </a:cubicBezTo>
                    <a:cubicBezTo>
                      <a:pt x="20" y="21"/>
                      <a:pt x="17" y="0"/>
                      <a:pt x="4" y="11"/>
                    </a:cubicBezTo>
                    <a:close/>
                  </a:path>
                </a:pathLst>
              </a:custGeom>
              <a:solidFill>
                <a:srgbClr val="FFF8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7" name="i$ḻíḑê"/>
              <p:cNvSpPr/>
              <p:nvPr/>
            </p:nvSpPr>
            <p:spPr bwMode="auto">
              <a:xfrm>
                <a:off x="6400800" y="5033963"/>
                <a:ext cx="4202113" cy="1450975"/>
              </a:xfrm>
              <a:custGeom>
                <a:avLst/>
                <a:gdLst>
                  <a:gd name="T0" fmla="*/ 185 w 1959"/>
                  <a:gd name="T1" fmla="*/ 661 h 677"/>
                  <a:gd name="T2" fmla="*/ 165 w 1959"/>
                  <a:gd name="T3" fmla="*/ 627 h 677"/>
                  <a:gd name="T4" fmla="*/ 176 w 1959"/>
                  <a:gd name="T5" fmla="*/ 572 h 677"/>
                  <a:gd name="T6" fmla="*/ 153 w 1959"/>
                  <a:gd name="T7" fmla="*/ 555 h 677"/>
                  <a:gd name="T8" fmla="*/ 105 w 1959"/>
                  <a:gd name="T9" fmla="*/ 558 h 677"/>
                  <a:gd name="T10" fmla="*/ 67 w 1959"/>
                  <a:gd name="T11" fmla="*/ 533 h 677"/>
                  <a:gd name="T12" fmla="*/ 0 w 1959"/>
                  <a:gd name="T13" fmla="*/ 552 h 677"/>
                  <a:gd name="T14" fmla="*/ 64 w 1959"/>
                  <a:gd name="T15" fmla="*/ 529 h 677"/>
                  <a:gd name="T16" fmla="*/ 98 w 1959"/>
                  <a:gd name="T17" fmla="*/ 546 h 677"/>
                  <a:gd name="T18" fmla="*/ 148 w 1959"/>
                  <a:gd name="T19" fmla="*/ 559 h 677"/>
                  <a:gd name="T20" fmla="*/ 185 w 1959"/>
                  <a:gd name="T21" fmla="*/ 571 h 677"/>
                  <a:gd name="T22" fmla="*/ 165 w 1959"/>
                  <a:gd name="T23" fmla="*/ 620 h 677"/>
                  <a:gd name="T24" fmla="*/ 189 w 1959"/>
                  <a:gd name="T25" fmla="*/ 668 h 677"/>
                  <a:gd name="T26" fmla="*/ 183 w 1959"/>
                  <a:gd name="T27" fmla="*/ 672 h 677"/>
                  <a:gd name="T28" fmla="*/ 217 w 1959"/>
                  <a:gd name="T29" fmla="*/ 632 h 677"/>
                  <a:gd name="T30" fmla="*/ 211 w 1959"/>
                  <a:gd name="T31" fmla="*/ 599 h 677"/>
                  <a:gd name="T32" fmla="*/ 236 w 1959"/>
                  <a:gd name="T33" fmla="*/ 585 h 677"/>
                  <a:gd name="T34" fmla="*/ 291 w 1959"/>
                  <a:gd name="T35" fmla="*/ 568 h 677"/>
                  <a:gd name="T36" fmla="*/ 225 w 1959"/>
                  <a:gd name="T37" fmla="*/ 582 h 677"/>
                  <a:gd name="T38" fmla="*/ 234 w 1959"/>
                  <a:gd name="T39" fmla="*/ 604 h 677"/>
                  <a:gd name="T40" fmla="*/ 213 w 1959"/>
                  <a:gd name="T41" fmla="*/ 604 h 677"/>
                  <a:gd name="T42" fmla="*/ 221 w 1959"/>
                  <a:gd name="T43" fmla="*/ 634 h 677"/>
                  <a:gd name="T44" fmla="*/ 205 w 1959"/>
                  <a:gd name="T45" fmla="*/ 675 h 677"/>
                  <a:gd name="T46" fmla="*/ 218 w 1959"/>
                  <a:gd name="T47" fmla="*/ 602 h 677"/>
                  <a:gd name="T48" fmla="*/ 213 w 1959"/>
                  <a:gd name="T49" fmla="*/ 603 h 677"/>
                  <a:gd name="T50" fmla="*/ 1535 w 1959"/>
                  <a:gd name="T51" fmla="*/ 86 h 677"/>
                  <a:gd name="T52" fmla="*/ 1468 w 1959"/>
                  <a:gd name="T53" fmla="*/ 79 h 677"/>
                  <a:gd name="T54" fmla="*/ 1435 w 1959"/>
                  <a:gd name="T55" fmla="*/ 32 h 677"/>
                  <a:gd name="T56" fmla="*/ 1442 w 1959"/>
                  <a:gd name="T57" fmla="*/ 31 h 677"/>
                  <a:gd name="T58" fmla="*/ 1490 w 1959"/>
                  <a:gd name="T59" fmla="*/ 80 h 677"/>
                  <a:gd name="T60" fmla="*/ 1529 w 1959"/>
                  <a:gd name="T61" fmla="*/ 83 h 677"/>
                  <a:gd name="T62" fmla="*/ 1574 w 1959"/>
                  <a:gd name="T63" fmla="*/ 119 h 677"/>
                  <a:gd name="T64" fmla="*/ 1583 w 1959"/>
                  <a:gd name="T65" fmla="*/ 86 h 677"/>
                  <a:gd name="T66" fmla="*/ 1677 w 1959"/>
                  <a:gd name="T67" fmla="*/ 39 h 677"/>
                  <a:gd name="T68" fmla="*/ 1716 w 1959"/>
                  <a:gd name="T69" fmla="*/ 45 h 677"/>
                  <a:gd name="T70" fmla="*/ 1806 w 1959"/>
                  <a:gd name="T71" fmla="*/ 4 h 677"/>
                  <a:gd name="T72" fmla="*/ 1796 w 1959"/>
                  <a:gd name="T73" fmla="*/ 13 h 677"/>
                  <a:gd name="T74" fmla="*/ 1708 w 1959"/>
                  <a:gd name="T75" fmla="*/ 52 h 677"/>
                  <a:gd name="T76" fmla="*/ 1659 w 1959"/>
                  <a:gd name="T77" fmla="*/ 72 h 677"/>
                  <a:gd name="T78" fmla="*/ 1573 w 1959"/>
                  <a:gd name="T79" fmla="*/ 103 h 677"/>
                  <a:gd name="T80" fmla="*/ 1799 w 1959"/>
                  <a:gd name="T81" fmla="*/ 15 h 677"/>
                  <a:gd name="T82" fmla="*/ 1579 w 1959"/>
                  <a:gd name="T83" fmla="*/ 102 h 677"/>
                  <a:gd name="T84" fmla="*/ 1526 w 1959"/>
                  <a:gd name="T85" fmla="*/ 96 h 677"/>
                  <a:gd name="T86" fmla="*/ 1526 w 1959"/>
                  <a:gd name="T87" fmla="*/ 102 h 677"/>
                  <a:gd name="T88" fmla="*/ 1524 w 1959"/>
                  <a:gd name="T89" fmla="*/ 94 h 677"/>
                  <a:gd name="T90" fmla="*/ 1526 w 1959"/>
                  <a:gd name="T91" fmla="*/ 91 h 677"/>
                  <a:gd name="T92" fmla="*/ 1903 w 1959"/>
                  <a:gd name="T93" fmla="*/ 30 h 677"/>
                  <a:gd name="T94" fmla="*/ 1919 w 1959"/>
                  <a:gd name="T95" fmla="*/ 46 h 677"/>
                  <a:gd name="T96" fmla="*/ 1953 w 1959"/>
                  <a:gd name="T97" fmla="*/ 2 h 677"/>
                  <a:gd name="T98" fmla="*/ 1930 w 1959"/>
                  <a:gd name="T99" fmla="*/ 63 h 677"/>
                  <a:gd name="T100" fmla="*/ 1954 w 1959"/>
                  <a:gd name="T101" fmla="*/ 60 h 677"/>
                  <a:gd name="T102" fmla="*/ 1949 w 1959"/>
                  <a:gd name="T103" fmla="*/ 41 h 677"/>
                  <a:gd name="T104" fmla="*/ 1876 w 1959"/>
                  <a:gd name="T105" fmla="*/ 23 h 677"/>
                  <a:gd name="T106" fmla="*/ 1873 w 1959"/>
                  <a:gd name="T107" fmla="*/ 22 h 677"/>
                  <a:gd name="T108" fmla="*/ 1874 w 1959"/>
                  <a:gd name="T109" fmla="*/ 19 h 677"/>
                  <a:gd name="T110" fmla="*/ 1882 w 1959"/>
                  <a:gd name="T111" fmla="*/ 9 h 6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59" h="677">
                    <a:moveTo>
                      <a:pt x="183" y="677"/>
                    </a:moveTo>
                    <a:cubicBezTo>
                      <a:pt x="182" y="677"/>
                      <a:pt x="181" y="677"/>
                      <a:pt x="181" y="676"/>
                    </a:cubicBezTo>
                    <a:cubicBezTo>
                      <a:pt x="179" y="675"/>
                      <a:pt x="178" y="673"/>
                      <a:pt x="178" y="671"/>
                    </a:cubicBezTo>
                    <a:cubicBezTo>
                      <a:pt x="178" y="670"/>
                      <a:pt x="178" y="669"/>
                      <a:pt x="177" y="668"/>
                    </a:cubicBezTo>
                    <a:cubicBezTo>
                      <a:pt x="177" y="668"/>
                      <a:pt x="176" y="667"/>
                      <a:pt x="176" y="667"/>
                    </a:cubicBezTo>
                    <a:cubicBezTo>
                      <a:pt x="174" y="665"/>
                      <a:pt x="171" y="662"/>
                      <a:pt x="174" y="659"/>
                    </a:cubicBezTo>
                    <a:cubicBezTo>
                      <a:pt x="175" y="658"/>
                      <a:pt x="176" y="657"/>
                      <a:pt x="178" y="657"/>
                    </a:cubicBezTo>
                    <a:cubicBezTo>
                      <a:pt x="180" y="657"/>
                      <a:pt x="183" y="659"/>
                      <a:pt x="185" y="661"/>
                    </a:cubicBezTo>
                    <a:cubicBezTo>
                      <a:pt x="186" y="662"/>
                      <a:pt x="186" y="662"/>
                      <a:pt x="187" y="662"/>
                    </a:cubicBezTo>
                    <a:cubicBezTo>
                      <a:pt x="187" y="662"/>
                      <a:pt x="187" y="661"/>
                      <a:pt x="186" y="661"/>
                    </a:cubicBezTo>
                    <a:cubicBezTo>
                      <a:pt x="185" y="659"/>
                      <a:pt x="182" y="657"/>
                      <a:pt x="180" y="657"/>
                    </a:cubicBezTo>
                    <a:cubicBezTo>
                      <a:pt x="175" y="656"/>
                      <a:pt x="172" y="655"/>
                      <a:pt x="171" y="653"/>
                    </a:cubicBezTo>
                    <a:cubicBezTo>
                      <a:pt x="170" y="651"/>
                      <a:pt x="170" y="650"/>
                      <a:pt x="171" y="649"/>
                    </a:cubicBezTo>
                    <a:cubicBezTo>
                      <a:pt x="171" y="648"/>
                      <a:pt x="170" y="645"/>
                      <a:pt x="168" y="643"/>
                    </a:cubicBezTo>
                    <a:cubicBezTo>
                      <a:pt x="165" y="641"/>
                      <a:pt x="165" y="637"/>
                      <a:pt x="165" y="633"/>
                    </a:cubicBezTo>
                    <a:cubicBezTo>
                      <a:pt x="165" y="631"/>
                      <a:pt x="165" y="629"/>
                      <a:pt x="165" y="627"/>
                    </a:cubicBezTo>
                    <a:cubicBezTo>
                      <a:pt x="164" y="625"/>
                      <a:pt x="163" y="624"/>
                      <a:pt x="162" y="623"/>
                    </a:cubicBezTo>
                    <a:cubicBezTo>
                      <a:pt x="161" y="622"/>
                      <a:pt x="159" y="621"/>
                      <a:pt x="158" y="618"/>
                    </a:cubicBezTo>
                    <a:cubicBezTo>
                      <a:pt x="157" y="614"/>
                      <a:pt x="159" y="612"/>
                      <a:pt x="160" y="610"/>
                    </a:cubicBezTo>
                    <a:cubicBezTo>
                      <a:pt x="161" y="608"/>
                      <a:pt x="161" y="607"/>
                      <a:pt x="161" y="606"/>
                    </a:cubicBezTo>
                    <a:cubicBezTo>
                      <a:pt x="158" y="599"/>
                      <a:pt x="159" y="594"/>
                      <a:pt x="164" y="592"/>
                    </a:cubicBezTo>
                    <a:cubicBezTo>
                      <a:pt x="165" y="591"/>
                      <a:pt x="166" y="590"/>
                      <a:pt x="166" y="586"/>
                    </a:cubicBezTo>
                    <a:cubicBezTo>
                      <a:pt x="166" y="584"/>
                      <a:pt x="166" y="582"/>
                      <a:pt x="167" y="580"/>
                    </a:cubicBezTo>
                    <a:cubicBezTo>
                      <a:pt x="168" y="576"/>
                      <a:pt x="172" y="574"/>
                      <a:pt x="176" y="572"/>
                    </a:cubicBezTo>
                    <a:cubicBezTo>
                      <a:pt x="178" y="571"/>
                      <a:pt x="180" y="570"/>
                      <a:pt x="181" y="569"/>
                    </a:cubicBezTo>
                    <a:cubicBezTo>
                      <a:pt x="180" y="569"/>
                      <a:pt x="179" y="568"/>
                      <a:pt x="178" y="567"/>
                    </a:cubicBezTo>
                    <a:cubicBezTo>
                      <a:pt x="179" y="565"/>
                      <a:pt x="179" y="565"/>
                      <a:pt x="179" y="565"/>
                    </a:cubicBezTo>
                    <a:cubicBezTo>
                      <a:pt x="178" y="567"/>
                      <a:pt x="178" y="567"/>
                      <a:pt x="178" y="567"/>
                    </a:cubicBezTo>
                    <a:cubicBezTo>
                      <a:pt x="176" y="566"/>
                      <a:pt x="172" y="566"/>
                      <a:pt x="170" y="568"/>
                    </a:cubicBezTo>
                    <a:cubicBezTo>
                      <a:pt x="164" y="571"/>
                      <a:pt x="161" y="566"/>
                      <a:pt x="158" y="561"/>
                    </a:cubicBezTo>
                    <a:cubicBezTo>
                      <a:pt x="157" y="560"/>
                      <a:pt x="157" y="560"/>
                      <a:pt x="157" y="560"/>
                    </a:cubicBezTo>
                    <a:cubicBezTo>
                      <a:pt x="156" y="557"/>
                      <a:pt x="154" y="556"/>
                      <a:pt x="153" y="555"/>
                    </a:cubicBezTo>
                    <a:cubicBezTo>
                      <a:pt x="153" y="556"/>
                      <a:pt x="153" y="557"/>
                      <a:pt x="153" y="559"/>
                    </a:cubicBezTo>
                    <a:cubicBezTo>
                      <a:pt x="153" y="571"/>
                      <a:pt x="140" y="572"/>
                      <a:pt x="133" y="572"/>
                    </a:cubicBezTo>
                    <a:cubicBezTo>
                      <a:pt x="133" y="572"/>
                      <a:pt x="133" y="572"/>
                      <a:pt x="133" y="572"/>
                    </a:cubicBezTo>
                    <a:cubicBezTo>
                      <a:pt x="118" y="573"/>
                      <a:pt x="110" y="572"/>
                      <a:pt x="107" y="569"/>
                    </a:cubicBezTo>
                    <a:cubicBezTo>
                      <a:pt x="105" y="565"/>
                      <a:pt x="108" y="562"/>
                      <a:pt x="111" y="561"/>
                    </a:cubicBezTo>
                    <a:cubicBezTo>
                      <a:pt x="111" y="560"/>
                      <a:pt x="112" y="560"/>
                      <a:pt x="113" y="559"/>
                    </a:cubicBezTo>
                    <a:cubicBezTo>
                      <a:pt x="112" y="559"/>
                      <a:pt x="111" y="559"/>
                      <a:pt x="110" y="559"/>
                    </a:cubicBezTo>
                    <a:cubicBezTo>
                      <a:pt x="109" y="559"/>
                      <a:pt x="107" y="558"/>
                      <a:pt x="105" y="558"/>
                    </a:cubicBezTo>
                    <a:cubicBezTo>
                      <a:pt x="98" y="557"/>
                      <a:pt x="93" y="556"/>
                      <a:pt x="93" y="546"/>
                    </a:cubicBezTo>
                    <a:cubicBezTo>
                      <a:pt x="93" y="543"/>
                      <a:pt x="93" y="542"/>
                      <a:pt x="92" y="542"/>
                    </a:cubicBezTo>
                    <a:cubicBezTo>
                      <a:pt x="93" y="542"/>
                      <a:pt x="92" y="543"/>
                      <a:pt x="92" y="545"/>
                    </a:cubicBezTo>
                    <a:cubicBezTo>
                      <a:pt x="92" y="550"/>
                      <a:pt x="90" y="554"/>
                      <a:pt x="87" y="555"/>
                    </a:cubicBezTo>
                    <a:cubicBezTo>
                      <a:pt x="85" y="556"/>
                      <a:pt x="83" y="555"/>
                      <a:pt x="81" y="554"/>
                    </a:cubicBezTo>
                    <a:cubicBezTo>
                      <a:pt x="77" y="550"/>
                      <a:pt x="74" y="543"/>
                      <a:pt x="72" y="535"/>
                    </a:cubicBezTo>
                    <a:cubicBezTo>
                      <a:pt x="72" y="534"/>
                      <a:pt x="71" y="532"/>
                      <a:pt x="70" y="532"/>
                    </a:cubicBezTo>
                    <a:cubicBezTo>
                      <a:pt x="69" y="532"/>
                      <a:pt x="68" y="532"/>
                      <a:pt x="67" y="533"/>
                    </a:cubicBezTo>
                    <a:cubicBezTo>
                      <a:pt x="67" y="533"/>
                      <a:pt x="65" y="535"/>
                      <a:pt x="66" y="538"/>
                    </a:cubicBezTo>
                    <a:cubicBezTo>
                      <a:pt x="66" y="540"/>
                      <a:pt x="67" y="542"/>
                      <a:pt x="67" y="543"/>
                    </a:cubicBezTo>
                    <a:cubicBezTo>
                      <a:pt x="69" y="547"/>
                      <a:pt x="70" y="551"/>
                      <a:pt x="66" y="556"/>
                    </a:cubicBezTo>
                    <a:cubicBezTo>
                      <a:pt x="63" y="563"/>
                      <a:pt x="54" y="562"/>
                      <a:pt x="47" y="561"/>
                    </a:cubicBezTo>
                    <a:cubicBezTo>
                      <a:pt x="45" y="561"/>
                      <a:pt x="44" y="561"/>
                      <a:pt x="42" y="561"/>
                    </a:cubicBezTo>
                    <a:cubicBezTo>
                      <a:pt x="40" y="561"/>
                      <a:pt x="38" y="561"/>
                      <a:pt x="36" y="561"/>
                    </a:cubicBezTo>
                    <a:cubicBezTo>
                      <a:pt x="33" y="561"/>
                      <a:pt x="28" y="561"/>
                      <a:pt x="22" y="561"/>
                    </a:cubicBezTo>
                    <a:cubicBezTo>
                      <a:pt x="12" y="560"/>
                      <a:pt x="1" y="552"/>
                      <a:pt x="0" y="552"/>
                    </a:cubicBezTo>
                    <a:cubicBezTo>
                      <a:pt x="3" y="548"/>
                      <a:pt x="3" y="548"/>
                      <a:pt x="3" y="548"/>
                    </a:cubicBezTo>
                    <a:cubicBezTo>
                      <a:pt x="3" y="548"/>
                      <a:pt x="13" y="555"/>
                      <a:pt x="22" y="556"/>
                    </a:cubicBezTo>
                    <a:cubicBezTo>
                      <a:pt x="29" y="556"/>
                      <a:pt x="32" y="556"/>
                      <a:pt x="36" y="556"/>
                    </a:cubicBezTo>
                    <a:cubicBezTo>
                      <a:pt x="40" y="556"/>
                      <a:pt x="43" y="556"/>
                      <a:pt x="48" y="557"/>
                    </a:cubicBezTo>
                    <a:cubicBezTo>
                      <a:pt x="53" y="557"/>
                      <a:pt x="60" y="558"/>
                      <a:pt x="62" y="554"/>
                    </a:cubicBezTo>
                    <a:cubicBezTo>
                      <a:pt x="65" y="550"/>
                      <a:pt x="64" y="548"/>
                      <a:pt x="63" y="544"/>
                    </a:cubicBezTo>
                    <a:cubicBezTo>
                      <a:pt x="62" y="543"/>
                      <a:pt x="62" y="541"/>
                      <a:pt x="61" y="539"/>
                    </a:cubicBezTo>
                    <a:cubicBezTo>
                      <a:pt x="60" y="535"/>
                      <a:pt x="61" y="532"/>
                      <a:pt x="64" y="529"/>
                    </a:cubicBezTo>
                    <a:cubicBezTo>
                      <a:pt x="66" y="527"/>
                      <a:pt x="69" y="527"/>
                      <a:pt x="71" y="527"/>
                    </a:cubicBezTo>
                    <a:cubicBezTo>
                      <a:pt x="73" y="528"/>
                      <a:pt x="76" y="529"/>
                      <a:pt x="76" y="534"/>
                    </a:cubicBezTo>
                    <a:cubicBezTo>
                      <a:pt x="78" y="541"/>
                      <a:pt x="81" y="547"/>
                      <a:pt x="84" y="550"/>
                    </a:cubicBezTo>
                    <a:cubicBezTo>
                      <a:pt x="85" y="551"/>
                      <a:pt x="85" y="551"/>
                      <a:pt x="85" y="551"/>
                    </a:cubicBezTo>
                    <a:cubicBezTo>
                      <a:pt x="86" y="550"/>
                      <a:pt x="87" y="548"/>
                      <a:pt x="87" y="545"/>
                    </a:cubicBezTo>
                    <a:cubicBezTo>
                      <a:pt x="87" y="540"/>
                      <a:pt x="90" y="537"/>
                      <a:pt x="93" y="537"/>
                    </a:cubicBezTo>
                    <a:cubicBezTo>
                      <a:pt x="94" y="537"/>
                      <a:pt x="96" y="538"/>
                      <a:pt x="97" y="540"/>
                    </a:cubicBezTo>
                    <a:cubicBezTo>
                      <a:pt x="98" y="541"/>
                      <a:pt x="98" y="544"/>
                      <a:pt x="98" y="546"/>
                    </a:cubicBezTo>
                    <a:cubicBezTo>
                      <a:pt x="98" y="552"/>
                      <a:pt x="99" y="553"/>
                      <a:pt x="106" y="554"/>
                    </a:cubicBezTo>
                    <a:cubicBezTo>
                      <a:pt x="108" y="554"/>
                      <a:pt x="109" y="554"/>
                      <a:pt x="111" y="554"/>
                    </a:cubicBezTo>
                    <a:cubicBezTo>
                      <a:pt x="114" y="554"/>
                      <a:pt x="118" y="555"/>
                      <a:pt x="118" y="559"/>
                    </a:cubicBezTo>
                    <a:cubicBezTo>
                      <a:pt x="118" y="561"/>
                      <a:pt x="116" y="563"/>
                      <a:pt x="114" y="564"/>
                    </a:cubicBezTo>
                    <a:cubicBezTo>
                      <a:pt x="113" y="565"/>
                      <a:pt x="112" y="566"/>
                      <a:pt x="111" y="566"/>
                    </a:cubicBezTo>
                    <a:cubicBezTo>
                      <a:pt x="113" y="568"/>
                      <a:pt x="120" y="568"/>
                      <a:pt x="132" y="567"/>
                    </a:cubicBezTo>
                    <a:cubicBezTo>
                      <a:pt x="133" y="567"/>
                      <a:pt x="133" y="567"/>
                      <a:pt x="133" y="567"/>
                    </a:cubicBezTo>
                    <a:cubicBezTo>
                      <a:pt x="142" y="567"/>
                      <a:pt x="148" y="566"/>
                      <a:pt x="148" y="559"/>
                    </a:cubicBezTo>
                    <a:cubicBezTo>
                      <a:pt x="148" y="557"/>
                      <a:pt x="148" y="552"/>
                      <a:pt x="151" y="551"/>
                    </a:cubicBezTo>
                    <a:cubicBezTo>
                      <a:pt x="155" y="549"/>
                      <a:pt x="159" y="555"/>
                      <a:pt x="161" y="558"/>
                    </a:cubicBezTo>
                    <a:cubicBezTo>
                      <a:pt x="162" y="559"/>
                      <a:pt x="162" y="559"/>
                      <a:pt x="162" y="559"/>
                    </a:cubicBezTo>
                    <a:cubicBezTo>
                      <a:pt x="166" y="564"/>
                      <a:pt x="166" y="564"/>
                      <a:pt x="168" y="564"/>
                    </a:cubicBezTo>
                    <a:cubicBezTo>
                      <a:pt x="171" y="562"/>
                      <a:pt x="176" y="561"/>
                      <a:pt x="180" y="563"/>
                    </a:cubicBezTo>
                    <a:cubicBezTo>
                      <a:pt x="180" y="563"/>
                      <a:pt x="180" y="563"/>
                      <a:pt x="180" y="563"/>
                    </a:cubicBezTo>
                    <a:cubicBezTo>
                      <a:pt x="182" y="564"/>
                      <a:pt x="184" y="565"/>
                      <a:pt x="185" y="567"/>
                    </a:cubicBezTo>
                    <a:cubicBezTo>
                      <a:pt x="186" y="568"/>
                      <a:pt x="186" y="570"/>
                      <a:pt x="185" y="571"/>
                    </a:cubicBezTo>
                    <a:cubicBezTo>
                      <a:pt x="184" y="573"/>
                      <a:pt x="181" y="575"/>
                      <a:pt x="178" y="576"/>
                    </a:cubicBezTo>
                    <a:cubicBezTo>
                      <a:pt x="175" y="578"/>
                      <a:pt x="172" y="579"/>
                      <a:pt x="171" y="581"/>
                    </a:cubicBezTo>
                    <a:cubicBezTo>
                      <a:pt x="171" y="583"/>
                      <a:pt x="171" y="584"/>
                      <a:pt x="171" y="586"/>
                    </a:cubicBezTo>
                    <a:cubicBezTo>
                      <a:pt x="170" y="590"/>
                      <a:pt x="170" y="594"/>
                      <a:pt x="165" y="596"/>
                    </a:cubicBezTo>
                    <a:cubicBezTo>
                      <a:pt x="165" y="596"/>
                      <a:pt x="163" y="597"/>
                      <a:pt x="165" y="605"/>
                    </a:cubicBezTo>
                    <a:cubicBezTo>
                      <a:pt x="166" y="608"/>
                      <a:pt x="165" y="610"/>
                      <a:pt x="164" y="612"/>
                    </a:cubicBezTo>
                    <a:cubicBezTo>
                      <a:pt x="163" y="614"/>
                      <a:pt x="162" y="615"/>
                      <a:pt x="162" y="617"/>
                    </a:cubicBezTo>
                    <a:cubicBezTo>
                      <a:pt x="163" y="618"/>
                      <a:pt x="164" y="619"/>
                      <a:pt x="165" y="620"/>
                    </a:cubicBezTo>
                    <a:cubicBezTo>
                      <a:pt x="166" y="621"/>
                      <a:pt x="168" y="622"/>
                      <a:pt x="169" y="626"/>
                    </a:cubicBezTo>
                    <a:cubicBezTo>
                      <a:pt x="170" y="628"/>
                      <a:pt x="170" y="631"/>
                      <a:pt x="170" y="633"/>
                    </a:cubicBezTo>
                    <a:cubicBezTo>
                      <a:pt x="170" y="636"/>
                      <a:pt x="170" y="639"/>
                      <a:pt x="171" y="639"/>
                    </a:cubicBezTo>
                    <a:cubicBezTo>
                      <a:pt x="175" y="642"/>
                      <a:pt x="177" y="647"/>
                      <a:pt x="175" y="651"/>
                    </a:cubicBezTo>
                    <a:cubicBezTo>
                      <a:pt x="176" y="651"/>
                      <a:pt x="177" y="652"/>
                      <a:pt x="180" y="652"/>
                    </a:cubicBezTo>
                    <a:cubicBezTo>
                      <a:pt x="184" y="652"/>
                      <a:pt x="188" y="655"/>
                      <a:pt x="190" y="659"/>
                    </a:cubicBezTo>
                    <a:cubicBezTo>
                      <a:pt x="192" y="661"/>
                      <a:pt x="192" y="664"/>
                      <a:pt x="191" y="666"/>
                    </a:cubicBezTo>
                    <a:cubicBezTo>
                      <a:pt x="190" y="667"/>
                      <a:pt x="189" y="668"/>
                      <a:pt x="189" y="668"/>
                    </a:cubicBezTo>
                    <a:cubicBezTo>
                      <a:pt x="187" y="668"/>
                      <a:pt x="185" y="667"/>
                      <a:pt x="182" y="665"/>
                    </a:cubicBezTo>
                    <a:cubicBezTo>
                      <a:pt x="181" y="664"/>
                      <a:pt x="179" y="662"/>
                      <a:pt x="178" y="662"/>
                    </a:cubicBezTo>
                    <a:cubicBezTo>
                      <a:pt x="178" y="662"/>
                      <a:pt x="178" y="662"/>
                      <a:pt x="178" y="662"/>
                    </a:cubicBezTo>
                    <a:cubicBezTo>
                      <a:pt x="178" y="662"/>
                      <a:pt x="179" y="663"/>
                      <a:pt x="179" y="663"/>
                    </a:cubicBezTo>
                    <a:cubicBezTo>
                      <a:pt x="180" y="664"/>
                      <a:pt x="180" y="665"/>
                      <a:pt x="181" y="666"/>
                    </a:cubicBezTo>
                    <a:cubicBezTo>
                      <a:pt x="182" y="667"/>
                      <a:pt x="182" y="669"/>
                      <a:pt x="183" y="670"/>
                    </a:cubicBezTo>
                    <a:cubicBezTo>
                      <a:pt x="183" y="671"/>
                      <a:pt x="183" y="672"/>
                      <a:pt x="183" y="672"/>
                    </a:cubicBezTo>
                    <a:cubicBezTo>
                      <a:pt x="183" y="672"/>
                      <a:pt x="183" y="672"/>
                      <a:pt x="183" y="672"/>
                    </a:cubicBezTo>
                    <a:cubicBezTo>
                      <a:pt x="190" y="670"/>
                      <a:pt x="200" y="668"/>
                      <a:pt x="207" y="671"/>
                    </a:cubicBezTo>
                    <a:cubicBezTo>
                      <a:pt x="211" y="672"/>
                      <a:pt x="213" y="671"/>
                      <a:pt x="217" y="669"/>
                    </a:cubicBezTo>
                    <a:cubicBezTo>
                      <a:pt x="219" y="668"/>
                      <a:pt x="220" y="667"/>
                      <a:pt x="222" y="667"/>
                    </a:cubicBezTo>
                    <a:cubicBezTo>
                      <a:pt x="226" y="665"/>
                      <a:pt x="228" y="661"/>
                      <a:pt x="228" y="653"/>
                    </a:cubicBezTo>
                    <a:cubicBezTo>
                      <a:pt x="228" y="647"/>
                      <a:pt x="228" y="647"/>
                      <a:pt x="221" y="644"/>
                    </a:cubicBezTo>
                    <a:cubicBezTo>
                      <a:pt x="219" y="643"/>
                      <a:pt x="219" y="643"/>
                      <a:pt x="219" y="643"/>
                    </a:cubicBezTo>
                    <a:cubicBezTo>
                      <a:pt x="216" y="642"/>
                      <a:pt x="213" y="640"/>
                      <a:pt x="213" y="637"/>
                    </a:cubicBezTo>
                    <a:cubicBezTo>
                      <a:pt x="213" y="634"/>
                      <a:pt x="215" y="633"/>
                      <a:pt x="217" y="632"/>
                    </a:cubicBezTo>
                    <a:cubicBezTo>
                      <a:pt x="217" y="631"/>
                      <a:pt x="218" y="631"/>
                      <a:pt x="218" y="631"/>
                    </a:cubicBezTo>
                    <a:cubicBezTo>
                      <a:pt x="219" y="630"/>
                      <a:pt x="219" y="629"/>
                      <a:pt x="219" y="629"/>
                    </a:cubicBezTo>
                    <a:cubicBezTo>
                      <a:pt x="219" y="629"/>
                      <a:pt x="219" y="628"/>
                      <a:pt x="217" y="626"/>
                    </a:cubicBezTo>
                    <a:cubicBezTo>
                      <a:pt x="215" y="625"/>
                      <a:pt x="212" y="625"/>
                      <a:pt x="209" y="625"/>
                    </a:cubicBezTo>
                    <a:cubicBezTo>
                      <a:pt x="206" y="626"/>
                      <a:pt x="203" y="626"/>
                      <a:pt x="200" y="624"/>
                    </a:cubicBezTo>
                    <a:cubicBezTo>
                      <a:pt x="194" y="620"/>
                      <a:pt x="198" y="613"/>
                      <a:pt x="201" y="606"/>
                    </a:cubicBezTo>
                    <a:cubicBezTo>
                      <a:pt x="205" y="600"/>
                      <a:pt x="207" y="599"/>
                      <a:pt x="210" y="599"/>
                    </a:cubicBezTo>
                    <a:cubicBezTo>
                      <a:pt x="211" y="599"/>
                      <a:pt x="211" y="599"/>
                      <a:pt x="211" y="599"/>
                    </a:cubicBezTo>
                    <a:cubicBezTo>
                      <a:pt x="213" y="598"/>
                      <a:pt x="216" y="599"/>
                      <a:pt x="217" y="601"/>
                    </a:cubicBezTo>
                    <a:cubicBezTo>
                      <a:pt x="215" y="598"/>
                      <a:pt x="215" y="596"/>
                      <a:pt x="216" y="593"/>
                    </a:cubicBezTo>
                    <a:cubicBezTo>
                      <a:pt x="216" y="592"/>
                      <a:pt x="216" y="590"/>
                      <a:pt x="216" y="589"/>
                    </a:cubicBezTo>
                    <a:cubicBezTo>
                      <a:pt x="217" y="587"/>
                      <a:pt x="216" y="584"/>
                      <a:pt x="216" y="582"/>
                    </a:cubicBezTo>
                    <a:cubicBezTo>
                      <a:pt x="216" y="578"/>
                      <a:pt x="216" y="573"/>
                      <a:pt x="220" y="572"/>
                    </a:cubicBezTo>
                    <a:cubicBezTo>
                      <a:pt x="221" y="571"/>
                      <a:pt x="223" y="571"/>
                      <a:pt x="225" y="572"/>
                    </a:cubicBezTo>
                    <a:cubicBezTo>
                      <a:pt x="228" y="574"/>
                      <a:pt x="229" y="578"/>
                      <a:pt x="230" y="582"/>
                    </a:cubicBezTo>
                    <a:cubicBezTo>
                      <a:pt x="230" y="585"/>
                      <a:pt x="230" y="585"/>
                      <a:pt x="236" y="585"/>
                    </a:cubicBezTo>
                    <a:cubicBezTo>
                      <a:pt x="237" y="585"/>
                      <a:pt x="237" y="585"/>
                      <a:pt x="237" y="585"/>
                    </a:cubicBezTo>
                    <a:cubicBezTo>
                      <a:pt x="240" y="586"/>
                      <a:pt x="241" y="583"/>
                      <a:pt x="243" y="580"/>
                    </a:cubicBezTo>
                    <a:cubicBezTo>
                      <a:pt x="244" y="578"/>
                      <a:pt x="245" y="576"/>
                      <a:pt x="247" y="574"/>
                    </a:cubicBezTo>
                    <a:cubicBezTo>
                      <a:pt x="251" y="570"/>
                      <a:pt x="256" y="570"/>
                      <a:pt x="261" y="569"/>
                    </a:cubicBezTo>
                    <a:cubicBezTo>
                      <a:pt x="263" y="569"/>
                      <a:pt x="263" y="569"/>
                      <a:pt x="263" y="569"/>
                    </a:cubicBezTo>
                    <a:cubicBezTo>
                      <a:pt x="265" y="568"/>
                      <a:pt x="268" y="568"/>
                      <a:pt x="271" y="567"/>
                    </a:cubicBezTo>
                    <a:cubicBezTo>
                      <a:pt x="278" y="565"/>
                      <a:pt x="286" y="563"/>
                      <a:pt x="291" y="563"/>
                    </a:cubicBezTo>
                    <a:cubicBezTo>
                      <a:pt x="291" y="568"/>
                      <a:pt x="291" y="568"/>
                      <a:pt x="291" y="568"/>
                    </a:cubicBezTo>
                    <a:cubicBezTo>
                      <a:pt x="287" y="568"/>
                      <a:pt x="279" y="570"/>
                      <a:pt x="273" y="571"/>
                    </a:cubicBezTo>
                    <a:cubicBezTo>
                      <a:pt x="269" y="572"/>
                      <a:pt x="266" y="573"/>
                      <a:pt x="264" y="573"/>
                    </a:cubicBezTo>
                    <a:cubicBezTo>
                      <a:pt x="262" y="574"/>
                      <a:pt x="262" y="574"/>
                      <a:pt x="262" y="574"/>
                    </a:cubicBezTo>
                    <a:cubicBezTo>
                      <a:pt x="257" y="574"/>
                      <a:pt x="253" y="575"/>
                      <a:pt x="250" y="578"/>
                    </a:cubicBezTo>
                    <a:cubicBezTo>
                      <a:pt x="249" y="579"/>
                      <a:pt x="248" y="580"/>
                      <a:pt x="247" y="582"/>
                    </a:cubicBezTo>
                    <a:cubicBezTo>
                      <a:pt x="245" y="586"/>
                      <a:pt x="242" y="591"/>
                      <a:pt x="237" y="590"/>
                    </a:cubicBezTo>
                    <a:cubicBezTo>
                      <a:pt x="236" y="590"/>
                      <a:pt x="236" y="590"/>
                      <a:pt x="236" y="590"/>
                    </a:cubicBezTo>
                    <a:cubicBezTo>
                      <a:pt x="230" y="590"/>
                      <a:pt x="225" y="589"/>
                      <a:pt x="225" y="582"/>
                    </a:cubicBezTo>
                    <a:cubicBezTo>
                      <a:pt x="225" y="579"/>
                      <a:pt x="223" y="577"/>
                      <a:pt x="222" y="576"/>
                    </a:cubicBezTo>
                    <a:cubicBezTo>
                      <a:pt x="222" y="576"/>
                      <a:pt x="222" y="576"/>
                      <a:pt x="221" y="576"/>
                    </a:cubicBezTo>
                    <a:cubicBezTo>
                      <a:pt x="221" y="576"/>
                      <a:pt x="221" y="580"/>
                      <a:pt x="221" y="582"/>
                    </a:cubicBezTo>
                    <a:cubicBezTo>
                      <a:pt x="221" y="584"/>
                      <a:pt x="221" y="587"/>
                      <a:pt x="221" y="589"/>
                    </a:cubicBezTo>
                    <a:cubicBezTo>
                      <a:pt x="221" y="591"/>
                      <a:pt x="221" y="592"/>
                      <a:pt x="220" y="593"/>
                    </a:cubicBezTo>
                    <a:cubicBezTo>
                      <a:pt x="220" y="596"/>
                      <a:pt x="220" y="597"/>
                      <a:pt x="222" y="599"/>
                    </a:cubicBezTo>
                    <a:cubicBezTo>
                      <a:pt x="222" y="600"/>
                      <a:pt x="224" y="600"/>
                      <a:pt x="226" y="600"/>
                    </a:cubicBezTo>
                    <a:cubicBezTo>
                      <a:pt x="229" y="600"/>
                      <a:pt x="233" y="599"/>
                      <a:pt x="234" y="604"/>
                    </a:cubicBezTo>
                    <a:cubicBezTo>
                      <a:pt x="235" y="610"/>
                      <a:pt x="236" y="612"/>
                      <a:pt x="234" y="614"/>
                    </a:cubicBezTo>
                    <a:cubicBezTo>
                      <a:pt x="233" y="615"/>
                      <a:pt x="231" y="615"/>
                      <a:pt x="229" y="614"/>
                    </a:cubicBezTo>
                    <a:cubicBezTo>
                      <a:pt x="228" y="614"/>
                      <a:pt x="228" y="614"/>
                      <a:pt x="228" y="614"/>
                    </a:cubicBezTo>
                    <a:cubicBezTo>
                      <a:pt x="226" y="612"/>
                      <a:pt x="224" y="611"/>
                      <a:pt x="217" y="613"/>
                    </a:cubicBezTo>
                    <a:cubicBezTo>
                      <a:pt x="214" y="613"/>
                      <a:pt x="211" y="614"/>
                      <a:pt x="210" y="611"/>
                    </a:cubicBezTo>
                    <a:cubicBezTo>
                      <a:pt x="209" y="609"/>
                      <a:pt x="210" y="607"/>
                      <a:pt x="212" y="605"/>
                    </a:cubicBezTo>
                    <a:cubicBezTo>
                      <a:pt x="213" y="604"/>
                      <a:pt x="213" y="604"/>
                      <a:pt x="213" y="604"/>
                    </a:cubicBezTo>
                    <a:cubicBezTo>
                      <a:pt x="213" y="604"/>
                      <a:pt x="213" y="604"/>
                      <a:pt x="213" y="604"/>
                    </a:cubicBezTo>
                    <a:cubicBezTo>
                      <a:pt x="213" y="603"/>
                      <a:pt x="212" y="603"/>
                      <a:pt x="211" y="603"/>
                    </a:cubicBezTo>
                    <a:cubicBezTo>
                      <a:pt x="211" y="603"/>
                      <a:pt x="211" y="603"/>
                      <a:pt x="211" y="603"/>
                    </a:cubicBezTo>
                    <a:cubicBezTo>
                      <a:pt x="209" y="604"/>
                      <a:pt x="208" y="604"/>
                      <a:pt x="205" y="608"/>
                    </a:cubicBezTo>
                    <a:cubicBezTo>
                      <a:pt x="202" y="614"/>
                      <a:pt x="200" y="619"/>
                      <a:pt x="202" y="620"/>
                    </a:cubicBezTo>
                    <a:cubicBezTo>
                      <a:pt x="204" y="621"/>
                      <a:pt x="206" y="621"/>
                      <a:pt x="209" y="621"/>
                    </a:cubicBezTo>
                    <a:cubicBezTo>
                      <a:pt x="213" y="621"/>
                      <a:pt x="217" y="620"/>
                      <a:pt x="220" y="623"/>
                    </a:cubicBezTo>
                    <a:cubicBezTo>
                      <a:pt x="221" y="624"/>
                      <a:pt x="224" y="626"/>
                      <a:pt x="224" y="629"/>
                    </a:cubicBezTo>
                    <a:cubicBezTo>
                      <a:pt x="224" y="632"/>
                      <a:pt x="222" y="633"/>
                      <a:pt x="221" y="634"/>
                    </a:cubicBezTo>
                    <a:cubicBezTo>
                      <a:pt x="221" y="634"/>
                      <a:pt x="220" y="635"/>
                      <a:pt x="220" y="635"/>
                    </a:cubicBezTo>
                    <a:cubicBezTo>
                      <a:pt x="219" y="636"/>
                      <a:pt x="218" y="636"/>
                      <a:pt x="218" y="637"/>
                    </a:cubicBezTo>
                    <a:cubicBezTo>
                      <a:pt x="218" y="637"/>
                      <a:pt x="219" y="638"/>
                      <a:pt x="221" y="639"/>
                    </a:cubicBezTo>
                    <a:cubicBezTo>
                      <a:pt x="223" y="640"/>
                      <a:pt x="223" y="640"/>
                      <a:pt x="223" y="640"/>
                    </a:cubicBezTo>
                    <a:cubicBezTo>
                      <a:pt x="230" y="643"/>
                      <a:pt x="233" y="644"/>
                      <a:pt x="233" y="653"/>
                    </a:cubicBezTo>
                    <a:cubicBezTo>
                      <a:pt x="233" y="659"/>
                      <a:pt x="232" y="668"/>
                      <a:pt x="224" y="671"/>
                    </a:cubicBezTo>
                    <a:cubicBezTo>
                      <a:pt x="222" y="672"/>
                      <a:pt x="221" y="672"/>
                      <a:pt x="219" y="673"/>
                    </a:cubicBezTo>
                    <a:cubicBezTo>
                      <a:pt x="215" y="675"/>
                      <a:pt x="211" y="677"/>
                      <a:pt x="205" y="675"/>
                    </a:cubicBezTo>
                    <a:cubicBezTo>
                      <a:pt x="199" y="673"/>
                      <a:pt x="190" y="675"/>
                      <a:pt x="185" y="677"/>
                    </a:cubicBezTo>
                    <a:cubicBezTo>
                      <a:pt x="184" y="677"/>
                      <a:pt x="183" y="677"/>
                      <a:pt x="183" y="677"/>
                    </a:cubicBezTo>
                    <a:close/>
                    <a:moveTo>
                      <a:pt x="223" y="607"/>
                    </a:moveTo>
                    <a:cubicBezTo>
                      <a:pt x="227" y="607"/>
                      <a:pt x="228" y="608"/>
                      <a:pt x="230" y="609"/>
                    </a:cubicBezTo>
                    <a:cubicBezTo>
                      <a:pt x="231" y="609"/>
                      <a:pt x="231" y="609"/>
                      <a:pt x="231" y="609"/>
                    </a:cubicBezTo>
                    <a:cubicBezTo>
                      <a:pt x="230" y="609"/>
                      <a:pt x="230" y="607"/>
                      <a:pt x="230" y="605"/>
                    </a:cubicBezTo>
                    <a:cubicBezTo>
                      <a:pt x="230" y="605"/>
                      <a:pt x="230" y="604"/>
                      <a:pt x="226" y="604"/>
                    </a:cubicBezTo>
                    <a:cubicBezTo>
                      <a:pt x="224" y="604"/>
                      <a:pt x="220" y="605"/>
                      <a:pt x="218" y="602"/>
                    </a:cubicBezTo>
                    <a:cubicBezTo>
                      <a:pt x="218" y="602"/>
                      <a:pt x="217" y="601"/>
                      <a:pt x="217" y="601"/>
                    </a:cubicBezTo>
                    <a:cubicBezTo>
                      <a:pt x="217" y="601"/>
                      <a:pt x="217" y="601"/>
                      <a:pt x="218" y="601"/>
                    </a:cubicBezTo>
                    <a:cubicBezTo>
                      <a:pt x="218" y="602"/>
                      <a:pt x="219" y="604"/>
                      <a:pt x="217" y="607"/>
                    </a:cubicBezTo>
                    <a:cubicBezTo>
                      <a:pt x="216" y="608"/>
                      <a:pt x="216" y="608"/>
                      <a:pt x="216" y="608"/>
                    </a:cubicBezTo>
                    <a:cubicBezTo>
                      <a:pt x="216" y="608"/>
                      <a:pt x="216" y="608"/>
                      <a:pt x="216" y="608"/>
                    </a:cubicBezTo>
                    <a:cubicBezTo>
                      <a:pt x="216" y="608"/>
                      <a:pt x="216" y="608"/>
                      <a:pt x="217" y="608"/>
                    </a:cubicBezTo>
                    <a:cubicBezTo>
                      <a:pt x="219" y="608"/>
                      <a:pt x="221" y="607"/>
                      <a:pt x="223" y="607"/>
                    </a:cubicBezTo>
                    <a:close/>
                    <a:moveTo>
                      <a:pt x="213" y="603"/>
                    </a:moveTo>
                    <a:cubicBezTo>
                      <a:pt x="213" y="603"/>
                      <a:pt x="213" y="603"/>
                      <a:pt x="213" y="603"/>
                    </a:cubicBezTo>
                    <a:close/>
                    <a:moveTo>
                      <a:pt x="1565" y="130"/>
                    </a:moveTo>
                    <a:cubicBezTo>
                      <a:pt x="1553" y="130"/>
                      <a:pt x="1551" y="121"/>
                      <a:pt x="1549" y="113"/>
                    </a:cubicBezTo>
                    <a:cubicBezTo>
                      <a:pt x="1549" y="111"/>
                      <a:pt x="1548" y="109"/>
                      <a:pt x="1548" y="107"/>
                    </a:cubicBezTo>
                    <a:cubicBezTo>
                      <a:pt x="1546" y="100"/>
                      <a:pt x="1545" y="95"/>
                      <a:pt x="1548" y="92"/>
                    </a:cubicBezTo>
                    <a:cubicBezTo>
                      <a:pt x="1551" y="90"/>
                      <a:pt x="1551" y="87"/>
                      <a:pt x="1550" y="86"/>
                    </a:cubicBezTo>
                    <a:cubicBezTo>
                      <a:pt x="1549" y="84"/>
                      <a:pt x="1543" y="84"/>
                      <a:pt x="1536" y="86"/>
                    </a:cubicBezTo>
                    <a:cubicBezTo>
                      <a:pt x="1535" y="86"/>
                      <a:pt x="1535" y="86"/>
                      <a:pt x="1535" y="86"/>
                    </a:cubicBezTo>
                    <a:cubicBezTo>
                      <a:pt x="1532" y="87"/>
                      <a:pt x="1529" y="88"/>
                      <a:pt x="1526" y="87"/>
                    </a:cubicBezTo>
                    <a:cubicBezTo>
                      <a:pt x="1525" y="86"/>
                      <a:pt x="1524" y="85"/>
                      <a:pt x="1524" y="83"/>
                    </a:cubicBezTo>
                    <a:cubicBezTo>
                      <a:pt x="1524" y="82"/>
                      <a:pt x="1521" y="82"/>
                      <a:pt x="1520" y="82"/>
                    </a:cubicBezTo>
                    <a:cubicBezTo>
                      <a:pt x="1518" y="82"/>
                      <a:pt x="1515" y="81"/>
                      <a:pt x="1513" y="80"/>
                    </a:cubicBezTo>
                    <a:cubicBezTo>
                      <a:pt x="1511" y="79"/>
                      <a:pt x="1509" y="80"/>
                      <a:pt x="1506" y="83"/>
                    </a:cubicBezTo>
                    <a:cubicBezTo>
                      <a:pt x="1505" y="83"/>
                      <a:pt x="1504" y="84"/>
                      <a:pt x="1503" y="84"/>
                    </a:cubicBezTo>
                    <a:cubicBezTo>
                      <a:pt x="1498" y="88"/>
                      <a:pt x="1491" y="86"/>
                      <a:pt x="1489" y="85"/>
                    </a:cubicBezTo>
                    <a:cubicBezTo>
                      <a:pt x="1487" y="85"/>
                      <a:pt x="1478" y="84"/>
                      <a:pt x="1468" y="79"/>
                    </a:cubicBezTo>
                    <a:cubicBezTo>
                      <a:pt x="1466" y="78"/>
                      <a:pt x="1464" y="77"/>
                      <a:pt x="1462" y="76"/>
                    </a:cubicBezTo>
                    <a:cubicBezTo>
                      <a:pt x="1454" y="72"/>
                      <a:pt x="1446" y="68"/>
                      <a:pt x="1442" y="59"/>
                    </a:cubicBezTo>
                    <a:cubicBezTo>
                      <a:pt x="1441" y="55"/>
                      <a:pt x="1440" y="53"/>
                      <a:pt x="1439" y="51"/>
                    </a:cubicBezTo>
                    <a:cubicBezTo>
                      <a:pt x="1436" y="48"/>
                      <a:pt x="1435" y="45"/>
                      <a:pt x="1439" y="40"/>
                    </a:cubicBezTo>
                    <a:cubicBezTo>
                      <a:pt x="1440" y="38"/>
                      <a:pt x="1440" y="38"/>
                      <a:pt x="1440" y="38"/>
                    </a:cubicBezTo>
                    <a:cubicBezTo>
                      <a:pt x="1440" y="37"/>
                      <a:pt x="1441" y="36"/>
                      <a:pt x="1441" y="36"/>
                    </a:cubicBezTo>
                    <a:cubicBezTo>
                      <a:pt x="1441" y="36"/>
                      <a:pt x="1440" y="35"/>
                      <a:pt x="1440" y="35"/>
                    </a:cubicBezTo>
                    <a:cubicBezTo>
                      <a:pt x="1438" y="34"/>
                      <a:pt x="1437" y="34"/>
                      <a:pt x="1435" y="32"/>
                    </a:cubicBezTo>
                    <a:cubicBezTo>
                      <a:pt x="1433" y="31"/>
                      <a:pt x="1432" y="30"/>
                      <a:pt x="1431" y="30"/>
                    </a:cubicBezTo>
                    <a:cubicBezTo>
                      <a:pt x="1425" y="27"/>
                      <a:pt x="1423" y="25"/>
                      <a:pt x="1420" y="20"/>
                    </a:cubicBezTo>
                    <a:cubicBezTo>
                      <a:pt x="1417" y="14"/>
                      <a:pt x="1406" y="3"/>
                      <a:pt x="1406" y="3"/>
                    </a:cubicBezTo>
                    <a:cubicBezTo>
                      <a:pt x="1409" y="0"/>
                      <a:pt x="1409" y="0"/>
                      <a:pt x="1409" y="0"/>
                    </a:cubicBezTo>
                    <a:cubicBezTo>
                      <a:pt x="1410" y="0"/>
                      <a:pt x="1421" y="11"/>
                      <a:pt x="1424" y="18"/>
                    </a:cubicBezTo>
                    <a:cubicBezTo>
                      <a:pt x="1427" y="22"/>
                      <a:pt x="1428" y="23"/>
                      <a:pt x="1433" y="26"/>
                    </a:cubicBezTo>
                    <a:cubicBezTo>
                      <a:pt x="1434" y="26"/>
                      <a:pt x="1436" y="27"/>
                      <a:pt x="1437" y="28"/>
                    </a:cubicBezTo>
                    <a:cubicBezTo>
                      <a:pt x="1439" y="29"/>
                      <a:pt x="1441" y="30"/>
                      <a:pt x="1442" y="31"/>
                    </a:cubicBezTo>
                    <a:cubicBezTo>
                      <a:pt x="1444" y="32"/>
                      <a:pt x="1445" y="33"/>
                      <a:pt x="1446" y="34"/>
                    </a:cubicBezTo>
                    <a:cubicBezTo>
                      <a:pt x="1446" y="36"/>
                      <a:pt x="1445" y="38"/>
                      <a:pt x="1444" y="40"/>
                    </a:cubicBezTo>
                    <a:cubicBezTo>
                      <a:pt x="1443" y="42"/>
                      <a:pt x="1443" y="42"/>
                      <a:pt x="1443" y="42"/>
                    </a:cubicBezTo>
                    <a:cubicBezTo>
                      <a:pt x="1441" y="46"/>
                      <a:pt x="1441" y="46"/>
                      <a:pt x="1443" y="49"/>
                    </a:cubicBezTo>
                    <a:cubicBezTo>
                      <a:pt x="1444" y="51"/>
                      <a:pt x="1445" y="53"/>
                      <a:pt x="1447" y="57"/>
                    </a:cubicBezTo>
                    <a:cubicBezTo>
                      <a:pt x="1449" y="65"/>
                      <a:pt x="1457" y="68"/>
                      <a:pt x="1464" y="72"/>
                    </a:cubicBezTo>
                    <a:cubicBezTo>
                      <a:pt x="1467" y="73"/>
                      <a:pt x="1469" y="74"/>
                      <a:pt x="1471" y="75"/>
                    </a:cubicBezTo>
                    <a:cubicBezTo>
                      <a:pt x="1480" y="80"/>
                      <a:pt x="1489" y="80"/>
                      <a:pt x="1490" y="80"/>
                    </a:cubicBezTo>
                    <a:cubicBezTo>
                      <a:pt x="1490" y="80"/>
                      <a:pt x="1490" y="80"/>
                      <a:pt x="1490" y="80"/>
                    </a:cubicBezTo>
                    <a:cubicBezTo>
                      <a:pt x="1490" y="80"/>
                      <a:pt x="1490" y="80"/>
                      <a:pt x="1490" y="80"/>
                    </a:cubicBezTo>
                    <a:cubicBezTo>
                      <a:pt x="1492" y="81"/>
                      <a:pt x="1497" y="82"/>
                      <a:pt x="1501" y="80"/>
                    </a:cubicBezTo>
                    <a:cubicBezTo>
                      <a:pt x="1502" y="80"/>
                      <a:pt x="1502" y="79"/>
                      <a:pt x="1503" y="79"/>
                    </a:cubicBezTo>
                    <a:cubicBezTo>
                      <a:pt x="1507" y="76"/>
                      <a:pt x="1511" y="74"/>
                      <a:pt x="1515" y="76"/>
                    </a:cubicBezTo>
                    <a:cubicBezTo>
                      <a:pt x="1517" y="77"/>
                      <a:pt x="1519" y="77"/>
                      <a:pt x="1520" y="77"/>
                    </a:cubicBezTo>
                    <a:cubicBezTo>
                      <a:pt x="1524" y="78"/>
                      <a:pt x="1528" y="78"/>
                      <a:pt x="1529" y="82"/>
                    </a:cubicBezTo>
                    <a:cubicBezTo>
                      <a:pt x="1529" y="83"/>
                      <a:pt x="1529" y="83"/>
                      <a:pt x="1529" y="83"/>
                    </a:cubicBezTo>
                    <a:cubicBezTo>
                      <a:pt x="1529" y="83"/>
                      <a:pt x="1532" y="82"/>
                      <a:pt x="1534" y="82"/>
                    </a:cubicBezTo>
                    <a:cubicBezTo>
                      <a:pt x="1535" y="82"/>
                      <a:pt x="1535" y="82"/>
                      <a:pt x="1535" y="82"/>
                    </a:cubicBezTo>
                    <a:cubicBezTo>
                      <a:pt x="1539" y="81"/>
                      <a:pt x="1552" y="78"/>
                      <a:pt x="1554" y="84"/>
                    </a:cubicBezTo>
                    <a:cubicBezTo>
                      <a:pt x="1555" y="87"/>
                      <a:pt x="1556" y="91"/>
                      <a:pt x="1551" y="96"/>
                    </a:cubicBezTo>
                    <a:cubicBezTo>
                      <a:pt x="1550" y="97"/>
                      <a:pt x="1551" y="102"/>
                      <a:pt x="1552" y="106"/>
                    </a:cubicBezTo>
                    <a:cubicBezTo>
                      <a:pt x="1553" y="108"/>
                      <a:pt x="1553" y="110"/>
                      <a:pt x="1554" y="112"/>
                    </a:cubicBezTo>
                    <a:cubicBezTo>
                      <a:pt x="1556" y="121"/>
                      <a:pt x="1557" y="126"/>
                      <a:pt x="1565" y="126"/>
                    </a:cubicBezTo>
                    <a:cubicBezTo>
                      <a:pt x="1573" y="126"/>
                      <a:pt x="1574" y="122"/>
                      <a:pt x="1574" y="119"/>
                    </a:cubicBezTo>
                    <a:cubicBezTo>
                      <a:pt x="1574" y="118"/>
                      <a:pt x="1571" y="113"/>
                      <a:pt x="1569" y="111"/>
                    </a:cubicBezTo>
                    <a:cubicBezTo>
                      <a:pt x="1568" y="110"/>
                      <a:pt x="1568" y="109"/>
                      <a:pt x="1567" y="109"/>
                    </a:cubicBezTo>
                    <a:cubicBezTo>
                      <a:pt x="1566" y="108"/>
                      <a:pt x="1565" y="105"/>
                      <a:pt x="1565" y="103"/>
                    </a:cubicBezTo>
                    <a:cubicBezTo>
                      <a:pt x="1565" y="102"/>
                      <a:pt x="1566" y="101"/>
                      <a:pt x="1567" y="100"/>
                    </a:cubicBezTo>
                    <a:cubicBezTo>
                      <a:pt x="1570" y="99"/>
                      <a:pt x="1572" y="99"/>
                      <a:pt x="1573" y="99"/>
                    </a:cubicBezTo>
                    <a:cubicBezTo>
                      <a:pt x="1573" y="99"/>
                      <a:pt x="1573" y="99"/>
                      <a:pt x="1573" y="99"/>
                    </a:cubicBezTo>
                    <a:cubicBezTo>
                      <a:pt x="1573" y="98"/>
                      <a:pt x="1573" y="98"/>
                      <a:pt x="1573" y="97"/>
                    </a:cubicBezTo>
                    <a:cubicBezTo>
                      <a:pt x="1573" y="92"/>
                      <a:pt x="1576" y="88"/>
                      <a:pt x="1583" y="86"/>
                    </a:cubicBezTo>
                    <a:cubicBezTo>
                      <a:pt x="1587" y="84"/>
                      <a:pt x="1594" y="84"/>
                      <a:pt x="1600" y="83"/>
                    </a:cubicBezTo>
                    <a:cubicBezTo>
                      <a:pt x="1605" y="83"/>
                      <a:pt x="1611" y="82"/>
                      <a:pt x="1613" y="81"/>
                    </a:cubicBezTo>
                    <a:cubicBezTo>
                      <a:pt x="1615" y="80"/>
                      <a:pt x="1615" y="80"/>
                      <a:pt x="1615" y="80"/>
                    </a:cubicBezTo>
                    <a:cubicBezTo>
                      <a:pt x="1619" y="78"/>
                      <a:pt x="1623" y="76"/>
                      <a:pt x="1631" y="74"/>
                    </a:cubicBezTo>
                    <a:cubicBezTo>
                      <a:pt x="1639" y="72"/>
                      <a:pt x="1649" y="70"/>
                      <a:pt x="1658" y="67"/>
                    </a:cubicBezTo>
                    <a:cubicBezTo>
                      <a:pt x="1660" y="67"/>
                      <a:pt x="1660" y="67"/>
                      <a:pt x="1660" y="67"/>
                    </a:cubicBezTo>
                    <a:cubicBezTo>
                      <a:pt x="1666" y="65"/>
                      <a:pt x="1676" y="62"/>
                      <a:pt x="1678" y="58"/>
                    </a:cubicBezTo>
                    <a:cubicBezTo>
                      <a:pt x="1680" y="55"/>
                      <a:pt x="1678" y="44"/>
                      <a:pt x="1677" y="39"/>
                    </a:cubicBezTo>
                    <a:cubicBezTo>
                      <a:pt x="1677" y="38"/>
                      <a:pt x="1677" y="38"/>
                      <a:pt x="1677" y="38"/>
                    </a:cubicBezTo>
                    <a:cubicBezTo>
                      <a:pt x="1676" y="36"/>
                      <a:pt x="1677" y="35"/>
                      <a:pt x="1678" y="34"/>
                    </a:cubicBezTo>
                    <a:cubicBezTo>
                      <a:pt x="1679" y="34"/>
                      <a:pt x="1680" y="33"/>
                      <a:pt x="1683" y="34"/>
                    </a:cubicBezTo>
                    <a:cubicBezTo>
                      <a:pt x="1687" y="35"/>
                      <a:pt x="1692" y="40"/>
                      <a:pt x="1693" y="44"/>
                    </a:cubicBezTo>
                    <a:cubicBezTo>
                      <a:pt x="1693" y="48"/>
                      <a:pt x="1695" y="51"/>
                      <a:pt x="1696" y="51"/>
                    </a:cubicBezTo>
                    <a:cubicBezTo>
                      <a:pt x="1697" y="51"/>
                      <a:pt x="1697" y="52"/>
                      <a:pt x="1699" y="51"/>
                    </a:cubicBezTo>
                    <a:cubicBezTo>
                      <a:pt x="1701" y="48"/>
                      <a:pt x="1704" y="48"/>
                      <a:pt x="1707" y="48"/>
                    </a:cubicBezTo>
                    <a:cubicBezTo>
                      <a:pt x="1709" y="47"/>
                      <a:pt x="1712" y="47"/>
                      <a:pt x="1716" y="45"/>
                    </a:cubicBezTo>
                    <a:cubicBezTo>
                      <a:pt x="1718" y="44"/>
                      <a:pt x="1720" y="43"/>
                      <a:pt x="1721" y="42"/>
                    </a:cubicBezTo>
                    <a:cubicBezTo>
                      <a:pt x="1728" y="38"/>
                      <a:pt x="1736" y="34"/>
                      <a:pt x="1742" y="37"/>
                    </a:cubicBezTo>
                    <a:cubicBezTo>
                      <a:pt x="1746" y="39"/>
                      <a:pt x="1752" y="37"/>
                      <a:pt x="1757" y="35"/>
                    </a:cubicBezTo>
                    <a:cubicBezTo>
                      <a:pt x="1760" y="34"/>
                      <a:pt x="1763" y="33"/>
                      <a:pt x="1766" y="33"/>
                    </a:cubicBezTo>
                    <a:cubicBezTo>
                      <a:pt x="1773" y="31"/>
                      <a:pt x="1782" y="24"/>
                      <a:pt x="1787" y="18"/>
                    </a:cubicBezTo>
                    <a:cubicBezTo>
                      <a:pt x="1788" y="16"/>
                      <a:pt x="1790" y="15"/>
                      <a:pt x="1791" y="13"/>
                    </a:cubicBezTo>
                    <a:cubicBezTo>
                      <a:pt x="1794" y="9"/>
                      <a:pt x="1796" y="5"/>
                      <a:pt x="1801" y="4"/>
                    </a:cubicBezTo>
                    <a:cubicBezTo>
                      <a:pt x="1803" y="4"/>
                      <a:pt x="1805" y="4"/>
                      <a:pt x="1806" y="4"/>
                    </a:cubicBezTo>
                    <a:cubicBezTo>
                      <a:pt x="1809" y="4"/>
                      <a:pt x="1811" y="5"/>
                      <a:pt x="1815" y="1"/>
                    </a:cubicBezTo>
                    <a:cubicBezTo>
                      <a:pt x="1818" y="5"/>
                      <a:pt x="1818" y="5"/>
                      <a:pt x="1818" y="5"/>
                    </a:cubicBezTo>
                    <a:cubicBezTo>
                      <a:pt x="1812" y="9"/>
                      <a:pt x="1809" y="9"/>
                      <a:pt x="1806" y="9"/>
                    </a:cubicBezTo>
                    <a:cubicBezTo>
                      <a:pt x="1804" y="9"/>
                      <a:pt x="1803" y="9"/>
                      <a:pt x="1802" y="9"/>
                    </a:cubicBezTo>
                    <a:cubicBezTo>
                      <a:pt x="1801" y="9"/>
                      <a:pt x="1800" y="10"/>
                      <a:pt x="1799" y="10"/>
                    </a:cubicBezTo>
                    <a:cubicBezTo>
                      <a:pt x="1801" y="10"/>
                      <a:pt x="1802" y="12"/>
                      <a:pt x="1802" y="13"/>
                    </a:cubicBezTo>
                    <a:cubicBezTo>
                      <a:pt x="1802" y="15"/>
                      <a:pt x="1801" y="16"/>
                      <a:pt x="1799" y="16"/>
                    </a:cubicBezTo>
                    <a:cubicBezTo>
                      <a:pt x="1798" y="16"/>
                      <a:pt x="1796" y="15"/>
                      <a:pt x="1796" y="13"/>
                    </a:cubicBezTo>
                    <a:cubicBezTo>
                      <a:pt x="1796" y="14"/>
                      <a:pt x="1795" y="15"/>
                      <a:pt x="1795" y="16"/>
                    </a:cubicBezTo>
                    <a:cubicBezTo>
                      <a:pt x="1793" y="17"/>
                      <a:pt x="1792" y="19"/>
                      <a:pt x="1791" y="21"/>
                    </a:cubicBezTo>
                    <a:cubicBezTo>
                      <a:pt x="1788" y="24"/>
                      <a:pt x="1778" y="35"/>
                      <a:pt x="1767" y="37"/>
                    </a:cubicBezTo>
                    <a:cubicBezTo>
                      <a:pt x="1764" y="38"/>
                      <a:pt x="1761" y="39"/>
                      <a:pt x="1759" y="40"/>
                    </a:cubicBezTo>
                    <a:cubicBezTo>
                      <a:pt x="1752" y="42"/>
                      <a:pt x="1746" y="44"/>
                      <a:pt x="1740" y="41"/>
                    </a:cubicBezTo>
                    <a:cubicBezTo>
                      <a:pt x="1736" y="39"/>
                      <a:pt x="1730" y="42"/>
                      <a:pt x="1723" y="46"/>
                    </a:cubicBezTo>
                    <a:cubicBezTo>
                      <a:pt x="1722" y="47"/>
                      <a:pt x="1720" y="48"/>
                      <a:pt x="1719" y="49"/>
                    </a:cubicBezTo>
                    <a:cubicBezTo>
                      <a:pt x="1714" y="51"/>
                      <a:pt x="1710" y="52"/>
                      <a:pt x="1708" y="52"/>
                    </a:cubicBezTo>
                    <a:cubicBezTo>
                      <a:pt x="1705" y="53"/>
                      <a:pt x="1703" y="53"/>
                      <a:pt x="1701" y="54"/>
                    </a:cubicBezTo>
                    <a:cubicBezTo>
                      <a:pt x="1699" y="56"/>
                      <a:pt x="1697" y="56"/>
                      <a:pt x="1695" y="55"/>
                    </a:cubicBezTo>
                    <a:cubicBezTo>
                      <a:pt x="1691" y="54"/>
                      <a:pt x="1689" y="50"/>
                      <a:pt x="1688" y="45"/>
                    </a:cubicBezTo>
                    <a:cubicBezTo>
                      <a:pt x="1688" y="42"/>
                      <a:pt x="1684" y="39"/>
                      <a:pt x="1681" y="38"/>
                    </a:cubicBezTo>
                    <a:cubicBezTo>
                      <a:pt x="1681" y="39"/>
                      <a:pt x="1681" y="39"/>
                      <a:pt x="1681" y="39"/>
                    </a:cubicBezTo>
                    <a:cubicBezTo>
                      <a:pt x="1683" y="47"/>
                      <a:pt x="1685" y="56"/>
                      <a:pt x="1682" y="61"/>
                    </a:cubicBezTo>
                    <a:cubicBezTo>
                      <a:pt x="1679" y="65"/>
                      <a:pt x="1670" y="68"/>
                      <a:pt x="1661" y="71"/>
                    </a:cubicBezTo>
                    <a:cubicBezTo>
                      <a:pt x="1659" y="72"/>
                      <a:pt x="1659" y="72"/>
                      <a:pt x="1659" y="72"/>
                    </a:cubicBezTo>
                    <a:cubicBezTo>
                      <a:pt x="1650" y="74"/>
                      <a:pt x="1640" y="77"/>
                      <a:pt x="1632" y="79"/>
                    </a:cubicBezTo>
                    <a:cubicBezTo>
                      <a:pt x="1625" y="81"/>
                      <a:pt x="1621" y="82"/>
                      <a:pt x="1617" y="84"/>
                    </a:cubicBezTo>
                    <a:cubicBezTo>
                      <a:pt x="1615" y="85"/>
                      <a:pt x="1615" y="85"/>
                      <a:pt x="1615" y="85"/>
                    </a:cubicBezTo>
                    <a:cubicBezTo>
                      <a:pt x="1612" y="87"/>
                      <a:pt x="1607" y="87"/>
                      <a:pt x="1600" y="88"/>
                    </a:cubicBezTo>
                    <a:cubicBezTo>
                      <a:pt x="1594" y="88"/>
                      <a:pt x="1588" y="89"/>
                      <a:pt x="1585" y="90"/>
                    </a:cubicBezTo>
                    <a:cubicBezTo>
                      <a:pt x="1580" y="92"/>
                      <a:pt x="1578" y="94"/>
                      <a:pt x="1578" y="96"/>
                    </a:cubicBezTo>
                    <a:cubicBezTo>
                      <a:pt x="1578" y="99"/>
                      <a:pt x="1578" y="101"/>
                      <a:pt x="1577" y="102"/>
                    </a:cubicBezTo>
                    <a:cubicBezTo>
                      <a:pt x="1576" y="103"/>
                      <a:pt x="1574" y="103"/>
                      <a:pt x="1573" y="103"/>
                    </a:cubicBezTo>
                    <a:cubicBezTo>
                      <a:pt x="1572" y="103"/>
                      <a:pt x="1571" y="104"/>
                      <a:pt x="1570" y="104"/>
                    </a:cubicBezTo>
                    <a:cubicBezTo>
                      <a:pt x="1570" y="105"/>
                      <a:pt x="1570" y="105"/>
                      <a:pt x="1571" y="106"/>
                    </a:cubicBezTo>
                    <a:cubicBezTo>
                      <a:pt x="1571" y="106"/>
                      <a:pt x="1572" y="107"/>
                      <a:pt x="1573" y="108"/>
                    </a:cubicBezTo>
                    <a:cubicBezTo>
                      <a:pt x="1576" y="112"/>
                      <a:pt x="1579" y="116"/>
                      <a:pt x="1579" y="120"/>
                    </a:cubicBezTo>
                    <a:cubicBezTo>
                      <a:pt x="1578" y="123"/>
                      <a:pt x="1577" y="130"/>
                      <a:pt x="1565" y="130"/>
                    </a:cubicBezTo>
                    <a:close/>
                    <a:moveTo>
                      <a:pt x="1799" y="11"/>
                    </a:moveTo>
                    <a:cubicBezTo>
                      <a:pt x="1798" y="11"/>
                      <a:pt x="1797" y="12"/>
                      <a:pt x="1797" y="13"/>
                    </a:cubicBezTo>
                    <a:cubicBezTo>
                      <a:pt x="1797" y="14"/>
                      <a:pt x="1798" y="15"/>
                      <a:pt x="1799" y="15"/>
                    </a:cubicBezTo>
                    <a:cubicBezTo>
                      <a:pt x="1800" y="15"/>
                      <a:pt x="1801" y="14"/>
                      <a:pt x="1801" y="13"/>
                    </a:cubicBezTo>
                    <a:cubicBezTo>
                      <a:pt x="1801" y="12"/>
                      <a:pt x="1800" y="11"/>
                      <a:pt x="1799" y="11"/>
                    </a:cubicBezTo>
                    <a:close/>
                    <a:moveTo>
                      <a:pt x="1579" y="107"/>
                    </a:moveTo>
                    <a:cubicBezTo>
                      <a:pt x="1578" y="107"/>
                      <a:pt x="1576" y="106"/>
                      <a:pt x="1576" y="104"/>
                    </a:cubicBezTo>
                    <a:cubicBezTo>
                      <a:pt x="1576" y="103"/>
                      <a:pt x="1578" y="101"/>
                      <a:pt x="1579" y="101"/>
                    </a:cubicBezTo>
                    <a:cubicBezTo>
                      <a:pt x="1581" y="101"/>
                      <a:pt x="1582" y="103"/>
                      <a:pt x="1582" y="104"/>
                    </a:cubicBezTo>
                    <a:cubicBezTo>
                      <a:pt x="1582" y="106"/>
                      <a:pt x="1581" y="107"/>
                      <a:pt x="1579" y="107"/>
                    </a:cubicBezTo>
                    <a:close/>
                    <a:moveTo>
                      <a:pt x="1579" y="102"/>
                    </a:moveTo>
                    <a:cubicBezTo>
                      <a:pt x="1578" y="102"/>
                      <a:pt x="1577" y="103"/>
                      <a:pt x="1577" y="104"/>
                    </a:cubicBezTo>
                    <a:cubicBezTo>
                      <a:pt x="1577" y="105"/>
                      <a:pt x="1578" y="106"/>
                      <a:pt x="1579" y="106"/>
                    </a:cubicBezTo>
                    <a:cubicBezTo>
                      <a:pt x="1580" y="106"/>
                      <a:pt x="1581" y="105"/>
                      <a:pt x="1581" y="104"/>
                    </a:cubicBezTo>
                    <a:cubicBezTo>
                      <a:pt x="1581" y="103"/>
                      <a:pt x="1580" y="102"/>
                      <a:pt x="1579" y="102"/>
                    </a:cubicBezTo>
                    <a:close/>
                    <a:moveTo>
                      <a:pt x="1526" y="103"/>
                    </a:moveTo>
                    <a:cubicBezTo>
                      <a:pt x="1524" y="103"/>
                      <a:pt x="1523" y="102"/>
                      <a:pt x="1523" y="100"/>
                    </a:cubicBezTo>
                    <a:cubicBezTo>
                      <a:pt x="1523" y="98"/>
                      <a:pt x="1525" y="97"/>
                      <a:pt x="1527" y="97"/>
                    </a:cubicBezTo>
                    <a:cubicBezTo>
                      <a:pt x="1526" y="97"/>
                      <a:pt x="1526" y="97"/>
                      <a:pt x="1526" y="96"/>
                    </a:cubicBezTo>
                    <a:cubicBezTo>
                      <a:pt x="1526" y="95"/>
                      <a:pt x="1528" y="93"/>
                      <a:pt x="1529" y="93"/>
                    </a:cubicBezTo>
                    <a:cubicBezTo>
                      <a:pt x="1531" y="93"/>
                      <a:pt x="1532" y="95"/>
                      <a:pt x="1532" y="96"/>
                    </a:cubicBezTo>
                    <a:cubicBezTo>
                      <a:pt x="1532" y="98"/>
                      <a:pt x="1530" y="99"/>
                      <a:pt x="1529" y="99"/>
                    </a:cubicBezTo>
                    <a:cubicBezTo>
                      <a:pt x="1529" y="99"/>
                      <a:pt x="1529" y="100"/>
                      <a:pt x="1529" y="100"/>
                    </a:cubicBezTo>
                    <a:cubicBezTo>
                      <a:pt x="1529" y="102"/>
                      <a:pt x="1528" y="103"/>
                      <a:pt x="1526" y="103"/>
                    </a:cubicBezTo>
                    <a:close/>
                    <a:moveTo>
                      <a:pt x="1526" y="98"/>
                    </a:moveTo>
                    <a:cubicBezTo>
                      <a:pt x="1525" y="98"/>
                      <a:pt x="1524" y="99"/>
                      <a:pt x="1524" y="100"/>
                    </a:cubicBezTo>
                    <a:cubicBezTo>
                      <a:pt x="1524" y="101"/>
                      <a:pt x="1525" y="102"/>
                      <a:pt x="1526" y="102"/>
                    </a:cubicBezTo>
                    <a:cubicBezTo>
                      <a:pt x="1527" y="102"/>
                      <a:pt x="1528" y="101"/>
                      <a:pt x="1528" y="100"/>
                    </a:cubicBezTo>
                    <a:cubicBezTo>
                      <a:pt x="1528" y="99"/>
                      <a:pt x="1527" y="98"/>
                      <a:pt x="1526" y="98"/>
                    </a:cubicBezTo>
                    <a:close/>
                    <a:moveTo>
                      <a:pt x="1529" y="94"/>
                    </a:moveTo>
                    <a:cubicBezTo>
                      <a:pt x="1528" y="94"/>
                      <a:pt x="1527" y="95"/>
                      <a:pt x="1527" y="96"/>
                    </a:cubicBezTo>
                    <a:cubicBezTo>
                      <a:pt x="1527" y="97"/>
                      <a:pt x="1528" y="98"/>
                      <a:pt x="1529" y="98"/>
                    </a:cubicBezTo>
                    <a:cubicBezTo>
                      <a:pt x="1530" y="98"/>
                      <a:pt x="1531" y="97"/>
                      <a:pt x="1531" y="96"/>
                    </a:cubicBezTo>
                    <a:cubicBezTo>
                      <a:pt x="1531" y="95"/>
                      <a:pt x="1530" y="94"/>
                      <a:pt x="1529" y="94"/>
                    </a:cubicBezTo>
                    <a:close/>
                    <a:moveTo>
                      <a:pt x="1524" y="94"/>
                    </a:moveTo>
                    <a:cubicBezTo>
                      <a:pt x="1523" y="94"/>
                      <a:pt x="1521" y="92"/>
                      <a:pt x="1521" y="91"/>
                    </a:cubicBezTo>
                    <a:cubicBezTo>
                      <a:pt x="1521" y="89"/>
                      <a:pt x="1523" y="88"/>
                      <a:pt x="1524" y="88"/>
                    </a:cubicBezTo>
                    <a:cubicBezTo>
                      <a:pt x="1526" y="88"/>
                      <a:pt x="1527" y="89"/>
                      <a:pt x="1527" y="91"/>
                    </a:cubicBezTo>
                    <a:cubicBezTo>
                      <a:pt x="1527" y="92"/>
                      <a:pt x="1526" y="94"/>
                      <a:pt x="1524" y="94"/>
                    </a:cubicBezTo>
                    <a:close/>
                    <a:moveTo>
                      <a:pt x="1524" y="89"/>
                    </a:moveTo>
                    <a:cubicBezTo>
                      <a:pt x="1523" y="89"/>
                      <a:pt x="1522" y="90"/>
                      <a:pt x="1522" y="91"/>
                    </a:cubicBezTo>
                    <a:cubicBezTo>
                      <a:pt x="1522" y="92"/>
                      <a:pt x="1523" y="93"/>
                      <a:pt x="1524" y="93"/>
                    </a:cubicBezTo>
                    <a:cubicBezTo>
                      <a:pt x="1525" y="93"/>
                      <a:pt x="1526" y="92"/>
                      <a:pt x="1526" y="91"/>
                    </a:cubicBezTo>
                    <a:cubicBezTo>
                      <a:pt x="1526" y="90"/>
                      <a:pt x="1525" y="89"/>
                      <a:pt x="1524" y="89"/>
                    </a:cubicBezTo>
                    <a:close/>
                    <a:moveTo>
                      <a:pt x="1929" y="67"/>
                    </a:moveTo>
                    <a:cubicBezTo>
                      <a:pt x="1929" y="67"/>
                      <a:pt x="1928" y="67"/>
                      <a:pt x="1927" y="67"/>
                    </a:cubicBezTo>
                    <a:cubicBezTo>
                      <a:pt x="1925" y="66"/>
                      <a:pt x="1923" y="64"/>
                      <a:pt x="1924" y="59"/>
                    </a:cubicBezTo>
                    <a:cubicBezTo>
                      <a:pt x="1925" y="56"/>
                      <a:pt x="1918" y="51"/>
                      <a:pt x="1916" y="49"/>
                    </a:cubicBezTo>
                    <a:cubicBezTo>
                      <a:pt x="1915" y="49"/>
                      <a:pt x="1915" y="49"/>
                      <a:pt x="1915" y="49"/>
                    </a:cubicBezTo>
                    <a:cubicBezTo>
                      <a:pt x="1911" y="46"/>
                      <a:pt x="1905" y="35"/>
                      <a:pt x="1904" y="31"/>
                    </a:cubicBezTo>
                    <a:cubicBezTo>
                      <a:pt x="1903" y="30"/>
                      <a:pt x="1903" y="30"/>
                      <a:pt x="1903" y="30"/>
                    </a:cubicBezTo>
                    <a:cubicBezTo>
                      <a:pt x="1901" y="25"/>
                      <a:pt x="1899" y="18"/>
                      <a:pt x="1900" y="14"/>
                    </a:cubicBezTo>
                    <a:cubicBezTo>
                      <a:pt x="1901" y="11"/>
                      <a:pt x="1901" y="4"/>
                      <a:pt x="1901" y="2"/>
                    </a:cubicBezTo>
                    <a:cubicBezTo>
                      <a:pt x="1905" y="2"/>
                      <a:pt x="1905" y="2"/>
                      <a:pt x="1905" y="2"/>
                    </a:cubicBezTo>
                    <a:cubicBezTo>
                      <a:pt x="1906" y="3"/>
                      <a:pt x="1906" y="11"/>
                      <a:pt x="1905" y="15"/>
                    </a:cubicBezTo>
                    <a:cubicBezTo>
                      <a:pt x="1904" y="18"/>
                      <a:pt x="1906" y="25"/>
                      <a:pt x="1907" y="28"/>
                    </a:cubicBezTo>
                    <a:cubicBezTo>
                      <a:pt x="1908" y="30"/>
                      <a:pt x="1908" y="30"/>
                      <a:pt x="1908" y="30"/>
                    </a:cubicBezTo>
                    <a:cubicBezTo>
                      <a:pt x="1909" y="33"/>
                      <a:pt x="1915" y="43"/>
                      <a:pt x="1918" y="45"/>
                    </a:cubicBezTo>
                    <a:cubicBezTo>
                      <a:pt x="1919" y="46"/>
                      <a:pt x="1919" y="46"/>
                      <a:pt x="1919" y="46"/>
                    </a:cubicBezTo>
                    <a:cubicBezTo>
                      <a:pt x="1923" y="49"/>
                      <a:pt x="1930" y="54"/>
                      <a:pt x="1929" y="60"/>
                    </a:cubicBezTo>
                    <a:cubicBezTo>
                      <a:pt x="1928" y="62"/>
                      <a:pt x="1929" y="62"/>
                      <a:pt x="1929" y="63"/>
                    </a:cubicBezTo>
                    <a:cubicBezTo>
                      <a:pt x="1930" y="62"/>
                      <a:pt x="1930" y="61"/>
                      <a:pt x="1929" y="60"/>
                    </a:cubicBezTo>
                    <a:cubicBezTo>
                      <a:pt x="1928" y="54"/>
                      <a:pt x="1928" y="45"/>
                      <a:pt x="1932" y="41"/>
                    </a:cubicBezTo>
                    <a:cubicBezTo>
                      <a:pt x="1935" y="39"/>
                      <a:pt x="1942" y="29"/>
                      <a:pt x="1945" y="19"/>
                    </a:cubicBezTo>
                    <a:cubicBezTo>
                      <a:pt x="1945" y="18"/>
                      <a:pt x="1946" y="16"/>
                      <a:pt x="1946" y="15"/>
                    </a:cubicBezTo>
                    <a:cubicBezTo>
                      <a:pt x="1948" y="10"/>
                      <a:pt x="1948" y="9"/>
                      <a:pt x="1948" y="2"/>
                    </a:cubicBezTo>
                    <a:cubicBezTo>
                      <a:pt x="1953" y="2"/>
                      <a:pt x="1953" y="2"/>
                      <a:pt x="1953" y="2"/>
                    </a:cubicBezTo>
                    <a:cubicBezTo>
                      <a:pt x="1953" y="10"/>
                      <a:pt x="1953" y="11"/>
                      <a:pt x="1951" y="17"/>
                    </a:cubicBezTo>
                    <a:cubicBezTo>
                      <a:pt x="1950" y="18"/>
                      <a:pt x="1950" y="19"/>
                      <a:pt x="1949" y="21"/>
                    </a:cubicBezTo>
                    <a:cubicBezTo>
                      <a:pt x="1946" y="31"/>
                      <a:pt x="1939" y="41"/>
                      <a:pt x="1935" y="45"/>
                    </a:cubicBezTo>
                    <a:cubicBezTo>
                      <a:pt x="1933" y="47"/>
                      <a:pt x="1933" y="54"/>
                      <a:pt x="1934" y="59"/>
                    </a:cubicBezTo>
                    <a:cubicBezTo>
                      <a:pt x="1935" y="64"/>
                      <a:pt x="1933" y="66"/>
                      <a:pt x="1932" y="67"/>
                    </a:cubicBezTo>
                    <a:cubicBezTo>
                      <a:pt x="1931" y="67"/>
                      <a:pt x="1930" y="67"/>
                      <a:pt x="1929" y="67"/>
                    </a:cubicBezTo>
                    <a:close/>
                    <a:moveTo>
                      <a:pt x="1930" y="63"/>
                    </a:moveTo>
                    <a:cubicBezTo>
                      <a:pt x="1930" y="63"/>
                      <a:pt x="1930" y="63"/>
                      <a:pt x="1930" y="63"/>
                    </a:cubicBezTo>
                    <a:cubicBezTo>
                      <a:pt x="1930" y="63"/>
                      <a:pt x="1930" y="63"/>
                      <a:pt x="1930" y="63"/>
                    </a:cubicBezTo>
                    <a:close/>
                    <a:moveTo>
                      <a:pt x="1956" y="63"/>
                    </a:moveTo>
                    <a:cubicBezTo>
                      <a:pt x="1955" y="63"/>
                      <a:pt x="1953" y="62"/>
                      <a:pt x="1953" y="60"/>
                    </a:cubicBezTo>
                    <a:cubicBezTo>
                      <a:pt x="1953" y="59"/>
                      <a:pt x="1955" y="57"/>
                      <a:pt x="1956" y="57"/>
                    </a:cubicBezTo>
                    <a:cubicBezTo>
                      <a:pt x="1958" y="57"/>
                      <a:pt x="1959" y="59"/>
                      <a:pt x="1959" y="60"/>
                    </a:cubicBezTo>
                    <a:cubicBezTo>
                      <a:pt x="1959" y="62"/>
                      <a:pt x="1958" y="63"/>
                      <a:pt x="1956" y="63"/>
                    </a:cubicBezTo>
                    <a:close/>
                    <a:moveTo>
                      <a:pt x="1956" y="58"/>
                    </a:moveTo>
                    <a:cubicBezTo>
                      <a:pt x="1955" y="58"/>
                      <a:pt x="1954" y="59"/>
                      <a:pt x="1954" y="60"/>
                    </a:cubicBezTo>
                    <a:cubicBezTo>
                      <a:pt x="1954" y="61"/>
                      <a:pt x="1955" y="62"/>
                      <a:pt x="1956" y="62"/>
                    </a:cubicBezTo>
                    <a:cubicBezTo>
                      <a:pt x="1957" y="62"/>
                      <a:pt x="1958" y="61"/>
                      <a:pt x="1958" y="60"/>
                    </a:cubicBezTo>
                    <a:cubicBezTo>
                      <a:pt x="1958" y="59"/>
                      <a:pt x="1957" y="58"/>
                      <a:pt x="1956" y="58"/>
                    </a:cubicBezTo>
                    <a:close/>
                    <a:moveTo>
                      <a:pt x="1949" y="41"/>
                    </a:moveTo>
                    <a:cubicBezTo>
                      <a:pt x="1947" y="41"/>
                      <a:pt x="1946" y="40"/>
                      <a:pt x="1946" y="38"/>
                    </a:cubicBezTo>
                    <a:cubicBezTo>
                      <a:pt x="1946" y="36"/>
                      <a:pt x="1947" y="35"/>
                      <a:pt x="1949" y="35"/>
                    </a:cubicBezTo>
                    <a:cubicBezTo>
                      <a:pt x="1950" y="35"/>
                      <a:pt x="1952" y="36"/>
                      <a:pt x="1952" y="38"/>
                    </a:cubicBezTo>
                    <a:cubicBezTo>
                      <a:pt x="1952" y="40"/>
                      <a:pt x="1950" y="41"/>
                      <a:pt x="1949" y="41"/>
                    </a:cubicBezTo>
                    <a:close/>
                    <a:moveTo>
                      <a:pt x="1949" y="36"/>
                    </a:moveTo>
                    <a:cubicBezTo>
                      <a:pt x="1948" y="36"/>
                      <a:pt x="1947" y="37"/>
                      <a:pt x="1947" y="38"/>
                    </a:cubicBezTo>
                    <a:cubicBezTo>
                      <a:pt x="1947" y="39"/>
                      <a:pt x="1948" y="40"/>
                      <a:pt x="1949" y="40"/>
                    </a:cubicBezTo>
                    <a:cubicBezTo>
                      <a:pt x="1950" y="40"/>
                      <a:pt x="1951" y="39"/>
                      <a:pt x="1951" y="38"/>
                    </a:cubicBezTo>
                    <a:cubicBezTo>
                      <a:pt x="1951" y="37"/>
                      <a:pt x="1950" y="36"/>
                      <a:pt x="1949" y="36"/>
                    </a:cubicBezTo>
                    <a:close/>
                    <a:moveTo>
                      <a:pt x="1876" y="29"/>
                    </a:moveTo>
                    <a:cubicBezTo>
                      <a:pt x="1874" y="29"/>
                      <a:pt x="1873" y="28"/>
                      <a:pt x="1873" y="26"/>
                    </a:cubicBezTo>
                    <a:cubicBezTo>
                      <a:pt x="1873" y="25"/>
                      <a:pt x="1874" y="23"/>
                      <a:pt x="1876" y="23"/>
                    </a:cubicBezTo>
                    <a:cubicBezTo>
                      <a:pt x="1877" y="23"/>
                      <a:pt x="1879" y="25"/>
                      <a:pt x="1879" y="26"/>
                    </a:cubicBezTo>
                    <a:cubicBezTo>
                      <a:pt x="1879" y="28"/>
                      <a:pt x="1877" y="29"/>
                      <a:pt x="1876" y="29"/>
                    </a:cubicBezTo>
                    <a:close/>
                    <a:moveTo>
                      <a:pt x="1876" y="24"/>
                    </a:moveTo>
                    <a:cubicBezTo>
                      <a:pt x="1875" y="24"/>
                      <a:pt x="1874" y="25"/>
                      <a:pt x="1874" y="26"/>
                    </a:cubicBezTo>
                    <a:cubicBezTo>
                      <a:pt x="1874" y="27"/>
                      <a:pt x="1875" y="28"/>
                      <a:pt x="1876" y="28"/>
                    </a:cubicBezTo>
                    <a:cubicBezTo>
                      <a:pt x="1877" y="28"/>
                      <a:pt x="1878" y="27"/>
                      <a:pt x="1878" y="26"/>
                    </a:cubicBezTo>
                    <a:cubicBezTo>
                      <a:pt x="1878" y="25"/>
                      <a:pt x="1877" y="24"/>
                      <a:pt x="1876" y="24"/>
                    </a:cubicBezTo>
                    <a:close/>
                    <a:moveTo>
                      <a:pt x="1873" y="22"/>
                    </a:moveTo>
                    <a:cubicBezTo>
                      <a:pt x="1871" y="22"/>
                      <a:pt x="1870" y="21"/>
                      <a:pt x="1870" y="19"/>
                    </a:cubicBezTo>
                    <a:cubicBezTo>
                      <a:pt x="1870" y="18"/>
                      <a:pt x="1871" y="16"/>
                      <a:pt x="1873" y="16"/>
                    </a:cubicBezTo>
                    <a:cubicBezTo>
                      <a:pt x="1874" y="16"/>
                      <a:pt x="1875" y="18"/>
                      <a:pt x="1875" y="19"/>
                    </a:cubicBezTo>
                    <a:cubicBezTo>
                      <a:pt x="1875" y="21"/>
                      <a:pt x="1874" y="22"/>
                      <a:pt x="1873" y="22"/>
                    </a:cubicBezTo>
                    <a:close/>
                    <a:moveTo>
                      <a:pt x="1873" y="17"/>
                    </a:moveTo>
                    <a:cubicBezTo>
                      <a:pt x="1872" y="17"/>
                      <a:pt x="1871" y="18"/>
                      <a:pt x="1871" y="19"/>
                    </a:cubicBezTo>
                    <a:cubicBezTo>
                      <a:pt x="1871" y="20"/>
                      <a:pt x="1872" y="21"/>
                      <a:pt x="1873" y="21"/>
                    </a:cubicBezTo>
                    <a:cubicBezTo>
                      <a:pt x="1874" y="21"/>
                      <a:pt x="1874" y="20"/>
                      <a:pt x="1874" y="19"/>
                    </a:cubicBezTo>
                    <a:cubicBezTo>
                      <a:pt x="1874" y="18"/>
                      <a:pt x="1874" y="17"/>
                      <a:pt x="1873" y="17"/>
                    </a:cubicBezTo>
                    <a:close/>
                    <a:moveTo>
                      <a:pt x="1884" y="12"/>
                    </a:moveTo>
                    <a:cubicBezTo>
                      <a:pt x="1882" y="12"/>
                      <a:pt x="1881" y="11"/>
                      <a:pt x="1881" y="9"/>
                    </a:cubicBezTo>
                    <a:cubicBezTo>
                      <a:pt x="1881" y="7"/>
                      <a:pt x="1882" y="6"/>
                      <a:pt x="1884" y="6"/>
                    </a:cubicBezTo>
                    <a:cubicBezTo>
                      <a:pt x="1886" y="6"/>
                      <a:pt x="1887" y="7"/>
                      <a:pt x="1887" y="9"/>
                    </a:cubicBezTo>
                    <a:cubicBezTo>
                      <a:pt x="1887" y="11"/>
                      <a:pt x="1886" y="12"/>
                      <a:pt x="1884" y="12"/>
                    </a:cubicBezTo>
                    <a:close/>
                    <a:moveTo>
                      <a:pt x="1884" y="7"/>
                    </a:moveTo>
                    <a:cubicBezTo>
                      <a:pt x="1883" y="7"/>
                      <a:pt x="1882" y="8"/>
                      <a:pt x="1882" y="9"/>
                    </a:cubicBezTo>
                    <a:cubicBezTo>
                      <a:pt x="1882" y="10"/>
                      <a:pt x="1883" y="11"/>
                      <a:pt x="1884" y="11"/>
                    </a:cubicBezTo>
                    <a:cubicBezTo>
                      <a:pt x="1885" y="11"/>
                      <a:pt x="1886" y="10"/>
                      <a:pt x="1886" y="9"/>
                    </a:cubicBezTo>
                    <a:cubicBezTo>
                      <a:pt x="1886" y="8"/>
                      <a:pt x="1885" y="7"/>
                      <a:pt x="1884" y="7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8" name="iṣlîďè"/>
              <p:cNvSpPr/>
              <p:nvPr/>
            </p:nvSpPr>
            <p:spPr bwMode="auto">
              <a:xfrm>
                <a:off x="8759825" y="4651375"/>
                <a:ext cx="25400" cy="33338"/>
              </a:xfrm>
              <a:custGeom>
                <a:avLst/>
                <a:gdLst>
                  <a:gd name="T0" fmla="*/ 11 w 12"/>
                  <a:gd name="T1" fmla="*/ 16 h 16"/>
                  <a:gd name="T2" fmla="*/ 12 w 12"/>
                  <a:gd name="T3" fmla="*/ 12 h 16"/>
                  <a:gd name="T4" fmla="*/ 11 w 12"/>
                  <a:gd name="T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6">
                    <a:moveTo>
                      <a:pt x="11" y="16"/>
                    </a:moveTo>
                    <a:cubicBezTo>
                      <a:pt x="12" y="16"/>
                      <a:pt x="12" y="14"/>
                      <a:pt x="12" y="12"/>
                    </a:cubicBezTo>
                    <a:cubicBezTo>
                      <a:pt x="12" y="0"/>
                      <a:pt x="0" y="15"/>
                      <a:pt x="11" y="16"/>
                    </a:cubicBezTo>
                    <a:close/>
                  </a:path>
                </a:pathLst>
              </a:custGeom>
              <a:solidFill>
                <a:srgbClr val="F4F6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9" name="îṧļîḋe"/>
              <p:cNvSpPr/>
              <p:nvPr/>
            </p:nvSpPr>
            <p:spPr bwMode="auto">
              <a:xfrm>
                <a:off x="8769350" y="4662488"/>
                <a:ext cx="22225" cy="26988"/>
              </a:xfrm>
              <a:custGeom>
                <a:avLst/>
                <a:gdLst>
                  <a:gd name="T0" fmla="*/ 7 w 11"/>
                  <a:gd name="T1" fmla="*/ 13 h 13"/>
                  <a:gd name="T2" fmla="*/ 7 w 11"/>
                  <a:gd name="T3" fmla="*/ 13 h 13"/>
                  <a:gd name="T4" fmla="*/ 7 w 11"/>
                  <a:gd name="T5" fmla="*/ 13 h 13"/>
                  <a:gd name="T6" fmla="*/ 0 w 11"/>
                  <a:gd name="T7" fmla="*/ 7 h 13"/>
                  <a:gd name="T8" fmla="*/ 6 w 11"/>
                  <a:gd name="T9" fmla="*/ 0 h 13"/>
                  <a:gd name="T10" fmla="*/ 6 w 11"/>
                  <a:gd name="T11" fmla="*/ 0 h 13"/>
                  <a:gd name="T12" fmla="*/ 11 w 11"/>
                  <a:gd name="T13" fmla="*/ 7 h 13"/>
                  <a:gd name="T14" fmla="*/ 9 w 11"/>
                  <a:gd name="T15" fmla="*/ 12 h 13"/>
                  <a:gd name="T16" fmla="*/ 7 w 11"/>
                  <a:gd name="T17" fmla="*/ 13 h 13"/>
                  <a:gd name="T18" fmla="*/ 6 w 11"/>
                  <a:gd name="T19" fmla="*/ 5 h 13"/>
                  <a:gd name="T20" fmla="*/ 5 w 11"/>
                  <a:gd name="T21" fmla="*/ 7 h 13"/>
                  <a:gd name="T22" fmla="*/ 6 w 11"/>
                  <a:gd name="T23" fmla="*/ 8 h 13"/>
                  <a:gd name="T24" fmla="*/ 6 w 11"/>
                  <a:gd name="T25" fmla="*/ 7 h 13"/>
                  <a:gd name="T26" fmla="*/ 6 w 11"/>
                  <a:gd name="T27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3">
                    <a:moveTo>
                      <a:pt x="7" y="13"/>
                    </a:moveTo>
                    <a:cubicBezTo>
                      <a:pt x="7" y="13"/>
                      <a:pt x="7" y="13"/>
                      <a:pt x="7" y="1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1" y="13"/>
                      <a:pt x="0" y="9"/>
                      <a:pt x="0" y="7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11" y="1"/>
                      <a:pt x="11" y="7"/>
                    </a:cubicBezTo>
                    <a:cubicBezTo>
                      <a:pt x="11" y="9"/>
                      <a:pt x="10" y="11"/>
                      <a:pt x="9" y="12"/>
                    </a:cubicBezTo>
                    <a:cubicBezTo>
                      <a:pt x="9" y="13"/>
                      <a:pt x="8" y="13"/>
                      <a:pt x="7" y="13"/>
                    </a:cubicBezTo>
                    <a:close/>
                    <a:moveTo>
                      <a:pt x="6" y="5"/>
                    </a:moveTo>
                    <a:cubicBezTo>
                      <a:pt x="5" y="5"/>
                      <a:pt x="5" y="6"/>
                      <a:pt x="5" y="7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7"/>
                      <a:pt x="6" y="7"/>
                    </a:cubicBezTo>
                    <a:cubicBezTo>
                      <a:pt x="6" y="6"/>
                      <a:pt x="6" y="5"/>
                      <a:pt x="6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0" name="ïṥḻiḍe"/>
              <p:cNvSpPr/>
              <p:nvPr/>
            </p:nvSpPr>
            <p:spPr bwMode="auto">
              <a:xfrm>
                <a:off x="6534150" y="2508250"/>
                <a:ext cx="2286000" cy="4351338"/>
              </a:xfrm>
              <a:custGeom>
                <a:avLst/>
                <a:gdLst>
                  <a:gd name="T0" fmla="*/ 59 w 1066"/>
                  <a:gd name="T1" fmla="*/ 2023 h 2031"/>
                  <a:gd name="T2" fmla="*/ 17 w 1066"/>
                  <a:gd name="T3" fmla="*/ 2004 h 2031"/>
                  <a:gd name="T4" fmla="*/ 5 w 1066"/>
                  <a:gd name="T5" fmla="*/ 1966 h 2031"/>
                  <a:gd name="T6" fmla="*/ 16 w 1066"/>
                  <a:gd name="T7" fmla="*/ 1925 h 2031"/>
                  <a:gd name="T8" fmla="*/ 53 w 1066"/>
                  <a:gd name="T9" fmla="*/ 1894 h 2031"/>
                  <a:gd name="T10" fmla="*/ 86 w 1066"/>
                  <a:gd name="T11" fmla="*/ 1882 h 2031"/>
                  <a:gd name="T12" fmla="*/ 128 w 1066"/>
                  <a:gd name="T13" fmla="*/ 1880 h 2031"/>
                  <a:gd name="T14" fmla="*/ 173 w 1066"/>
                  <a:gd name="T15" fmla="*/ 1869 h 2031"/>
                  <a:gd name="T16" fmla="*/ 211 w 1066"/>
                  <a:gd name="T17" fmla="*/ 1878 h 2031"/>
                  <a:gd name="T18" fmla="*/ 220 w 1066"/>
                  <a:gd name="T19" fmla="*/ 1906 h 2031"/>
                  <a:gd name="T20" fmla="*/ 189 w 1066"/>
                  <a:gd name="T21" fmla="*/ 1925 h 2031"/>
                  <a:gd name="T22" fmla="*/ 173 w 1066"/>
                  <a:gd name="T23" fmla="*/ 1968 h 2031"/>
                  <a:gd name="T24" fmla="*/ 138 w 1066"/>
                  <a:gd name="T25" fmla="*/ 2005 h 2031"/>
                  <a:gd name="T26" fmla="*/ 103 w 1066"/>
                  <a:gd name="T27" fmla="*/ 2023 h 2031"/>
                  <a:gd name="T28" fmla="*/ 99 w 1066"/>
                  <a:gd name="T29" fmla="*/ 2025 h 2031"/>
                  <a:gd name="T30" fmla="*/ 128 w 1066"/>
                  <a:gd name="T31" fmla="*/ 2010 h 2031"/>
                  <a:gd name="T32" fmla="*/ 169 w 1066"/>
                  <a:gd name="T33" fmla="*/ 1978 h 2031"/>
                  <a:gd name="T34" fmla="*/ 178 w 1066"/>
                  <a:gd name="T35" fmla="*/ 1945 h 2031"/>
                  <a:gd name="T36" fmla="*/ 203 w 1066"/>
                  <a:gd name="T37" fmla="*/ 1913 h 2031"/>
                  <a:gd name="T38" fmla="*/ 211 w 1066"/>
                  <a:gd name="T39" fmla="*/ 1887 h 2031"/>
                  <a:gd name="T40" fmla="*/ 178 w 1066"/>
                  <a:gd name="T41" fmla="*/ 1869 h 2031"/>
                  <a:gd name="T42" fmla="*/ 163 w 1066"/>
                  <a:gd name="T43" fmla="*/ 1869 h 2031"/>
                  <a:gd name="T44" fmla="*/ 115 w 1066"/>
                  <a:gd name="T45" fmla="*/ 1880 h 2031"/>
                  <a:gd name="T46" fmla="*/ 81 w 1066"/>
                  <a:gd name="T47" fmla="*/ 1887 h 2031"/>
                  <a:gd name="T48" fmla="*/ 68 w 1066"/>
                  <a:gd name="T49" fmla="*/ 1893 h 2031"/>
                  <a:gd name="T50" fmla="*/ 11 w 1066"/>
                  <a:gd name="T51" fmla="*/ 1935 h 2031"/>
                  <a:gd name="T52" fmla="*/ 12 w 1066"/>
                  <a:gd name="T53" fmla="*/ 1981 h 2031"/>
                  <a:gd name="T54" fmla="*/ 38 w 1066"/>
                  <a:gd name="T55" fmla="*/ 2012 h 2031"/>
                  <a:gd name="T56" fmla="*/ 78 w 1066"/>
                  <a:gd name="T57" fmla="*/ 2021 h 2031"/>
                  <a:gd name="T58" fmla="*/ 452 w 1066"/>
                  <a:gd name="T59" fmla="*/ 1669 h 2031"/>
                  <a:gd name="T60" fmla="*/ 459 w 1066"/>
                  <a:gd name="T61" fmla="*/ 1678 h 2031"/>
                  <a:gd name="T62" fmla="*/ 462 w 1066"/>
                  <a:gd name="T63" fmla="*/ 1670 h 2031"/>
                  <a:gd name="T64" fmla="*/ 466 w 1066"/>
                  <a:gd name="T65" fmla="*/ 1672 h 2031"/>
                  <a:gd name="T66" fmla="*/ 1037 w 1066"/>
                  <a:gd name="T67" fmla="*/ 921 h 2031"/>
                  <a:gd name="T68" fmla="*/ 1041 w 1066"/>
                  <a:gd name="T69" fmla="*/ 919 h 2031"/>
                  <a:gd name="T70" fmla="*/ 1040 w 1066"/>
                  <a:gd name="T71" fmla="*/ 917 h 2031"/>
                  <a:gd name="T72" fmla="*/ 997 w 1066"/>
                  <a:gd name="T73" fmla="*/ 804 h 2031"/>
                  <a:gd name="T74" fmla="*/ 1013 w 1066"/>
                  <a:gd name="T75" fmla="*/ 813 h 2031"/>
                  <a:gd name="T76" fmla="*/ 982 w 1066"/>
                  <a:gd name="T77" fmla="*/ 791 h 2031"/>
                  <a:gd name="T78" fmla="*/ 991 w 1066"/>
                  <a:gd name="T79" fmla="*/ 776 h 2031"/>
                  <a:gd name="T80" fmla="*/ 970 w 1066"/>
                  <a:gd name="T81" fmla="*/ 777 h 2031"/>
                  <a:gd name="T82" fmla="*/ 996 w 1066"/>
                  <a:gd name="T83" fmla="*/ 784 h 2031"/>
                  <a:gd name="T84" fmla="*/ 967 w 1066"/>
                  <a:gd name="T85" fmla="*/ 776 h 2031"/>
                  <a:gd name="T86" fmla="*/ 966 w 1066"/>
                  <a:gd name="T87" fmla="*/ 778 h 2031"/>
                  <a:gd name="T88" fmla="*/ 874 w 1066"/>
                  <a:gd name="T89" fmla="*/ 230 h 2031"/>
                  <a:gd name="T90" fmla="*/ 870 w 1066"/>
                  <a:gd name="T91" fmla="*/ 231 h 2031"/>
                  <a:gd name="T92" fmla="*/ 858 w 1066"/>
                  <a:gd name="T93" fmla="*/ 227 h 2031"/>
                  <a:gd name="T94" fmla="*/ 862 w 1066"/>
                  <a:gd name="T95" fmla="*/ 229 h 2031"/>
                  <a:gd name="T96" fmla="*/ 861 w 1066"/>
                  <a:gd name="T97" fmla="*/ 227 h 2031"/>
                  <a:gd name="T98" fmla="*/ 864 w 1066"/>
                  <a:gd name="T99" fmla="*/ 209 h 2031"/>
                  <a:gd name="T100" fmla="*/ 868 w 1066"/>
                  <a:gd name="T101" fmla="*/ 211 h 2031"/>
                  <a:gd name="T102" fmla="*/ 893 w 1066"/>
                  <a:gd name="T103" fmla="*/ 102 h 2031"/>
                  <a:gd name="T104" fmla="*/ 884 w 1066"/>
                  <a:gd name="T105" fmla="*/ 91 h 2031"/>
                  <a:gd name="T106" fmla="*/ 905 w 1066"/>
                  <a:gd name="T107" fmla="*/ 87 h 2031"/>
                  <a:gd name="T108" fmla="*/ 898 w 1066"/>
                  <a:gd name="T109" fmla="*/ 100 h 2031"/>
                  <a:gd name="T110" fmla="*/ 901 w 1066"/>
                  <a:gd name="T111" fmla="*/ 84 h 2031"/>
                  <a:gd name="T112" fmla="*/ 886 w 1066"/>
                  <a:gd name="T113" fmla="*/ 88 h 2031"/>
                  <a:gd name="T114" fmla="*/ 846 w 1066"/>
                  <a:gd name="T115" fmla="*/ 2 h 2031"/>
                  <a:gd name="T116" fmla="*/ 846 w 1066"/>
                  <a:gd name="T117" fmla="*/ 13 h 20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66" h="2031">
                    <a:moveTo>
                      <a:pt x="97" y="2031"/>
                    </a:moveTo>
                    <a:cubicBezTo>
                      <a:pt x="96" y="2031"/>
                      <a:pt x="94" y="2030"/>
                      <a:pt x="93" y="2030"/>
                    </a:cubicBezTo>
                    <a:cubicBezTo>
                      <a:pt x="92" y="2029"/>
                      <a:pt x="92" y="2028"/>
                      <a:pt x="91" y="2028"/>
                    </a:cubicBezTo>
                    <a:cubicBezTo>
                      <a:pt x="90" y="2027"/>
                      <a:pt x="89" y="2026"/>
                      <a:pt x="85" y="2025"/>
                    </a:cubicBezTo>
                    <a:cubicBezTo>
                      <a:pt x="81" y="2025"/>
                      <a:pt x="80" y="2025"/>
                      <a:pt x="78" y="2025"/>
                    </a:cubicBezTo>
                    <a:cubicBezTo>
                      <a:pt x="77" y="2025"/>
                      <a:pt x="75" y="2026"/>
                      <a:pt x="70" y="2025"/>
                    </a:cubicBezTo>
                    <a:cubicBezTo>
                      <a:pt x="67" y="2025"/>
                      <a:pt x="65" y="2025"/>
                      <a:pt x="64" y="2023"/>
                    </a:cubicBezTo>
                    <a:cubicBezTo>
                      <a:pt x="63" y="2023"/>
                      <a:pt x="62" y="2023"/>
                      <a:pt x="59" y="2023"/>
                    </a:cubicBezTo>
                    <a:cubicBezTo>
                      <a:pt x="50" y="2022"/>
                      <a:pt x="48" y="2021"/>
                      <a:pt x="46" y="2019"/>
                    </a:cubicBezTo>
                    <a:cubicBezTo>
                      <a:pt x="45" y="2019"/>
                      <a:pt x="45" y="2018"/>
                      <a:pt x="45" y="2018"/>
                    </a:cubicBezTo>
                    <a:cubicBezTo>
                      <a:pt x="44" y="2018"/>
                      <a:pt x="44" y="2018"/>
                      <a:pt x="44" y="2018"/>
                    </a:cubicBezTo>
                    <a:cubicBezTo>
                      <a:pt x="42" y="2017"/>
                      <a:pt x="42" y="2017"/>
                      <a:pt x="40" y="2017"/>
                    </a:cubicBezTo>
                    <a:cubicBezTo>
                      <a:pt x="38" y="2017"/>
                      <a:pt x="34" y="2017"/>
                      <a:pt x="34" y="2013"/>
                    </a:cubicBezTo>
                    <a:cubicBezTo>
                      <a:pt x="33" y="2013"/>
                      <a:pt x="33" y="2013"/>
                      <a:pt x="33" y="2013"/>
                    </a:cubicBezTo>
                    <a:cubicBezTo>
                      <a:pt x="29" y="2013"/>
                      <a:pt x="23" y="2008"/>
                      <a:pt x="22" y="2005"/>
                    </a:cubicBezTo>
                    <a:cubicBezTo>
                      <a:pt x="22" y="2004"/>
                      <a:pt x="19" y="2004"/>
                      <a:pt x="17" y="2004"/>
                    </a:cubicBezTo>
                    <a:cubicBezTo>
                      <a:pt x="16" y="2004"/>
                      <a:pt x="15" y="2004"/>
                      <a:pt x="15" y="2003"/>
                    </a:cubicBezTo>
                    <a:cubicBezTo>
                      <a:pt x="13" y="2003"/>
                      <a:pt x="11" y="2001"/>
                      <a:pt x="9" y="1999"/>
                    </a:cubicBezTo>
                    <a:cubicBezTo>
                      <a:pt x="9" y="1997"/>
                      <a:pt x="8" y="1994"/>
                      <a:pt x="10" y="1991"/>
                    </a:cubicBezTo>
                    <a:cubicBezTo>
                      <a:pt x="12" y="1987"/>
                      <a:pt x="12" y="1986"/>
                      <a:pt x="12" y="1986"/>
                    </a:cubicBezTo>
                    <a:cubicBezTo>
                      <a:pt x="12" y="1986"/>
                      <a:pt x="11" y="1986"/>
                      <a:pt x="11" y="1986"/>
                    </a:cubicBezTo>
                    <a:cubicBezTo>
                      <a:pt x="9" y="1985"/>
                      <a:pt x="9" y="1984"/>
                      <a:pt x="8" y="1984"/>
                    </a:cubicBezTo>
                    <a:cubicBezTo>
                      <a:pt x="8" y="1984"/>
                      <a:pt x="8" y="1984"/>
                      <a:pt x="8" y="1984"/>
                    </a:cubicBezTo>
                    <a:cubicBezTo>
                      <a:pt x="8" y="1983"/>
                      <a:pt x="0" y="1975"/>
                      <a:pt x="5" y="1966"/>
                    </a:cubicBezTo>
                    <a:cubicBezTo>
                      <a:pt x="8" y="1960"/>
                      <a:pt x="7" y="1957"/>
                      <a:pt x="6" y="1954"/>
                    </a:cubicBezTo>
                    <a:cubicBezTo>
                      <a:pt x="6" y="1953"/>
                      <a:pt x="6" y="1953"/>
                      <a:pt x="6" y="1952"/>
                    </a:cubicBezTo>
                    <a:cubicBezTo>
                      <a:pt x="5" y="1950"/>
                      <a:pt x="6" y="1948"/>
                      <a:pt x="7" y="1947"/>
                    </a:cubicBezTo>
                    <a:cubicBezTo>
                      <a:pt x="7" y="1946"/>
                      <a:pt x="8" y="1945"/>
                      <a:pt x="8" y="1943"/>
                    </a:cubicBezTo>
                    <a:cubicBezTo>
                      <a:pt x="8" y="1941"/>
                      <a:pt x="7" y="1941"/>
                      <a:pt x="7" y="1940"/>
                    </a:cubicBezTo>
                    <a:cubicBezTo>
                      <a:pt x="5" y="1938"/>
                      <a:pt x="5" y="1936"/>
                      <a:pt x="7" y="1933"/>
                    </a:cubicBezTo>
                    <a:cubicBezTo>
                      <a:pt x="8" y="1931"/>
                      <a:pt x="9" y="1930"/>
                      <a:pt x="9" y="1929"/>
                    </a:cubicBezTo>
                    <a:cubicBezTo>
                      <a:pt x="10" y="1926"/>
                      <a:pt x="11" y="1925"/>
                      <a:pt x="16" y="1925"/>
                    </a:cubicBezTo>
                    <a:cubicBezTo>
                      <a:pt x="19" y="1925"/>
                      <a:pt x="23" y="1921"/>
                      <a:pt x="25" y="1919"/>
                    </a:cubicBezTo>
                    <a:cubicBezTo>
                      <a:pt x="26" y="1918"/>
                      <a:pt x="27" y="1917"/>
                      <a:pt x="28" y="1917"/>
                    </a:cubicBezTo>
                    <a:cubicBezTo>
                      <a:pt x="30" y="1915"/>
                      <a:pt x="38" y="1911"/>
                      <a:pt x="46" y="1906"/>
                    </a:cubicBezTo>
                    <a:cubicBezTo>
                      <a:pt x="50" y="1904"/>
                      <a:pt x="54" y="1901"/>
                      <a:pt x="56" y="1900"/>
                    </a:cubicBezTo>
                    <a:cubicBezTo>
                      <a:pt x="59" y="1898"/>
                      <a:pt x="61" y="1897"/>
                      <a:pt x="62" y="1896"/>
                    </a:cubicBezTo>
                    <a:cubicBezTo>
                      <a:pt x="60" y="1897"/>
                      <a:pt x="58" y="1898"/>
                      <a:pt x="56" y="1897"/>
                    </a:cubicBezTo>
                    <a:cubicBezTo>
                      <a:pt x="55" y="1897"/>
                      <a:pt x="54" y="1896"/>
                      <a:pt x="54" y="1895"/>
                    </a:cubicBezTo>
                    <a:cubicBezTo>
                      <a:pt x="53" y="1894"/>
                      <a:pt x="53" y="1894"/>
                      <a:pt x="53" y="1894"/>
                    </a:cubicBezTo>
                    <a:cubicBezTo>
                      <a:pt x="54" y="1893"/>
                      <a:pt x="54" y="1893"/>
                      <a:pt x="54" y="1893"/>
                    </a:cubicBezTo>
                    <a:cubicBezTo>
                      <a:pt x="54" y="1893"/>
                      <a:pt x="55" y="1890"/>
                      <a:pt x="58" y="1886"/>
                    </a:cubicBezTo>
                    <a:cubicBezTo>
                      <a:pt x="59" y="1885"/>
                      <a:pt x="59" y="1885"/>
                      <a:pt x="60" y="1884"/>
                    </a:cubicBezTo>
                    <a:cubicBezTo>
                      <a:pt x="62" y="1881"/>
                      <a:pt x="65" y="1878"/>
                      <a:pt x="71" y="1881"/>
                    </a:cubicBezTo>
                    <a:cubicBezTo>
                      <a:pt x="77" y="1882"/>
                      <a:pt x="79" y="1883"/>
                      <a:pt x="81" y="1883"/>
                    </a:cubicBezTo>
                    <a:cubicBezTo>
                      <a:pt x="82" y="1883"/>
                      <a:pt x="82" y="1883"/>
                      <a:pt x="83" y="1883"/>
                    </a:cubicBezTo>
                    <a:cubicBezTo>
                      <a:pt x="84" y="1883"/>
                      <a:pt x="85" y="1883"/>
                      <a:pt x="86" y="1883"/>
                    </a:cubicBezTo>
                    <a:cubicBezTo>
                      <a:pt x="86" y="1883"/>
                      <a:pt x="86" y="1882"/>
                      <a:pt x="86" y="1882"/>
                    </a:cubicBezTo>
                    <a:cubicBezTo>
                      <a:pt x="86" y="1880"/>
                      <a:pt x="86" y="1878"/>
                      <a:pt x="87" y="1877"/>
                    </a:cubicBezTo>
                    <a:cubicBezTo>
                      <a:pt x="89" y="1875"/>
                      <a:pt x="93" y="1874"/>
                      <a:pt x="96" y="1874"/>
                    </a:cubicBezTo>
                    <a:cubicBezTo>
                      <a:pt x="99" y="1874"/>
                      <a:pt x="101" y="1875"/>
                      <a:pt x="102" y="1875"/>
                    </a:cubicBezTo>
                    <a:cubicBezTo>
                      <a:pt x="104" y="1876"/>
                      <a:pt x="106" y="1877"/>
                      <a:pt x="109" y="1877"/>
                    </a:cubicBezTo>
                    <a:cubicBezTo>
                      <a:pt x="111" y="1877"/>
                      <a:pt x="111" y="1876"/>
                      <a:pt x="112" y="1876"/>
                    </a:cubicBezTo>
                    <a:cubicBezTo>
                      <a:pt x="114" y="1874"/>
                      <a:pt x="116" y="1874"/>
                      <a:pt x="120" y="1876"/>
                    </a:cubicBezTo>
                    <a:cubicBezTo>
                      <a:pt x="122" y="1878"/>
                      <a:pt x="124" y="1878"/>
                      <a:pt x="125" y="1878"/>
                    </a:cubicBezTo>
                    <a:cubicBezTo>
                      <a:pt x="126" y="1878"/>
                      <a:pt x="127" y="1879"/>
                      <a:pt x="128" y="1880"/>
                    </a:cubicBezTo>
                    <a:cubicBezTo>
                      <a:pt x="128" y="1880"/>
                      <a:pt x="130" y="1880"/>
                      <a:pt x="132" y="1879"/>
                    </a:cubicBezTo>
                    <a:cubicBezTo>
                      <a:pt x="133" y="1879"/>
                      <a:pt x="134" y="1878"/>
                      <a:pt x="134" y="1876"/>
                    </a:cubicBezTo>
                    <a:cubicBezTo>
                      <a:pt x="136" y="1869"/>
                      <a:pt x="141" y="1866"/>
                      <a:pt x="148" y="1867"/>
                    </a:cubicBezTo>
                    <a:cubicBezTo>
                      <a:pt x="154" y="1867"/>
                      <a:pt x="160" y="1865"/>
                      <a:pt x="161" y="1865"/>
                    </a:cubicBezTo>
                    <a:cubicBezTo>
                      <a:pt x="165" y="1864"/>
                      <a:pt x="167" y="1866"/>
                      <a:pt x="168" y="1867"/>
                    </a:cubicBezTo>
                    <a:cubicBezTo>
                      <a:pt x="168" y="1868"/>
                      <a:pt x="169" y="1869"/>
                      <a:pt x="170" y="1870"/>
                    </a:cubicBezTo>
                    <a:cubicBezTo>
                      <a:pt x="172" y="1871"/>
                      <a:pt x="173" y="1871"/>
                      <a:pt x="174" y="1872"/>
                    </a:cubicBezTo>
                    <a:cubicBezTo>
                      <a:pt x="173" y="1871"/>
                      <a:pt x="173" y="1870"/>
                      <a:pt x="173" y="1869"/>
                    </a:cubicBezTo>
                    <a:cubicBezTo>
                      <a:pt x="173" y="1868"/>
                      <a:pt x="174" y="1866"/>
                      <a:pt x="175" y="1865"/>
                    </a:cubicBezTo>
                    <a:cubicBezTo>
                      <a:pt x="177" y="1864"/>
                      <a:pt x="177" y="1864"/>
                      <a:pt x="178" y="1864"/>
                    </a:cubicBezTo>
                    <a:cubicBezTo>
                      <a:pt x="178" y="1864"/>
                      <a:pt x="178" y="1863"/>
                      <a:pt x="179" y="1862"/>
                    </a:cubicBezTo>
                    <a:cubicBezTo>
                      <a:pt x="180" y="1860"/>
                      <a:pt x="182" y="1858"/>
                      <a:pt x="185" y="1858"/>
                    </a:cubicBezTo>
                    <a:cubicBezTo>
                      <a:pt x="187" y="1859"/>
                      <a:pt x="187" y="1862"/>
                      <a:pt x="187" y="1863"/>
                    </a:cubicBezTo>
                    <a:cubicBezTo>
                      <a:pt x="188" y="1868"/>
                      <a:pt x="189" y="1870"/>
                      <a:pt x="191" y="1871"/>
                    </a:cubicBezTo>
                    <a:cubicBezTo>
                      <a:pt x="194" y="1872"/>
                      <a:pt x="198" y="1872"/>
                      <a:pt x="201" y="1872"/>
                    </a:cubicBezTo>
                    <a:cubicBezTo>
                      <a:pt x="203" y="1872"/>
                      <a:pt x="209" y="1871"/>
                      <a:pt x="211" y="1878"/>
                    </a:cubicBezTo>
                    <a:cubicBezTo>
                      <a:pt x="212" y="1881"/>
                      <a:pt x="213" y="1882"/>
                      <a:pt x="214" y="1883"/>
                    </a:cubicBezTo>
                    <a:cubicBezTo>
                      <a:pt x="215" y="1884"/>
                      <a:pt x="215" y="1884"/>
                      <a:pt x="216" y="1885"/>
                    </a:cubicBezTo>
                    <a:cubicBezTo>
                      <a:pt x="216" y="1886"/>
                      <a:pt x="216" y="1887"/>
                      <a:pt x="216" y="1892"/>
                    </a:cubicBezTo>
                    <a:cubicBezTo>
                      <a:pt x="216" y="1895"/>
                      <a:pt x="216" y="1897"/>
                      <a:pt x="216" y="1899"/>
                    </a:cubicBezTo>
                    <a:cubicBezTo>
                      <a:pt x="216" y="1899"/>
                      <a:pt x="216" y="1900"/>
                      <a:pt x="216" y="1900"/>
                    </a:cubicBezTo>
                    <a:cubicBezTo>
                      <a:pt x="216" y="1900"/>
                      <a:pt x="216" y="1900"/>
                      <a:pt x="216" y="1900"/>
                    </a:cubicBezTo>
                    <a:cubicBezTo>
                      <a:pt x="216" y="1900"/>
                      <a:pt x="216" y="1900"/>
                      <a:pt x="216" y="1901"/>
                    </a:cubicBezTo>
                    <a:cubicBezTo>
                      <a:pt x="217" y="1901"/>
                      <a:pt x="221" y="1903"/>
                      <a:pt x="220" y="1906"/>
                    </a:cubicBezTo>
                    <a:cubicBezTo>
                      <a:pt x="220" y="1909"/>
                      <a:pt x="216" y="1910"/>
                      <a:pt x="215" y="1910"/>
                    </a:cubicBezTo>
                    <a:cubicBezTo>
                      <a:pt x="211" y="1911"/>
                      <a:pt x="209" y="1913"/>
                      <a:pt x="206" y="1916"/>
                    </a:cubicBezTo>
                    <a:cubicBezTo>
                      <a:pt x="206" y="1916"/>
                      <a:pt x="206" y="1916"/>
                      <a:pt x="206" y="1916"/>
                    </a:cubicBezTo>
                    <a:cubicBezTo>
                      <a:pt x="205" y="1918"/>
                      <a:pt x="204" y="1918"/>
                      <a:pt x="202" y="1918"/>
                    </a:cubicBezTo>
                    <a:cubicBezTo>
                      <a:pt x="200" y="1918"/>
                      <a:pt x="199" y="1916"/>
                      <a:pt x="198" y="1915"/>
                    </a:cubicBezTo>
                    <a:cubicBezTo>
                      <a:pt x="197" y="1914"/>
                      <a:pt x="197" y="1914"/>
                      <a:pt x="197" y="1913"/>
                    </a:cubicBezTo>
                    <a:cubicBezTo>
                      <a:pt x="197" y="1913"/>
                      <a:pt x="196" y="1914"/>
                      <a:pt x="196" y="1916"/>
                    </a:cubicBezTo>
                    <a:cubicBezTo>
                      <a:pt x="194" y="1919"/>
                      <a:pt x="192" y="1922"/>
                      <a:pt x="189" y="1925"/>
                    </a:cubicBezTo>
                    <a:cubicBezTo>
                      <a:pt x="187" y="1926"/>
                      <a:pt x="185" y="1931"/>
                      <a:pt x="185" y="1934"/>
                    </a:cubicBezTo>
                    <a:cubicBezTo>
                      <a:pt x="185" y="1936"/>
                      <a:pt x="185" y="1936"/>
                      <a:pt x="185" y="1936"/>
                    </a:cubicBezTo>
                    <a:cubicBezTo>
                      <a:pt x="184" y="1940"/>
                      <a:pt x="184" y="1946"/>
                      <a:pt x="180" y="1949"/>
                    </a:cubicBezTo>
                    <a:cubicBezTo>
                      <a:pt x="178" y="1950"/>
                      <a:pt x="177" y="1951"/>
                      <a:pt x="177" y="1951"/>
                    </a:cubicBezTo>
                    <a:cubicBezTo>
                      <a:pt x="178" y="1953"/>
                      <a:pt x="177" y="1955"/>
                      <a:pt x="177" y="1956"/>
                    </a:cubicBezTo>
                    <a:cubicBezTo>
                      <a:pt x="176" y="1957"/>
                      <a:pt x="176" y="1958"/>
                      <a:pt x="175" y="1959"/>
                    </a:cubicBezTo>
                    <a:cubicBezTo>
                      <a:pt x="175" y="1960"/>
                      <a:pt x="175" y="1961"/>
                      <a:pt x="174" y="1962"/>
                    </a:cubicBezTo>
                    <a:cubicBezTo>
                      <a:pt x="173" y="1964"/>
                      <a:pt x="172" y="1967"/>
                      <a:pt x="173" y="1968"/>
                    </a:cubicBezTo>
                    <a:cubicBezTo>
                      <a:pt x="174" y="1972"/>
                      <a:pt x="174" y="1976"/>
                      <a:pt x="173" y="1977"/>
                    </a:cubicBezTo>
                    <a:cubicBezTo>
                      <a:pt x="174" y="1979"/>
                      <a:pt x="173" y="1981"/>
                      <a:pt x="170" y="1983"/>
                    </a:cubicBezTo>
                    <a:cubicBezTo>
                      <a:pt x="169" y="1983"/>
                      <a:pt x="168" y="1984"/>
                      <a:pt x="167" y="1985"/>
                    </a:cubicBezTo>
                    <a:cubicBezTo>
                      <a:pt x="166" y="1986"/>
                      <a:pt x="165" y="1987"/>
                      <a:pt x="164" y="1987"/>
                    </a:cubicBezTo>
                    <a:cubicBezTo>
                      <a:pt x="162" y="1988"/>
                      <a:pt x="161" y="1988"/>
                      <a:pt x="160" y="1987"/>
                    </a:cubicBezTo>
                    <a:cubicBezTo>
                      <a:pt x="160" y="1987"/>
                      <a:pt x="159" y="1987"/>
                      <a:pt x="158" y="1987"/>
                    </a:cubicBezTo>
                    <a:cubicBezTo>
                      <a:pt x="154" y="1987"/>
                      <a:pt x="149" y="1990"/>
                      <a:pt x="145" y="1994"/>
                    </a:cubicBezTo>
                    <a:cubicBezTo>
                      <a:pt x="141" y="1998"/>
                      <a:pt x="139" y="2000"/>
                      <a:pt x="138" y="2005"/>
                    </a:cubicBezTo>
                    <a:cubicBezTo>
                      <a:pt x="137" y="2009"/>
                      <a:pt x="136" y="2014"/>
                      <a:pt x="129" y="2014"/>
                    </a:cubicBezTo>
                    <a:cubicBezTo>
                      <a:pt x="127" y="2015"/>
                      <a:pt x="125" y="2014"/>
                      <a:pt x="124" y="2013"/>
                    </a:cubicBezTo>
                    <a:cubicBezTo>
                      <a:pt x="123" y="2012"/>
                      <a:pt x="123" y="2011"/>
                      <a:pt x="123" y="2010"/>
                    </a:cubicBezTo>
                    <a:cubicBezTo>
                      <a:pt x="118" y="2010"/>
                      <a:pt x="109" y="2013"/>
                      <a:pt x="108" y="2014"/>
                    </a:cubicBezTo>
                    <a:cubicBezTo>
                      <a:pt x="107" y="2015"/>
                      <a:pt x="107" y="2015"/>
                      <a:pt x="107" y="2016"/>
                    </a:cubicBezTo>
                    <a:cubicBezTo>
                      <a:pt x="107" y="2016"/>
                      <a:pt x="107" y="2016"/>
                      <a:pt x="107" y="2017"/>
                    </a:cubicBezTo>
                    <a:cubicBezTo>
                      <a:pt x="108" y="2018"/>
                      <a:pt x="106" y="2019"/>
                      <a:pt x="105" y="2020"/>
                    </a:cubicBezTo>
                    <a:cubicBezTo>
                      <a:pt x="103" y="2022"/>
                      <a:pt x="103" y="2022"/>
                      <a:pt x="103" y="2023"/>
                    </a:cubicBezTo>
                    <a:cubicBezTo>
                      <a:pt x="104" y="2025"/>
                      <a:pt x="104" y="2027"/>
                      <a:pt x="102" y="2029"/>
                    </a:cubicBezTo>
                    <a:cubicBezTo>
                      <a:pt x="101" y="2030"/>
                      <a:pt x="99" y="2031"/>
                      <a:pt x="97" y="2031"/>
                    </a:cubicBezTo>
                    <a:close/>
                    <a:moveTo>
                      <a:pt x="81" y="2021"/>
                    </a:moveTo>
                    <a:cubicBezTo>
                      <a:pt x="82" y="2021"/>
                      <a:pt x="83" y="2021"/>
                      <a:pt x="85" y="2021"/>
                    </a:cubicBezTo>
                    <a:cubicBezTo>
                      <a:pt x="91" y="2021"/>
                      <a:pt x="93" y="2023"/>
                      <a:pt x="95" y="2025"/>
                    </a:cubicBezTo>
                    <a:cubicBezTo>
                      <a:pt x="95" y="2025"/>
                      <a:pt x="95" y="2026"/>
                      <a:pt x="96" y="2026"/>
                    </a:cubicBezTo>
                    <a:cubicBezTo>
                      <a:pt x="96" y="2026"/>
                      <a:pt x="98" y="2026"/>
                      <a:pt x="99" y="2025"/>
                    </a:cubicBezTo>
                    <a:cubicBezTo>
                      <a:pt x="99" y="2025"/>
                      <a:pt x="99" y="2025"/>
                      <a:pt x="99" y="2025"/>
                    </a:cubicBezTo>
                    <a:cubicBezTo>
                      <a:pt x="97" y="2020"/>
                      <a:pt x="101" y="2017"/>
                      <a:pt x="103" y="2016"/>
                    </a:cubicBezTo>
                    <a:cubicBezTo>
                      <a:pt x="102" y="2015"/>
                      <a:pt x="102" y="2012"/>
                      <a:pt x="105" y="2010"/>
                    </a:cubicBezTo>
                    <a:cubicBezTo>
                      <a:pt x="107" y="2009"/>
                      <a:pt x="123" y="2004"/>
                      <a:pt x="126" y="2005"/>
                    </a:cubicBezTo>
                    <a:cubicBezTo>
                      <a:pt x="127" y="2006"/>
                      <a:pt x="127" y="2006"/>
                      <a:pt x="127" y="2006"/>
                    </a:cubicBezTo>
                    <a:cubicBezTo>
                      <a:pt x="128" y="2007"/>
                      <a:pt x="128" y="2007"/>
                      <a:pt x="128" y="2007"/>
                    </a:cubicBezTo>
                    <a:cubicBezTo>
                      <a:pt x="128" y="2008"/>
                      <a:pt x="127" y="2008"/>
                      <a:pt x="127" y="2008"/>
                    </a:cubicBezTo>
                    <a:cubicBezTo>
                      <a:pt x="127" y="2009"/>
                      <a:pt x="127" y="2009"/>
                      <a:pt x="127" y="2010"/>
                    </a:cubicBezTo>
                    <a:cubicBezTo>
                      <a:pt x="127" y="2010"/>
                      <a:pt x="128" y="2010"/>
                      <a:pt x="128" y="2010"/>
                    </a:cubicBezTo>
                    <a:cubicBezTo>
                      <a:pt x="128" y="2010"/>
                      <a:pt x="129" y="2010"/>
                      <a:pt x="129" y="2010"/>
                    </a:cubicBezTo>
                    <a:cubicBezTo>
                      <a:pt x="132" y="2010"/>
                      <a:pt x="133" y="2009"/>
                      <a:pt x="134" y="2004"/>
                    </a:cubicBezTo>
                    <a:cubicBezTo>
                      <a:pt x="135" y="1998"/>
                      <a:pt x="137" y="1995"/>
                      <a:pt x="142" y="1990"/>
                    </a:cubicBezTo>
                    <a:cubicBezTo>
                      <a:pt x="146" y="1986"/>
                      <a:pt x="152" y="1982"/>
                      <a:pt x="158" y="1982"/>
                    </a:cubicBezTo>
                    <a:cubicBezTo>
                      <a:pt x="160" y="1982"/>
                      <a:pt x="161" y="1983"/>
                      <a:pt x="162" y="1983"/>
                    </a:cubicBezTo>
                    <a:cubicBezTo>
                      <a:pt x="163" y="1983"/>
                      <a:pt x="163" y="1982"/>
                      <a:pt x="164" y="1982"/>
                    </a:cubicBezTo>
                    <a:cubicBezTo>
                      <a:pt x="165" y="1981"/>
                      <a:pt x="166" y="1980"/>
                      <a:pt x="168" y="1979"/>
                    </a:cubicBezTo>
                    <a:cubicBezTo>
                      <a:pt x="168" y="1978"/>
                      <a:pt x="169" y="1978"/>
                      <a:pt x="169" y="1978"/>
                    </a:cubicBezTo>
                    <a:cubicBezTo>
                      <a:pt x="169" y="1978"/>
                      <a:pt x="169" y="1978"/>
                      <a:pt x="169" y="1978"/>
                    </a:cubicBezTo>
                    <a:cubicBezTo>
                      <a:pt x="169" y="1977"/>
                      <a:pt x="169" y="1977"/>
                      <a:pt x="169" y="1977"/>
                    </a:cubicBezTo>
                    <a:cubicBezTo>
                      <a:pt x="169" y="1976"/>
                      <a:pt x="170" y="1973"/>
                      <a:pt x="169" y="1970"/>
                    </a:cubicBezTo>
                    <a:cubicBezTo>
                      <a:pt x="167" y="1967"/>
                      <a:pt x="169" y="1963"/>
                      <a:pt x="170" y="1960"/>
                    </a:cubicBezTo>
                    <a:cubicBezTo>
                      <a:pt x="170" y="1959"/>
                      <a:pt x="171" y="1958"/>
                      <a:pt x="171" y="1958"/>
                    </a:cubicBezTo>
                    <a:cubicBezTo>
                      <a:pt x="171" y="1956"/>
                      <a:pt x="172" y="1955"/>
                      <a:pt x="172" y="1954"/>
                    </a:cubicBezTo>
                    <a:cubicBezTo>
                      <a:pt x="173" y="1954"/>
                      <a:pt x="173" y="1953"/>
                      <a:pt x="173" y="1953"/>
                    </a:cubicBezTo>
                    <a:cubicBezTo>
                      <a:pt x="171" y="1949"/>
                      <a:pt x="176" y="1946"/>
                      <a:pt x="178" y="1945"/>
                    </a:cubicBezTo>
                    <a:cubicBezTo>
                      <a:pt x="180" y="1943"/>
                      <a:pt x="180" y="1939"/>
                      <a:pt x="180" y="1936"/>
                    </a:cubicBezTo>
                    <a:cubicBezTo>
                      <a:pt x="180" y="1934"/>
                      <a:pt x="180" y="1934"/>
                      <a:pt x="180" y="1934"/>
                    </a:cubicBezTo>
                    <a:cubicBezTo>
                      <a:pt x="180" y="1929"/>
                      <a:pt x="183" y="1923"/>
                      <a:pt x="186" y="1921"/>
                    </a:cubicBezTo>
                    <a:cubicBezTo>
                      <a:pt x="189" y="1919"/>
                      <a:pt x="190" y="1917"/>
                      <a:pt x="191" y="1914"/>
                    </a:cubicBezTo>
                    <a:cubicBezTo>
                      <a:pt x="192" y="1911"/>
                      <a:pt x="194" y="1909"/>
                      <a:pt x="195" y="1909"/>
                    </a:cubicBezTo>
                    <a:cubicBezTo>
                      <a:pt x="197" y="1908"/>
                      <a:pt x="198" y="1909"/>
                      <a:pt x="200" y="1910"/>
                    </a:cubicBezTo>
                    <a:cubicBezTo>
                      <a:pt x="200" y="1910"/>
                      <a:pt x="201" y="1911"/>
                      <a:pt x="201" y="1912"/>
                    </a:cubicBezTo>
                    <a:cubicBezTo>
                      <a:pt x="202" y="1912"/>
                      <a:pt x="202" y="1913"/>
                      <a:pt x="203" y="1913"/>
                    </a:cubicBezTo>
                    <a:cubicBezTo>
                      <a:pt x="203" y="1913"/>
                      <a:pt x="203" y="1913"/>
                      <a:pt x="203" y="1913"/>
                    </a:cubicBezTo>
                    <a:cubicBezTo>
                      <a:pt x="205" y="1910"/>
                      <a:pt x="208" y="1907"/>
                      <a:pt x="214" y="1906"/>
                    </a:cubicBezTo>
                    <a:cubicBezTo>
                      <a:pt x="214" y="1906"/>
                      <a:pt x="215" y="1906"/>
                      <a:pt x="215" y="1905"/>
                    </a:cubicBezTo>
                    <a:cubicBezTo>
                      <a:pt x="215" y="1905"/>
                      <a:pt x="214" y="1905"/>
                      <a:pt x="214" y="1905"/>
                    </a:cubicBezTo>
                    <a:cubicBezTo>
                      <a:pt x="210" y="1902"/>
                      <a:pt x="211" y="1900"/>
                      <a:pt x="211" y="1898"/>
                    </a:cubicBezTo>
                    <a:cubicBezTo>
                      <a:pt x="211" y="1896"/>
                      <a:pt x="212" y="1895"/>
                      <a:pt x="212" y="1892"/>
                    </a:cubicBezTo>
                    <a:cubicBezTo>
                      <a:pt x="212" y="1891"/>
                      <a:pt x="212" y="1889"/>
                      <a:pt x="212" y="1888"/>
                    </a:cubicBezTo>
                    <a:cubicBezTo>
                      <a:pt x="212" y="1888"/>
                      <a:pt x="211" y="1887"/>
                      <a:pt x="211" y="1887"/>
                    </a:cubicBezTo>
                    <a:cubicBezTo>
                      <a:pt x="211" y="1887"/>
                      <a:pt x="211" y="1886"/>
                      <a:pt x="211" y="1886"/>
                    </a:cubicBezTo>
                    <a:cubicBezTo>
                      <a:pt x="210" y="1885"/>
                      <a:pt x="208" y="1883"/>
                      <a:pt x="207" y="1879"/>
                    </a:cubicBezTo>
                    <a:cubicBezTo>
                      <a:pt x="206" y="1877"/>
                      <a:pt x="205" y="1876"/>
                      <a:pt x="201" y="1876"/>
                    </a:cubicBezTo>
                    <a:cubicBezTo>
                      <a:pt x="200" y="1877"/>
                      <a:pt x="194" y="1877"/>
                      <a:pt x="189" y="1875"/>
                    </a:cubicBezTo>
                    <a:cubicBezTo>
                      <a:pt x="184" y="1873"/>
                      <a:pt x="183" y="1869"/>
                      <a:pt x="183" y="1864"/>
                    </a:cubicBezTo>
                    <a:cubicBezTo>
                      <a:pt x="183" y="1865"/>
                      <a:pt x="183" y="1865"/>
                      <a:pt x="182" y="1865"/>
                    </a:cubicBezTo>
                    <a:cubicBezTo>
                      <a:pt x="181" y="1867"/>
                      <a:pt x="181" y="1868"/>
                      <a:pt x="180" y="1868"/>
                    </a:cubicBezTo>
                    <a:cubicBezTo>
                      <a:pt x="179" y="1868"/>
                      <a:pt x="179" y="1868"/>
                      <a:pt x="178" y="1869"/>
                    </a:cubicBezTo>
                    <a:cubicBezTo>
                      <a:pt x="178" y="1869"/>
                      <a:pt x="178" y="1869"/>
                      <a:pt x="178" y="1869"/>
                    </a:cubicBezTo>
                    <a:cubicBezTo>
                      <a:pt x="178" y="1870"/>
                      <a:pt x="178" y="1871"/>
                      <a:pt x="180" y="1873"/>
                    </a:cubicBezTo>
                    <a:cubicBezTo>
                      <a:pt x="183" y="1877"/>
                      <a:pt x="181" y="1879"/>
                      <a:pt x="181" y="1879"/>
                    </a:cubicBezTo>
                    <a:cubicBezTo>
                      <a:pt x="179" y="1881"/>
                      <a:pt x="175" y="1880"/>
                      <a:pt x="173" y="1879"/>
                    </a:cubicBezTo>
                    <a:cubicBezTo>
                      <a:pt x="173" y="1878"/>
                      <a:pt x="173" y="1878"/>
                      <a:pt x="173" y="1878"/>
                    </a:cubicBezTo>
                    <a:cubicBezTo>
                      <a:pt x="172" y="1877"/>
                      <a:pt x="170" y="1875"/>
                      <a:pt x="168" y="1874"/>
                    </a:cubicBezTo>
                    <a:cubicBezTo>
                      <a:pt x="166" y="1873"/>
                      <a:pt x="165" y="1871"/>
                      <a:pt x="164" y="1870"/>
                    </a:cubicBezTo>
                    <a:cubicBezTo>
                      <a:pt x="164" y="1870"/>
                      <a:pt x="163" y="1869"/>
                      <a:pt x="163" y="1869"/>
                    </a:cubicBezTo>
                    <a:cubicBezTo>
                      <a:pt x="161" y="1870"/>
                      <a:pt x="154" y="1872"/>
                      <a:pt x="148" y="1871"/>
                    </a:cubicBezTo>
                    <a:cubicBezTo>
                      <a:pt x="144" y="1871"/>
                      <a:pt x="140" y="1871"/>
                      <a:pt x="139" y="1877"/>
                    </a:cubicBezTo>
                    <a:cubicBezTo>
                      <a:pt x="138" y="1881"/>
                      <a:pt x="135" y="1883"/>
                      <a:pt x="131" y="1884"/>
                    </a:cubicBezTo>
                    <a:cubicBezTo>
                      <a:pt x="129" y="1885"/>
                      <a:pt x="126" y="1885"/>
                      <a:pt x="124" y="1883"/>
                    </a:cubicBezTo>
                    <a:cubicBezTo>
                      <a:pt x="124" y="1883"/>
                      <a:pt x="124" y="1883"/>
                      <a:pt x="124" y="1883"/>
                    </a:cubicBezTo>
                    <a:cubicBezTo>
                      <a:pt x="123" y="1883"/>
                      <a:pt x="121" y="1882"/>
                      <a:pt x="117" y="1880"/>
                    </a:cubicBezTo>
                    <a:cubicBezTo>
                      <a:pt x="116" y="1879"/>
                      <a:pt x="115" y="1879"/>
                      <a:pt x="115" y="1879"/>
                    </a:cubicBezTo>
                    <a:cubicBezTo>
                      <a:pt x="115" y="1879"/>
                      <a:pt x="115" y="1880"/>
                      <a:pt x="115" y="1880"/>
                    </a:cubicBezTo>
                    <a:cubicBezTo>
                      <a:pt x="114" y="1880"/>
                      <a:pt x="112" y="1882"/>
                      <a:pt x="109" y="1881"/>
                    </a:cubicBezTo>
                    <a:cubicBezTo>
                      <a:pt x="105" y="1881"/>
                      <a:pt x="103" y="1881"/>
                      <a:pt x="101" y="1880"/>
                    </a:cubicBezTo>
                    <a:cubicBezTo>
                      <a:pt x="99" y="1880"/>
                      <a:pt x="98" y="1879"/>
                      <a:pt x="96" y="1879"/>
                    </a:cubicBezTo>
                    <a:cubicBezTo>
                      <a:pt x="95" y="1879"/>
                      <a:pt x="91" y="1879"/>
                      <a:pt x="91" y="1880"/>
                    </a:cubicBezTo>
                    <a:cubicBezTo>
                      <a:pt x="90" y="1880"/>
                      <a:pt x="90" y="1881"/>
                      <a:pt x="90" y="1881"/>
                    </a:cubicBezTo>
                    <a:cubicBezTo>
                      <a:pt x="91" y="1884"/>
                      <a:pt x="90" y="1885"/>
                      <a:pt x="89" y="1886"/>
                    </a:cubicBezTo>
                    <a:cubicBezTo>
                      <a:pt x="88" y="1888"/>
                      <a:pt x="85" y="1888"/>
                      <a:pt x="83" y="1887"/>
                    </a:cubicBezTo>
                    <a:cubicBezTo>
                      <a:pt x="82" y="1887"/>
                      <a:pt x="82" y="1887"/>
                      <a:pt x="81" y="1887"/>
                    </a:cubicBezTo>
                    <a:cubicBezTo>
                      <a:pt x="79" y="1887"/>
                      <a:pt x="76" y="1887"/>
                      <a:pt x="70" y="1885"/>
                    </a:cubicBezTo>
                    <a:cubicBezTo>
                      <a:pt x="66" y="1884"/>
                      <a:pt x="66" y="1885"/>
                      <a:pt x="63" y="1887"/>
                    </a:cubicBezTo>
                    <a:cubicBezTo>
                      <a:pt x="63" y="1888"/>
                      <a:pt x="62" y="1888"/>
                      <a:pt x="62" y="1889"/>
                    </a:cubicBezTo>
                    <a:cubicBezTo>
                      <a:pt x="61" y="1890"/>
                      <a:pt x="60" y="1891"/>
                      <a:pt x="59" y="1892"/>
                    </a:cubicBezTo>
                    <a:cubicBezTo>
                      <a:pt x="59" y="1892"/>
                      <a:pt x="60" y="1892"/>
                      <a:pt x="60" y="1892"/>
                    </a:cubicBezTo>
                    <a:cubicBezTo>
                      <a:pt x="61" y="1891"/>
                      <a:pt x="61" y="1891"/>
                      <a:pt x="61" y="1891"/>
                    </a:cubicBezTo>
                    <a:cubicBezTo>
                      <a:pt x="64" y="1890"/>
                      <a:pt x="65" y="1889"/>
                      <a:pt x="67" y="1890"/>
                    </a:cubicBezTo>
                    <a:cubicBezTo>
                      <a:pt x="68" y="1890"/>
                      <a:pt x="68" y="1892"/>
                      <a:pt x="68" y="1893"/>
                    </a:cubicBezTo>
                    <a:cubicBezTo>
                      <a:pt x="69" y="1898"/>
                      <a:pt x="66" y="1899"/>
                      <a:pt x="59" y="1904"/>
                    </a:cubicBezTo>
                    <a:cubicBezTo>
                      <a:pt x="56" y="1905"/>
                      <a:pt x="52" y="1908"/>
                      <a:pt x="48" y="1910"/>
                    </a:cubicBezTo>
                    <a:cubicBezTo>
                      <a:pt x="41" y="1914"/>
                      <a:pt x="32" y="1919"/>
                      <a:pt x="31" y="1921"/>
                    </a:cubicBezTo>
                    <a:cubicBezTo>
                      <a:pt x="30" y="1921"/>
                      <a:pt x="29" y="1922"/>
                      <a:pt x="28" y="1922"/>
                    </a:cubicBezTo>
                    <a:cubicBezTo>
                      <a:pt x="25" y="1925"/>
                      <a:pt x="20" y="1929"/>
                      <a:pt x="16" y="1930"/>
                    </a:cubicBezTo>
                    <a:cubicBezTo>
                      <a:pt x="14" y="1930"/>
                      <a:pt x="14" y="1930"/>
                      <a:pt x="14" y="1930"/>
                    </a:cubicBezTo>
                    <a:cubicBezTo>
                      <a:pt x="14" y="1930"/>
                      <a:pt x="14" y="1930"/>
                      <a:pt x="14" y="1931"/>
                    </a:cubicBezTo>
                    <a:cubicBezTo>
                      <a:pt x="13" y="1932"/>
                      <a:pt x="13" y="1933"/>
                      <a:pt x="11" y="1935"/>
                    </a:cubicBezTo>
                    <a:cubicBezTo>
                      <a:pt x="11" y="1936"/>
                      <a:pt x="10" y="1937"/>
                      <a:pt x="10" y="1937"/>
                    </a:cubicBezTo>
                    <a:cubicBezTo>
                      <a:pt x="10" y="1937"/>
                      <a:pt x="10" y="1937"/>
                      <a:pt x="11" y="1937"/>
                    </a:cubicBezTo>
                    <a:cubicBezTo>
                      <a:pt x="11" y="1938"/>
                      <a:pt x="12" y="1940"/>
                      <a:pt x="12" y="1942"/>
                    </a:cubicBezTo>
                    <a:cubicBezTo>
                      <a:pt x="13" y="1946"/>
                      <a:pt x="12" y="1948"/>
                      <a:pt x="11" y="1949"/>
                    </a:cubicBezTo>
                    <a:cubicBezTo>
                      <a:pt x="11" y="1950"/>
                      <a:pt x="10" y="1951"/>
                      <a:pt x="11" y="1951"/>
                    </a:cubicBezTo>
                    <a:cubicBezTo>
                      <a:pt x="11" y="1952"/>
                      <a:pt x="11" y="1952"/>
                      <a:pt x="11" y="1953"/>
                    </a:cubicBezTo>
                    <a:cubicBezTo>
                      <a:pt x="12" y="1956"/>
                      <a:pt x="13" y="1960"/>
                      <a:pt x="9" y="1968"/>
                    </a:cubicBezTo>
                    <a:cubicBezTo>
                      <a:pt x="6" y="1974"/>
                      <a:pt x="11" y="1980"/>
                      <a:pt x="12" y="1981"/>
                    </a:cubicBezTo>
                    <a:cubicBezTo>
                      <a:pt x="12" y="1981"/>
                      <a:pt x="12" y="1981"/>
                      <a:pt x="13" y="1982"/>
                    </a:cubicBezTo>
                    <a:cubicBezTo>
                      <a:pt x="17" y="1984"/>
                      <a:pt x="17" y="1987"/>
                      <a:pt x="14" y="1993"/>
                    </a:cubicBezTo>
                    <a:cubicBezTo>
                      <a:pt x="13" y="1994"/>
                      <a:pt x="13" y="1996"/>
                      <a:pt x="14" y="1997"/>
                    </a:cubicBezTo>
                    <a:cubicBezTo>
                      <a:pt x="14" y="1998"/>
                      <a:pt x="15" y="1999"/>
                      <a:pt x="16" y="1999"/>
                    </a:cubicBezTo>
                    <a:cubicBezTo>
                      <a:pt x="17" y="1999"/>
                      <a:pt x="17" y="1999"/>
                      <a:pt x="18" y="1999"/>
                    </a:cubicBezTo>
                    <a:cubicBezTo>
                      <a:pt x="21" y="2000"/>
                      <a:pt x="26" y="2000"/>
                      <a:pt x="27" y="2003"/>
                    </a:cubicBezTo>
                    <a:cubicBezTo>
                      <a:pt x="27" y="2005"/>
                      <a:pt x="31" y="2008"/>
                      <a:pt x="33" y="2008"/>
                    </a:cubicBezTo>
                    <a:cubicBezTo>
                      <a:pt x="36" y="2008"/>
                      <a:pt x="38" y="2009"/>
                      <a:pt x="38" y="2012"/>
                    </a:cubicBezTo>
                    <a:cubicBezTo>
                      <a:pt x="39" y="2012"/>
                      <a:pt x="39" y="2012"/>
                      <a:pt x="40" y="2012"/>
                    </a:cubicBezTo>
                    <a:cubicBezTo>
                      <a:pt x="43" y="2012"/>
                      <a:pt x="44" y="2013"/>
                      <a:pt x="46" y="2014"/>
                    </a:cubicBezTo>
                    <a:cubicBezTo>
                      <a:pt x="47" y="2014"/>
                      <a:pt x="47" y="2014"/>
                      <a:pt x="47" y="2014"/>
                    </a:cubicBezTo>
                    <a:cubicBezTo>
                      <a:pt x="48" y="2015"/>
                      <a:pt x="48" y="2015"/>
                      <a:pt x="49" y="2015"/>
                    </a:cubicBezTo>
                    <a:cubicBezTo>
                      <a:pt x="50" y="2016"/>
                      <a:pt x="51" y="2017"/>
                      <a:pt x="59" y="2018"/>
                    </a:cubicBezTo>
                    <a:cubicBezTo>
                      <a:pt x="65" y="2018"/>
                      <a:pt x="67" y="2019"/>
                      <a:pt x="68" y="2020"/>
                    </a:cubicBezTo>
                    <a:cubicBezTo>
                      <a:pt x="68" y="2020"/>
                      <a:pt x="69" y="2020"/>
                      <a:pt x="70" y="2021"/>
                    </a:cubicBezTo>
                    <a:cubicBezTo>
                      <a:pt x="75" y="2021"/>
                      <a:pt x="76" y="2021"/>
                      <a:pt x="78" y="2021"/>
                    </a:cubicBezTo>
                    <a:cubicBezTo>
                      <a:pt x="79" y="2021"/>
                      <a:pt x="80" y="2021"/>
                      <a:pt x="81" y="2021"/>
                    </a:cubicBezTo>
                    <a:close/>
                    <a:moveTo>
                      <a:pt x="177" y="1877"/>
                    </a:moveTo>
                    <a:cubicBezTo>
                      <a:pt x="177" y="1877"/>
                      <a:pt x="177" y="1877"/>
                      <a:pt x="177" y="1877"/>
                    </a:cubicBezTo>
                    <a:close/>
                    <a:moveTo>
                      <a:pt x="452" y="1681"/>
                    </a:moveTo>
                    <a:cubicBezTo>
                      <a:pt x="451" y="1681"/>
                      <a:pt x="450" y="1680"/>
                      <a:pt x="450" y="1680"/>
                    </a:cubicBezTo>
                    <a:cubicBezTo>
                      <a:pt x="448" y="1678"/>
                      <a:pt x="447" y="1676"/>
                      <a:pt x="448" y="1674"/>
                    </a:cubicBezTo>
                    <a:cubicBezTo>
                      <a:pt x="449" y="1672"/>
                      <a:pt x="449" y="1671"/>
                      <a:pt x="451" y="1670"/>
                    </a:cubicBezTo>
                    <a:cubicBezTo>
                      <a:pt x="452" y="1669"/>
                      <a:pt x="452" y="1669"/>
                      <a:pt x="452" y="1669"/>
                    </a:cubicBezTo>
                    <a:cubicBezTo>
                      <a:pt x="453" y="1668"/>
                      <a:pt x="455" y="1667"/>
                      <a:pt x="457" y="1667"/>
                    </a:cubicBezTo>
                    <a:cubicBezTo>
                      <a:pt x="458" y="1666"/>
                      <a:pt x="460" y="1666"/>
                      <a:pt x="461" y="1666"/>
                    </a:cubicBezTo>
                    <a:cubicBezTo>
                      <a:pt x="464" y="1664"/>
                      <a:pt x="466" y="1665"/>
                      <a:pt x="467" y="1666"/>
                    </a:cubicBezTo>
                    <a:cubicBezTo>
                      <a:pt x="468" y="1668"/>
                      <a:pt x="468" y="1670"/>
                      <a:pt x="467" y="1672"/>
                    </a:cubicBezTo>
                    <a:cubicBezTo>
                      <a:pt x="467" y="1672"/>
                      <a:pt x="467" y="1672"/>
                      <a:pt x="467" y="1673"/>
                    </a:cubicBezTo>
                    <a:cubicBezTo>
                      <a:pt x="467" y="1675"/>
                      <a:pt x="467" y="1677"/>
                      <a:pt x="465" y="1678"/>
                    </a:cubicBezTo>
                    <a:cubicBezTo>
                      <a:pt x="463" y="1680"/>
                      <a:pt x="461" y="1678"/>
                      <a:pt x="460" y="1677"/>
                    </a:cubicBezTo>
                    <a:cubicBezTo>
                      <a:pt x="460" y="1677"/>
                      <a:pt x="460" y="1677"/>
                      <a:pt x="459" y="1678"/>
                    </a:cubicBezTo>
                    <a:cubicBezTo>
                      <a:pt x="457" y="1680"/>
                      <a:pt x="455" y="1680"/>
                      <a:pt x="453" y="1680"/>
                    </a:cubicBezTo>
                    <a:cubicBezTo>
                      <a:pt x="453" y="1680"/>
                      <a:pt x="452" y="1681"/>
                      <a:pt x="452" y="1681"/>
                    </a:cubicBezTo>
                    <a:close/>
                    <a:moveTo>
                      <a:pt x="452" y="1676"/>
                    </a:moveTo>
                    <a:cubicBezTo>
                      <a:pt x="452" y="1676"/>
                      <a:pt x="451" y="1676"/>
                      <a:pt x="451" y="1676"/>
                    </a:cubicBezTo>
                    <a:cubicBezTo>
                      <a:pt x="452" y="1677"/>
                      <a:pt x="452" y="1677"/>
                      <a:pt x="452" y="1677"/>
                    </a:cubicBezTo>
                    <a:cubicBezTo>
                      <a:pt x="452" y="1676"/>
                      <a:pt x="452" y="1676"/>
                      <a:pt x="452" y="1676"/>
                    </a:cubicBezTo>
                    <a:cubicBezTo>
                      <a:pt x="452" y="1676"/>
                      <a:pt x="452" y="1676"/>
                      <a:pt x="452" y="1676"/>
                    </a:cubicBezTo>
                    <a:close/>
                    <a:moveTo>
                      <a:pt x="462" y="1670"/>
                    </a:moveTo>
                    <a:cubicBezTo>
                      <a:pt x="461" y="1671"/>
                      <a:pt x="459" y="1671"/>
                      <a:pt x="458" y="1671"/>
                    </a:cubicBezTo>
                    <a:cubicBezTo>
                      <a:pt x="457" y="1672"/>
                      <a:pt x="456" y="1672"/>
                      <a:pt x="455" y="1673"/>
                    </a:cubicBezTo>
                    <a:cubicBezTo>
                      <a:pt x="454" y="1673"/>
                      <a:pt x="454" y="1673"/>
                      <a:pt x="454" y="1673"/>
                    </a:cubicBezTo>
                    <a:cubicBezTo>
                      <a:pt x="453" y="1675"/>
                      <a:pt x="453" y="1675"/>
                      <a:pt x="452" y="1675"/>
                    </a:cubicBezTo>
                    <a:cubicBezTo>
                      <a:pt x="453" y="1675"/>
                      <a:pt x="455" y="1675"/>
                      <a:pt x="456" y="1675"/>
                    </a:cubicBezTo>
                    <a:cubicBezTo>
                      <a:pt x="457" y="1674"/>
                      <a:pt x="459" y="1671"/>
                      <a:pt x="462" y="1673"/>
                    </a:cubicBezTo>
                    <a:cubicBezTo>
                      <a:pt x="462" y="1672"/>
                      <a:pt x="462" y="1671"/>
                      <a:pt x="462" y="1670"/>
                    </a:cubicBezTo>
                    <a:close/>
                    <a:moveTo>
                      <a:pt x="466" y="1672"/>
                    </a:moveTo>
                    <a:cubicBezTo>
                      <a:pt x="466" y="1672"/>
                      <a:pt x="466" y="1672"/>
                      <a:pt x="466" y="1672"/>
                    </a:cubicBezTo>
                    <a:cubicBezTo>
                      <a:pt x="466" y="1672"/>
                      <a:pt x="466" y="1672"/>
                      <a:pt x="466" y="1672"/>
                    </a:cubicBezTo>
                    <a:close/>
                    <a:moveTo>
                      <a:pt x="1049" y="934"/>
                    </a:moveTo>
                    <a:cubicBezTo>
                      <a:pt x="1049" y="934"/>
                      <a:pt x="1049" y="934"/>
                      <a:pt x="1049" y="934"/>
                    </a:cubicBezTo>
                    <a:cubicBezTo>
                      <a:pt x="1048" y="934"/>
                      <a:pt x="1048" y="934"/>
                      <a:pt x="1048" y="934"/>
                    </a:cubicBezTo>
                    <a:cubicBezTo>
                      <a:pt x="1045" y="934"/>
                      <a:pt x="1042" y="934"/>
                      <a:pt x="1041" y="929"/>
                    </a:cubicBezTo>
                    <a:cubicBezTo>
                      <a:pt x="1041" y="927"/>
                      <a:pt x="1040" y="927"/>
                      <a:pt x="1040" y="926"/>
                    </a:cubicBezTo>
                    <a:cubicBezTo>
                      <a:pt x="1039" y="925"/>
                      <a:pt x="1038" y="924"/>
                      <a:pt x="1037" y="921"/>
                    </a:cubicBezTo>
                    <a:cubicBezTo>
                      <a:pt x="1037" y="921"/>
                      <a:pt x="1037" y="921"/>
                      <a:pt x="1037" y="921"/>
                    </a:cubicBezTo>
                    <a:cubicBezTo>
                      <a:pt x="1034" y="917"/>
                      <a:pt x="1036" y="915"/>
                      <a:pt x="1037" y="914"/>
                    </a:cubicBezTo>
                    <a:cubicBezTo>
                      <a:pt x="1041" y="911"/>
                      <a:pt x="1049" y="914"/>
                      <a:pt x="1051" y="915"/>
                    </a:cubicBezTo>
                    <a:cubicBezTo>
                      <a:pt x="1052" y="917"/>
                      <a:pt x="1052" y="917"/>
                      <a:pt x="1057" y="918"/>
                    </a:cubicBezTo>
                    <a:cubicBezTo>
                      <a:pt x="1063" y="919"/>
                      <a:pt x="1065" y="924"/>
                      <a:pt x="1066" y="926"/>
                    </a:cubicBezTo>
                    <a:cubicBezTo>
                      <a:pt x="1066" y="927"/>
                      <a:pt x="1066" y="928"/>
                      <a:pt x="1065" y="929"/>
                    </a:cubicBezTo>
                    <a:cubicBezTo>
                      <a:pt x="1062" y="933"/>
                      <a:pt x="1052" y="934"/>
                      <a:pt x="1049" y="934"/>
                    </a:cubicBezTo>
                    <a:close/>
                    <a:moveTo>
                      <a:pt x="1041" y="919"/>
                    </a:moveTo>
                    <a:cubicBezTo>
                      <a:pt x="1042" y="922"/>
                      <a:pt x="1043" y="923"/>
                      <a:pt x="1043" y="923"/>
                    </a:cubicBezTo>
                    <a:cubicBezTo>
                      <a:pt x="1044" y="924"/>
                      <a:pt x="1045" y="925"/>
                      <a:pt x="1046" y="927"/>
                    </a:cubicBezTo>
                    <a:cubicBezTo>
                      <a:pt x="1046" y="929"/>
                      <a:pt x="1046" y="929"/>
                      <a:pt x="1048" y="929"/>
                    </a:cubicBezTo>
                    <a:cubicBezTo>
                      <a:pt x="1049" y="929"/>
                      <a:pt x="1049" y="929"/>
                      <a:pt x="1049" y="929"/>
                    </a:cubicBezTo>
                    <a:cubicBezTo>
                      <a:pt x="1052" y="930"/>
                      <a:pt x="1059" y="928"/>
                      <a:pt x="1061" y="927"/>
                    </a:cubicBezTo>
                    <a:cubicBezTo>
                      <a:pt x="1060" y="925"/>
                      <a:pt x="1059" y="923"/>
                      <a:pt x="1056" y="922"/>
                    </a:cubicBezTo>
                    <a:cubicBezTo>
                      <a:pt x="1051" y="922"/>
                      <a:pt x="1050" y="921"/>
                      <a:pt x="1047" y="919"/>
                    </a:cubicBezTo>
                    <a:cubicBezTo>
                      <a:pt x="1046" y="918"/>
                      <a:pt x="1041" y="917"/>
                      <a:pt x="1040" y="917"/>
                    </a:cubicBezTo>
                    <a:cubicBezTo>
                      <a:pt x="1040" y="917"/>
                      <a:pt x="1040" y="918"/>
                      <a:pt x="1041" y="919"/>
                    </a:cubicBezTo>
                    <a:close/>
                    <a:moveTo>
                      <a:pt x="1012" y="813"/>
                    </a:moveTo>
                    <a:cubicBezTo>
                      <a:pt x="1011" y="813"/>
                      <a:pt x="1008" y="812"/>
                      <a:pt x="1007" y="811"/>
                    </a:cubicBezTo>
                    <a:cubicBezTo>
                      <a:pt x="1007" y="810"/>
                      <a:pt x="1007" y="810"/>
                      <a:pt x="1005" y="809"/>
                    </a:cubicBezTo>
                    <a:cubicBezTo>
                      <a:pt x="1003" y="809"/>
                      <a:pt x="1002" y="808"/>
                      <a:pt x="1001" y="808"/>
                    </a:cubicBezTo>
                    <a:cubicBezTo>
                      <a:pt x="1001" y="807"/>
                      <a:pt x="1000" y="807"/>
                      <a:pt x="999" y="807"/>
                    </a:cubicBezTo>
                    <a:cubicBezTo>
                      <a:pt x="999" y="807"/>
                      <a:pt x="999" y="807"/>
                      <a:pt x="999" y="807"/>
                    </a:cubicBezTo>
                    <a:cubicBezTo>
                      <a:pt x="998" y="806"/>
                      <a:pt x="997" y="806"/>
                      <a:pt x="997" y="804"/>
                    </a:cubicBezTo>
                    <a:cubicBezTo>
                      <a:pt x="997" y="803"/>
                      <a:pt x="997" y="803"/>
                      <a:pt x="997" y="803"/>
                    </a:cubicBezTo>
                    <a:cubicBezTo>
                      <a:pt x="998" y="802"/>
                      <a:pt x="998" y="802"/>
                      <a:pt x="998" y="802"/>
                    </a:cubicBezTo>
                    <a:cubicBezTo>
                      <a:pt x="1000" y="801"/>
                      <a:pt x="1004" y="801"/>
                      <a:pt x="1005" y="802"/>
                    </a:cubicBezTo>
                    <a:cubicBezTo>
                      <a:pt x="1006" y="802"/>
                      <a:pt x="1007" y="802"/>
                      <a:pt x="1007" y="802"/>
                    </a:cubicBezTo>
                    <a:cubicBezTo>
                      <a:pt x="1009" y="803"/>
                      <a:pt x="1010" y="803"/>
                      <a:pt x="1011" y="804"/>
                    </a:cubicBezTo>
                    <a:cubicBezTo>
                      <a:pt x="1014" y="805"/>
                      <a:pt x="1016" y="809"/>
                      <a:pt x="1015" y="811"/>
                    </a:cubicBezTo>
                    <a:cubicBezTo>
                      <a:pt x="1015" y="812"/>
                      <a:pt x="1015" y="812"/>
                      <a:pt x="1015" y="812"/>
                    </a:cubicBezTo>
                    <a:cubicBezTo>
                      <a:pt x="1013" y="813"/>
                      <a:pt x="1013" y="813"/>
                      <a:pt x="1013" y="813"/>
                    </a:cubicBezTo>
                    <a:cubicBezTo>
                      <a:pt x="1013" y="813"/>
                      <a:pt x="1013" y="813"/>
                      <a:pt x="1012" y="813"/>
                    </a:cubicBezTo>
                    <a:close/>
                    <a:moveTo>
                      <a:pt x="1001" y="802"/>
                    </a:moveTo>
                    <a:cubicBezTo>
                      <a:pt x="1000" y="805"/>
                      <a:pt x="1000" y="805"/>
                      <a:pt x="1000" y="805"/>
                    </a:cubicBezTo>
                    <a:cubicBezTo>
                      <a:pt x="1001" y="802"/>
                      <a:pt x="1001" y="802"/>
                      <a:pt x="1001" y="802"/>
                    </a:cubicBezTo>
                    <a:cubicBezTo>
                      <a:pt x="1001" y="802"/>
                      <a:pt x="1001" y="802"/>
                      <a:pt x="1001" y="802"/>
                    </a:cubicBezTo>
                    <a:close/>
                    <a:moveTo>
                      <a:pt x="1014" y="802"/>
                    </a:moveTo>
                    <a:cubicBezTo>
                      <a:pt x="1010" y="802"/>
                      <a:pt x="1000" y="798"/>
                      <a:pt x="997" y="797"/>
                    </a:cubicBezTo>
                    <a:cubicBezTo>
                      <a:pt x="993" y="795"/>
                      <a:pt x="986" y="792"/>
                      <a:pt x="982" y="791"/>
                    </a:cubicBezTo>
                    <a:cubicBezTo>
                      <a:pt x="978" y="789"/>
                      <a:pt x="971" y="785"/>
                      <a:pt x="968" y="782"/>
                    </a:cubicBezTo>
                    <a:cubicBezTo>
                      <a:pt x="968" y="783"/>
                      <a:pt x="966" y="783"/>
                      <a:pt x="965" y="783"/>
                    </a:cubicBezTo>
                    <a:cubicBezTo>
                      <a:pt x="963" y="782"/>
                      <a:pt x="962" y="779"/>
                      <a:pt x="961" y="777"/>
                    </a:cubicBezTo>
                    <a:cubicBezTo>
                      <a:pt x="960" y="774"/>
                      <a:pt x="963" y="771"/>
                      <a:pt x="967" y="768"/>
                    </a:cubicBezTo>
                    <a:cubicBezTo>
                      <a:pt x="968" y="766"/>
                      <a:pt x="971" y="766"/>
                      <a:pt x="974" y="766"/>
                    </a:cubicBezTo>
                    <a:cubicBezTo>
                      <a:pt x="977" y="767"/>
                      <a:pt x="981" y="769"/>
                      <a:pt x="982" y="771"/>
                    </a:cubicBezTo>
                    <a:cubicBezTo>
                      <a:pt x="983" y="772"/>
                      <a:pt x="986" y="774"/>
                      <a:pt x="988" y="775"/>
                    </a:cubicBezTo>
                    <a:cubicBezTo>
                      <a:pt x="989" y="776"/>
                      <a:pt x="990" y="776"/>
                      <a:pt x="991" y="776"/>
                    </a:cubicBezTo>
                    <a:cubicBezTo>
                      <a:pt x="994" y="777"/>
                      <a:pt x="998" y="779"/>
                      <a:pt x="1000" y="781"/>
                    </a:cubicBezTo>
                    <a:cubicBezTo>
                      <a:pt x="1001" y="783"/>
                      <a:pt x="1012" y="787"/>
                      <a:pt x="1016" y="787"/>
                    </a:cubicBezTo>
                    <a:cubicBezTo>
                      <a:pt x="1018" y="787"/>
                      <a:pt x="1020" y="788"/>
                      <a:pt x="1021" y="790"/>
                    </a:cubicBezTo>
                    <a:cubicBezTo>
                      <a:pt x="1022" y="792"/>
                      <a:pt x="1022" y="794"/>
                      <a:pt x="1021" y="796"/>
                    </a:cubicBezTo>
                    <a:cubicBezTo>
                      <a:pt x="1020" y="798"/>
                      <a:pt x="1018" y="801"/>
                      <a:pt x="1014" y="802"/>
                    </a:cubicBezTo>
                    <a:cubicBezTo>
                      <a:pt x="1014" y="802"/>
                      <a:pt x="1014" y="802"/>
                      <a:pt x="1014" y="802"/>
                    </a:cubicBezTo>
                    <a:close/>
                    <a:moveTo>
                      <a:pt x="968" y="776"/>
                    </a:moveTo>
                    <a:cubicBezTo>
                      <a:pt x="969" y="776"/>
                      <a:pt x="970" y="777"/>
                      <a:pt x="970" y="777"/>
                    </a:cubicBezTo>
                    <a:cubicBezTo>
                      <a:pt x="971" y="778"/>
                      <a:pt x="971" y="778"/>
                      <a:pt x="971" y="778"/>
                    </a:cubicBezTo>
                    <a:cubicBezTo>
                      <a:pt x="974" y="781"/>
                      <a:pt x="980" y="785"/>
                      <a:pt x="984" y="786"/>
                    </a:cubicBezTo>
                    <a:cubicBezTo>
                      <a:pt x="988" y="788"/>
                      <a:pt x="995" y="791"/>
                      <a:pt x="999" y="793"/>
                    </a:cubicBezTo>
                    <a:cubicBezTo>
                      <a:pt x="1003" y="794"/>
                      <a:pt x="1012" y="797"/>
                      <a:pt x="1014" y="797"/>
                    </a:cubicBezTo>
                    <a:cubicBezTo>
                      <a:pt x="1015" y="797"/>
                      <a:pt x="1015" y="797"/>
                      <a:pt x="1017" y="794"/>
                    </a:cubicBezTo>
                    <a:cubicBezTo>
                      <a:pt x="1017" y="793"/>
                      <a:pt x="1017" y="793"/>
                      <a:pt x="1017" y="792"/>
                    </a:cubicBezTo>
                    <a:cubicBezTo>
                      <a:pt x="1017" y="792"/>
                      <a:pt x="1016" y="792"/>
                      <a:pt x="1015" y="792"/>
                    </a:cubicBezTo>
                    <a:cubicBezTo>
                      <a:pt x="1012" y="791"/>
                      <a:pt x="999" y="787"/>
                      <a:pt x="996" y="784"/>
                    </a:cubicBezTo>
                    <a:cubicBezTo>
                      <a:pt x="995" y="783"/>
                      <a:pt x="992" y="782"/>
                      <a:pt x="989" y="781"/>
                    </a:cubicBezTo>
                    <a:cubicBezTo>
                      <a:pt x="988" y="780"/>
                      <a:pt x="987" y="780"/>
                      <a:pt x="986" y="779"/>
                    </a:cubicBezTo>
                    <a:cubicBezTo>
                      <a:pt x="983" y="778"/>
                      <a:pt x="980" y="775"/>
                      <a:pt x="978" y="773"/>
                    </a:cubicBezTo>
                    <a:cubicBezTo>
                      <a:pt x="978" y="772"/>
                      <a:pt x="975" y="771"/>
                      <a:pt x="972" y="771"/>
                    </a:cubicBezTo>
                    <a:cubicBezTo>
                      <a:pt x="972" y="771"/>
                      <a:pt x="970" y="771"/>
                      <a:pt x="970" y="771"/>
                    </a:cubicBezTo>
                    <a:cubicBezTo>
                      <a:pt x="966" y="774"/>
                      <a:pt x="966" y="775"/>
                      <a:pt x="966" y="776"/>
                    </a:cubicBezTo>
                    <a:cubicBezTo>
                      <a:pt x="966" y="776"/>
                      <a:pt x="966" y="776"/>
                      <a:pt x="966" y="777"/>
                    </a:cubicBezTo>
                    <a:cubicBezTo>
                      <a:pt x="967" y="776"/>
                      <a:pt x="967" y="776"/>
                      <a:pt x="967" y="776"/>
                    </a:cubicBezTo>
                    <a:cubicBezTo>
                      <a:pt x="967" y="776"/>
                      <a:pt x="968" y="776"/>
                      <a:pt x="968" y="776"/>
                    </a:cubicBezTo>
                    <a:close/>
                    <a:moveTo>
                      <a:pt x="966" y="778"/>
                    </a:moveTo>
                    <a:cubicBezTo>
                      <a:pt x="967" y="780"/>
                      <a:pt x="967" y="780"/>
                      <a:pt x="967" y="780"/>
                    </a:cubicBezTo>
                    <a:lnTo>
                      <a:pt x="966" y="778"/>
                    </a:lnTo>
                    <a:close/>
                    <a:moveTo>
                      <a:pt x="966" y="778"/>
                    </a:moveTo>
                    <a:cubicBezTo>
                      <a:pt x="966" y="778"/>
                      <a:pt x="966" y="778"/>
                      <a:pt x="966" y="778"/>
                    </a:cubicBezTo>
                    <a:cubicBezTo>
                      <a:pt x="967" y="780"/>
                      <a:pt x="967" y="780"/>
                      <a:pt x="967" y="780"/>
                    </a:cubicBezTo>
                    <a:lnTo>
                      <a:pt x="966" y="778"/>
                    </a:lnTo>
                    <a:close/>
                    <a:moveTo>
                      <a:pt x="870" y="236"/>
                    </a:moveTo>
                    <a:cubicBezTo>
                      <a:pt x="869" y="236"/>
                      <a:pt x="868" y="235"/>
                      <a:pt x="867" y="235"/>
                    </a:cubicBezTo>
                    <a:cubicBezTo>
                      <a:pt x="866" y="234"/>
                      <a:pt x="865" y="233"/>
                      <a:pt x="865" y="231"/>
                    </a:cubicBezTo>
                    <a:cubicBezTo>
                      <a:pt x="865" y="230"/>
                      <a:pt x="865" y="230"/>
                      <a:pt x="865" y="230"/>
                    </a:cubicBezTo>
                    <a:cubicBezTo>
                      <a:pt x="866" y="229"/>
                      <a:pt x="866" y="229"/>
                      <a:pt x="866" y="229"/>
                    </a:cubicBezTo>
                    <a:cubicBezTo>
                      <a:pt x="867" y="229"/>
                      <a:pt x="867" y="229"/>
                      <a:pt x="868" y="229"/>
                    </a:cubicBezTo>
                    <a:cubicBezTo>
                      <a:pt x="868" y="228"/>
                      <a:pt x="869" y="227"/>
                      <a:pt x="871" y="228"/>
                    </a:cubicBezTo>
                    <a:cubicBezTo>
                      <a:pt x="872" y="228"/>
                      <a:pt x="873" y="229"/>
                      <a:pt x="874" y="230"/>
                    </a:cubicBezTo>
                    <a:cubicBezTo>
                      <a:pt x="874" y="231"/>
                      <a:pt x="875" y="233"/>
                      <a:pt x="872" y="235"/>
                    </a:cubicBezTo>
                    <a:cubicBezTo>
                      <a:pt x="871" y="236"/>
                      <a:pt x="871" y="236"/>
                      <a:pt x="870" y="236"/>
                    </a:cubicBezTo>
                    <a:close/>
                    <a:moveTo>
                      <a:pt x="867" y="231"/>
                    </a:moveTo>
                    <a:cubicBezTo>
                      <a:pt x="869" y="233"/>
                      <a:pt x="869" y="233"/>
                      <a:pt x="869" y="233"/>
                    </a:cubicBezTo>
                    <a:lnTo>
                      <a:pt x="867" y="231"/>
                    </a:lnTo>
                    <a:close/>
                    <a:moveTo>
                      <a:pt x="870" y="232"/>
                    </a:moveTo>
                    <a:cubicBezTo>
                      <a:pt x="870" y="232"/>
                      <a:pt x="870" y="232"/>
                      <a:pt x="870" y="232"/>
                    </a:cubicBezTo>
                    <a:cubicBezTo>
                      <a:pt x="870" y="232"/>
                      <a:pt x="870" y="231"/>
                      <a:pt x="870" y="231"/>
                    </a:cubicBezTo>
                    <a:cubicBezTo>
                      <a:pt x="870" y="231"/>
                      <a:pt x="869" y="232"/>
                      <a:pt x="870" y="232"/>
                    </a:cubicBezTo>
                    <a:close/>
                    <a:moveTo>
                      <a:pt x="871" y="232"/>
                    </a:moveTo>
                    <a:cubicBezTo>
                      <a:pt x="871" y="232"/>
                      <a:pt x="871" y="232"/>
                      <a:pt x="871" y="232"/>
                    </a:cubicBezTo>
                    <a:cubicBezTo>
                      <a:pt x="871" y="232"/>
                      <a:pt x="871" y="232"/>
                      <a:pt x="871" y="232"/>
                    </a:cubicBezTo>
                    <a:close/>
                    <a:moveTo>
                      <a:pt x="860" y="231"/>
                    </a:moveTo>
                    <a:cubicBezTo>
                      <a:pt x="860" y="231"/>
                      <a:pt x="859" y="231"/>
                      <a:pt x="859" y="231"/>
                    </a:cubicBezTo>
                    <a:cubicBezTo>
                      <a:pt x="858" y="230"/>
                      <a:pt x="857" y="228"/>
                      <a:pt x="858" y="227"/>
                    </a:cubicBezTo>
                    <a:cubicBezTo>
                      <a:pt x="858" y="227"/>
                      <a:pt x="858" y="227"/>
                      <a:pt x="858" y="227"/>
                    </a:cubicBezTo>
                    <a:cubicBezTo>
                      <a:pt x="859" y="226"/>
                      <a:pt x="859" y="225"/>
                      <a:pt x="861" y="224"/>
                    </a:cubicBezTo>
                    <a:cubicBezTo>
                      <a:pt x="862" y="224"/>
                      <a:pt x="862" y="224"/>
                      <a:pt x="862" y="224"/>
                    </a:cubicBezTo>
                    <a:cubicBezTo>
                      <a:pt x="863" y="225"/>
                      <a:pt x="863" y="225"/>
                      <a:pt x="863" y="225"/>
                    </a:cubicBezTo>
                    <a:cubicBezTo>
                      <a:pt x="864" y="226"/>
                      <a:pt x="865" y="227"/>
                      <a:pt x="863" y="230"/>
                    </a:cubicBezTo>
                    <a:cubicBezTo>
                      <a:pt x="862" y="231"/>
                      <a:pt x="861" y="231"/>
                      <a:pt x="860" y="231"/>
                    </a:cubicBezTo>
                    <a:close/>
                    <a:moveTo>
                      <a:pt x="862" y="229"/>
                    </a:moveTo>
                    <a:cubicBezTo>
                      <a:pt x="862" y="229"/>
                      <a:pt x="862" y="229"/>
                      <a:pt x="862" y="229"/>
                    </a:cubicBezTo>
                    <a:cubicBezTo>
                      <a:pt x="862" y="229"/>
                      <a:pt x="862" y="229"/>
                      <a:pt x="862" y="229"/>
                    </a:cubicBezTo>
                    <a:close/>
                    <a:moveTo>
                      <a:pt x="862" y="229"/>
                    </a:moveTo>
                    <a:cubicBezTo>
                      <a:pt x="862" y="229"/>
                      <a:pt x="862" y="229"/>
                      <a:pt x="862" y="229"/>
                    </a:cubicBezTo>
                    <a:cubicBezTo>
                      <a:pt x="862" y="229"/>
                      <a:pt x="862" y="229"/>
                      <a:pt x="862" y="229"/>
                    </a:cubicBezTo>
                    <a:cubicBezTo>
                      <a:pt x="863" y="228"/>
                      <a:pt x="862" y="227"/>
                      <a:pt x="861" y="227"/>
                    </a:cubicBezTo>
                    <a:cubicBezTo>
                      <a:pt x="861" y="226"/>
                      <a:pt x="860" y="226"/>
                      <a:pt x="859" y="227"/>
                    </a:cubicBezTo>
                    <a:cubicBezTo>
                      <a:pt x="859" y="227"/>
                      <a:pt x="859" y="227"/>
                      <a:pt x="859" y="228"/>
                    </a:cubicBezTo>
                    <a:cubicBezTo>
                      <a:pt x="860" y="228"/>
                      <a:pt x="860" y="228"/>
                      <a:pt x="860" y="228"/>
                    </a:cubicBezTo>
                    <a:cubicBezTo>
                      <a:pt x="861" y="227"/>
                      <a:pt x="861" y="227"/>
                      <a:pt x="861" y="227"/>
                    </a:cubicBezTo>
                    <a:lnTo>
                      <a:pt x="862" y="229"/>
                    </a:lnTo>
                    <a:close/>
                    <a:moveTo>
                      <a:pt x="859" y="228"/>
                    </a:moveTo>
                    <a:cubicBezTo>
                      <a:pt x="859" y="228"/>
                      <a:pt x="860" y="228"/>
                      <a:pt x="860" y="229"/>
                    </a:cubicBezTo>
                    <a:cubicBezTo>
                      <a:pt x="860" y="228"/>
                      <a:pt x="860" y="228"/>
                      <a:pt x="860" y="228"/>
                    </a:cubicBezTo>
                    <a:lnTo>
                      <a:pt x="859" y="228"/>
                    </a:lnTo>
                    <a:close/>
                    <a:moveTo>
                      <a:pt x="869" y="213"/>
                    </a:moveTo>
                    <a:cubicBezTo>
                      <a:pt x="869" y="213"/>
                      <a:pt x="868" y="213"/>
                      <a:pt x="868" y="213"/>
                    </a:cubicBezTo>
                    <a:cubicBezTo>
                      <a:pt x="867" y="213"/>
                      <a:pt x="864" y="212"/>
                      <a:pt x="864" y="209"/>
                    </a:cubicBezTo>
                    <a:cubicBezTo>
                      <a:pt x="864" y="208"/>
                      <a:pt x="865" y="207"/>
                      <a:pt x="866" y="206"/>
                    </a:cubicBezTo>
                    <a:cubicBezTo>
                      <a:pt x="867" y="206"/>
                      <a:pt x="867" y="206"/>
                      <a:pt x="867" y="206"/>
                    </a:cubicBezTo>
                    <a:cubicBezTo>
                      <a:pt x="868" y="206"/>
                      <a:pt x="870" y="205"/>
                      <a:pt x="871" y="207"/>
                    </a:cubicBezTo>
                    <a:cubicBezTo>
                      <a:pt x="872" y="208"/>
                      <a:pt x="873" y="209"/>
                      <a:pt x="872" y="211"/>
                    </a:cubicBezTo>
                    <a:cubicBezTo>
                      <a:pt x="872" y="211"/>
                      <a:pt x="872" y="212"/>
                      <a:pt x="871" y="213"/>
                    </a:cubicBezTo>
                    <a:cubicBezTo>
                      <a:pt x="870" y="213"/>
                      <a:pt x="870" y="213"/>
                      <a:pt x="869" y="213"/>
                    </a:cubicBezTo>
                    <a:close/>
                    <a:moveTo>
                      <a:pt x="868" y="211"/>
                    </a:moveTo>
                    <a:cubicBezTo>
                      <a:pt x="868" y="211"/>
                      <a:pt x="868" y="211"/>
                      <a:pt x="868" y="211"/>
                    </a:cubicBezTo>
                    <a:cubicBezTo>
                      <a:pt x="868" y="211"/>
                      <a:pt x="868" y="211"/>
                      <a:pt x="868" y="211"/>
                    </a:cubicBezTo>
                    <a:close/>
                    <a:moveTo>
                      <a:pt x="869" y="208"/>
                    </a:moveTo>
                    <a:cubicBezTo>
                      <a:pt x="868" y="209"/>
                      <a:pt x="868" y="209"/>
                      <a:pt x="868" y="210"/>
                    </a:cubicBezTo>
                    <a:cubicBezTo>
                      <a:pt x="868" y="210"/>
                      <a:pt x="868" y="210"/>
                      <a:pt x="868" y="210"/>
                    </a:cubicBezTo>
                    <a:cubicBezTo>
                      <a:pt x="869" y="210"/>
                      <a:pt x="869" y="210"/>
                      <a:pt x="869" y="209"/>
                    </a:cubicBezTo>
                    <a:cubicBezTo>
                      <a:pt x="869" y="209"/>
                      <a:pt x="869" y="209"/>
                      <a:pt x="869" y="208"/>
                    </a:cubicBezTo>
                    <a:close/>
                    <a:moveTo>
                      <a:pt x="898" y="105"/>
                    </a:moveTo>
                    <a:cubicBezTo>
                      <a:pt x="896" y="105"/>
                      <a:pt x="894" y="104"/>
                      <a:pt x="893" y="102"/>
                    </a:cubicBezTo>
                    <a:cubicBezTo>
                      <a:pt x="892" y="103"/>
                      <a:pt x="891" y="103"/>
                      <a:pt x="890" y="103"/>
                    </a:cubicBezTo>
                    <a:cubicBezTo>
                      <a:pt x="890" y="103"/>
                      <a:pt x="888" y="103"/>
                      <a:pt x="888" y="100"/>
                    </a:cubicBezTo>
                    <a:cubicBezTo>
                      <a:pt x="888" y="100"/>
                      <a:pt x="888" y="100"/>
                      <a:pt x="888" y="100"/>
                    </a:cubicBezTo>
                    <a:cubicBezTo>
                      <a:pt x="887" y="99"/>
                      <a:pt x="887" y="97"/>
                      <a:pt x="888" y="94"/>
                    </a:cubicBezTo>
                    <a:cubicBezTo>
                      <a:pt x="889" y="94"/>
                      <a:pt x="889" y="93"/>
                      <a:pt x="889" y="93"/>
                    </a:cubicBezTo>
                    <a:cubicBezTo>
                      <a:pt x="889" y="93"/>
                      <a:pt x="889" y="93"/>
                      <a:pt x="889" y="93"/>
                    </a:cubicBezTo>
                    <a:cubicBezTo>
                      <a:pt x="889" y="93"/>
                      <a:pt x="888" y="93"/>
                      <a:pt x="887" y="93"/>
                    </a:cubicBezTo>
                    <a:cubicBezTo>
                      <a:pt x="886" y="93"/>
                      <a:pt x="884" y="92"/>
                      <a:pt x="884" y="91"/>
                    </a:cubicBezTo>
                    <a:cubicBezTo>
                      <a:pt x="883" y="90"/>
                      <a:pt x="884" y="87"/>
                      <a:pt x="886" y="86"/>
                    </a:cubicBezTo>
                    <a:cubicBezTo>
                      <a:pt x="887" y="85"/>
                      <a:pt x="887" y="85"/>
                      <a:pt x="888" y="84"/>
                    </a:cubicBezTo>
                    <a:cubicBezTo>
                      <a:pt x="889" y="82"/>
                      <a:pt x="891" y="80"/>
                      <a:pt x="894" y="80"/>
                    </a:cubicBezTo>
                    <a:cubicBezTo>
                      <a:pt x="894" y="79"/>
                      <a:pt x="895" y="79"/>
                      <a:pt x="896" y="79"/>
                    </a:cubicBezTo>
                    <a:cubicBezTo>
                      <a:pt x="897" y="79"/>
                      <a:pt x="898" y="79"/>
                      <a:pt x="899" y="78"/>
                    </a:cubicBezTo>
                    <a:cubicBezTo>
                      <a:pt x="901" y="76"/>
                      <a:pt x="903" y="76"/>
                      <a:pt x="904" y="76"/>
                    </a:cubicBezTo>
                    <a:cubicBezTo>
                      <a:pt x="906" y="77"/>
                      <a:pt x="907" y="78"/>
                      <a:pt x="907" y="80"/>
                    </a:cubicBezTo>
                    <a:cubicBezTo>
                      <a:pt x="907" y="82"/>
                      <a:pt x="907" y="84"/>
                      <a:pt x="905" y="87"/>
                    </a:cubicBezTo>
                    <a:cubicBezTo>
                      <a:pt x="903" y="88"/>
                      <a:pt x="902" y="89"/>
                      <a:pt x="900" y="90"/>
                    </a:cubicBezTo>
                    <a:cubicBezTo>
                      <a:pt x="904" y="91"/>
                      <a:pt x="904" y="93"/>
                      <a:pt x="904" y="97"/>
                    </a:cubicBezTo>
                    <a:cubicBezTo>
                      <a:pt x="903" y="102"/>
                      <a:pt x="902" y="105"/>
                      <a:pt x="898" y="105"/>
                    </a:cubicBezTo>
                    <a:close/>
                    <a:moveTo>
                      <a:pt x="898" y="100"/>
                    </a:moveTo>
                    <a:cubicBezTo>
                      <a:pt x="898" y="100"/>
                      <a:pt x="898" y="100"/>
                      <a:pt x="898" y="100"/>
                    </a:cubicBezTo>
                    <a:cubicBezTo>
                      <a:pt x="898" y="100"/>
                      <a:pt x="898" y="100"/>
                      <a:pt x="898" y="100"/>
                    </a:cubicBezTo>
                    <a:cubicBezTo>
                      <a:pt x="898" y="100"/>
                      <a:pt x="899" y="100"/>
                      <a:pt x="899" y="99"/>
                    </a:cubicBezTo>
                    <a:cubicBezTo>
                      <a:pt x="898" y="99"/>
                      <a:pt x="898" y="100"/>
                      <a:pt x="898" y="100"/>
                    </a:cubicBezTo>
                    <a:close/>
                    <a:moveTo>
                      <a:pt x="892" y="99"/>
                    </a:moveTo>
                    <a:cubicBezTo>
                      <a:pt x="890" y="100"/>
                      <a:pt x="890" y="100"/>
                      <a:pt x="890" y="100"/>
                    </a:cubicBezTo>
                    <a:cubicBezTo>
                      <a:pt x="892" y="99"/>
                      <a:pt x="892" y="99"/>
                      <a:pt x="892" y="99"/>
                    </a:cubicBezTo>
                    <a:cubicBezTo>
                      <a:pt x="892" y="99"/>
                      <a:pt x="892" y="99"/>
                      <a:pt x="892" y="99"/>
                    </a:cubicBezTo>
                    <a:close/>
                    <a:moveTo>
                      <a:pt x="891" y="88"/>
                    </a:moveTo>
                    <a:cubicBezTo>
                      <a:pt x="891" y="88"/>
                      <a:pt x="892" y="88"/>
                      <a:pt x="892" y="88"/>
                    </a:cubicBezTo>
                    <a:cubicBezTo>
                      <a:pt x="894" y="87"/>
                      <a:pt x="895" y="86"/>
                      <a:pt x="897" y="86"/>
                    </a:cubicBezTo>
                    <a:cubicBezTo>
                      <a:pt x="898" y="86"/>
                      <a:pt x="900" y="85"/>
                      <a:pt x="901" y="84"/>
                    </a:cubicBezTo>
                    <a:cubicBezTo>
                      <a:pt x="901" y="83"/>
                      <a:pt x="902" y="82"/>
                      <a:pt x="902" y="82"/>
                    </a:cubicBezTo>
                    <a:cubicBezTo>
                      <a:pt x="900" y="83"/>
                      <a:pt x="898" y="84"/>
                      <a:pt x="896" y="84"/>
                    </a:cubicBezTo>
                    <a:cubicBezTo>
                      <a:pt x="896" y="84"/>
                      <a:pt x="895" y="84"/>
                      <a:pt x="895" y="84"/>
                    </a:cubicBezTo>
                    <a:cubicBezTo>
                      <a:pt x="893" y="84"/>
                      <a:pt x="893" y="85"/>
                      <a:pt x="892" y="87"/>
                    </a:cubicBezTo>
                    <a:cubicBezTo>
                      <a:pt x="891" y="87"/>
                      <a:pt x="891" y="88"/>
                      <a:pt x="891" y="88"/>
                    </a:cubicBezTo>
                    <a:close/>
                    <a:moveTo>
                      <a:pt x="886" y="88"/>
                    </a:moveTo>
                    <a:cubicBezTo>
                      <a:pt x="886" y="88"/>
                      <a:pt x="886" y="88"/>
                      <a:pt x="886" y="88"/>
                    </a:cubicBezTo>
                    <a:cubicBezTo>
                      <a:pt x="886" y="88"/>
                      <a:pt x="886" y="88"/>
                      <a:pt x="886" y="88"/>
                    </a:cubicBezTo>
                    <a:cubicBezTo>
                      <a:pt x="886" y="88"/>
                      <a:pt x="886" y="88"/>
                      <a:pt x="886" y="88"/>
                    </a:cubicBezTo>
                    <a:close/>
                    <a:moveTo>
                      <a:pt x="846" y="13"/>
                    </a:moveTo>
                    <a:cubicBezTo>
                      <a:pt x="846" y="13"/>
                      <a:pt x="846" y="13"/>
                      <a:pt x="846" y="13"/>
                    </a:cubicBezTo>
                    <a:cubicBezTo>
                      <a:pt x="845" y="13"/>
                      <a:pt x="844" y="13"/>
                      <a:pt x="843" y="10"/>
                    </a:cubicBezTo>
                    <a:cubicBezTo>
                      <a:pt x="843" y="9"/>
                      <a:pt x="843" y="8"/>
                      <a:pt x="843" y="8"/>
                    </a:cubicBezTo>
                    <a:cubicBezTo>
                      <a:pt x="843" y="7"/>
                      <a:pt x="843" y="5"/>
                      <a:pt x="844" y="4"/>
                    </a:cubicBezTo>
                    <a:cubicBezTo>
                      <a:pt x="845" y="3"/>
                      <a:pt x="845" y="3"/>
                      <a:pt x="845" y="3"/>
                    </a:cubicBezTo>
                    <a:cubicBezTo>
                      <a:pt x="845" y="3"/>
                      <a:pt x="846" y="3"/>
                      <a:pt x="846" y="2"/>
                    </a:cubicBezTo>
                    <a:cubicBezTo>
                      <a:pt x="846" y="1"/>
                      <a:pt x="847" y="0"/>
                      <a:pt x="849" y="0"/>
                    </a:cubicBezTo>
                    <a:cubicBezTo>
                      <a:pt x="849" y="0"/>
                      <a:pt x="849" y="0"/>
                      <a:pt x="849" y="0"/>
                    </a:cubicBezTo>
                    <a:cubicBezTo>
                      <a:pt x="850" y="0"/>
                      <a:pt x="852" y="1"/>
                      <a:pt x="853" y="3"/>
                    </a:cubicBezTo>
                    <a:cubicBezTo>
                      <a:pt x="853" y="4"/>
                      <a:pt x="853" y="5"/>
                      <a:pt x="852" y="6"/>
                    </a:cubicBezTo>
                    <a:cubicBezTo>
                      <a:pt x="852" y="7"/>
                      <a:pt x="851" y="8"/>
                      <a:pt x="850" y="8"/>
                    </a:cubicBezTo>
                    <a:cubicBezTo>
                      <a:pt x="850" y="8"/>
                      <a:pt x="850" y="8"/>
                      <a:pt x="850" y="9"/>
                    </a:cubicBezTo>
                    <a:cubicBezTo>
                      <a:pt x="849" y="9"/>
                      <a:pt x="849" y="9"/>
                      <a:pt x="849" y="10"/>
                    </a:cubicBezTo>
                    <a:cubicBezTo>
                      <a:pt x="848" y="11"/>
                      <a:pt x="848" y="13"/>
                      <a:pt x="846" y="13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1" name="îśḻiďê"/>
              <p:cNvSpPr/>
              <p:nvPr/>
            </p:nvSpPr>
            <p:spPr bwMode="auto">
              <a:xfrm>
                <a:off x="6902450" y="6348413"/>
                <a:ext cx="19050" cy="19050"/>
              </a:xfrm>
              <a:custGeom>
                <a:avLst/>
                <a:gdLst>
                  <a:gd name="T0" fmla="*/ 2 w 9"/>
                  <a:gd name="T1" fmla="*/ 7 h 9"/>
                  <a:gd name="T2" fmla="*/ 2 w 9"/>
                  <a:gd name="T3" fmla="*/ 3 h 9"/>
                  <a:gd name="T4" fmla="*/ 6 w 9"/>
                  <a:gd name="T5" fmla="*/ 0 h 9"/>
                  <a:gd name="T6" fmla="*/ 7 w 9"/>
                  <a:gd name="T7" fmla="*/ 4 h 9"/>
                  <a:gd name="T8" fmla="*/ 4 w 9"/>
                  <a:gd name="T9" fmla="*/ 8 h 9"/>
                  <a:gd name="T10" fmla="*/ 2 w 9"/>
                  <a:gd name="T11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2" y="7"/>
                    </a:moveTo>
                    <a:cubicBezTo>
                      <a:pt x="1" y="6"/>
                      <a:pt x="0" y="5"/>
                      <a:pt x="2" y="3"/>
                    </a:cubicBezTo>
                    <a:cubicBezTo>
                      <a:pt x="3" y="1"/>
                      <a:pt x="4" y="1"/>
                      <a:pt x="6" y="0"/>
                    </a:cubicBezTo>
                    <a:cubicBezTo>
                      <a:pt x="7" y="0"/>
                      <a:pt x="9" y="2"/>
                      <a:pt x="7" y="4"/>
                    </a:cubicBezTo>
                    <a:cubicBezTo>
                      <a:pt x="5" y="6"/>
                      <a:pt x="5" y="7"/>
                      <a:pt x="4" y="8"/>
                    </a:cubicBezTo>
                    <a:cubicBezTo>
                      <a:pt x="4" y="9"/>
                      <a:pt x="2" y="8"/>
                      <a:pt x="2" y="7"/>
                    </a:cubicBezTo>
                    <a:close/>
                  </a:path>
                </a:pathLst>
              </a:custGeom>
              <a:solidFill>
                <a:srgbClr val="FFFA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2" name="ïŝḷíḋe"/>
              <p:cNvSpPr/>
              <p:nvPr/>
            </p:nvSpPr>
            <p:spPr bwMode="auto">
              <a:xfrm>
                <a:off x="6896100" y="6343650"/>
                <a:ext cx="28575" cy="28575"/>
              </a:xfrm>
              <a:custGeom>
                <a:avLst/>
                <a:gdLst>
                  <a:gd name="T0" fmla="*/ 6 w 13"/>
                  <a:gd name="T1" fmla="*/ 13 h 13"/>
                  <a:gd name="T2" fmla="*/ 6 w 13"/>
                  <a:gd name="T3" fmla="*/ 13 h 13"/>
                  <a:gd name="T4" fmla="*/ 3 w 13"/>
                  <a:gd name="T5" fmla="*/ 10 h 13"/>
                  <a:gd name="T6" fmla="*/ 2 w 13"/>
                  <a:gd name="T7" fmla="*/ 10 h 13"/>
                  <a:gd name="T8" fmla="*/ 3 w 13"/>
                  <a:gd name="T9" fmla="*/ 3 h 13"/>
                  <a:gd name="T10" fmla="*/ 8 w 13"/>
                  <a:gd name="T11" fmla="*/ 0 h 13"/>
                  <a:gd name="T12" fmla="*/ 12 w 13"/>
                  <a:gd name="T13" fmla="*/ 2 h 13"/>
                  <a:gd name="T14" fmla="*/ 12 w 13"/>
                  <a:gd name="T15" fmla="*/ 7 h 13"/>
                  <a:gd name="T16" fmla="*/ 10 w 13"/>
                  <a:gd name="T17" fmla="*/ 10 h 13"/>
                  <a:gd name="T18" fmla="*/ 9 w 13"/>
                  <a:gd name="T19" fmla="*/ 12 h 13"/>
                  <a:gd name="T20" fmla="*/ 6 w 13"/>
                  <a:gd name="T21" fmla="*/ 13 h 13"/>
                  <a:gd name="T22" fmla="*/ 8 w 13"/>
                  <a:gd name="T23" fmla="*/ 5 h 13"/>
                  <a:gd name="T24" fmla="*/ 6 w 13"/>
                  <a:gd name="T25" fmla="*/ 6 h 13"/>
                  <a:gd name="T26" fmla="*/ 6 w 13"/>
                  <a:gd name="T27" fmla="*/ 7 h 13"/>
                  <a:gd name="T28" fmla="*/ 8 w 13"/>
                  <a:gd name="T2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13">
                    <a:moveTo>
                      <a:pt x="6" y="13"/>
                    </a:moveTo>
                    <a:cubicBezTo>
                      <a:pt x="6" y="13"/>
                      <a:pt x="6" y="13"/>
                      <a:pt x="6" y="13"/>
                    </a:cubicBezTo>
                    <a:cubicBezTo>
                      <a:pt x="5" y="13"/>
                      <a:pt x="3" y="12"/>
                      <a:pt x="3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9"/>
                      <a:pt x="0" y="6"/>
                      <a:pt x="3" y="3"/>
                    </a:cubicBezTo>
                    <a:cubicBezTo>
                      <a:pt x="5" y="1"/>
                      <a:pt x="6" y="0"/>
                      <a:pt x="8" y="0"/>
                    </a:cubicBezTo>
                    <a:cubicBezTo>
                      <a:pt x="10" y="0"/>
                      <a:pt x="12" y="1"/>
                      <a:pt x="12" y="2"/>
                    </a:cubicBezTo>
                    <a:cubicBezTo>
                      <a:pt x="13" y="4"/>
                      <a:pt x="13" y="6"/>
                      <a:pt x="12" y="7"/>
                    </a:cubicBezTo>
                    <a:cubicBezTo>
                      <a:pt x="11" y="8"/>
                      <a:pt x="11" y="9"/>
                      <a:pt x="10" y="10"/>
                    </a:cubicBezTo>
                    <a:cubicBezTo>
                      <a:pt x="10" y="10"/>
                      <a:pt x="10" y="11"/>
                      <a:pt x="9" y="12"/>
                    </a:cubicBezTo>
                    <a:cubicBezTo>
                      <a:pt x="9" y="12"/>
                      <a:pt x="8" y="13"/>
                      <a:pt x="6" y="13"/>
                    </a:cubicBezTo>
                    <a:close/>
                    <a:moveTo>
                      <a:pt x="8" y="5"/>
                    </a:moveTo>
                    <a:cubicBezTo>
                      <a:pt x="7" y="5"/>
                      <a:pt x="7" y="6"/>
                      <a:pt x="6" y="6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7"/>
                      <a:pt x="7" y="6"/>
                      <a:pt x="8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3" name="îşḷïḍè"/>
              <p:cNvSpPr/>
              <p:nvPr/>
            </p:nvSpPr>
            <p:spPr bwMode="auto">
              <a:xfrm>
                <a:off x="7251700" y="6118225"/>
                <a:ext cx="177800" cy="120650"/>
              </a:xfrm>
              <a:custGeom>
                <a:avLst/>
                <a:gdLst>
                  <a:gd name="T0" fmla="*/ 23 w 83"/>
                  <a:gd name="T1" fmla="*/ 56 h 56"/>
                  <a:gd name="T2" fmla="*/ 21 w 83"/>
                  <a:gd name="T3" fmla="*/ 51 h 56"/>
                  <a:gd name="T4" fmla="*/ 21 w 83"/>
                  <a:gd name="T5" fmla="*/ 46 h 56"/>
                  <a:gd name="T6" fmla="*/ 17 w 83"/>
                  <a:gd name="T7" fmla="*/ 46 h 56"/>
                  <a:gd name="T8" fmla="*/ 10 w 83"/>
                  <a:gd name="T9" fmla="*/ 51 h 56"/>
                  <a:gd name="T10" fmla="*/ 5 w 83"/>
                  <a:gd name="T11" fmla="*/ 53 h 56"/>
                  <a:gd name="T12" fmla="*/ 2 w 83"/>
                  <a:gd name="T13" fmla="*/ 52 h 56"/>
                  <a:gd name="T14" fmla="*/ 6 w 83"/>
                  <a:gd name="T15" fmla="*/ 41 h 56"/>
                  <a:gd name="T16" fmla="*/ 15 w 83"/>
                  <a:gd name="T17" fmla="*/ 36 h 56"/>
                  <a:gd name="T18" fmla="*/ 23 w 83"/>
                  <a:gd name="T19" fmla="*/ 36 h 56"/>
                  <a:gd name="T20" fmla="*/ 26 w 83"/>
                  <a:gd name="T21" fmla="*/ 33 h 56"/>
                  <a:gd name="T22" fmla="*/ 37 w 83"/>
                  <a:gd name="T23" fmla="*/ 34 h 56"/>
                  <a:gd name="T24" fmla="*/ 31 w 83"/>
                  <a:gd name="T25" fmla="*/ 41 h 56"/>
                  <a:gd name="T26" fmla="*/ 30 w 83"/>
                  <a:gd name="T27" fmla="*/ 51 h 56"/>
                  <a:gd name="T28" fmla="*/ 28 w 83"/>
                  <a:gd name="T29" fmla="*/ 54 h 56"/>
                  <a:gd name="T30" fmla="*/ 25 w 83"/>
                  <a:gd name="T31" fmla="*/ 48 h 56"/>
                  <a:gd name="T32" fmla="*/ 26 w 83"/>
                  <a:gd name="T33" fmla="*/ 48 h 56"/>
                  <a:gd name="T34" fmla="*/ 26 w 83"/>
                  <a:gd name="T35" fmla="*/ 41 h 56"/>
                  <a:gd name="T36" fmla="*/ 24 w 83"/>
                  <a:gd name="T37" fmla="*/ 41 h 56"/>
                  <a:gd name="T38" fmla="*/ 26 w 83"/>
                  <a:gd name="T39" fmla="*/ 44 h 56"/>
                  <a:gd name="T40" fmla="*/ 25 w 83"/>
                  <a:gd name="T41" fmla="*/ 48 h 56"/>
                  <a:gd name="T42" fmla="*/ 12 w 83"/>
                  <a:gd name="T43" fmla="*/ 41 h 56"/>
                  <a:gd name="T44" fmla="*/ 7 w 83"/>
                  <a:gd name="T45" fmla="*/ 46 h 56"/>
                  <a:gd name="T46" fmla="*/ 12 w 83"/>
                  <a:gd name="T47" fmla="*/ 46 h 56"/>
                  <a:gd name="T48" fmla="*/ 13 w 83"/>
                  <a:gd name="T49" fmla="*/ 43 h 56"/>
                  <a:gd name="T50" fmla="*/ 13 w 83"/>
                  <a:gd name="T51" fmla="*/ 41 h 56"/>
                  <a:gd name="T52" fmla="*/ 76 w 83"/>
                  <a:gd name="T53" fmla="*/ 16 h 56"/>
                  <a:gd name="T54" fmla="*/ 72 w 83"/>
                  <a:gd name="T55" fmla="*/ 14 h 56"/>
                  <a:gd name="T56" fmla="*/ 69 w 83"/>
                  <a:gd name="T57" fmla="*/ 8 h 56"/>
                  <a:gd name="T58" fmla="*/ 69 w 83"/>
                  <a:gd name="T59" fmla="*/ 5 h 56"/>
                  <a:gd name="T60" fmla="*/ 81 w 83"/>
                  <a:gd name="T61" fmla="*/ 4 h 56"/>
                  <a:gd name="T62" fmla="*/ 80 w 83"/>
                  <a:gd name="T63" fmla="*/ 11 h 56"/>
                  <a:gd name="T64" fmla="*/ 78 w 83"/>
                  <a:gd name="T65" fmla="*/ 15 h 56"/>
                  <a:gd name="T66" fmla="*/ 72 w 83"/>
                  <a:gd name="T67" fmla="*/ 14 h 56"/>
                  <a:gd name="T68" fmla="*/ 74 w 83"/>
                  <a:gd name="T69" fmla="*/ 10 h 56"/>
                  <a:gd name="T70" fmla="*/ 75 w 83"/>
                  <a:gd name="T71" fmla="*/ 11 h 56"/>
                  <a:gd name="T72" fmla="*/ 77 w 83"/>
                  <a:gd name="T73" fmla="*/ 8 h 56"/>
                  <a:gd name="T74" fmla="*/ 74 w 83"/>
                  <a:gd name="T75" fmla="*/ 6 h 56"/>
                  <a:gd name="T76" fmla="*/ 74 w 83"/>
                  <a:gd name="T77" fmla="*/ 1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3" h="56">
                    <a:moveTo>
                      <a:pt x="25" y="56"/>
                    </a:moveTo>
                    <a:cubicBezTo>
                      <a:pt x="24" y="56"/>
                      <a:pt x="24" y="56"/>
                      <a:pt x="23" y="56"/>
                    </a:cubicBezTo>
                    <a:cubicBezTo>
                      <a:pt x="22" y="55"/>
                      <a:pt x="21" y="54"/>
                      <a:pt x="21" y="51"/>
                    </a:cubicBezTo>
                    <a:cubicBezTo>
                      <a:pt x="21" y="51"/>
                      <a:pt x="21" y="51"/>
                      <a:pt x="21" y="51"/>
                    </a:cubicBezTo>
                    <a:cubicBezTo>
                      <a:pt x="21" y="50"/>
                      <a:pt x="20" y="49"/>
                      <a:pt x="20" y="49"/>
                    </a:cubicBezTo>
                    <a:cubicBezTo>
                      <a:pt x="20" y="48"/>
                      <a:pt x="20" y="47"/>
                      <a:pt x="21" y="46"/>
                    </a:cubicBezTo>
                    <a:cubicBezTo>
                      <a:pt x="20" y="45"/>
                      <a:pt x="19" y="45"/>
                      <a:pt x="19" y="43"/>
                    </a:cubicBezTo>
                    <a:cubicBezTo>
                      <a:pt x="18" y="44"/>
                      <a:pt x="18" y="45"/>
                      <a:pt x="17" y="46"/>
                    </a:cubicBezTo>
                    <a:cubicBezTo>
                      <a:pt x="17" y="46"/>
                      <a:pt x="17" y="47"/>
                      <a:pt x="17" y="47"/>
                    </a:cubicBezTo>
                    <a:cubicBezTo>
                      <a:pt x="15" y="51"/>
                      <a:pt x="13" y="51"/>
                      <a:pt x="10" y="51"/>
                    </a:cubicBezTo>
                    <a:cubicBezTo>
                      <a:pt x="8" y="50"/>
                      <a:pt x="8" y="51"/>
                      <a:pt x="8" y="51"/>
                    </a:cubicBezTo>
                    <a:cubicBezTo>
                      <a:pt x="7" y="52"/>
                      <a:pt x="6" y="52"/>
                      <a:pt x="5" y="53"/>
                    </a:cubicBezTo>
                    <a:cubicBezTo>
                      <a:pt x="5" y="53"/>
                      <a:pt x="5" y="53"/>
                      <a:pt x="5" y="53"/>
                    </a:cubicBezTo>
                    <a:cubicBezTo>
                      <a:pt x="4" y="53"/>
                      <a:pt x="3" y="53"/>
                      <a:pt x="2" y="52"/>
                    </a:cubicBezTo>
                    <a:cubicBezTo>
                      <a:pt x="0" y="50"/>
                      <a:pt x="2" y="45"/>
                      <a:pt x="4" y="43"/>
                    </a:cubicBezTo>
                    <a:cubicBezTo>
                      <a:pt x="5" y="42"/>
                      <a:pt x="6" y="41"/>
                      <a:pt x="6" y="41"/>
                    </a:cubicBezTo>
                    <a:cubicBezTo>
                      <a:pt x="7" y="40"/>
                      <a:pt x="7" y="39"/>
                      <a:pt x="9" y="38"/>
                    </a:cubicBezTo>
                    <a:cubicBezTo>
                      <a:pt x="10" y="36"/>
                      <a:pt x="13" y="35"/>
                      <a:pt x="15" y="36"/>
                    </a:cubicBezTo>
                    <a:cubicBezTo>
                      <a:pt x="17" y="37"/>
                      <a:pt x="18" y="39"/>
                      <a:pt x="19" y="40"/>
                    </a:cubicBezTo>
                    <a:cubicBezTo>
                      <a:pt x="19" y="39"/>
                      <a:pt x="21" y="37"/>
                      <a:pt x="23" y="36"/>
                    </a:cubicBezTo>
                    <a:cubicBezTo>
                      <a:pt x="24" y="36"/>
                      <a:pt x="25" y="35"/>
                      <a:pt x="25" y="35"/>
                    </a:cubicBezTo>
                    <a:cubicBezTo>
                      <a:pt x="25" y="34"/>
                      <a:pt x="26" y="34"/>
                      <a:pt x="26" y="33"/>
                    </a:cubicBezTo>
                    <a:cubicBezTo>
                      <a:pt x="28" y="31"/>
                      <a:pt x="32" y="30"/>
                      <a:pt x="35" y="31"/>
                    </a:cubicBezTo>
                    <a:cubicBezTo>
                      <a:pt x="36" y="31"/>
                      <a:pt x="37" y="33"/>
                      <a:pt x="37" y="34"/>
                    </a:cubicBezTo>
                    <a:cubicBezTo>
                      <a:pt x="38" y="36"/>
                      <a:pt x="36" y="38"/>
                      <a:pt x="34" y="39"/>
                    </a:cubicBezTo>
                    <a:cubicBezTo>
                      <a:pt x="33" y="39"/>
                      <a:pt x="31" y="41"/>
                      <a:pt x="31" y="41"/>
                    </a:cubicBezTo>
                    <a:cubicBezTo>
                      <a:pt x="31" y="42"/>
                      <a:pt x="31" y="42"/>
                      <a:pt x="31" y="43"/>
                    </a:cubicBezTo>
                    <a:cubicBezTo>
                      <a:pt x="31" y="45"/>
                      <a:pt x="31" y="49"/>
                      <a:pt x="30" y="51"/>
                    </a:cubicBezTo>
                    <a:cubicBezTo>
                      <a:pt x="29" y="53"/>
                      <a:pt x="29" y="53"/>
                      <a:pt x="28" y="54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27" y="55"/>
                      <a:pt x="26" y="56"/>
                      <a:pt x="25" y="56"/>
                    </a:cubicBezTo>
                    <a:close/>
                    <a:moveTo>
                      <a:pt x="25" y="48"/>
                    </a:moveTo>
                    <a:cubicBezTo>
                      <a:pt x="25" y="48"/>
                      <a:pt x="25" y="49"/>
                      <a:pt x="25" y="50"/>
                    </a:cubicBezTo>
                    <a:cubicBezTo>
                      <a:pt x="25" y="49"/>
                      <a:pt x="26" y="49"/>
                      <a:pt x="26" y="48"/>
                    </a:cubicBezTo>
                    <a:cubicBezTo>
                      <a:pt x="27" y="47"/>
                      <a:pt x="26" y="45"/>
                      <a:pt x="26" y="44"/>
                    </a:cubicBezTo>
                    <a:cubicBezTo>
                      <a:pt x="26" y="43"/>
                      <a:pt x="26" y="42"/>
                      <a:pt x="26" y="41"/>
                    </a:cubicBezTo>
                    <a:cubicBezTo>
                      <a:pt x="26" y="41"/>
                      <a:pt x="26" y="40"/>
                      <a:pt x="26" y="40"/>
                    </a:cubicBezTo>
                    <a:cubicBezTo>
                      <a:pt x="26" y="40"/>
                      <a:pt x="25" y="40"/>
                      <a:pt x="24" y="41"/>
                    </a:cubicBezTo>
                    <a:cubicBezTo>
                      <a:pt x="24" y="41"/>
                      <a:pt x="23" y="41"/>
                      <a:pt x="23" y="42"/>
                    </a:cubicBezTo>
                    <a:cubicBezTo>
                      <a:pt x="25" y="42"/>
                      <a:pt x="25" y="43"/>
                      <a:pt x="26" y="44"/>
                    </a:cubicBezTo>
                    <a:cubicBezTo>
                      <a:pt x="26" y="45"/>
                      <a:pt x="26" y="46"/>
                      <a:pt x="25" y="48"/>
                    </a:cubicBezTo>
                    <a:cubicBezTo>
                      <a:pt x="25" y="48"/>
                      <a:pt x="25" y="48"/>
                      <a:pt x="25" y="48"/>
                    </a:cubicBezTo>
                    <a:close/>
                    <a:moveTo>
                      <a:pt x="13" y="41"/>
                    </a:moveTo>
                    <a:cubicBezTo>
                      <a:pt x="13" y="41"/>
                      <a:pt x="13" y="41"/>
                      <a:pt x="12" y="41"/>
                    </a:cubicBezTo>
                    <a:cubicBezTo>
                      <a:pt x="11" y="43"/>
                      <a:pt x="10" y="43"/>
                      <a:pt x="9" y="44"/>
                    </a:cubicBezTo>
                    <a:cubicBezTo>
                      <a:pt x="9" y="44"/>
                      <a:pt x="8" y="45"/>
                      <a:pt x="7" y="46"/>
                    </a:cubicBezTo>
                    <a:cubicBezTo>
                      <a:pt x="8" y="46"/>
                      <a:pt x="9" y="46"/>
                      <a:pt x="10" y="46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2" y="46"/>
                      <a:pt x="12" y="46"/>
                      <a:pt x="12" y="45"/>
                    </a:cubicBezTo>
                    <a:cubicBezTo>
                      <a:pt x="13" y="44"/>
                      <a:pt x="13" y="44"/>
                      <a:pt x="13" y="43"/>
                    </a:cubicBezTo>
                    <a:cubicBezTo>
                      <a:pt x="14" y="43"/>
                      <a:pt x="14" y="42"/>
                      <a:pt x="14" y="41"/>
                    </a:cubicBezTo>
                    <a:cubicBezTo>
                      <a:pt x="14" y="41"/>
                      <a:pt x="14" y="41"/>
                      <a:pt x="13" y="41"/>
                    </a:cubicBezTo>
                    <a:cubicBezTo>
                      <a:pt x="13" y="41"/>
                      <a:pt x="13" y="41"/>
                      <a:pt x="13" y="41"/>
                    </a:cubicBezTo>
                    <a:close/>
                    <a:moveTo>
                      <a:pt x="76" y="16"/>
                    </a:moveTo>
                    <a:cubicBezTo>
                      <a:pt x="75" y="16"/>
                      <a:pt x="74" y="15"/>
                      <a:pt x="73" y="14"/>
                    </a:cubicBezTo>
                    <a:cubicBezTo>
                      <a:pt x="73" y="14"/>
                      <a:pt x="72" y="14"/>
                      <a:pt x="72" y="14"/>
                    </a:cubicBezTo>
                    <a:cubicBezTo>
                      <a:pt x="71" y="14"/>
                      <a:pt x="70" y="13"/>
                      <a:pt x="69" y="12"/>
                    </a:cubicBezTo>
                    <a:cubicBezTo>
                      <a:pt x="68" y="11"/>
                      <a:pt x="68" y="10"/>
                      <a:pt x="69" y="8"/>
                    </a:cubicBezTo>
                    <a:cubicBezTo>
                      <a:pt x="69" y="8"/>
                      <a:pt x="69" y="8"/>
                      <a:pt x="69" y="8"/>
                    </a:cubicBezTo>
                    <a:cubicBezTo>
                      <a:pt x="69" y="7"/>
                      <a:pt x="69" y="6"/>
                      <a:pt x="69" y="5"/>
                    </a:cubicBezTo>
                    <a:cubicBezTo>
                      <a:pt x="69" y="3"/>
                      <a:pt x="70" y="2"/>
                      <a:pt x="71" y="1"/>
                    </a:cubicBezTo>
                    <a:cubicBezTo>
                      <a:pt x="74" y="0"/>
                      <a:pt x="81" y="4"/>
                      <a:pt x="81" y="4"/>
                    </a:cubicBezTo>
                    <a:cubicBezTo>
                      <a:pt x="83" y="6"/>
                      <a:pt x="82" y="9"/>
                      <a:pt x="81" y="11"/>
                    </a:cubicBezTo>
                    <a:cubicBezTo>
                      <a:pt x="80" y="11"/>
                      <a:pt x="80" y="11"/>
                      <a:pt x="80" y="11"/>
                    </a:cubicBezTo>
                    <a:cubicBezTo>
                      <a:pt x="80" y="12"/>
                      <a:pt x="80" y="12"/>
                      <a:pt x="80" y="13"/>
                    </a:cubicBezTo>
                    <a:cubicBezTo>
                      <a:pt x="80" y="13"/>
                      <a:pt x="79" y="14"/>
                      <a:pt x="78" y="15"/>
                    </a:cubicBezTo>
                    <a:cubicBezTo>
                      <a:pt x="77" y="16"/>
                      <a:pt x="77" y="16"/>
                      <a:pt x="76" y="16"/>
                    </a:cubicBezTo>
                    <a:close/>
                    <a:moveTo>
                      <a:pt x="72" y="14"/>
                    </a:moveTo>
                    <a:cubicBezTo>
                      <a:pt x="72" y="14"/>
                      <a:pt x="72" y="14"/>
                      <a:pt x="72" y="14"/>
                    </a:cubicBezTo>
                    <a:close/>
                    <a:moveTo>
                      <a:pt x="74" y="10"/>
                    </a:moveTo>
                    <a:cubicBezTo>
                      <a:pt x="74" y="10"/>
                      <a:pt x="75" y="10"/>
                      <a:pt x="75" y="10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76" y="10"/>
                      <a:pt x="76" y="9"/>
                      <a:pt x="76" y="9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77" y="8"/>
                      <a:pt x="77" y="8"/>
                      <a:pt x="77" y="7"/>
                    </a:cubicBezTo>
                    <a:cubicBezTo>
                      <a:pt x="76" y="7"/>
                      <a:pt x="75" y="6"/>
                      <a:pt x="74" y="6"/>
                    </a:cubicBezTo>
                    <a:cubicBezTo>
                      <a:pt x="74" y="6"/>
                      <a:pt x="74" y="7"/>
                      <a:pt x="74" y="7"/>
                    </a:cubicBezTo>
                    <a:cubicBezTo>
                      <a:pt x="74" y="8"/>
                      <a:pt x="74" y="9"/>
                      <a:pt x="74" y="1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4" name="ïŝ1iḋè"/>
              <p:cNvSpPr/>
              <p:nvPr/>
            </p:nvSpPr>
            <p:spPr bwMode="auto">
              <a:xfrm>
                <a:off x="7392988" y="6153150"/>
                <a:ext cx="14288" cy="14288"/>
              </a:xfrm>
              <a:custGeom>
                <a:avLst/>
                <a:gdLst>
                  <a:gd name="T0" fmla="*/ 1 w 6"/>
                  <a:gd name="T1" fmla="*/ 2 h 7"/>
                  <a:gd name="T2" fmla="*/ 4 w 6"/>
                  <a:gd name="T3" fmla="*/ 2 h 7"/>
                  <a:gd name="T4" fmla="*/ 5 w 6"/>
                  <a:gd name="T5" fmla="*/ 6 h 7"/>
                  <a:gd name="T6" fmla="*/ 3 w 6"/>
                  <a:gd name="T7" fmla="*/ 7 h 7"/>
                  <a:gd name="T8" fmla="*/ 0 w 6"/>
                  <a:gd name="T9" fmla="*/ 4 h 7"/>
                  <a:gd name="T10" fmla="*/ 1 w 6"/>
                  <a:gd name="T1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7">
                    <a:moveTo>
                      <a:pt x="1" y="2"/>
                    </a:moveTo>
                    <a:cubicBezTo>
                      <a:pt x="3" y="1"/>
                      <a:pt x="4" y="0"/>
                      <a:pt x="4" y="2"/>
                    </a:cubicBezTo>
                    <a:cubicBezTo>
                      <a:pt x="5" y="3"/>
                      <a:pt x="6" y="4"/>
                      <a:pt x="5" y="6"/>
                    </a:cubicBezTo>
                    <a:cubicBezTo>
                      <a:pt x="5" y="7"/>
                      <a:pt x="4" y="7"/>
                      <a:pt x="3" y="7"/>
                    </a:cubicBezTo>
                    <a:cubicBezTo>
                      <a:pt x="1" y="6"/>
                      <a:pt x="0" y="4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rgbClr val="C7DD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5" name="îśḷïḑè"/>
              <p:cNvSpPr/>
              <p:nvPr/>
            </p:nvSpPr>
            <p:spPr bwMode="auto">
              <a:xfrm>
                <a:off x="7389813" y="6148388"/>
                <a:ext cx="20638" cy="23813"/>
              </a:xfrm>
              <a:custGeom>
                <a:avLst/>
                <a:gdLst>
                  <a:gd name="T0" fmla="*/ 6 w 10"/>
                  <a:gd name="T1" fmla="*/ 11 h 11"/>
                  <a:gd name="T2" fmla="*/ 4 w 10"/>
                  <a:gd name="T3" fmla="*/ 11 h 11"/>
                  <a:gd name="T4" fmla="*/ 0 w 10"/>
                  <a:gd name="T5" fmla="*/ 7 h 11"/>
                  <a:gd name="T6" fmla="*/ 0 w 10"/>
                  <a:gd name="T7" fmla="*/ 3 h 11"/>
                  <a:gd name="T8" fmla="*/ 3 w 10"/>
                  <a:gd name="T9" fmla="*/ 1 h 11"/>
                  <a:gd name="T10" fmla="*/ 4 w 10"/>
                  <a:gd name="T11" fmla="*/ 1 h 11"/>
                  <a:gd name="T12" fmla="*/ 8 w 10"/>
                  <a:gd name="T13" fmla="*/ 2 h 11"/>
                  <a:gd name="T14" fmla="*/ 9 w 10"/>
                  <a:gd name="T15" fmla="*/ 9 h 11"/>
                  <a:gd name="T16" fmla="*/ 6 w 10"/>
                  <a:gd name="T17" fmla="*/ 11 h 11"/>
                  <a:gd name="T18" fmla="*/ 5 w 10"/>
                  <a:gd name="T19" fmla="*/ 6 h 11"/>
                  <a:gd name="T20" fmla="*/ 5 w 10"/>
                  <a:gd name="T21" fmla="*/ 6 h 11"/>
                  <a:gd name="T22" fmla="*/ 5 w 10"/>
                  <a:gd name="T23" fmla="*/ 6 h 11"/>
                  <a:gd name="T24" fmla="*/ 5 w 10"/>
                  <a:gd name="T2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1">
                    <a:moveTo>
                      <a:pt x="6" y="11"/>
                    </a:moveTo>
                    <a:cubicBezTo>
                      <a:pt x="5" y="11"/>
                      <a:pt x="5" y="11"/>
                      <a:pt x="4" y="11"/>
                    </a:cubicBezTo>
                    <a:cubicBezTo>
                      <a:pt x="2" y="10"/>
                      <a:pt x="0" y="8"/>
                      <a:pt x="0" y="7"/>
                    </a:cubicBezTo>
                    <a:cubicBezTo>
                      <a:pt x="0" y="6"/>
                      <a:pt x="0" y="4"/>
                      <a:pt x="0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3" y="1"/>
                      <a:pt x="3" y="1"/>
                      <a:pt x="4" y="1"/>
                    </a:cubicBezTo>
                    <a:cubicBezTo>
                      <a:pt x="4" y="1"/>
                      <a:pt x="7" y="0"/>
                      <a:pt x="8" y="2"/>
                    </a:cubicBezTo>
                    <a:cubicBezTo>
                      <a:pt x="10" y="5"/>
                      <a:pt x="10" y="7"/>
                      <a:pt x="9" y="9"/>
                    </a:cubicBezTo>
                    <a:cubicBezTo>
                      <a:pt x="9" y="10"/>
                      <a:pt x="8" y="11"/>
                      <a:pt x="6" y="11"/>
                    </a:cubicBezTo>
                    <a:close/>
                    <a:moveTo>
                      <a:pt x="5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6" name="îSḷïḑè"/>
              <p:cNvSpPr/>
              <p:nvPr/>
            </p:nvSpPr>
            <p:spPr bwMode="auto">
              <a:xfrm>
                <a:off x="7578725" y="6122988"/>
                <a:ext cx="6350" cy="7938"/>
              </a:xfrm>
              <a:custGeom>
                <a:avLst/>
                <a:gdLst>
                  <a:gd name="T0" fmla="*/ 1 w 3"/>
                  <a:gd name="T1" fmla="*/ 1 h 4"/>
                  <a:gd name="T2" fmla="*/ 2 w 3"/>
                  <a:gd name="T3" fmla="*/ 1 h 4"/>
                  <a:gd name="T4" fmla="*/ 2 w 3"/>
                  <a:gd name="T5" fmla="*/ 3 h 4"/>
                  <a:gd name="T6" fmla="*/ 1 w 3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1" y="1"/>
                    </a:moveTo>
                    <a:cubicBezTo>
                      <a:pt x="1" y="1"/>
                      <a:pt x="3" y="0"/>
                      <a:pt x="2" y="1"/>
                    </a:cubicBezTo>
                    <a:cubicBezTo>
                      <a:pt x="2" y="3"/>
                      <a:pt x="2" y="4"/>
                      <a:pt x="2" y="3"/>
                    </a:cubicBezTo>
                    <a:cubicBezTo>
                      <a:pt x="1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C7DD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7" name="iSḷíḓe"/>
              <p:cNvSpPr/>
              <p:nvPr/>
            </p:nvSpPr>
            <p:spPr bwMode="auto">
              <a:xfrm>
                <a:off x="7573963" y="6116638"/>
                <a:ext cx="14288" cy="19050"/>
              </a:xfrm>
              <a:custGeom>
                <a:avLst/>
                <a:gdLst>
                  <a:gd name="T0" fmla="*/ 4 w 7"/>
                  <a:gd name="T1" fmla="*/ 9 h 9"/>
                  <a:gd name="T2" fmla="*/ 2 w 7"/>
                  <a:gd name="T3" fmla="*/ 8 h 9"/>
                  <a:gd name="T4" fmla="*/ 0 w 7"/>
                  <a:gd name="T5" fmla="*/ 6 h 9"/>
                  <a:gd name="T6" fmla="*/ 1 w 7"/>
                  <a:gd name="T7" fmla="*/ 3 h 9"/>
                  <a:gd name="T8" fmla="*/ 1 w 7"/>
                  <a:gd name="T9" fmla="*/ 3 h 9"/>
                  <a:gd name="T10" fmla="*/ 5 w 7"/>
                  <a:gd name="T11" fmla="*/ 1 h 9"/>
                  <a:gd name="T12" fmla="*/ 7 w 7"/>
                  <a:gd name="T13" fmla="*/ 5 h 9"/>
                  <a:gd name="T14" fmla="*/ 6 w 7"/>
                  <a:gd name="T15" fmla="*/ 6 h 9"/>
                  <a:gd name="T16" fmla="*/ 5 w 7"/>
                  <a:gd name="T17" fmla="*/ 8 h 9"/>
                  <a:gd name="T18" fmla="*/ 4 w 7"/>
                  <a:gd name="T19" fmla="*/ 9 h 9"/>
                  <a:gd name="T20" fmla="*/ 4 w 7"/>
                  <a:gd name="T21" fmla="*/ 6 h 9"/>
                  <a:gd name="T22" fmla="*/ 5 w 7"/>
                  <a:gd name="T23" fmla="*/ 6 h 9"/>
                  <a:gd name="T24" fmla="*/ 5 w 7"/>
                  <a:gd name="T25" fmla="*/ 6 h 9"/>
                  <a:gd name="T26" fmla="*/ 5 w 7"/>
                  <a:gd name="T27" fmla="*/ 6 h 9"/>
                  <a:gd name="T28" fmla="*/ 5 w 7"/>
                  <a:gd name="T29" fmla="*/ 5 h 9"/>
                  <a:gd name="T30" fmla="*/ 5 w 7"/>
                  <a:gd name="T31" fmla="*/ 5 h 9"/>
                  <a:gd name="T32" fmla="*/ 5 w 7"/>
                  <a:gd name="T33" fmla="*/ 4 h 9"/>
                  <a:gd name="T34" fmla="*/ 3 w 7"/>
                  <a:gd name="T35" fmla="*/ 4 h 9"/>
                  <a:gd name="T36" fmla="*/ 3 w 7"/>
                  <a:gd name="T37" fmla="*/ 4 h 9"/>
                  <a:gd name="T38" fmla="*/ 3 w 7"/>
                  <a:gd name="T39" fmla="*/ 4 h 9"/>
                  <a:gd name="T40" fmla="*/ 3 w 7"/>
                  <a:gd name="T41" fmla="*/ 5 h 9"/>
                  <a:gd name="T42" fmla="*/ 4 w 7"/>
                  <a:gd name="T43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" h="9">
                    <a:moveTo>
                      <a:pt x="4" y="9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1" y="7"/>
                      <a:pt x="0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2"/>
                      <a:pt x="3" y="0"/>
                      <a:pt x="5" y="1"/>
                    </a:cubicBezTo>
                    <a:cubicBezTo>
                      <a:pt x="6" y="1"/>
                      <a:pt x="7" y="2"/>
                      <a:pt x="7" y="5"/>
                    </a:cubicBezTo>
                    <a:cubicBezTo>
                      <a:pt x="7" y="5"/>
                      <a:pt x="6" y="6"/>
                      <a:pt x="6" y="6"/>
                    </a:cubicBezTo>
                    <a:cubicBezTo>
                      <a:pt x="6" y="7"/>
                      <a:pt x="6" y="8"/>
                      <a:pt x="5" y="8"/>
                    </a:cubicBezTo>
                    <a:lnTo>
                      <a:pt x="4" y="9"/>
                    </a:lnTo>
                    <a:close/>
                    <a:moveTo>
                      <a:pt x="4" y="6"/>
                    </a:moveTo>
                    <a:cubicBezTo>
                      <a:pt x="4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4"/>
                      <a:pt x="5" y="4"/>
                    </a:cubicBezTo>
                    <a:cubicBezTo>
                      <a:pt x="5" y="4"/>
                      <a:pt x="4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5"/>
                      <a:pt x="3" y="5"/>
                      <a:pt x="3" y="5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8" name="îsļîďe"/>
              <p:cNvSpPr/>
              <p:nvPr/>
            </p:nvSpPr>
            <p:spPr bwMode="auto">
              <a:xfrm>
                <a:off x="7548563" y="6140450"/>
                <a:ext cx="7938" cy="4763"/>
              </a:xfrm>
              <a:custGeom>
                <a:avLst/>
                <a:gdLst>
                  <a:gd name="T0" fmla="*/ 1 w 4"/>
                  <a:gd name="T1" fmla="*/ 1 h 2"/>
                  <a:gd name="T2" fmla="*/ 4 w 4"/>
                  <a:gd name="T3" fmla="*/ 1 h 2"/>
                  <a:gd name="T4" fmla="*/ 1 w 4"/>
                  <a:gd name="T5" fmla="*/ 2 h 2"/>
                  <a:gd name="T6" fmla="*/ 1 w 4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1" y="1"/>
                    </a:moveTo>
                    <a:cubicBezTo>
                      <a:pt x="2" y="0"/>
                      <a:pt x="4" y="1"/>
                      <a:pt x="4" y="1"/>
                    </a:cubicBezTo>
                    <a:cubicBezTo>
                      <a:pt x="3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C7DD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9" name="íš1îḍé"/>
              <p:cNvSpPr/>
              <p:nvPr/>
            </p:nvSpPr>
            <p:spPr bwMode="auto">
              <a:xfrm>
                <a:off x="7543800" y="6135688"/>
                <a:ext cx="17463" cy="15875"/>
              </a:xfrm>
              <a:custGeom>
                <a:avLst/>
                <a:gdLst>
                  <a:gd name="T0" fmla="*/ 3 w 8"/>
                  <a:gd name="T1" fmla="*/ 7 h 7"/>
                  <a:gd name="T2" fmla="*/ 2 w 8"/>
                  <a:gd name="T3" fmla="*/ 6 h 7"/>
                  <a:gd name="T4" fmla="*/ 1 w 8"/>
                  <a:gd name="T5" fmla="*/ 4 h 7"/>
                  <a:gd name="T6" fmla="*/ 1 w 8"/>
                  <a:gd name="T7" fmla="*/ 1 h 7"/>
                  <a:gd name="T8" fmla="*/ 6 w 8"/>
                  <a:gd name="T9" fmla="*/ 1 h 7"/>
                  <a:gd name="T10" fmla="*/ 8 w 8"/>
                  <a:gd name="T11" fmla="*/ 3 h 7"/>
                  <a:gd name="T12" fmla="*/ 8 w 8"/>
                  <a:gd name="T13" fmla="*/ 4 h 7"/>
                  <a:gd name="T14" fmla="*/ 7 w 8"/>
                  <a:gd name="T15" fmla="*/ 5 h 7"/>
                  <a:gd name="T16" fmla="*/ 4 w 8"/>
                  <a:gd name="T17" fmla="*/ 7 h 7"/>
                  <a:gd name="T18" fmla="*/ 3 w 8"/>
                  <a:gd name="T19" fmla="*/ 7 h 7"/>
                  <a:gd name="T20" fmla="*/ 4 w 8"/>
                  <a:gd name="T21" fmla="*/ 4 h 7"/>
                  <a:gd name="T22" fmla="*/ 4 w 8"/>
                  <a:gd name="T23" fmla="*/ 5 h 7"/>
                  <a:gd name="T24" fmla="*/ 5 w 8"/>
                  <a:gd name="T25" fmla="*/ 5 h 7"/>
                  <a:gd name="T26" fmla="*/ 5 w 8"/>
                  <a:gd name="T27" fmla="*/ 5 h 7"/>
                  <a:gd name="T28" fmla="*/ 5 w 8"/>
                  <a:gd name="T29" fmla="*/ 3 h 7"/>
                  <a:gd name="T30" fmla="*/ 4 w 8"/>
                  <a:gd name="T31" fmla="*/ 2 h 7"/>
                  <a:gd name="T32" fmla="*/ 4 w 8"/>
                  <a:gd name="T33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7">
                    <a:moveTo>
                      <a:pt x="3" y="7"/>
                    </a:move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1" y="5"/>
                      <a:pt x="1" y="4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3" y="0"/>
                      <a:pt x="6" y="1"/>
                      <a:pt x="6" y="1"/>
                    </a:cubicBezTo>
                    <a:cubicBezTo>
                      <a:pt x="8" y="1"/>
                      <a:pt x="8" y="2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6" y="6"/>
                      <a:pt x="5" y="6"/>
                      <a:pt x="4" y="7"/>
                    </a:cubicBezTo>
                    <a:lnTo>
                      <a:pt x="3" y="7"/>
                    </a:lnTo>
                    <a:close/>
                    <a:moveTo>
                      <a:pt x="4" y="4"/>
                    </a:moveTo>
                    <a:cubicBezTo>
                      <a:pt x="4" y="4"/>
                      <a:pt x="4" y="5"/>
                      <a:pt x="4" y="5"/>
                    </a:cubicBezTo>
                    <a:cubicBezTo>
                      <a:pt x="4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2"/>
                      <a:pt x="4" y="2"/>
                    </a:cubicBez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0" name="ïṥ1îḍé"/>
              <p:cNvSpPr/>
              <p:nvPr/>
            </p:nvSpPr>
            <p:spPr bwMode="auto">
              <a:xfrm>
                <a:off x="7024688" y="2397125"/>
                <a:ext cx="3275013" cy="3995738"/>
              </a:xfrm>
              <a:custGeom>
                <a:avLst/>
                <a:gdLst>
                  <a:gd name="T0" fmla="*/ 37 w 1527"/>
                  <a:gd name="T1" fmla="*/ 1784 h 1865"/>
                  <a:gd name="T2" fmla="*/ 150 w 1527"/>
                  <a:gd name="T3" fmla="*/ 1731 h 1865"/>
                  <a:gd name="T4" fmla="*/ 196 w 1527"/>
                  <a:gd name="T5" fmla="*/ 1667 h 1865"/>
                  <a:gd name="T6" fmla="*/ 278 w 1527"/>
                  <a:gd name="T7" fmla="*/ 1701 h 1865"/>
                  <a:gd name="T8" fmla="*/ 346 w 1527"/>
                  <a:gd name="T9" fmla="*/ 1679 h 1865"/>
                  <a:gd name="T10" fmla="*/ 507 w 1527"/>
                  <a:gd name="T11" fmla="*/ 1564 h 1865"/>
                  <a:gd name="T12" fmla="*/ 599 w 1527"/>
                  <a:gd name="T13" fmla="*/ 1494 h 1865"/>
                  <a:gd name="T14" fmla="*/ 643 w 1527"/>
                  <a:gd name="T15" fmla="*/ 1435 h 1865"/>
                  <a:gd name="T16" fmla="*/ 687 w 1527"/>
                  <a:gd name="T17" fmla="*/ 1326 h 1865"/>
                  <a:gd name="T18" fmla="*/ 698 w 1527"/>
                  <a:gd name="T19" fmla="*/ 1287 h 1865"/>
                  <a:gd name="T20" fmla="*/ 782 w 1527"/>
                  <a:gd name="T21" fmla="*/ 1150 h 1865"/>
                  <a:gd name="T22" fmla="*/ 815 w 1527"/>
                  <a:gd name="T23" fmla="*/ 1021 h 1865"/>
                  <a:gd name="T24" fmla="*/ 719 w 1527"/>
                  <a:gd name="T25" fmla="*/ 983 h 1865"/>
                  <a:gd name="T26" fmla="*/ 757 w 1527"/>
                  <a:gd name="T27" fmla="*/ 798 h 1865"/>
                  <a:gd name="T28" fmla="*/ 609 w 1527"/>
                  <a:gd name="T29" fmla="*/ 453 h 1865"/>
                  <a:gd name="T30" fmla="*/ 771 w 1527"/>
                  <a:gd name="T31" fmla="*/ 338 h 1865"/>
                  <a:gd name="T32" fmla="*/ 590 w 1527"/>
                  <a:gd name="T33" fmla="*/ 346 h 1865"/>
                  <a:gd name="T34" fmla="*/ 426 w 1527"/>
                  <a:gd name="T35" fmla="*/ 263 h 1865"/>
                  <a:gd name="T36" fmla="*/ 635 w 1527"/>
                  <a:gd name="T37" fmla="*/ 19 h 1865"/>
                  <a:gd name="T38" fmla="*/ 689 w 1527"/>
                  <a:gd name="T39" fmla="*/ 167 h 1865"/>
                  <a:gd name="T40" fmla="*/ 788 w 1527"/>
                  <a:gd name="T41" fmla="*/ 108 h 1865"/>
                  <a:gd name="T42" fmla="*/ 719 w 1527"/>
                  <a:gd name="T43" fmla="*/ 174 h 1865"/>
                  <a:gd name="T44" fmla="*/ 676 w 1527"/>
                  <a:gd name="T45" fmla="*/ 141 h 1865"/>
                  <a:gd name="T46" fmla="*/ 595 w 1527"/>
                  <a:gd name="T47" fmla="*/ 91 h 1865"/>
                  <a:gd name="T48" fmla="*/ 488 w 1527"/>
                  <a:gd name="T49" fmla="*/ 289 h 1865"/>
                  <a:gd name="T50" fmla="*/ 663 w 1527"/>
                  <a:gd name="T51" fmla="*/ 296 h 1865"/>
                  <a:gd name="T52" fmla="*/ 745 w 1527"/>
                  <a:gd name="T53" fmla="*/ 367 h 1865"/>
                  <a:gd name="T54" fmla="*/ 581 w 1527"/>
                  <a:gd name="T55" fmla="*/ 520 h 1865"/>
                  <a:gd name="T56" fmla="*/ 711 w 1527"/>
                  <a:gd name="T57" fmla="*/ 820 h 1865"/>
                  <a:gd name="T58" fmla="*/ 790 w 1527"/>
                  <a:gd name="T59" fmla="*/ 984 h 1865"/>
                  <a:gd name="T60" fmla="*/ 803 w 1527"/>
                  <a:gd name="T61" fmla="*/ 1059 h 1865"/>
                  <a:gd name="T62" fmla="*/ 771 w 1527"/>
                  <a:gd name="T63" fmla="*/ 1139 h 1865"/>
                  <a:gd name="T64" fmla="*/ 681 w 1527"/>
                  <a:gd name="T65" fmla="*/ 1314 h 1865"/>
                  <a:gd name="T66" fmla="*/ 639 w 1527"/>
                  <a:gd name="T67" fmla="*/ 1419 h 1865"/>
                  <a:gd name="T68" fmla="*/ 612 w 1527"/>
                  <a:gd name="T69" fmla="*/ 1474 h 1865"/>
                  <a:gd name="T70" fmla="*/ 543 w 1527"/>
                  <a:gd name="T71" fmla="*/ 1513 h 1865"/>
                  <a:gd name="T72" fmla="*/ 458 w 1527"/>
                  <a:gd name="T73" fmla="*/ 1622 h 1865"/>
                  <a:gd name="T74" fmla="*/ 309 w 1527"/>
                  <a:gd name="T75" fmla="*/ 1692 h 1865"/>
                  <a:gd name="T76" fmla="*/ 258 w 1527"/>
                  <a:gd name="T77" fmla="*/ 1704 h 1865"/>
                  <a:gd name="T78" fmla="*/ 202 w 1527"/>
                  <a:gd name="T79" fmla="*/ 1736 h 1865"/>
                  <a:gd name="T80" fmla="*/ 94 w 1527"/>
                  <a:gd name="T81" fmla="*/ 1779 h 1865"/>
                  <a:gd name="T82" fmla="*/ 283 w 1527"/>
                  <a:gd name="T83" fmla="*/ 1704 h 1865"/>
                  <a:gd name="T84" fmla="*/ 667 w 1527"/>
                  <a:gd name="T85" fmla="*/ 1321 h 1865"/>
                  <a:gd name="T86" fmla="*/ 783 w 1527"/>
                  <a:gd name="T87" fmla="*/ 1687 h 1865"/>
                  <a:gd name="T88" fmla="*/ 765 w 1527"/>
                  <a:gd name="T89" fmla="*/ 1480 h 1865"/>
                  <a:gd name="T90" fmla="*/ 844 w 1527"/>
                  <a:gd name="T91" fmla="*/ 1611 h 1865"/>
                  <a:gd name="T92" fmla="*/ 799 w 1527"/>
                  <a:gd name="T93" fmla="*/ 1709 h 1865"/>
                  <a:gd name="T94" fmla="*/ 863 w 1527"/>
                  <a:gd name="T95" fmla="*/ 1467 h 1865"/>
                  <a:gd name="T96" fmla="*/ 733 w 1527"/>
                  <a:gd name="T97" fmla="*/ 1609 h 1865"/>
                  <a:gd name="T98" fmla="*/ 849 w 1527"/>
                  <a:gd name="T99" fmla="*/ 1638 h 1865"/>
                  <a:gd name="T100" fmla="*/ 511 w 1527"/>
                  <a:gd name="T101" fmla="*/ 1575 h 1865"/>
                  <a:gd name="T102" fmla="*/ 688 w 1527"/>
                  <a:gd name="T103" fmla="*/ 1581 h 1865"/>
                  <a:gd name="T104" fmla="*/ 669 w 1527"/>
                  <a:gd name="T105" fmla="*/ 1441 h 1865"/>
                  <a:gd name="T106" fmla="*/ 1259 w 1527"/>
                  <a:gd name="T107" fmla="*/ 1436 h 1865"/>
                  <a:gd name="T108" fmla="*/ 677 w 1527"/>
                  <a:gd name="T109" fmla="*/ 1394 h 1865"/>
                  <a:gd name="T110" fmla="*/ 1229 w 1527"/>
                  <a:gd name="T111" fmla="*/ 1313 h 1865"/>
                  <a:gd name="T112" fmla="*/ 1387 w 1527"/>
                  <a:gd name="T113" fmla="*/ 1265 h 1865"/>
                  <a:gd name="T114" fmla="*/ 1410 w 1527"/>
                  <a:gd name="T115" fmla="*/ 1285 h 1865"/>
                  <a:gd name="T116" fmla="*/ 1278 w 1527"/>
                  <a:gd name="T117" fmla="*/ 1342 h 1865"/>
                  <a:gd name="T118" fmla="*/ 991 w 1527"/>
                  <a:gd name="T119" fmla="*/ 1330 h 1865"/>
                  <a:gd name="T120" fmla="*/ 713 w 1527"/>
                  <a:gd name="T121" fmla="*/ 1271 h 1865"/>
                  <a:gd name="T122" fmla="*/ 769 w 1527"/>
                  <a:gd name="T123" fmla="*/ 1185 h 1865"/>
                  <a:gd name="T124" fmla="*/ 825 w 1527"/>
                  <a:gd name="T125" fmla="*/ 1001 h 18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27" h="1865">
                    <a:moveTo>
                      <a:pt x="461" y="1865"/>
                    </a:moveTo>
                    <a:cubicBezTo>
                      <a:pt x="461" y="1865"/>
                      <a:pt x="461" y="1865"/>
                      <a:pt x="461" y="1865"/>
                    </a:cubicBezTo>
                    <a:cubicBezTo>
                      <a:pt x="460" y="1864"/>
                      <a:pt x="460" y="1864"/>
                      <a:pt x="460" y="1864"/>
                    </a:cubicBezTo>
                    <a:cubicBezTo>
                      <a:pt x="459" y="1863"/>
                      <a:pt x="457" y="1862"/>
                      <a:pt x="457" y="1860"/>
                    </a:cubicBezTo>
                    <a:cubicBezTo>
                      <a:pt x="457" y="1858"/>
                      <a:pt x="457" y="1858"/>
                      <a:pt x="458" y="1857"/>
                    </a:cubicBezTo>
                    <a:cubicBezTo>
                      <a:pt x="458" y="1857"/>
                      <a:pt x="458" y="1857"/>
                      <a:pt x="458" y="1857"/>
                    </a:cubicBezTo>
                    <a:cubicBezTo>
                      <a:pt x="458" y="1857"/>
                      <a:pt x="458" y="1857"/>
                      <a:pt x="458" y="1857"/>
                    </a:cubicBezTo>
                    <a:cubicBezTo>
                      <a:pt x="458" y="1857"/>
                      <a:pt x="458" y="1857"/>
                      <a:pt x="458" y="1857"/>
                    </a:cubicBezTo>
                    <a:cubicBezTo>
                      <a:pt x="460" y="1855"/>
                      <a:pt x="461" y="1855"/>
                      <a:pt x="463" y="1856"/>
                    </a:cubicBezTo>
                    <a:cubicBezTo>
                      <a:pt x="464" y="1856"/>
                      <a:pt x="465" y="1857"/>
                      <a:pt x="465" y="1859"/>
                    </a:cubicBezTo>
                    <a:cubicBezTo>
                      <a:pt x="466" y="1861"/>
                      <a:pt x="465" y="1862"/>
                      <a:pt x="464" y="1863"/>
                    </a:cubicBezTo>
                    <a:cubicBezTo>
                      <a:pt x="463" y="1864"/>
                      <a:pt x="462" y="1865"/>
                      <a:pt x="461" y="1865"/>
                    </a:cubicBezTo>
                    <a:close/>
                    <a:moveTo>
                      <a:pt x="461" y="1860"/>
                    </a:moveTo>
                    <a:cubicBezTo>
                      <a:pt x="461" y="1860"/>
                      <a:pt x="461" y="1860"/>
                      <a:pt x="461" y="1860"/>
                    </a:cubicBezTo>
                    <a:cubicBezTo>
                      <a:pt x="461" y="1860"/>
                      <a:pt x="461" y="1860"/>
                      <a:pt x="461" y="1860"/>
                    </a:cubicBezTo>
                    <a:cubicBezTo>
                      <a:pt x="461" y="1860"/>
                      <a:pt x="461" y="1860"/>
                      <a:pt x="461" y="1860"/>
                    </a:cubicBezTo>
                    <a:close/>
                    <a:moveTo>
                      <a:pt x="7" y="1803"/>
                    </a:moveTo>
                    <a:cubicBezTo>
                      <a:pt x="5" y="1803"/>
                      <a:pt x="4" y="1802"/>
                      <a:pt x="4" y="1802"/>
                    </a:cubicBezTo>
                    <a:cubicBezTo>
                      <a:pt x="3" y="1801"/>
                      <a:pt x="2" y="1800"/>
                      <a:pt x="2" y="1798"/>
                    </a:cubicBezTo>
                    <a:cubicBezTo>
                      <a:pt x="1" y="1798"/>
                      <a:pt x="1" y="1798"/>
                      <a:pt x="0" y="1799"/>
                    </a:cubicBezTo>
                    <a:cubicBezTo>
                      <a:pt x="0" y="1794"/>
                      <a:pt x="0" y="1794"/>
                      <a:pt x="0" y="1794"/>
                    </a:cubicBezTo>
                    <a:cubicBezTo>
                      <a:pt x="3" y="1794"/>
                      <a:pt x="4" y="1794"/>
                      <a:pt x="5" y="1795"/>
                    </a:cubicBezTo>
                    <a:cubicBezTo>
                      <a:pt x="6" y="1796"/>
                      <a:pt x="6" y="1797"/>
                      <a:pt x="6" y="1798"/>
                    </a:cubicBezTo>
                    <a:cubicBezTo>
                      <a:pt x="6" y="1798"/>
                      <a:pt x="6" y="1798"/>
                      <a:pt x="6" y="1798"/>
                    </a:cubicBezTo>
                    <a:cubicBezTo>
                      <a:pt x="6" y="1798"/>
                      <a:pt x="9" y="1798"/>
                      <a:pt x="14" y="1795"/>
                    </a:cubicBezTo>
                    <a:cubicBezTo>
                      <a:pt x="16" y="1794"/>
                      <a:pt x="17" y="1793"/>
                      <a:pt x="19" y="1791"/>
                    </a:cubicBezTo>
                    <a:cubicBezTo>
                      <a:pt x="24" y="1787"/>
                      <a:pt x="29" y="1784"/>
                      <a:pt x="37" y="1784"/>
                    </a:cubicBezTo>
                    <a:cubicBezTo>
                      <a:pt x="37" y="1784"/>
                      <a:pt x="37" y="1784"/>
                      <a:pt x="37" y="1784"/>
                    </a:cubicBezTo>
                    <a:cubicBezTo>
                      <a:pt x="45" y="1784"/>
                      <a:pt x="45" y="1783"/>
                      <a:pt x="46" y="1779"/>
                    </a:cubicBezTo>
                    <a:cubicBezTo>
                      <a:pt x="46" y="1777"/>
                      <a:pt x="47" y="1776"/>
                      <a:pt x="49" y="1775"/>
                    </a:cubicBezTo>
                    <a:cubicBezTo>
                      <a:pt x="51" y="1774"/>
                      <a:pt x="54" y="1775"/>
                      <a:pt x="56" y="1777"/>
                    </a:cubicBezTo>
                    <a:cubicBezTo>
                      <a:pt x="57" y="1779"/>
                      <a:pt x="58" y="1781"/>
                      <a:pt x="57" y="1784"/>
                    </a:cubicBezTo>
                    <a:cubicBezTo>
                      <a:pt x="56" y="1785"/>
                      <a:pt x="56" y="1786"/>
                      <a:pt x="55" y="1787"/>
                    </a:cubicBezTo>
                    <a:cubicBezTo>
                      <a:pt x="55" y="1787"/>
                      <a:pt x="55" y="1788"/>
                      <a:pt x="55" y="1788"/>
                    </a:cubicBezTo>
                    <a:cubicBezTo>
                      <a:pt x="56" y="1787"/>
                      <a:pt x="57" y="1786"/>
                      <a:pt x="58" y="1786"/>
                    </a:cubicBezTo>
                    <a:cubicBezTo>
                      <a:pt x="63" y="1783"/>
                      <a:pt x="63" y="1782"/>
                      <a:pt x="63" y="1782"/>
                    </a:cubicBezTo>
                    <a:cubicBezTo>
                      <a:pt x="63" y="1782"/>
                      <a:pt x="63" y="1781"/>
                      <a:pt x="62" y="1781"/>
                    </a:cubicBezTo>
                    <a:cubicBezTo>
                      <a:pt x="61" y="1780"/>
                      <a:pt x="59" y="1778"/>
                      <a:pt x="59" y="1776"/>
                    </a:cubicBezTo>
                    <a:cubicBezTo>
                      <a:pt x="59" y="1775"/>
                      <a:pt x="60" y="1774"/>
                      <a:pt x="61" y="1772"/>
                    </a:cubicBezTo>
                    <a:cubicBezTo>
                      <a:pt x="63" y="1771"/>
                      <a:pt x="64" y="1770"/>
                      <a:pt x="65" y="1768"/>
                    </a:cubicBezTo>
                    <a:cubicBezTo>
                      <a:pt x="69" y="1764"/>
                      <a:pt x="74" y="1759"/>
                      <a:pt x="80" y="1762"/>
                    </a:cubicBezTo>
                    <a:cubicBezTo>
                      <a:pt x="85" y="1764"/>
                      <a:pt x="85" y="1767"/>
                      <a:pt x="85" y="1769"/>
                    </a:cubicBezTo>
                    <a:cubicBezTo>
                      <a:pt x="86" y="1771"/>
                      <a:pt x="86" y="1772"/>
                      <a:pt x="88" y="1773"/>
                    </a:cubicBezTo>
                    <a:cubicBezTo>
                      <a:pt x="90" y="1775"/>
                      <a:pt x="92" y="1775"/>
                      <a:pt x="94" y="1775"/>
                    </a:cubicBezTo>
                    <a:cubicBezTo>
                      <a:pt x="95" y="1775"/>
                      <a:pt x="97" y="1773"/>
                      <a:pt x="98" y="1772"/>
                    </a:cubicBezTo>
                    <a:cubicBezTo>
                      <a:pt x="101" y="1766"/>
                      <a:pt x="107" y="1767"/>
                      <a:pt x="113" y="1769"/>
                    </a:cubicBezTo>
                    <a:cubicBezTo>
                      <a:pt x="117" y="1770"/>
                      <a:pt x="118" y="1768"/>
                      <a:pt x="120" y="1763"/>
                    </a:cubicBezTo>
                    <a:cubicBezTo>
                      <a:pt x="122" y="1759"/>
                      <a:pt x="129" y="1751"/>
                      <a:pt x="135" y="1751"/>
                    </a:cubicBezTo>
                    <a:cubicBezTo>
                      <a:pt x="135" y="1751"/>
                      <a:pt x="135" y="1751"/>
                      <a:pt x="135" y="1751"/>
                    </a:cubicBezTo>
                    <a:cubicBezTo>
                      <a:pt x="142" y="1751"/>
                      <a:pt x="142" y="1756"/>
                      <a:pt x="143" y="1759"/>
                    </a:cubicBezTo>
                    <a:cubicBezTo>
                      <a:pt x="143" y="1760"/>
                      <a:pt x="143" y="1760"/>
                      <a:pt x="143" y="1760"/>
                    </a:cubicBezTo>
                    <a:cubicBezTo>
                      <a:pt x="144" y="1759"/>
                      <a:pt x="147" y="1758"/>
                      <a:pt x="148" y="1753"/>
                    </a:cubicBezTo>
                    <a:cubicBezTo>
                      <a:pt x="148" y="1752"/>
                      <a:pt x="148" y="1752"/>
                      <a:pt x="148" y="1752"/>
                    </a:cubicBezTo>
                    <a:cubicBezTo>
                      <a:pt x="150" y="1745"/>
                      <a:pt x="152" y="1737"/>
                      <a:pt x="150" y="1731"/>
                    </a:cubicBezTo>
                    <a:cubicBezTo>
                      <a:pt x="149" y="1725"/>
                      <a:pt x="148" y="1722"/>
                      <a:pt x="150" y="1719"/>
                    </a:cubicBezTo>
                    <a:cubicBezTo>
                      <a:pt x="151" y="1717"/>
                      <a:pt x="154" y="1717"/>
                      <a:pt x="156" y="1717"/>
                    </a:cubicBezTo>
                    <a:cubicBezTo>
                      <a:pt x="161" y="1717"/>
                      <a:pt x="164" y="1718"/>
                      <a:pt x="165" y="1720"/>
                    </a:cubicBezTo>
                    <a:cubicBezTo>
                      <a:pt x="166" y="1721"/>
                      <a:pt x="167" y="1723"/>
                      <a:pt x="166" y="1726"/>
                    </a:cubicBezTo>
                    <a:cubicBezTo>
                      <a:pt x="166" y="1727"/>
                      <a:pt x="165" y="1728"/>
                      <a:pt x="165" y="1729"/>
                    </a:cubicBezTo>
                    <a:cubicBezTo>
                      <a:pt x="163" y="1733"/>
                      <a:pt x="161" y="1738"/>
                      <a:pt x="162" y="1742"/>
                    </a:cubicBezTo>
                    <a:cubicBezTo>
                      <a:pt x="163" y="1744"/>
                      <a:pt x="165" y="1744"/>
                      <a:pt x="166" y="1744"/>
                    </a:cubicBezTo>
                    <a:cubicBezTo>
                      <a:pt x="167" y="1743"/>
                      <a:pt x="169" y="1742"/>
                      <a:pt x="169" y="1740"/>
                    </a:cubicBezTo>
                    <a:cubicBezTo>
                      <a:pt x="169" y="1737"/>
                      <a:pt x="169" y="1735"/>
                      <a:pt x="170" y="1733"/>
                    </a:cubicBezTo>
                    <a:cubicBezTo>
                      <a:pt x="171" y="1731"/>
                      <a:pt x="171" y="1730"/>
                      <a:pt x="170" y="1727"/>
                    </a:cubicBezTo>
                    <a:cubicBezTo>
                      <a:pt x="168" y="1723"/>
                      <a:pt x="170" y="1717"/>
                      <a:pt x="173" y="1715"/>
                    </a:cubicBezTo>
                    <a:cubicBezTo>
                      <a:pt x="174" y="1715"/>
                      <a:pt x="177" y="1714"/>
                      <a:pt x="179" y="1720"/>
                    </a:cubicBezTo>
                    <a:cubicBezTo>
                      <a:pt x="181" y="1723"/>
                      <a:pt x="183" y="1725"/>
                      <a:pt x="184" y="1727"/>
                    </a:cubicBezTo>
                    <a:cubicBezTo>
                      <a:pt x="186" y="1729"/>
                      <a:pt x="188" y="1731"/>
                      <a:pt x="189" y="1734"/>
                    </a:cubicBezTo>
                    <a:cubicBezTo>
                      <a:pt x="189" y="1736"/>
                      <a:pt x="191" y="1738"/>
                      <a:pt x="193" y="1738"/>
                    </a:cubicBezTo>
                    <a:cubicBezTo>
                      <a:pt x="195" y="1739"/>
                      <a:pt x="197" y="1736"/>
                      <a:pt x="197" y="1734"/>
                    </a:cubicBezTo>
                    <a:cubicBezTo>
                      <a:pt x="201" y="1724"/>
                      <a:pt x="199" y="1719"/>
                      <a:pt x="197" y="1716"/>
                    </a:cubicBezTo>
                    <a:cubicBezTo>
                      <a:pt x="196" y="1713"/>
                      <a:pt x="195" y="1711"/>
                      <a:pt x="195" y="1708"/>
                    </a:cubicBezTo>
                    <a:cubicBezTo>
                      <a:pt x="194" y="1704"/>
                      <a:pt x="193" y="1701"/>
                      <a:pt x="191" y="1698"/>
                    </a:cubicBezTo>
                    <a:cubicBezTo>
                      <a:pt x="190" y="1697"/>
                      <a:pt x="190" y="1696"/>
                      <a:pt x="190" y="1694"/>
                    </a:cubicBezTo>
                    <a:cubicBezTo>
                      <a:pt x="191" y="1693"/>
                      <a:pt x="193" y="1692"/>
                      <a:pt x="194" y="1691"/>
                    </a:cubicBezTo>
                    <a:cubicBezTo>
                      <a:pt x="196" y="1690"/>
                      <a:pt x="196" y="1690"/>
                      <a:pt x="195" y="1687"/>
                    </a:cubicBezTo>
                    <a:cubicBezTo>
                      <a:pt x="193" y="1683"/>
                      <a:pt x="191" y="1681"/>
                      <a:pt x="190" y="1679"/>
                    </a:cubicBezTo>
                    <a:cubicBezTo>
                      <a:pt x="188" y="1676"/>
                      <a:pt x="187" y="1675"/>
                      <a:pt x="186" y="1673"/>
                    </a:cubicBezTo>
                    <a:cubicBezTo>
                      <a:pt x="186" y="1671"/>
                      <a:pt x="183" y="1657"/>
                      <a:pt x="187" y="1655"/>
                    </a:cubicBezTo>
                    <a:cubicBezTo>
                      <a:pt x="190" y="1654"/>
                      <a:pt x="192" y="1658"/>
                      <a:pt x="193" y="1659"/>
                    </a:cubicBezTo>
                    <a:cubicBezTo>
                      <a:pt x="194" y="1662"/>
                      <a:pt x="195" y="1665"/>
                      <a:pt x="196" y="1667"/>
                    </a:cubicBezTo>
                    <a:cubicBezTo>
                      <a:pt x="198" y="1674"/>
                      <a:pt x="200" y="1676"/>
                      <a:pt x="203" y="1676"/>
                    </a:cubicBezTo>
                    <a:cubicBezTo>
                      <a:pt x="214" y="1675"/>
                      <a:pt x="216" y="1679"/>
                      <a:pt x="219" y="1688"/>
                    </a:cubicBezTo>
                    <a:cubicBezTo>
                      <a:pt x="221" y="1696"/>
                      <a:pt x="222" y="1697"/>
                      <a:pt x="228" y="1700"/>
                    </a:cubicBezTo>
                    <a:cubicBezTo>
                      <a:pt x="232" y="1701"/>
                      <a:pt x="234" y="1703"/>
                      <a:pt x="235" y="1705"/>
                    </a:cubicBezTo>
                    <a:cubicBezTo>
                      <a:pt x="235" y="1708"/>
                      <a:pt x="232" y="1709"/>
                      <a:pt x="230" y="1710"/>
                    </a:cubicBezTo>
                    <a:cubicBezTo>
                      <a:pt x="229" y="1711"/>
                      <a:pt x="228" y="1713"/>
                      <a:pt x="228" y="1713"/>
                    </a:cubicBezTo>
                    <a:cubicBezTo>
                      <a:pt x="228" y="1713"/>
                      <a:pt x="228" y="1713"/>
                      <a:pt x="229" y="1713"/>
                    </a:cubicBezTo>
                    <a:cubicBezTo>
                      <a:pt x="231" y="1713"/>
                      <a:pt x="232" y="1713"/>
                      <a:pt x="233" y="1713"/>
                    </a:cubicBezTo>
                    <a:cubicBezTo>
                      <a:pt x="236" y="1713"/>
                      <a:pt x="237" y="1713"/>
                      <a:pt x="241" y="1716"/>
                    </a:cubicBezTo>
                    <a:cubicBezTo>
                      <a:pt x="242" y="1717"/>
                      <a:pt x="244" y="1717"/>
                      <a:pt x="247" y="1716"/>
                    </a:cubicBezTo>
                    <a:cubicBezTo>
                      <a:pt x="249" y="1716"/>
                      <a:pt x="251" y="1716"/>
                      <a:pt x="254" y="1717"/>
                    </a:cubicBezTo>
                    <a:cubicBezTo>
                      <a:pt x="254" y="1717"/>
                      <a:pt x="254" y="1717"/>
                      <a:pt x="254" y="1717"/>
                    </a:cubicBezTo>
                    <a:cubicBezTo>
                      <a:pt x="254" y="1717"/>
                      <a:pt x="254" y="1716"/>
                      <a:pt x="254" y="1716"/>
                    </a:cubicBezTo>
                    <a:cubicBezTo>
                      <a:pt x="254" y="1714"/>
                      <a:pt x="255" y="1712"/>
                      <a:pt x="255" y="1712"/>
                    </a:cubicBezTo>
                    <a:cubicBezTo>
                      <a:pt x="257" y="1710"/>
                      <a:pt x="259" y="1711"/>
                      <a:pt x="261" y="1711"/>
                    </a:cubicBezTo>
                    <a:cubicBezTo>
                      <a:pt x="261" y="1711"/>
                      <a:pt x="262" y="1711"/>
                      <a:pt x="263" y="1711"/>
                    </a:cubicBezTo>
                    <a:cubicBezTo>
                      <a:pt x="262" y="1710"/>
                      <a:pt x="262" y="1709"/>
                      <a:pt x="261" y="1709"/>
                    </a:cubicBezTo>
                    <a:cubicBezTo>
                      <a:pt x="261" y="1708"/>
                      <a:pt x="260" y="1708"/>
                      <a:pt x="259" y="1708"/>
                    </a:cubicBezTo>
                    <a:cubicBezTo>
                      <a:pt x="256" y="1709"/>
                      <a:pt x="252" y="1710"/>
                      <a:pt x="250" y="1704"/>
                    </a:cubicBezTo>
                    <a:cubicBezTo>
                      <a:pt x="249" y="1703"/>
                      <a:pt x="249" y="1702"/>
                      <a:pt x="250" y="1701"/>
                    </a:cubicBezTo>
                    <a:cubicBezTo>
                      <a:pt x="251" y="1700"/>
                      <a:pt x="252" y="1699"/>
                      <a:pt x="254" y="1699"/>
                    </a:cubicBezTo>
                    <a:cubicBezTo>
                      <a:pt x="254" y="1699"/>
                      <a:pt x="255" y="1699"/>
                      <a:pt x="255" y="1699"/>
                    </a:cubicBezTo>
                    <a:cubicBezTo>
                      <a:pt x="255" y="1699"/>
                      <a:pt x="256" y="1698"/>
                      <a:pt x="256" y="1698"/>
                    </a:cubicBezTo>
                    <a:cubicBezTo>
                      <a:pt x="255" y="1695"/>
                      <a:pt x="257" y="1692"/>
                      <a:pt x="260" y="1692"/>
                    </a:cubicBezTo>
                    <a:cubicBezTo>
                      <a:pt x="265" y="1690"/>
                      <a:pt x="272" y="1693"/>
                      <a:pt x="274" y="1698"/>
                    </a:cubicBezTo>
                    <a:cubicBezTo>
                      <a:pt x="276" y="1701"/>
                      <a:pt x="276" y="1702"/>
                      <a:pt x="276" y="1702"/>
                    </a:cubicBezTo>
                    <a:cubicBezTo>
                      <a:pt x="277" y="1702"/>
                      <a:pt x="277" y="1702"/>
                      <a:pt x="278" y="1701"/>
                    </a:cubicBezTo>
                    <a:cubicBezTo>
                      <a:pt x="278" y="1700"/>
                      <a:pt x="277" y="1699"/>
                      <a:pt x="276" y="1699"/>
                    </a:cubicBezTo>
                    <a:cubicBezTo>
                      <a:pt x="275" y="1698"/>
                      <a:pt x="273" y="1696"/>
                      <a:pt x="273" y="1694"/>
                    </a:cubicBezTo>
                    <a:cubicBezTo>
                      <a:pt x="273" y="1693"/>
                      <a:pt x="273" y="1692"/>
                      <a:pt x="274" y="1691"/>
                    </a:cubicBezTo>
                    <a:cubicBezTo>
                      <a:pt x="274" y="1691"/>
                      <a:pt x="274" y="1691"/>
                      <a:pt x="274" y="1691"/>
                    </a:cubicBezTo>
                    <a:cubicBezTo>
                      <a:pt x="273" y="1689"/>
                      <a:pt x="271" y="1687"/>
                      <a:pt x="273" y="1684"/>
                    </a:cubicBezTo>
                    <a:cubicBezTo>
                      <a:pt x="275" y="1681"/>
                      <a:pt x="277" y="1680"/>
                      <a:pt x="280" y="1679"/>
                    </a:cubicBezTo>
                    <a:cubicBezTo>
                      <a:pt x="282" y="1678"/>
                      <a:pt x="282" y="1678"/>
                      <a:pt x="282" y="1678"/>
                    </a:cubicBezTo>
                    <a:cubicBezTo>
                      <a:pt x="285" y="1676"/>
                      <a:pt x="290" y="1674"/>
                      <a:pt x="291" y="1673"/>
                    </a:cubicBezTo>
                    <a:cubicBezTo>
                      <a:pt x="293" y="1671"/>
                      <a:pt x="296" y="1669"/>
                      <a:pt x="298" y="1671"/>
                    </a:cubicBezTo>
                    <a:cubicBezTo>
                      <a:pt x="299" y="1672"/>
                      <a:pt x="300" y="1673"/>
                      <a:pt x="299" y="1676"/>
                    </a:cubicBezTo>
                    <a:cubicBezTo>
                      <a:pt x="299" y="1677"/>
                      <a:pt x="298" y="1678"/>
                      <a:pt x="297" y="1680"/>
                    </a:cubicBezTo>
                    <a:cubicBezTo>
                      <a:pt x="296" y="1682"/>
                      <a:pt x="295" y="1683"/>
                      <a:pt x="295" y="1687"/>
                    </a:cubicBezTo>
                    <a:cubicBezTo>
                      <a:pt x="295" y="1689"/>
                      <a:pt x="295" y="1690"/>
                      <a:pt x="295" y="1691"/>
                    </a:cubicBezTo>
                    <a:cubicBezTo>
                      <a:pt x="295" y="1691"/>
                      <a:pt x="296" y="1691"/>
                      <a:pt x="297" y="1690"/>
                    </a:cubicBezTo>
                    <a:cubicBezTo>
                      <a:pt x="299" y="1690"/>
                      <a:pt x="301" y="1690"/>
                      <a:pt x="303" y="1690"/>
                    </a:cubicBezTo>
                    <a:cubicBezTo>
                      <a:pt x="303" y="1690"/>
                      <a:pt x="304" y="1691"/>
                      <a:pt x="304" y="1690"/>
                    </a:cubicBezTo>
                    <a:cubicBezTo>
                      <a:pt x="304" y="1690"/>
                      <a:pt x="304" y="1690"/>
                      <a:pt x="304" y="1690"/>
                    </a:cubicBezTo>
                    <a:cubicBezTo>
                      <a:pt x="304" y="1690"/>
                      <a:pt x="305" y="1690"/>
                      <a:pt x="305" y="1690"/>
                    </a:cubicBezTo>
                    <a:cubicBezTo>
                      <a:pt x="306" y="1687"/>
                      <a:pt x="308" y="1684"/>
                      <a:pt x="310" y="1682"/>
                    </a:cubicBezTo>
                    <a:cubicBezTo>
                      <a:pt x="311" y="1681"/>
                      <a:pt x="311" y="1680"/>
                      <a:pt x="312" y="1679"/>
                    </a:cubicBezTo>
                    <a:cubicBezTo>
                      <a:pt x="312" y="1679"/>
                      <a:pt x="313" y="1678"/>
                      <a:pt x="313" y="1677"/>
                    </a:cubicBezTo>
                    <a:cubicBezTo>
                      <a:pt x="314" y="1675"/>
                      <a:pt x="316" y="1671"/>
                      <a:pt x="322" y="1671"/>
                    </a:cubicBezTo>
                    <a:cubicBezTo>
                      <a:pt x="327" y="1672"/>
                      <a:pt x="333" y="1672"/>
                      <a:pt x="337" y="1670"/>
                    </a:cubicBezTo>
                    <a:cubicBezTo>
                      <a:pt x="340" y="1668"/>
                      <a:pt x="344" y="1669"/>
                      <a:pt x="345" y="1671"/>
                    </a:cubicBezTo>
                    <a:cubicBezTo>
                      <a:pt x="346" y="1672"/>
                      <a:pt x="347" y="1674"/>
                      <a:pt x="344" y="1678"/>
                    </a:cubicBezTo>
                    <a:cubicBezTo>
                      <a:pt x="344" y="1678"/>
                      <a:pt x="344" y="1678"/>
                      <a:pt x="344" y="1678"/>
                    </a:cubicBezTo>
                    <a:cubicBezTo>
                      <a:pt x="344" y="1678"/>
                      <a:pt x="344" y="1679"/>
                      <a:pt x="346" y="1679"/>
                    </a:cubicBezTo>
                    <a:cubicBezTo>
                      <a:pt x="347" y="1679"/>
                      <a:pt x="348" y="1679"/>
                      <a:pt x="349" y="1678"/>
                    </a:cubicBezTo>
                    <a:cubicBezTo>
                      <a:pt x="353" y="1677"/>
                      <a:pt x="356" y="1678"/>
                      <a:pt x="359" y="1679"/>
                    </a:cubicBezTo>
                    <a:cubicBezTo>
                      <a:pt x="359" y="1679"/>
                      <a:pt x="360" y="1679"/>
                      <a:pt x="361" y="1679"/>
                    </a:cubicBezTo>
                    <a:cubicBezTo>
                      <a:pt x="361" y="1678"/>
                      <a:pt x="361" y="1678"/>
                      <a:pt x="361" y="1677"/>
                    </a:cubicBezTo>
                    <a:cubicBezTo>
                      <a:pt x="361" y="1677"/>
                      <a:pt x="361" y="1677"/>
                      <a:pt x="361" y="1677"/>
                    </a:cubicBezTo>
                    <a:cubicBezTo>
                      <a:pt x="359" y="1677"/>
                      <a:pt x="357" y="1677"/>
                      <a:pt x="357" y="1675"/>
                    </a:cubicBezTo>
                    <a:cubicBezTo>
                      <a:pt x="356" y="1672"/>
                      <a:pt x="357" y="1667"/>
                      <a:pt x="361" y="1664"/>
                    </a:cubicBezTo>
                    <a:cubicBezTo>
                      <a:pt x="365" y="1661"/>
                      <a:pt x="368" y="1659"/>
                      <a:pt x="374" y="1663"/>
                    </a:cubicBezTo>
                    <a:cubicBezTo>
                      <a:pt x="376" y="1664"/>
                      <a:pt x="378" y="1666"/>
                      <a:pt x="379" y="1667"/>
                    </a:cubicBezTo>
                    <a:cubicBezTo>
                      <a:pt x="382" y="1670"/>
                      <a:pt x="382" y="1670"/>
                      <a:pt x="387" y="1666"/>
                    </a:cubicBezTo>
                    <a:cubicBezTo>
                      <a:pt x="394" y="1662"/>
                      <a:pt x="396" y="1661"/>
                      <a:pt x="403" y="1661"/>
                    </a:cubicBezTo>
                    <a:cubicBezTo>
                      <a:pt x="407" y="1662"/>
                      <a:pt x="409" y="1660"/>
                      <a:pt x="412" y="1656"/>
                    </a:cubicBezTo>
                    <a:cubicBezTo>
                      <a:pt x="412" y="1656"/>
                      <a:pt x="412" y="1655"/>
                      <a:pt x="413" y="1655"/>
                    </a:cubicBezTo>
                    <a:cubicBezTo>
                      <a:pt x="415" y="1652"/>
                      <a:pt x="419" y="1647"/>
                      <a:pt x="425" y="1650"/>
                    </a:cubicBezTo>
                    <a:cubicBezTo>
                      <a:pt x="427" y="1651"/>
                      <a:pt x="431" y="1651"/>
                      <a:pt x="434" y="1649"/>
                    </a:cubicBezTo>
                    <a:cubicBezTo>
                      <a:pt x="437" y="1647"/>
                      <a:pt x="438" y="1643"/>
                      <a:pt x="438" y="1638"/>
                    </a:cubicBezTo>
                    <a:cubicBezTo>
                      <a:pt x="438" y="1628"/>
                      <a:pt x="444" y="1626"/>
                      <a:pt x="448" y="1624"/>
                    </a:cubicBezTo>
                    <a:cubicBezTo>
                      <a:pt x="451" y="1623"/>
                      <a:pt x="453" y="1622"/>
                      <a:pt x="454" y="1620"/>
                    </a:cubicBezTo>
                    <a:cubicBezTo>
                      <a:pt x="455" y="1616"/>
                      <a:pt x="457" y="1613"/>
                      <a:pt x="458" y="1610"/>
                    </a:cubicBezTo>
                    <a:cubicBezTo>
                      <a:pt x="460" y="1606"/>
                      <a:pt x="462" y="1603"/>
                      <a:pt x="464" y="1598"/>
                    </a:cubicBezTo>
                    <a:cubicBezTo>
                      <a:pt x="464" y="1597"/>
                      <a:pt x="464" y="1596"/>
                      <a:pt x="465" y="1596"/>
                    </a:cubicBezTo>
                    <a:cubicBezTo>
                      <a:pt x="467" y="1588"/>
                      <a:pt x="469" y="1582"/>
                      <a:pt x="479" y="1584"/>
                    </a:cubicBezTo>
                    <a:cubicBezTo>
                      <a:pt x="481" y="1585"/>
                      <a:pt x="481" y="1585"/>
                      <a:pt x="481" y="1585"/>
                    </a:cubicBezTo>
                    <a:cubicBezTo>
                      <a:pt x="487" y="1586"/>
                      <a:pt x="487" y="1586"/>
                      <a:pt x="491" y="1581"/>
                    </a:cubicBezTo>
                    <a:cubicBezTo>
                      <a:pt x="492" y="1579"/>
                      <a:pt x="493" y="1577"/>
                      <a:pt x="494" y="1576"/>
                    </a:cubicBezTo>
                    <a:cubicBezTo>
                      <a:pt x="496" y="1573"/>
                      <a:pt x="497" y="1571"/>
                      <a:pt x="502" y="1569"/>
                    </a:cubicBezTo>
                    <a:cubicBezTo>
                      <a:pt x="504" y="1569"/>
                      <a:pt x="506" y="1567"/>
                      <a:pt x="507" y="1564"/>
                    </a:cubicBezTo>
                    <a:cubicBezTo>
                      <a:pt x="509" y="1561"/>
                      <a:pt x="511" y="1558"/>
                      <a:pt x="514" y="1557"/>
                    </a:cubicBezTo>
                    <a:cubicBezTo>
                      <a:pt x="516" y="1556"/>
                      <a:pt x="519" y="1555"/>
                      <a:pt x="521" y="1554"/>
                    </a:cubicBezTo>
                    <a:cubicBezTo>
                      <a:pt x="523" y="1554"/>
                      <a:pt x="526" y="1553"/>
                      <a:pt x="526" y="1553"/>
                    </a:cubicBezTo>
                    <a:cubicBezTo>
                      <a:pt x="526" y="1550"/>
                      <a:pt x="528" y="1548"/>
                      <a:pt x="530" y="1546"/>
                    </a:cubicBezTo>
                    <a:cubicBezTo>
                      <a:pt x="531" y="1545"/>
                      <a:pt x="533" y="1545"/>
                      <a:pt x="535" y="1545"/>
                    </a:cubicBezTo>
                    <a:cubicBezTo>
                      <a:pt x="536" y="1546"/>
                      <a:pt x="537" y="1546"/>
                      <a:pt x="537" y="1547"/>
                    </a:cubicBezTo>
                    <a:cubicBezTo>
                      <a:pt x="538" y="1549"/>
                      <a:pt x="538" y="1551"/>
                      <a:pt x="537" y="1553"/>
                    </a:cubicBezTo>
                    <a:cubicBezTo>
                      <a:pt x="538" y="1552"/>
                      <a:pt x="539" y="1551"/>
                      <a:pt x="539" y="1550"/>
                    </a:cubicBezTo>
                    <a:cubicBezTo>
                      <a:pt x="540" y="1548"/>
                      <a:pt x="541" y="1547"/>
                      <a:pt x="542" y="1546"/>
                    </a:cubicBezTo>
                    <a:cubicBezTo>
                      <a:pt x="544" y="1543"/>
                      <a:pt x="545" y="1541"/>
                      <a:pt x="545" y="1539"/>
                    </a:cubicBezTo>
                    <a:cubicBezTo>
                      <a:pt x="545" y="1533"/>
                      <a:pt x="548" y="1532"/>
                      <a:pt x="552" y="1530"/>
                    </a:cubicBezTo>
                    <a:cubicBezTo>
                      <a:pt x="553" y="1529"/>
                      <a:pt x="553" y="1529"/>
                      <a:pt x="553" y="1529"/>
                    </a:cubicBezTo>
                    <a:cubicBezTo>
                      <a:pt x="557" y="1527"/>
                      <a:pt x="561" y="1522"/>
                      <a:pt x="561" y="1521"/>
                    </a:cubicBezTo>
                    <a:cubicBezTo>
                      <a:pt x="560" y="1521"/>
                      <a:pt x="560" y="1520"/>
                      <a:pt x="559" y="1520"/>
                    </a:cubicBezTo>
                    <a:cubicBezTo>
                      <a:pt x="557" y="1518"/>
                      <a:pt x="555" y="1517"/>
                      <a:pt x="551" y="1518"/>
                    </a:cubicBezTo>
                    <a:cubicBezTo>
                      <a:pt x="546" y="1519"/>
                      <a:pt x="542" y="1518"/>
                      <a:pt x="540" y="1517"/>
                    </a:cubicBezTo>
                    <a:cubicBezTo>
                      <a:pt x="539" y="1515"/>
                      <a:pt x="538" y="1514"/>
                      <a:pt x="538" y="1512"/>
                    </a:cubicBezTo>
                    <a:cubicBezTo>
                      <a:pt x="538" y="1509"/>
                      <a:pt x="543" y="1507"/>
                      <a:pt x="557" y="1505"/>
                    </a:cubicBezTo>
                    <a:cubicBezTo>
                      <a:pt x="558" y="1505"/>
                      <a:pt x="558" y="1505"/>
                      <a:pt x="558" y="1505"/>
                    </a:cubicBezTo>
                    <a:cubicBezTo>
                      <a:pt x="559" y="1504"/>
                      <a:pt x="558" y="1501"/>
                      <a:pt x="558" y="1498"/>
                    </a:cubicBezTo>
                    <a:cubicBezTo>
                      <a:pt x="558" y="1497"/>
                      <a:pt x="558" y="1496"/>
                      <a:pt x="558" y="1495"/>
                    </a:cubicBezTo>
                    <a:cubicBezTo>
                      <a:pt x="557" y="1493"/>
                      <a:pt x="558" y="1490"/>
                      <a:pt x="560" y="1489"/>
                    </a:cubicBezTo>
                    <a:cubicBezTo>
                      <a:pt x="562" y="1488"/>
                      <a:pt x="564" y="1488"/>
                      <a:pt x="566" y="1489"/>
                    </a:cubicBezTo>
                    <a:cubicBezTo>
                      <a:pt x="568" y="1490"/>
                      <a:pt x="569" y="1492"/>
                      <a:pt x="569" y="1494"/>
                    </a:cubicBezTo>
                    <a:cubicBezTo>
                      <a:pt x="569" y="1495"/>
                      <a:pt x="569" y="1495"/>
                      <a:pt x="570" y="1495"/>
                    </a:cubicBezTo>
                    <a:cubicBezTo>
                      <a:pt x="571" y="1496"/>
                      <a:pt x="574" y="1495"/>
                      <a:pt x="579" y="1493"/>
                    </a:cubicBezTo>
                    <a:cubicBezTo>
                      <a:pt x="583" y="1491"/>
                      <a:pt x="594" y="1486"/>
                      <a:pt x="599" y="1494"/>
                    </a:cubicBezTo>
                    <a:cubicBezTo>
                      <a:pt x="599" y="1494"/>
                      <a:pt x="599" y="1494"/>
                      <a:pt x="599" y="1494"/>
                    </a:cubicBezTo>
                    <a:cubicBezTo>
                      <a:pt x="599" y="1494"/>
                      <a:pt x="602" y="1491"/>
                      <a:pt x="606" y="1483"/>
                    </a:cubicBezTo>
                    <a:cubicBezTo>
                      <a:pt x="608" y="1478"/>
                      <a:pt x="608" y="1476"/>
                      <a:pt x="608" y="1476"/>
                    </a:cubicBezTo>
                    <a:cubicBezTo>
                      <a:pt x="608" y="1476"/>
                      <a:pt x="608" y="1476"/>
                      <a:pt x="608" y="1476"/>
                    </a:cubicBezTo>
                    <a:cubicBezTo>
                      <a:pt x="608" y="1476"/>
                      <a:pt x="608" y="1476"/>
                      <a:pt x="607" y="1476"/>
                    </a:cubicBezTo>
                    <a:cubicBezTo>
                      <a:pt x="606" y="1476"/>
                      <a:pt x="606" y="1476"/>
                      <a:pt x="605" y="1476"/>
                    </a:cubicBezTo>
                    <a:cubicBezTo>
                      <a:pt x="602" y="1476"/>
                      <a:pt x="599" y="1476"/>
                      <a:pt x="598" y="1474"/>
                    </a:cubicBezTo>
                    <a:cubicBezTo>
                      <a:pt x="596" y="1472"/>
                      <a:pt x="597" y="1470"/>
                      <a:pt x="597" y="1469"/>
                    </a:cubicBezTo>
                    <a:cubicBezTo>
                      <a:pt x="598" y="1465"/>
                      <a:pt x="603" y="1466"/>
                      <a:pt x="606" y="1466"/>
                    </a:cubicBezTo>
                    <a:cubicBezTo>
                      <a:pt x="610" y="1467"/>
                      <a:pt x="612" y="1467"/>
                      <a:pt x="614" y="1465"/>
                    </a:cubicBezTo>
                    <a:cubicBezTo>
                      <a:pt x="616" y="1462"/>
                      <a:pt x="618" y="1462"/>
                      <a:pt x="620" y="1461"/>
                    </a:cubicBezTo>
                    <a:cubicBezTo>
                      <a:pt x="621" y="1461"/>
                      <a:pt x="622" y="1460"/>
                      <a:pt x="623" y="1458"/>
                    </a:cubicBezTo>
                    <a:cubicBezTo>
                      <a:pt x="624" y="1456"/>
                      <a:pt x="624" y="1455"/>
                      <a:pt x="624" y="1454"/>
                    </a:cubicBezTo>
                    <a:cubicBezTo>
                      <a:pt x="623" y="1455"/>
                      <a:pt x="622" y="1455"/>
                      <a:pt x="621" y="1455"/>
                    </a:cubicBezTo>
                    <a:cubicBezTo>
                      <a:pt x="616" y="1456"/>
                      <a:pt x="613" y="1453"/>
                      <a:pt x="612" y="1450"/>
                    </a:cubicBezTo>
                    <a:cubicBezTo>
                      <a:pt x="612" y="1447"/>
                      <a:pt x="613" y="1443"/>
                      <a:pt x="617" y="1442"/>
                    </a:cubicBezTo>
                    <a:cubicBezTo>
                      <a:pt x="618" y="1442"/>
                      <a:pt x="618" y="1441"/>
                      <a:pt x="618" y="1441"/>
                    </a:cubicBezTo>
                    <a:cubicBezTo>
                      <a:pt x="619" y="1440"/>
                      <a:pt x="618" y="1439"/>
                      <a:pt x="618" y="1438"/>
                    </a:cubicBezTo>
                    <a:cubicBezTo>
                      <a:pt x="617" y="1437"/>
                      <a:pt x="616" y="1435"/>
                      <a:pt x="617" y="1434"/>
                    </a:cubicBezTo>
                    <a:cubicBezTo>
                      <a:pt x="619" y="1432"/>
                      <a:pt x="621" y="1430"/>
                      <a:pt x="624" y="1431"/>
                    </a:cubicBezTo>
                    <a:cubicBezTo>
                      <a:pt x="625" y="1431"/>
                      <a:pt x="628" y="1432"/>
                      <a:pt x="629" y="1437"/>
                    </a:cubicBezTo>
                    <a:cubicBezTo>
                      <a:pt x="629" y="1439"/>
                      <a:pt x="630" y="1440"/>
                      <a:pt x="630" y="1440"/>
                    </a:cubicBezTo>
                    <a:cubicBezTo>
                      <a:pt x="631" y="1441"/>
                      <a:pt x="633" y="1440"/>
                      <a:pt x="634" y="1440"/>
                    </a:cubicBezTo>
                    <a:cubicBezTo>
                      <a:pt x="635" y="1440"/>
                      <a:pt x="635" y="1440"/>
                      <a:pt x="635" y="1440"/>
                    </a:cubicBezTo>
                    <a:cubicBezTo>
                      <a:pt x="635" y="1440"/>
                      <a:pt x="636" y="1439"/>
                      <a:pt x="636" y="1439"/>
                    </a:cubicBezTo>
                    <a:cubicBezTo>
                      <a:pt x="636" y="1438"/>
                      <a:pt x="637" y="1435"/>
                      <a:pt x="641" y="1435"/>
                    </a:cubicBezTo>
                    <a:cubicBezTo>
                      <a:pt x="641" y="1435"/>
                      <a:pt x="642" y="1435"/>
                      <a:pt x="643" y="1435"/>
                    </a:cubicBezTo>
                    <a:cubicBezTo>
                      <a:pt x="647" y="1435"/>
                      <a:pt x="648" y="1435"/>
                      <a:pt x="648" y="1432"/>
                    </a:cubicBezTo>
                    <a:cubicBezTo>
                      <a:pt x="649" y="1428"/>
                      <a:pt x="648" y="1428"/>
                      <a:pt x="642" y="1425"/>
                    </a:cubicBezTo>
                    <a:cubicBezTo>
                      <a:pt x="640" y="1425"/>
                      <a:pt x="640" y="1425"/>
                      <a:pt x="640" y="1425"/>
                    </a:cubicBezTo>
                    <a:cubicBezTo>
                      <a:pt x="636" y="1423"/>
                      <a:pt x="635" y="1421"/>
                      <a:pt x="635" y="1419"/>
                    </a:cubicBezTo>
                    <a:cubicBezTo>
                      <a:pt x="634" y="1415"/>
                      <a:pt x="639" y="1411"/>
                      <a:pt x="643" y="1409"/>
                    </a:cubicBezTo>
                    <a:cubicBezTo>
                      <a:pt x="645" y="1407"/>
                      <a:pt x="654" y="1403"/>
                      <a:pt x="659" y="1405"/>
                    </a:cubicBezTo>
                    <a:cubicBezTo>
                      <a:pt x="661" y="1406"/>
                      <a:pt x="662" y="1407"/>
                      <a:pt x="662" y="1409"/>
                    </a:cubicBezTo>
                    <a:cubicBezTo>
                      <a:pt x="663" y="1413"/>
                      <a:pt x="663" y="1413"/>
                      <a:pt x="666" y="1414"/>
                    </a:cubicBezTo>
                    <a:cubicBezTo>
                      <a:pt x="667" y="1414"/>
                      <a:pt x="668" y="1415"/>
                      <a:pt x="669" y="1415"/>
                    </a:cubicBezTo>
                    <a:cubicBezTo>
                      <a:pt x="670" y="1416"/>
                      <a:pt x="670" y="1416"/>
                      <a:pt x="670" y="1416"/>
                    </a:cubicBezTo>
                    <a:cubicBezTo>
                      <a:pt x="671" y="1416"/>
                      <a:pt x="672" y="1417"/>
                      <a:pt x="673" y="1417"/>
                    </a:cubicBezTo>
                    <a:cubicBezTo>
                      <a:pt x="673" y="1417"/>
                      <a:pt x="673" y="1416"/>
                      <a:pt x="673" y="1415"/>
                    </a:cubicBezTo>
                    <a:cubicBezTo>
                      <a:pt x="673" y="1411"/>
                      <a:pt x="671" y="1408"/>
                      <a:pt x="668" y="1405"/>
                    </a:cubicBezTo>
                    <a:cubicBezTo>
                      <a:pt x="667" y="1404"/>
                      <a:pt x="666" y="1402"/>
                      <a:pt x="665" y="1401"/>
                    </a:cubicBezTo>
                    <a:cubicBezTo>
                      <a:pt x="665" y="1400"/>
                      <a:pt x="665" y="1400"/>
                      <a:pt x="663" y="1400"/>
                    </a:cubicBezTo>
                    <a:cubicBezTo>
                      <a:pt x="662" y="1400"/>
                      <a:pt x="660" y="1400"/>
                      <a:pt x="658" y="1398"/>
                    </a:cubicBezTo>
                    <a:cubicBezTo>
                      <a:pt x="657" y="1397"/>
                      <a:pt x="657" y="1395"/>
                      <a:pt x="657" y="1393"/>
                    </a:cubicBezTo>
                    <a:cubicBezTo>
                      <a:pt x="658" y="1388"/>
                      <a:pt x="661" y="1387"/>
                      <a:pt x="664" y="1386"/>
                    </a:cubicBezTo>
                    <a:cubicBezTo>
                      <a:pt x="667" y="1385"/>
                      <a:pt x="668" y="1385"/>
                      <a:pt x="668" y="1380"/>
                    </a:cubicBezTo>
                    <a:cubicBezTo>
                      <a:pt x="668" y="1373"/>
                      <a:pt x="670" y="1369"/>
                      <a:pt x="671" y="1367"/>
                    </a:cubicBezTo>
                    <a:cubicBezTo>
                      <a:pt x="673" y="1365"/>
                      <a:pt x="673" y="1364"/>
                      <a:pt x="672" y="1361"/>
                    </a:cubicBezTo>
                    <a:cubicBezTo>
                      <a:pt x="672" y="1359"/>
                      <a:pt x="671" y="1359"/>
                      <a:pt x="666" y="1360"/>
                    </a:cubicBezTo>
                    <a:cubicBezTo>
                      <a:pt x="663" y="1361"/>
                      <a:pt x="661" y="1361"/>
                      <a:pt x="659" y="1360"/>
                    </a:cubicBezTo>
                    <a:cubicBezTo>
                      <a:pt x="658" y="1359"/>
                      <a:pt x="657" y="1358"/>
                      <a:pt x="658" y="1356"/>
                    </a:cubicBezTo>
                    <a:cubicBezTo>
                      <a:pt x="658" y="1349"/>
                      <a:pt x="665" y="1337"/>
                      <a:pt x="673" y="1334"/>
                    </a:cubicBezTo>
                    <a:cubicBezTo>
                      <a:pt x="674" y="1334"/>
                      <a:pt x="676" y="1333"/>
                      <a:pt x="677" y="1333"/>
                    </a:cubicBezTo>
                    <a:cubicBezTo>
                      <a:pt x="683" y="1331"/>
                      <a:pt x="688" y="1329"/>
                      <a:pt x="687" y="1326"/>
                    </a:cubicBezTo>
                    <a:cubicBezTo>
                      <a:pt x="687" y="1325"/>
                      <a:pt x="687" y="1325"/>
                      <a:pt x="687" y="1325"/>
                    </a:cubicBezTo>
                    <a:cubicBezTo>
                      <a:pt x="685" y="1324"/>
                      <a:pt x="681" y="1326"/>
                      <a:pt x="679" y="1328"/>
                    </a:cubicBezTo>
                    <a:cubicBezTo>
                      <a:pt x="677" y="1331"/>
                      <a:pt x="674" y="1332"/>
                      <a:pt x="671" y="1332"/>
                    </a:cubicBezTo>
                    <a:cubicBezTo>
                      <a:pt x="668" y="1332"/>
                      <a:pt x="666" y="1330"/>
                      <a:pt x="665" y="1328"/>
                    </a:cubicBezTo>
                    <a:cubicBezTo>
                      <a:pt x="662" y="1323"/>
                      <a:pt x="662" y="1320"/>
                      <a:pt x="664" y="1318"/>
                    </a:cubicBezTo>
                    <a:cubicBezTo>
                      <a:pt x="664" y="1317"/>
                      <a:pt x="666" y="1316"/>
                      <a:pt x="670" y="1317"/>
                    </a:cubicBezTo>
                    <a:cubicBezTo>
                      <a:pt x="671" y="1317"/>
                      <a:pt x="671" y="1317"/>
                      <a:pt x="671" y="1317"/>
                    </a:cubicBezTo>
                    <a:cubicBezTo>
                      <a:pt x="673" y="1318"/>
                      <a:pt x="676" y="1319"/>
                      <a:pt x="677" y="1319"/>
                    </a:cubicBezTo>
                    <a:cubicBezTo>
                      <a:pt x="677" y="1319"/>
                      <a:pt x="677" y="1318"/>
                      <a:pt x="677" y="1318"/>
                    </a:cubicBezTo>
                    <a:cubicBezTo>
                      <a:pt x="675" y="1313"/>
                      <a:pt x="671" y="1308"/>
                      <a:pt x="670" y="1308"/>
                    </a:cubicBezTo>
                    <a:cubicBezTo>
                      <a:pt x="669" y="1308"/>
                      <a:pt x="669" y="1308"/>
                      <a:pt x="669" y="1308"/>
                    </a:cubicBezTo>
                    <a:cubicBezTo>
                      <a:pt x="666" y="1308"/>
                      <a:pt x="662" y="1308"/>
                      <a:pt x="660" y="1306"/>
                    </a:cubicBezTo>
                    <a:cubicBezTo>
                      <a:pt x="659" y="1304"/>
                      <a:pt x="658" y="1302"/>
                      <a:pt x="659" y="1298"/>
                    </a:cubicBezTo>
                    <a:cubicBezTo>
                      <a:pt x="660" y="1295"/>
                      <a:pt x="662" y="1292"/>
                      <a:pt x="664" y="1291"/>
                    </a:cubicBezTo>
                    <a:cubicBezTo>
                      <a:pt x="668" y="1290"/>
                      <a:pt x="673" y="1292"/>
                      <a:pt x="676" y="1293"/>
                    </a:cubicBezTo>
                    <a:cubicBezTo>
                      <a:pt x="677" y="1294"/>
                      <a:pt x="677" y="1294"/>
                      <a:pt x="678" y="1294"/>
                    </a:cubicBezTo>
                    <a:cubicBezTo>
                      <a:pt x="679" y="1295"/>
                      <a:pt x="680" y="1295"/>
                      <a:pt x="681" y="1295"/>
                    </a:cubicBezTo>
                    <a:cubicBezTo>
                      <a:pt x="681" y="1295"/>
                      <a:pt x="681" y="1295"/>
                      <a:pt x="681" y="1294"/>
                    </a:cubicBezTo>
                    <a:cubicBezTo>
                      <a:pt x="682" y="1289"/>
                      <a:pt x="684" y="1285"/>
                      <a:pt x="691" y="1286"/>
                    </a:cubicBezTo>
                    <a:cubicBezTo>
                      <a:pt x="693" y="1286"/>
                      <a:pt x="695" y="1287"/>
                      <a:pt x="696" y="1289"/>
                    </a:cubicBezTo>
                    <a:cubicBezTo>
                      <a:pt x="697" y="1291"/>
                      <a:pt x="696" y="1293"/>
                      <a:pt x="695" y="1295"/>
                    </a:cubicBezTo>
                    <a:cubicBezTo>
                      <a:pt x="694" y="1296"/>
                      <a:pt x="694" y="1298"/>
                      <a:pt x="693" y="1299"/>
                    </a:cubicBezTo>
                    <a:cubicBezTo>
                      <a:pt x="693" y="1300"/>
                      <a:pt x="692" y="1301"/>
                      <a:pt x="691" y="1302"/>
                    </a:cubicBezTo>
                    <a:cubicBezTo>
                      <a:pt x="692" y="1302"/>
                      <a:pt x="693" y="1301"/>
                      <a:pt x="694" y="1301"/>
                    </a:cubicBezTo>
                    <a:cubicBezTo>
                      <a:pt x="697" y="1299"/>
                      <a:pt x="700" y="1297"/>
                      <a:pt x="701" y="1294"/>
                    </a:cubicBezTo>
                    <a:cubicBezTo>
                      <a:pt x="701" y="1293"/>
                      <a:pt x="701" y="1291"/>
                      <a:pt x="699" y="1288"/>
                    </a:cubicBezTo>
                    <a:cubicBezTo>
                      <a:pt x="699" y="1288"/>
                      <a:pt x="698" y="1287"/>
                      <a:pt x="698" y="1287"/>
                    </a:cubicBezTo>
                    <a:cubicBezTo>
                      <a:pt x="696" y="1286"/>
                      <a:pt x="694" y="1285"/>
                      <a:pt x="693" y="1282"/>
                    </a:cubicBezTo>
                    <a:cubicBezTo>
                      <a:pt x="692" y="1280"/>
                      <a:pt x="692" y="1278"/>
                      <a:pt x="693" y="1277"/>
                    </a:cubicBezTo>
                    <a:cubicBezTo>
                      <a:pt x="695" y="1274"/>
                      <a:pt x="699" y="1271"/>
                      <a:pt x="703" y="1271"/>
                    </a:cubicBezTo>
                    <a:cubicBezTo>
                      <a:pt x="704" y="1271"/>
                      <a:pt x="705" y="1268"/>
                      <a:pt x="706" y="1266"/>
                    </a:cubicBezTo>
                    <a:cubicBezTo>
                      <a:pt x="707" y="1262"/>
                      <a:pt x="709" y="1258"/>
                      <a:pt x="713" y="1256"/>
                    </a:cubicBezTo>
                    <a:cubicBezTo>
                      <a:pt x="720" y="1254"/>
                      <a:pt x="725" y="1252"/>
                      <a:pt x="725" y="1246"/>
                    </a:cubicBezTo>
                    <a:cubicBezTo>
                      <a:pt x="725" y="1238"/>
                      <a:pt x="729" y="1233"/>
                      <a:pt x="731" y="1229"/>
                    </a:cubicBezTo>
                    <a:cubicBezTo>
                      <a:pt x="732" y="1228"/>
                      <a:pt x="732" y="1227"/>
                      <a:pt x="733" y="1227"/>
                    </a:cubicBezTo>
                    <a:cubicBezTo>
                      <a:pt x="735" y="1223"/>
                      <a:pt x="735" y="1222"/>
                      <a:pt x="730" y="1217"/>
                    </a:cubicBezTo>
                    <a:cubicBezTo>
                      <a:pt x="729" y="1216"/>
                      <a:pt x="728" y="1215"/>
                      <a:pt x="728" y="1212"/>
                    </a:cubicBezTo>
                    <a:cubicBezTo>
                      <a:pt x="728" y="1210"/>
                      <a:pt x="729" y="1209"/>
                      <a:pt x="730" y="1208"/>
                    </a:cubicBezTo>
                    <a:cubicBezTo>
                      <a:pt x="732" y="1206"/>
                      <a:pt x="733" y="1205"/>
                      <a:pt x="734" y="1202"/>
                    </a:cubicBezTo>
                    <a:cubicBezTo>
                      <a:pt x="734" y="1195"/>
                      <a:pt x="738" y="1190"/>
                      <a:pt x="741" y="1185"/>
                    </a:cubicBezTo>
                    <a:cubicBezTo>
                      <a:pt x="742" y="1183"/>
                      <a:pt x="743" y="1181"/>
                      <a:pt x="744" y="1180"/>
                    </a:cubicBezTo>
                    <a:cubicBezTo>
                      <a:pt x="745" y="1179"/>
                      <a:pt x="745" y="1177"/>
                      <a:pt x="744" y="1176"/>
                    </a:cubicBezTo>
                    <a:cubicBezTo>
                      <a:pt x="744" y="1175"/>
                      <a:pt x="744" y="1172"/>
                      <a:pt x="746" y="1171"/>
                    </a:cubicBezTo>
                    <a:cubicBezTo>
                      <a:pt x="747" y="1169"/>
                      <a:pt x="749" y="1169"/>
                      <a:pt x="750" y="1169"/>
                    </a:cubicBezTo>
                    <a:cubicBezTo>
                      <a:pt x="753" y="1169"/>
                      <a:pt x="755" y="1169"/>
                      <a:pt x="756" y="1164"/>
                    </a:cubicBezTo>
                    <a:cubicBezTo>
                      <a:pt x="757" y="1160"/>
                      <a:pt x="758" y="1158"/>
                      <a:pt x="760" y="1156"/>
                    </a:cubicBezTo>
                    <a:cubicBezTo>
                      <a:pt x="761" y="1154"/>
                      <a:pt x="762" y="1152"/>
                      <a:pt x="762" y="1150"/>
                    </a:cubicBezTo>
                    <a:cubicBezTo>
                      <a:pt x="762" y="1144"/>
                      <a:pt x="761" y="1136"/>
                      <a:pt x="770" y="1134"/>
                    </a:cubicBezTo>
                    <a:cubicBezTo>
                      <a:pt x="772" y="1134"/>
                      <a:pt x="775" y="1135"/>
                      <a:pt x="776" y="1137"/>
                    </a:cubicBezTo>
                    <a:cubicBezTo>
                      <a:pt x="779" y="1140"/>
                      <a:pt x="779" y="1147"/>
                      <a:pt x="776" y="1151"/>
                    </a:cubicBezTo>
                    <a:cubicBezTo>
                      <a:pt x="771" y="1159"/>
                      <a:pt x="772" y="1161"/>
                      <a:pt x="772" y="1162"/>
                    </a:cubicBezTo>
                    <a:cubicBezTo>
                      <a:pt x="772" y="1162"/>
                      <a:pt x="772" y="1162"/>
                      <a:pt x="772" y="1163"/>
                    </a:cubicBezTo>
                    <a:cubicBezTo>
                      <a:pt x="772" y="1163"/>
                      <a:pt x="773" y="1163"/>
                      <a:pt x="774" y="1163"/>
                    </a:cubicBezTo>
                    <a:cubicBezTo>
                      <a:pt x="776" y="1162"/>
                      <a:pt x="779" y="1158"/>
                      <a:pt x="782" y="1150"/>
                    </a:cubicBezTo>
                    <a:cubicBezTo>
                      <a:pt x="783" y="1147"/>
                      <a:pt x="783" y="1147"/>
                      <a:pt x="783" y="1147"/>
                    </a:cubicBezTo>
                    <a:cubicBezTo>
                      <a:pt x="786" y="1140"/>
                      <a:pt x="788" y="1135"/>
                      <a:pt x="791" y="1134"/>
                    </a:cubicBezTo>
                    <a:cubicBezTo>
                      <a:pt x="793" y="1134"/>
                      <a:pt x="795" y="1134"/>
                      <a:pt x="797" y="1136"/>
                    </a:cubicBezTo>
                    <a:cubicBezTo>
                      <a:pt x="800" y="1139"/>
                      <a:pt x="801" y="1139"/>
                      <a:pt x="802" y="1139"/>
                    </a:cubicBezTo>
                    <a:cubicBezTo>
                      <a:pt x="802" y="1139"/>
                      <a:pt x="802" y="1138"/>
                      <a:pt x="802" y="1136"/>
                    </a:cubicBezTo>
                    <a:cubicBezTo>
                      <a:pt x="803" y="1134"/>
                      <a:pt x="802" y="1131"/>
                      <a:pt x="800" y="1128"/>
                    </a:cubicBezTo>
                    <a:cubicBezTo>
                      <a:pt x="799" y="1125"/>
                      <a:pt x="797" y="1122"/>
                      <a:pt x="797" y="1119"/>
                    </a:cubicBezTo>
                    <a:cubicBezTo>
                      <a:pt x="796" y="1116"/>
                      <a:pt x="794" y="1115"/>
                      <a:pt x="792" y="1113"/>
                    </a:cubicBezTo>
                    <a:cubicBezTo>
                      <a:pt x="790" y="1111"/>
                      <a:pt x="786" y="1108"/>
                      <a:pt x="788" y="1103"/>
                    </a:cubicBezTo>
                    <a:cubicBezTo>
                      <a:pt x="789" y="1099"/>
                      <a:pt x="792" y="1098"/>
                      <a:pt x="795" y="1097"/>
                    </a:cubicBezTo>
                    <a:cubicBezTo>
                      <a:pt x="798" y="1096"/>
                      <a:pt x="799" y="1095"/>
                      <a:pt x="798" y="1092"/>
                    </a:cubicBezTo>
                    <a:cubicBezTo>
                      <a:pt x="797" y="1086"/>
                      <a:pt x="798" y="1084"/>
                      <a:pt x="799" y="1082"/>
                    </a:cubicBezTo>
                    <a:cubicBezTo>
                      <a:pt x="800" y="1081"/>
                      <a:pt x="800" y="1081"/>
                      <a:pt x="799" y="1079"/>
                    </a:cubicBezTo>
                    <a:cubicBezTo>
                      <a:pt x="799" y="1077"/>
                      <a:pt x="798" y="1075"/>
                      <a:pt x="798" y="1073"/>
                    </a:cubicBezTo>
                    <a:cubicBezTo>
                      <a:pt x="797" y="1068"/>
                      <a:pt x="796" y="1067"/>
                      <a:pt x="793" y="1067"/>
                    </a:cubicBezTo>
                    <a:cubicBezTo>
                      <a:pt x="791" y="1067"/>
                      <a:pt x="789" y="1067"/>
                      <a:pt x="788" y="1068"/>
                    </a:cubicBezTo>
                    <a:cubicBezTo>
                      <a:pt x="784" y="1068"/>
                      <a:pt x="782" y="1068"/>
                      <a:pt x="780" y="1066"/>
                    </a:cubicBezTo>
                    <a:cubicBezTo>
                      <a:pt x="779" y="1065"/>
                      <a:pt x="779" y="1063"/>
                      <a:pt x="779" y="1062"/>
                    </a:cubicBezTo>
                    <a:cubicBezTo>
                      <a:pt x="780" y="1057"/>
                      <a:pt x="786" y="1053"/>
                      <a:pt x="791" y="1051"/>
                    </a:cubicBezTo>
                    <a:cubicBezTo>
                      <a:pt x="795" y="1050"/>
                      <a:pt x="798" y="1052"/>
                      <a:pt x="798" y="1053"/>
                    </a:cubicBezTo>
                    <a:cubicBezTo>
                      <a:pt x="800" y="1055"/>
                      <a:pt x="800" y="1055"/>
                      <a:pt x="802" y="1054"/>
                    </a:cubicBezTo>
                    <a:cubicBezTo>
                      <a:pt x="804" y="1054"/>
                      <a:pt x="806" y="1053"/>
                      <a:pt x="809" y="1053"/>
                    </a:cubicBezTo>
                    <a:cubicBezTo>
                      <a:pt x="814" y="1054"/>
                      <a:pt x="817" y="1053"/>
                      <a:pt x="819" y="1051"/>
                    </a:cubicBezTo>
                    <a:cubicBezTo>
                      <a:pt x="819" y="1051"/>
                      <a:pt x="818" y="1050"/>
                      <a:pt x="817" y="1049"/>
                    </a:cubicBezTo>
                    <a:cubicBezTo>
                      <a:pt x="815" y="1046"/>
                      <a:pt x="812" y="1042"/>
                      <a:pt x="813" y="1035"/>
                    </a:cubicBezTo>
                    <a:cubicBezTo>
                      <a:pt x="814" y="1032"/>
                      <a:pt x="814" y="1030"/>
                      <a:pt x="814" y="1028"/>
                    </a:cubicBezTo>
                    <a:cubicBezTo>
                      <a:pt x="814" y="1026"/>
                      <a:pt x="814" y="1024"/>
                      <a:pt x="815" y="1021"/>
                    </a:cubicBezTo>
                    <a:cubicBezTo>
                      <a:pt x="816" y="1021"/>
                      <a:pt x="816" y="1020"/>
                      <a:pt x="815" y="1019"/>
                    </a:cubicBezTo>
                    <a:cubicBezTo>
                      <a:pt x="814" y="1018"/>
                      <a:pt x="812" y="1018"/>
                      <a:pt x="811" y="1019"/>
                    </a:cubicBezTo>
                    <a:cubicBezTo>
                      <a:pt x="808" y="1020"/>
                      <a:pt x="807" y="1021"/>
                      <a:pt x="806" y="1023"/>
                    </a:cubicBezTo>
                    <a:cubicBezTo>
                      <a:pt x="806" y="1024"/>
                      <a:pt x="805" y="1025"/>
                      <a:pt x="805" y="1026"/>
                    </a:cubicBezTo>
                    <a:cubicBezTo>
                      <a:pt x="804" y="1028"/>
                      <a:pt x="802" y="1028"/>
                      <a:pt x="800" y="1029"/>
                    </a:cubicBezTo>
                    <a:cubicBezTo>
                      <a:pt x="798" y="1030"/>
                      <a:pt x="797" y="1031"/>
                      <a:pt x="796" y="1032"/>
                    </a:cubicBezTo>
                    <a:cubicBezTo>
                      <a:pt x="794" y="1035"/>
                      <a:pt x="789" y="1036"/>
                      <a:pt x="786" y="1036"/>
                    </a:cubicBezTo>
                    <a:cubicBezTo>
                      <a:pt x="785" y="1036"/>
                      <a:pt x="784" y="1036"/>
                      <a:pt x="783" y="1037"/>
                    </a:cubicBezTo>
                    <a:cubicBezTo>
                      <a:pt x="781" y="1038"/>
                      <a:pt x="778" y="1036"/>
                      <a:pt x="777" y="1033"/>
                    </a:cubicBezTo>
                    <a:cubicBezTo>
                      <a:pt x="776" y="1031"/>
                      <a:pt x="776" y="1027"/>
                      <a:pt x="782" y="1025"/>
                    </a:cubicBezTo>
                    <a:cubicBezTo>
                      <a:pt x="784" y="1024"/>
                      <a:pt x="786" y="1023"/>
                      <a:pt x="787" y="1023"/>
                    </a:cubicBezTo>
                    <a:cubicBezTo>
                      <a:pt x="791" y="1021"/>
                      <a:pt x="793" y="1021"/>
                      <a:pt x="796" y="1017"/>
                    </a:cubicBezTo>
                    <a:cubicBezTo>
                      <a:pt x="798" y="1015"/>
                      <a:pt x="800" y="1013"/>
                      <a:pt x="801" y="1012"/>
                    </a:cubicBezTo>
                    <a:cubicBezTo>
                      <a:pt x="803" y="1009"/>
                      <a:pt x="806" y="1007"/>
                      <a:pt x="807" y="1004"/>
                    </a:cubicBezTo>
                    <a:cubicBezTo>
                      <a:pt x="809" y="1001"/>
                      <a:pt x="812" y="1000"/>
                      <a:pt x="814" y="999"/>
                    </a:cubicBezTo>
                    <a:cubicBezTo>
                      <a:pt x="816" y="998"/>
                      <a:pt x="818" y="997"/>
                      <a:pt x="819" y="996"/>
                    </a:cubicBezTo>
                    <a:cubicBezTo>
                      <a:pt x="820" y="994"/>
                      <a:pt x="821" y="994"/>
                      <a:pt x="822" y="993"/>
                    </a:cubicBezTo>
                    <a:cubicBezTo>
                      <a:pt x="822" y="993"/>
                      <a:pt x="822" y="993"/>
                      <a:pt x="822" y="993"/>
                    </a:cubicBezTo>
                    <a:cubicBezTo>
                      <a:pt x="821" y="993"/>
                      <a:pt x="817" y="993"/>
                      <a:pt x="814" y="993"/>
                    </a:cubicBezTo>
                    <a:cubicBezTo>
                      <a:pt x="811" y="993"/>
                      <a:pt x="808" y="993"/>
                      <a:pt x="806" y="993"/>
                    </a:cubicBezTo>
                    <a:cubicBezTo>
                      <a:pt x="800" y="992"/>
                      <a:pt x="795" y="991"/>
                      <a:pt x="788" y="988"/>
                    </a:cubicBezTo>
                    <a:cubicBezTo>
                      <a:pt x="782" y="985"/>
                      <a:pt x="779" y="981"/>
                      <a:pt x="776" y="973"/>
                    </a:cubicBezTo>
                    <a:cubicBezTo>
                      <a:pt x="773" y="967"/>
                      <a:pt x="769" y="966"/>
                      <a:pt x="763" y="964"/>
                    </a:cubicBezTo>
                    <a:cubicBezTo>
                      <a:pt x="762" y="964"/>
                      <a:pt x="762" y="964"/>
                      <a:pt x="761" y="963"/>
                    </a:cubicBezTo>
                    <a:cubicBezTo>
                      <a:pt x="755" y="962"/>
                      <a:pt x="748" y="965"/>
                      <a:pt x="740" y="972"/>
                    </a:cubicBezTo>
                    <a:cubicBezTo>
                      <a:pt x="734" y="978"/>
                      <a:pt x="727" y="980"/>
                      <a:pt x="722" y="982"/>
                    </a:cubicBezTo>
                    <a:cubicBezTo>
                      <a:pt x="721" y="983"/>
                      <a:pt x="720" y="983"/>
                      <a:pt x="719" y="983"/>
                    </a:cubicBezTo>
                    <a:cubicBezTo>
                      <a:pt x="715" y="985"/>
                      <a:pt x="712" y="985"/>
                      <a:pt x="709" y="983"/>
                    </a:cubicBezTo>
                    <a:cubicBezTo>
                      <a:pt x="707" y="982"/>
                      <a:pt x="705" y="979"/>
                      <a:pt x="704" y="973"/>
                    </a:cubicBezTo>
                    <a:cubicBezTo>
                      <a:pt x="704" y="972"/>
                      <a:pt x="704" y="972"/>
                      <a:pt x="704" y="972"/>
                    </a:cubicBezTo>
                    <a:cubicBezTo>
                      <a:pt x="704" y="966"/>
                      <a:pt x="703" y="960"/>
                      <a:pt x="707" y="957"/>
                    </a:cubicBezTo>
                    <a:cubicBezTo>
                      <a:pt x="709" y="956"/>
                      <a:pt x="711" y="955"/>
                      <a:pt x="714" y="957"/>
                    </a:cubicBezTo>
                    <a:cubicBezTo>
                      <a:pt x="719" y="959"/>
                      <a:pt x="722" y="959"/>
                      <a:pt x="724" y="958"/>
                    </a:cubicBezTo>
                    <a:cubicBezTo>
                      <a:pt x="725" y="958"/>
                      <a:pt x="726" y="956"/>
                      <a:pt x="727" y="952"/>
                    </a:cubicBezTo>
                    <a:cubicBezTo>
                      <a:pt x="729" y="945"/>
                      <a:pt x="733" y="941"/>
                      <a:pt x="738" y="936"/>
                    </a:cubicBezTo>
                    <a:cubicBezTo>
                      <a:pt x="740" y="934"/>
                      <a:pt x="742" y="932"/>
                      <a:pt x="744" y="930"/>
                    </a:cubicBezTo>
                    <a:cubicBezTo>
                      <a:pt x="745" y="929"/>
                      <a:pt x="746" y="928"/>
                      <a:pt x="746" y="928"/>
                    </a:cubicBezTo>
                    <a:cubicBezTo>
                      <a:pt x="753" y="920"/>
                      <a:pt x="760" y="912"/>
                      <a:pt x="776" y="910"/>
                    </a:cubicBezTo>
                    <a:cubicBezTo>
                      <a:pt x="785" y="909"/>
                      <a:pt x="792" y="906"/>
                      <a:pt x="793" y="901"/>
                    </a:cubicBezTo>
                    <a:cubicBezTo>
                      <a:pt x="795" y="897"/>
                      <a:pt x="792" y="893"/>
                      <a:pt x="789" y="890"/>
                    </a:cubicBezTo>
                    <a:cubicBezTo>
                      <a:pt x="786" y="886"/>
                      <a:pt x="784" y="883"/>
                      <a:pt x="782" y="880"/>
                    </a:cubicBezTo>
                    <a:cubicBezTo>
                      <a:pt x="778" y="874"/>
                      <a:pt x="774" y="869"/>
                      <a:pt x="757" y="859"/>
                    </a:cubicBezTo>
                    <a:cubicBezTo>
                      <a:pt x="746" y="852"/>
                      <a:pt x="740" y="847"/>
                      <a:pt x="736" y="843"/>
                    </a:cubicBezTo>
                    <a:cubicBezTo>
                      <a:pt x="731" y="839"/>
                      <a:pt x="728" y="837"/>
                      <a:pt x="721" y="835"/>
                    </a:cubicBezTo>
                    <a:cubicBezTo>
                      <a:pt x="720" y="835"/>
                      <a:pt x="720" y="835"/>
                      <a:pt x="720" y="835"/>
                    </a:cubicBezTo>
                    <a:cubicBezTo>
                      <a:pt x="707" y="832"/>
                      <a:pt x="704" y="831"/>
                      <a:pt x="703" y="824"/>
                    </a:cubicBezTo>
                    <a:cubicBezTo>
                      <a:pt x="702" y="820"/>
                      <a:pt x="705" y="815"/>
                      <a:pt x="708" y="814"/>
                    </a:cubicBezTo>
                    <a:cubicBezTo>
                      <a:pt x="709" y="814"/>
                      <a:pt x="712" y="813"/>
                      <a:pt x="715" y="817"/>
                    </a:cubicBezTo>
                    <a:cubicBezTo>
                      <a:pt x="717" y="820"/>
                      <a:pt x="721" y="825"/>
                      <a:pt x="728" y="821"/>
                    </a:cubicBezTo>
                    <a:cubicBezTo>
                      <a:pt x="735" y="817"/>
                      <a:pt x="743" y="812"/>
                      <a:pt x="758" y="821"/>
                    </a:cubicBezTo>
                    <a:cubicBezTo>
                      <a:pt x="769" y="828"/>
                      <a:pt x="781" y="830"/>
                      <a:pt x="785" y="829"/>
                    </a:cubicBezTo>
                    <a:cubicBezTo>
                      <a:pt x="785" y="828"/>
                      <a:pt x="785" y="828"/>
                      <a:pt x="785" y="827"/>
                    </a:cubicBezTo>
                    <a:cubicBezTo>
                      <a:pt x="786" y="824"/>
                      <a:pt x="785" y="811"/>
                      <a:pt x="767" y="802"/>
                    </a:cubicBezTo>
                    <a:cubicBezTo>
                      <a:pt x="763" y="800"/>
                      <a:pt x="759" y="799"/>
                      <a:pt x="757" y="798"/>
                    </a:cubicBezTo>
                    <a:cubicBezTo>
                      <a:pt x="748" y="794"/>
                      <a:pt x="746" y="793"/>
                      <a:pt x="741" y="783"/>
                    </a:cubicBezTo>
                    <a:cubicBezTo>
                      <a:pt x="740" y="780"/>
                      <a:pt x="740" y="780"/>
                      <a:pt x="740" y="780"/>
                    </a:cubicBezTo>
                    <a:cubicBezTo>
                      <a:pt x="735" y="770"/>
                      <a:pt x="734" y="768"/>
                      <a:pt x="717" y="762"/>
                    </a:cubicBezTo>
                    <a:cubicBezTo>
                      <a:pt x="701" y="756"/>
                      <a:pt x="702" y="748"/>
                      <a:pt x="702" y="740"/>
                    </a:cubicBezTo>
                    <a:cubicBezTo>
                      <a:pt x="702" y="737"/>
                      <a:pt x="703" y="734"/>
                      <a:pt x="702" y="731"/>
                    </a:cubicBezTo>
                    <a:cubicBezTo>
                      <a:pt x="700" y="726"/>
                      <a:pt x="697" y="720"/>
                      <a:pt x="693" y="714"/>
                    </a:cubicBezTo>
                    <a:cubicBezTo>
                      <a:pt x="689" y="709"/>
                      <a:pt x="685" y="703"/>
                      <a:pt x="682" y="696"/>
                    </a:cubicBezTo>
                    <a:cubicBezTo>
                      <a:pt x="680" y="691"/>
                      <a:pt x="678" y="686"/>
                      <a:pt x="676" y="680"/>
                    </a:cubicBezTo>
                    <a:cubicBezTo>
                      <a:pt x="671" y="669"/>
                      <a:pt x="665" y="656"/>
                      <a:pt x="660" y="645"/>
                    </a:cubicBezTo>
                    <a:cubicBezTo>
                      <a:pt x="657" y="639"/>
                      <a:pt x="655" y="634"/>
                      <a:pt x="653" y="629"/>
                    </a:cubicBezTo>
                    <a:cubicBezTo>
                      <a:pt x="649" y="618"/>
                      <a:pt x="645" y="609"/>
                      <a:pt x="639" y="605"/>
                    </a:cubicBezTo>
                    <a:cubicBezTo>
                      <a:pt x="633" y="601"/>
                      <a:pt x="623" y="598"/>
                      <a:pt x="615" y="596"/>
                    </a:cubicBezTo>
                    <a:cubicBezTo>
                      <a:pt x="610" y="595"/>
                      <a:pt x="605" y="594"/>
                      <a:pt x="601" y="592"/>
                    </a:cubicBezTo>
                    <a:cubicBezTo>
                      <a:pt x="595" y="590"/>
                      <a:pt x="592" y="587"/>
                      <a:pt x="589" y="584"/>
                    </a:cubicBezTo>
                    <a:cubicBezTo>
                      <a:pt x="586" y="582"/>
                      <a:pt x="584" y="580"/>
                      <a:pt x="580" y="577"/>
                    </a:cubicBezTo>
                    <a:cubicBezTo>
                      <a:pt x="576" y="576"/>
                      <a:pt x="573" y="575"/>
                      <a:pt x="571" y="575"/>
                    </a:cubicBezTo>
                    <a:cubicBezTo>
                      <a:pt x="567" y="574"/>
                      <a:pt x="563" y="573"/>
                      <a:pt x="560" y="567"/>
                    </a:cubicBezTo>
                    <a:cubicBezTo>
                      <a:pt x="555" y="559"/>
                      <a:pt x="557" y="550"/>
                      <a:pt x="566" y="541"/>
                    </a:cubicBezTo>
                    <a:cubicBezTo>
                      <a:pt x="570" y="537"/>
                      <a:pt x="571" y="533"/>
                      <a:pt x="572" y="529"/>
                    </a:cubicBezTo>
                    <a:cubicBezTo>
                      <a:pt x="572" y="527"/>
                      <a:pt x="573" y="525"/>
                      <a:pt x="574" y="523"/>
                    </a:cubicBezTo>
                    <a:cubicBezTo>
                      <a:pt x="574" y="521"/>
                      <a:pt x="576" y="519"/>
                      <a:pt x="577" y="518"/>
                    </a:cubicBezTo>
                    <a:cubicBezTo>
                      <a:pt x="579" y="513"/>
                      <a:pt x="582" y="509"/>
                      <a:pt x="583" y="501"/>
                    </a:cubicBezTo>
                    <a:cubicBezTo>
                      <a:pt x="584" y="491"/>
                      <a:pt x="595" y="485"/>
                      <a:pt x="604" y="480"/>
                    </a:cubicBezTo>
                    <a:cubicBezTo>
                      <a:pt x="607" y="479"/>
                      <a:pt x="611" y="477"/>
                      <a:pt x="613" y="476"/>
                    </a:cubicBezTo>
                    <a:cubicBezTo>
                      <a:pt x="622" y="469"/>
                      <a:pt x="622" y="469"/>
                      <a:pt x="621" y="466"/>
                    </a:cubicBezTo>
                    <a:cubicBezTo>
                      <a:pt x="621" y="465"/>
                      <a:pt x="619" y="464"/>
                      <a:pt x="617" y="464"/>
                    </a:cubicBezTo>
                    <a:cubicBezTo>
                      <a:pt x="614" y="462"/>
                      <a:pt x="609" y="461"/>
                      <a:pt x="609" y="453"/>
                    </a:cubicBezTo>
                    <a:cubicBezTo>
                      <a:pt x="609" y="451"/>
                      <a:pt x="609" y="449"/>
                      <a:pt x="611" y="448"/>
                    </a:cubicBezTo>
                    <a:cubicBezTo>
                      <a:pt x="614" y="446"/>
                      <a:pt x="618" y="448"/>
                      <a:pt x="623" y="450"/>
                    </a:cubicBezTo>
                    <a:cubicBezTo>
                      <a:pt x="626" y="452"/>
                      <a:pt x="630" y="453"/>
                      <a:pt x="633" y="454"/>
                    </a:cubicBezTo>
                    <a:cubicBezTo>
                      <a:pt x="644" y="456"/>
                      <a:pt x="651" y="450"/>
                      <a:pt x="653" y="443"/>
                    </a:cubicBezTo>
                    <a:cubicBezTo>
                      <a:pt x="654" y="440"/>
                      <a:pt x="653" y="438"/>
                      <a:pt x="652" y="435"/>
                    </a:cubicBezTo>
                    <a:cubicBezTo>
                      <a:pt x="651" y="433"/>
                      <a:pt x="650" y="430"/>
                      <a:pt x="650" y="425"/>
                    </a:cubicBezTo>
                    <a:cubicBezTo>
                      <a:pt x="650" y="419"/>
                      <a:pt x="655" y="414"/>
                      <a:pt x="659" y="414"/>
                    </a:cubicBezTo>
                    <a:cubicBezTo>
                      <a:pt x="662" y="414"/>
                      <a:pt x="664" y="416"/>
                      <a:pt x="665" y="420"/>
                    </a:cubicBezTo>
                    <a:cubicBezTo>
                      <a:pt x="665" y="420"/>
                      <a:pt x="665" y="420"/>
                      <a:pt x="665" y="420"/>
                    </a:cubicBezTo>
                    <a:cubicBezTo>
                      <a:pt x="666" y="420"/>
                      <a:pt x="668" y="417"/>
                      <a:pt x="669" y="412"/>
                    </a:cubicBezTo>
                    <a:cubicBezTo>
                      <a:pt x="670" y="403"/>
                      <a:pt x="673" y="394"/>
                      <a:pt x="686" y="390"/>
                    </a:cubicBezTo>
                    <a:cubicBezTo>
                      <a:pt x="691" y="388"/>
                      <a:pt x="694" y="386"/>
                      <a:pt x="697" y="385"/>
                    </a:cubicBezTo>
                    <a:cubicBezTo>
                      <a:pt x="701" y="383"/>
                      <a:pt x="704" y="381"/>
                      <a:pt x="710" y="379"/>
                    </a:cubicBezTo>
                    <a:cubicBezTo>
                      <a:pt x="716" y="378"/>
                      <a:pt x="718" y="376"/>
                      <a:pt x="720" y="373"/>
                    </a:cubicBezTo>
                    <a:cubicBezTo>
                      <a:pt x="721" y="372"/>
                      <a:pt x="722" y="370"/>
                      <a:pt x="724" y="368"/>
                    </a:cubicBezTo>
                    <a:cubicBezTo>
                      <a:pt x="726" y="367"/>
                      <a:pt x="727" y="365"/>
                      <a:pt x="728" y="364"/>
                    </a:cubicBezTo>
                    <a:cubicBezTo>
                      <a:pt x="731" y="361"/>
                      <a:pt x="733" y="358"/>
                      <a:pt x="737" y="359"/>
                    </a:cubicBezTo>
                    <a:cubicBezTo>
                      <a:pt x="740" y="359"/>
                      <a:pt x="741" y="360"/>
                      <a:pt x="742" y="361"/>
                    </a:cubicBezTo>
                    <a:cubicBezTo>
                      <a:pt x="743" y="361"/>
                      <a:pt x="744" y="362"/>
                      <a:pt x="746" y="362"/>
                    </a:cubicBezTo>
                    <a:cubicBezTo>
                      <a:pt x="750" y="363"/>
                      <a:pt x="751" y="364"/>
                      <a:pt x="752" y="366"/>
                    </a:cubicBezTo>
                    <a:cubicBezTo>
                      <a:pt x="753" y="367"/>
                      <a:pt x="754" y="368"/>
                      <a:pt x="756" y="368"/>
                    </a:cubicBezTo>
                    <a:cubicBezTo>
                      <a:pt x="764" y="369"/>
                      <a:pt x="770" y="367"/>
                      <a:pt x="774" y="361"/>
                    </a:cubicBezTo>
                    <a:cubicBezTo>
                      <a:pt x="778" y="356"/>
                      <a:pt x="777" y="354"/>
                      <a:pt x="777" y="354"/>
                    </a:cubicBezTo>
                    <a:cubicBezTo>
                      <a:pt x="777" y="354"/>
                      <a:pt x="777" y="353"/>
                      <a:pt x="776" y="353"/>
                    </a:cubicBezTo>
                    <a:cubicBezTo>
                      <a:pt x="776" y="353"/>
                      <a:pt x="775" y="353"/>
                      <a:pt x="774" y="353"/>
                    </a:cubicBezTo>
                    <a:cubicBezTo>
                      <a:pt x="772" y="353"/>
                      <a:pt x="767" y="353"/>
                      <a:pt x="765" y="347"/>
                    </a:cubicBezTo>
                    <a:cubicBezTo>
                      <a:pt x="764" y="343"/>
                      <a:pt x="768" y="340"/>
                      <a:pt x="771" y="338"/>
                    </a:cubicBezTo>
                    <a:cubicBezTo>
                      <a:pt x="773" y="336"/>
                      <a:pt x="774" y="335"/>
                      <a:pt x="774" y="334"/>
                    </a:cubicBezTo>
                    <a:cubicBezTo>
                      <a:pt x="773" y="334"/>
                      <a:pt x="773" y="334"/>
                      <a:pt x="773" y="334"/>
                    </a:cubicBezTo>
                    <a:cubicBezTo>
                      <a:pt x="770" y="329"/>
                      <a:pt x="768" y="325"/>
                      <a:pt x="775" y="319"/>
                    </a:cubicBezTo>
                    <a:cubicBezTo>
                      <a:pt x="776" y="318"/>
                      <a:pt x="776" y="318"/>
                      <a:pt x="776" y="318"/>
                    </a:cubicBezTo>
                    <a:cubicBezTo>
                      <a:pt x="776" y="318"/>
                      <a:pt x="776" y="318"/>
                      <a:pt x="776" y="318"/>
                    </a:cubicBezTo>
                    <a:cubicBezTo>
                      <a:pt x="770" y="322"/>
                      <a:pt x="767" y="323"/>
                      <a:pt x="756" y="321"/>
                    </a:cubicBezTo>
                    <a:cubicBezTo>
                      <a:pt x="746" y="318"/>
                      <a:pt x="741" y="317"/>
                      <a:pt x="740" y="311"/>
                    </a:cubicBezTo>
                    <a:cubicBezTo>
                      <a:pt x="739" y="310"/>
                      <a:pt x="738" y="309"/>
                      <a:pt x="737" y="309"/>
                    </a:cubicBezTo>
                    <a:cubicBezTo>
                      <a:pt x="736" y="309"/>
                      <a:pt x="736" y="310"/>
                      <a:pt x="736" y="310"/>
                    </a:cubicBezTo>
                    <a:cubicBezTo>
                      <a:pt x="734" y="317"/>
                      <a:pt x="728" y="318"/>
                      <a:pt x="722" y="318"/>
                    </a:cubicBezTo>
                    <a:cubicBezTo>
                      <a:pt x="719" y="319"/>
                      <a:pt x="717" y="320"/>
                      <a:pt x="714" y="321"/>
                    </a:cubicBezTo>
                    <a:cubicBezTo>
                      <a:pt x="709" y="324"/>
                      <a:pt x="703" y="327"/>
                      <a:pt x="696" y="321"/>
                    </a:cubicBezTo>
                    <a:cubicBezTo>
                      <a:pt x="692" y="317"/>
                      <a:pt x="689" y="314"/>
                      <a:pt x="688" y="312"/>
                    </a:cubicBezTo>
                    <a:cubicBezTo>
                      <a:pt x="687" y="311"/>
                      <a:pt x="687" y="310"/>
                      <a:pt x="686" y="310"/>
                    </a:cubicBezTo>
                    <a:cubicBezTo>
                      <a:pt x="686" y="310"/>
                      <a:pt x="686" y="310"/>
                      <a:pt x="686" y="310"/>
                    </a:cubicBezTo>
                    <a:cubicBezTo>
                      <a:pt x="686" y="312"/>
                      <a:pt x="685" y="314"/>
                      <a:pt x="683" y="315"/>
                    </a:cubicBezTo>
                    <a:cubicBezTo>
                      <a:pt x="681" y="316"/>
                      <a:pt x="679" y="315"/>
                      <a:pt x="677" y="314"/>
                    </a:cubicBezTo>
                    <a:cubicBezTo>
                      <a:pt x="673" y="312"/>
                      <a:pt x="671" y="309"/>
                      <a:pt x="669" y="307"/>
                    </a:cubicBezTo>
                    <a:cubicBezTo>
                      <a:pt x="667" y="304"/>
                      <a:pt x="665" y="302"/>
                      <a:pt x="661" y="300"/>
                    </a:cubicBezTo>
                    <a:cubicBezTo>
                      <a:pt x="659" y="299"/>
                      <a:pt x="657" y="298"/>
                      <a:pt x="655" y="297"/>
                    </a:cubicBezTo>
                    <a:cubicBezTo>
                      <a:pt x="651" y="294"/>
                      <a:pt x="648" y="293"/>
                      <a:pt x="642" y="295"/>
                    </a:cubicBezTo>
                    <a:cubicBezTo>
                      <a:pt x="637" y="297"/>
                      <a:pt x="633" y="299"/>
                      <a:pt x="629" y="301"/>
                    </a:cubicBezTo>
                    <a:cubicBezTo>
                      <a:pt x="626" y="303"/>
                      <a:pt x="623" y="304"/>
                      <a:pt x="620" y="305"/>
                    </a:cubicBezTo>
                    <a:cubicBezTo>
                      <a:pt x="616" y="306"/>
                      <a:pt x="615" y="308"/>
                      <a:pt x="614" y="315"/>
                    </a:cubicBezTo>
                    <a:cubicBezTo>
                      <a:pt x="613" y="323"/>
                      <a:pt x="604" y="331"/>
                      <a:pt x="597" y="335"/>
                    </a:cubicBezTo>
                    <a:cubicBezTo>
                      <a:pt x="596" y="336"/>
                      <a:pt x="596" y="336"/>
                      <a:pt x="596" y="336"/>
                    </a:cubicBezTo>
                    <a:cubicBezTo>
                      <a:pt x="590" y="339"/>
                      <a:pt x="589" y="340"/>
                      <a:pt x="590" y="346"/>
                    </a:cubicBezTo>
                    <a:cubicBezTo>
                      <a:pt x="591" y="350"/>
                      <a:pt x="590" y="356"/>
                      <a:pt x="586" y="360"/>
                    </a:cubicBezTo>
                    <a:cubicBezTo>
                      <a:pt x="582" y="365"/>
                      <a:pt x="576" y="368"/>
                      <a:pt x="571" y="368"/>
                    </a:cubicBezTo>
                    <a:cubicBezTo>
                      <a:pt x="562" y="368"/>
                      <a:pt x="557" y="368"/>
                      <a:pt x="551" y="370"/>
                    </a:cubicBezTo>
                    <a:cubicBezTo>
                      <a:pt x="544" y="371"/>
                      <a:pt x="540" y="370"/>
                      <a:pt x="536" y="368"/>
                    </a:cubicBezTo>
                    <a:cubicBezTo>
                      <a:pt x="532" y="365"/>
                      <a:pt x="527" y="360"/>
                      <a:pt x="525" y="357"/>
                    </a:cubicBezTo>
                    <a:cubicBezTo>
                      <a:pt x="525" y="357"/>
                      <a:pt x="523" y="356"/>
                      <a:pt x="521" y="356"/>
                    </a:cubicBezTo>
                    <a:cubicBezTo>
                      <a:pt x="518" y="354"/>
                      <a:pt x="514" y="353"/>
                      <a:pt x="512" y="349"/>
                    </a:cubicBezTo>
                    <a:cubicBezTo>
                      <a:pt x="509" y="345"/>
                      <a:pt x="512" y="342"/>
                      <a:pt x="514" y="341"/>
                    </a:cubicBezTo>
                    <a:cubicBezTo>
                      <a:pt x="515" y="340"/>
                      <a:pt x="516" y="339"/>
                      <a:pt x="516" y="338"/>
                    </a:cubicBezTo>
                    <a:cubicBezTo>
                      <a:pt x="515" y="331"/>
                      <a:pt x="518" y="322"/>
                      <a:pt x="520" y="318"/>
                    </a:cubicBezTo>
                    <a:cubicBezTo>
                      <a:pt x="521" y="316"/>
                      <a:pt x="522" y="314"/>
                      <a:pt x="522" y="312"/>
                    </a:cubicBezTo>
                    <a:cubicBezTo>
                      <a:pt x="522" y="312"/>
                      <a:pt x="521" y="311"/>
                      <a:pt x="519" y="310"/>
                    </a:cubicBezTo>
                    <a:cubicBezTo>
                      <a:pt x="515" y="308"/>
                      <a:pt x="516" y="304"/>
                      <a:pt x="517" y="301"/>
                    </a:cubicBezTo>
                    <a:cubicBezTo>
                      <a:pt x="518" y="299"/>
                      <a:pt x="518" y="298"/>
                      <a:pt x="517" y="297"/>
                    </a:cubicBezTo>
                    <a:cubicBezTo>
                      <a:pt x="515" y="293"/>
                      <a:pt x="512" y="290"/>
                      <a:pt x="508" y="287"/>
                    </a:cubicBezTo>
                    <a:cubicBezTo>
                      <a:pt x="507" y="286"/>
                      <a:pt x="507" y="286"/>
                      <a:pt x="507" y="286"/>
                    </a:cubicBezTo>
                    <a:cubicBezTo>
                      <a:pt x="505" y="284"/>
                      <a:pt x="503" y="283"/>
                      <a:pt x="501" y="283"/>
                    </a:cubicBezTo>
                    <a:cubicBezTo>
                      <a:pt x="499" y="284"/>
                      <a:pt x="498" y="284"/>
                      <a:pt x="497" y="286"/>
                    </a:cubicBezTo>
                    <a:cubicBezTo>
                      <a:pt x="495" y="290"/>
                      <a:pt x="493" y="293"/>
                      <a:pt x="489" y="293"/>
                    </a:cubicBezTo>
                    <a:cubicBezTo>
                      <a:pt x="487" y="294"/>
                      <a:pt x="485" y="293"/>
                      <a:pt x="483" y="291"/>
                    </a:cubicBezTo>
                    <a:cubicBezTo>
                      <a:pt x="479" y="288"/>
                      <a:pt x="478" y="288"/>
                      <a:pt x="474" y="288"/>
                    </a:cubicBezTo>
                    <a:cubicBezTo>
                      <a:pt x="473" y="288"/>
                      <a:pt x="472" y="288"/>
                      <a:pt x="471" y="288"/>
                    </a:cubicBezTo>
                    <a:cubicBezTo>
                      <a:pt x="468" y="287"/>
                      <a:pt x="467" y="287"/>
                      <a:pt x="465" y="287"/>
                    </a:cubicBezTo>
                    <a:cubicBezTo>
                      <a:pt x="463" y="286"/>
                      <a:pt x="462" y="286"/>
                      <a:pt x="461" y="287"/>
                    </a:cubicBezTo>
                    <a:cubicBezTo>
                      <a:pt x="456" y="291"/>
                      <a:pt x="449" y="290"/>
                      <a:pt x="441" y="285"/>
                    </a:cubicBezTo>
                    <a:cubicBezTo>
                      <a:pt x="437" y="282"/>
                      <a:pt x="434" y="277"/>
                      <a:pt x="432" y="272"/>
                    </a:cubicBezTo>
                    <a:cubicBezTo>
                      <a:pt x="430" y="269"/>
                      <a:pt x="429" y="266"/>
                      <a:pt x="426" y="263"/>
                    </a:cubicBezTo>
                    <a:cubicBezTo>
                      <a:pt x="423" y="260"/>
                      <a:pt x="413" y="250"/>
                      <a:pt x="413" y="235"/>
                    </a:cubicBezTo>
                    <a:cubicBezTo>
                      <a:pt x="412" y="227"/>
                      <a:pt x="418" y="221"/>
                      <a:pt x="422" y="216"/>
                    </a:cubicBezTo>
                    <a:cubicBezTo>
                      <a:pt x="424" y="213"/>
                      <a:pt x="426" y="211"/>
                      <a:pt x="427" y="208"/>
                    </a:cubicBezTo>
                    <a:cubicBezTo>
                      <a:pt x="428" y="201"/>
                      <a:pt x="431" y="194"/>
                      <a:pt x="436" y="188"/>
                    </a:cubicBezTo>
                    <a:cubicBezTo>
                      <a:pt x="438" y="185"/>
                      <a:pt x="442" y="183"/>
                      <a:pt x="447" y="184"/>
                    </a:cubicBezTo>
                    <a:cubicBezTo>
                      <a:pt x="450" y="184"/>
                      <a:pt x="453" y="185"/>
                      <a:pt x="455" y="188"/>
                    </a:cubicBezTo>
                    <a:cubicBezTo>
                      <a:pt x="456" y="189"/>
                      <a:pt x="457" y="191"/>
                      <a:pt x="458" y="193"/>
                    </a:cubicBezTo>
                    <a:cubicBezTo>
                      <a:pt x="460" y="196"/>
                      <a:pt x="461" y="200"/>
                      <a:pt x="463" y="200"/>
                    </a:cubicBezTo>
                    <a:cubicBezTo>
                      <a:pt x="464" y="200"/>
                      <a:pt x="465" y="201"/>
                      <a:pt x="467" y="199"/>
                    </a:cubicBezTo>
                    <a:cubicBezTo>
                      <a:pt x="469" y="198"/>
                      <a:pt x="471" y="196"/>
                      <a:pt x="473" y="195"/>
                    </a:cubicBezTo>
                    <a:cubicBezTo>
                      <a:pt x="478" y="190"/>
                      <a:pt x="484" y="185"/>
                      <a:pt x="492" y="189"/>
                    </a:cubicBezTo>
                    <a:cubicBezTo>
                      <a:pt x="498" y="192"/>
                      <a:pt x="506" y="187"/>
                      <a:pt x="514" y="176"/>
                    </a:cubicBezTo>
                    <a:cubicBezTo>
                      <a:pt x="519" y="170"/>
                      <a:pt x="521" y="166"/>
                      <a:pt x="521" y="160"/>
                    </a:cubicBezTo>
                    <a:cubicBezTo>
                      <a:pt x="520" y="152"/>
                      <a:pt x="525" y="140"/>
                      <a:pt x="532" y="134"/>
                    </a:cubicBezTo>
                    <a:cubicBezTo>
                      <a:pt x="534" y="133"/>
                      <a:pt x="536" y="131"/>
                      <a:pt x="538" y="129"/>
                    </a:cubicBezTo>
                    <a:cubicBezTo>
                      <a:pt x="543" y="124"/>
                      <a:pt x="548" y="120"/>
                      <a:pt x="555" y="120"/>
                    </a:cubicBezTo>
                    <a:cubicBezTo>
                      <a:pt x="559" y="120"/>
                      <a:pt x="562" y="113"/>
                      <a:pt x="565" y="107"/>
                    </a:cubicBezTo>
                    <a:cubicBezTo>
                      <a:pt x="565" y="105"/>
                      <a:pt x="566" y="104"/>
                      <a:pt x="567" y="102"/>
                    </a:cubicBezTo>
                    <a:cubicBezTo>
                      <a:pt x="571" y="95"/>
                      <a:pt x="588" y="88"/>
                      <a:pt x="594" y="87"/>
                    </a:cubicBezTo>
                    <a:cubicBezTo>
                      <a:pt x="598" y="86"/>
                      <a:pt x="599" y="80"/>
                      <a:pt x="600" y="75"/>
                    </a:cubicBezTo>
                    <a:cubicBezTo>
                      <a:pt x="601" y="73"/>
                      <a:pt x="601" y="70"/>
                      <a:pt x="602" y="68"/>
                    </a:cubicBezTo>
                    <a:cubicBezTo>
                      <a:pt x="603" y="64"/>
                      <a:pt x="606" y="61"/>
                      <a:pt x="608" y="57"/>
                    </a:cubicBezTo>
                    <a:cubicBezTo>
                      <a:pt x="610" y="53"/>
                      <a:pt x="612" y="50"/>
                      <a:pt x="613" y="46"/>
                    </a:cubicBezTo>
                    <a:cubicBezTo>
                      <a:pt x="616" y="38"/>
                      <a:pt x="620" y="37"/>
                      <a:pt x="624" y="37"/>
                    </a:cubicBezTo>
                    <a:cubicBezTo>
                      <a:pt x="625" y="37"/>
                      <a:pt x="626" y="37"/>
                      <a:pt x="626" y="36"/>
                    </a:cubicBezTo>
                    <a:cubicBezTo>
                      <a:pt x="627" y="36"/>
                      <a:pt x="628" y="33"/>
                      <a:pt x="629" y="31"/>
                    </a:cubicBezTo>
                    <a:cubicBezTo>
                      <a:pt x="631" y="27"/>
                      <a:pt x="632" y="23"/>
                      <a:pt x="635" y="19"/>
                    </a:cubicBezTo>
                    <a:cubicBezTo>
                      <a:pt x="641" y="11"/>
                      <a:pt x="642" y="11"/>
                      <a:pt x="654" y="13"/>
                    </a:cubicBezTo>
                    <a:cubicBezTo>
                      <a:pt x="657" y="13"/>
                      <a:pt x="659" y="14"/>
                      <a:pt x="660" y="14"/>
                    </a:cubicBezTo>
                    <a:cubicBezTo>
                      <a:pt x="667" y="15"/>
                      <a:pt x="669" y="16"/>
                      <a:pt x="674" y="12"/>
                    </a:cubicBezTo>
                    <a:cubicBezTo>
                      <a:pt x="678" y="9"/>
                      <a:pt x="679" y="7"/>
                      <a:pt x="679" y="4"/>
                    </a:cubicBezTo>
                    <a:cubicBezTo>
                      <a:pt x="680" y="3"/>
                      <a:pt x="681" y="0"/>
                      <a:pt x="684" y="0"/>
                    </a:cubicBezTo>
                    <a:cubicBezTo>
                      <a:pt x="687" y="0"/>
                      <a:pt x="692" y="2"/>
                      <a:pt x="692" y="15"/>
                    </a:cubicBezTo>
                    <a:cubicBezTo>
                      <a:pt x="692" y="17"/>
                      <a:pt x="695" y="19"/>
                      <a:pt x="698" y="22"/>
                    </a:cubicBezTo>
                    <a:cubicBezTo>
                      <a:pt x="703" y="24"/>
                      <a:pt x="708" y="27"/>
                      <a:pt x="710" y="33"/>
                    </a:cubicBezTo>
                    <a:cubicBezTo>
                      <a:pt x="711" y="36"/>
                      <a:pt x="712" y="37"/>
                      <a:pt x="713" y="39"/>
                    </a:cubicBezTo>
                    <a:cubicBezTo>
                      <a:pt x="716" y="45"/>
                      <a:pt x="717" y="47"/>
                      <a:pt x="713" y="57"/>
                    </a:cubicBezTo>
                    <a:cubicBezTo>
                      <a:pt x="709" y="65"/>
                      <a:pt x="708" y="69"/>
                      <a:pt x="706" y="73"/>
                    </a:cubicBezTo>
                    <a:cubicBezTo>
                      <a:pt x="705" y="75"/>
                      <a:pt x="704" y="77"/>
                      <a:pt x="703" y="79"/>
                    </a:cubicBezTo>
                    <a:cubicBezTo>
                      <a:pt x="702" y="81"/>
                      <a:pt x="701" y="83"/>
                      <a:pt x="700" y="85"/>
                    </a:cubicBezTo>
                    <a:cubicBezTo>
                      <a:pt x="699" y="88"/>
                      <a:pt x="698" y="90"/>
                      <a:pt x="697" y="93"/>
                    </a:cubicBezTo>
                    <a:cubicBezTo>
                      <a:pt x="695" y="101"/>
                      <a:pt x="690" y="105"/>
                      <a:pt x="680" y="111"/>
                    </a:cubicBezTo>
                    <a:cubicBezTo>
                      <a:pt x="676" y="114"/>
                      <a:pt x="674" y="116"/>
                      <a:pt x="674" y="118"/>
                    </a:cubicBezTo>
                    <a:cubicBezTo>
                      <a:pt x="674" y="120"/>
                      <a:pt x="675" y="121"/>
                      <a:pt x="677" y="124"/>
                    </a:cubicBezTo>
                    <a:cubicBezTo>
                      <a:pt x="682" y="128"/>
                      <a:pt x="682" y="135"/>
                      <a:pt x="682" y="141"/>
                    </a:cubicBezTo>
                    <a:cubicBezTo>
                      <a:pt x="681" y="144"/>
                      <a:pt x="679" y="145"/>
                      <a:pt x="678" y="145"/>
                    </a:cubicBezTo>
                    <a:cubicBezTo>
                      <a:pt x="677" y="146"/>
                      <a:pt x="677" y="146"/>
                      <a:pt x="677" y="147"/>
                    </a:cubicBezTo>
                    <a:cubicBezTo>
                      <a:pt x="677" y="148"/>
                      <a:pt x="677" y="149"/>
                      <a:pt x="678" y="149"/>
                    </a:cubicBezTo>
                    <a:cubicBezTo>
                      <a:pt x="680" y="151"/>
                      <a:pt x="685" y="150"/>
                      <a:pt x="690" y="147"/>
                    </a:cubicBezTo>
                    <a:cubicBezTo>
                      <a:pt x="693" y="145"/>
                      <a:pt x="696" y="146"/>
                      <a:pt x="697" y="146"/>
                    </a:cubicBezTo>
                    <a:cubicBezTo>
                      <a:pt x="698" y="147"/>
                      <a:pt x="699" y="149"/>
                      <a:pt x="699" y="151"/>
                    </a:cubicBezTo>
                    <a:cubicBezTo>
                      <a:pt x="699" y="154"/>
                      <a:pt x="697" y="158"/>
                      <a:pt x="693" y="161"/>
                    </a:cubicBezTo>
                    <a:cubicBezTo>
                      <a:pt x="689" y="163"/>
                      <a:pt x="688" y="165"/>
                      <a:pt x="688" y="166"/>
                    </a:cubicBezTo>
                    <a:cubicBezTo>
                      <a:pt x="688" y="166"/>
                      <a:pt x="689" y="167"/>
                      <a:pt x="689" y="167"/>
                    </a:cubicBezTo>
                    <a:cubicBezTo>
                      <a:pt x="692" y="169"/>
                      <a:pt x="693" y="171"/>
                      <a:pt x="693" y="172"/>
                    </a:cubicBezTo>
                    <a:cubicBezTo>
                      <a:pt x="693" y="175"/>
                      <a:pt x="690" y="177"/>
                      <a:pt x="686" y="180"/>
                    </a:cubicBezTo>
                    <a:cubicBezTo>
                      <a:pt x="682" y="182"/>
                      <a:pt x="679" y="182"/>
                      <a:pt x="677" y="182"/>
                    </a:cubicBezTo>
                    <a:cubicBezTo>
                      <a:pt x="674" y="182"/>
                      <a:pt x="673" y="182"/>
                      <a:pt x="671" y="184"/>
                    </a:cubicBezTo>
                    <a:cubicBezTo>
                      <a:pt x="669" y="185"/>
                      <a:pt x="668" y="187"/>
                      <a:pt x="667" y="188"/>
                    </a:cubicBezTo>
                    <a:cubicBezTo>
                      <a:pt x="665" y="190"/>
                      <a:pt x="663" y="193"/>
                      <a:pt x="658" y="193"/>
                    </a:cubicBezTo>
                    <a:cubicBezTo>
                      <a:pt x="656" y="193"/>
                      <a:pt x="656" y="193"/>
                      <a:pt x="656" y="193"/>
                    </a:cubicBezTo>
                    <a:cubicBezTo>
                      <a:pt x="655" y="195"/>
                      <a:pt x="656" y="199"/>
                      <a:pt x="659" y="204"/>
                    </a:cubicBezTo>
                    <a:cubicBezTo>
                      <a:pt x="660" y="205"/>
                      <a:pt x="661" y="206"/>
                      <a:pt x="662" y="206"/>
                    </a:cubicBezTo>
                    <a:cubicBezTo>
                      <a:pt x="665" y="207"/>
                      <a:pt x="669" y="205"/>
                      <a:pt x="671" y="203"/>
                    </a:cubicBezTo>
                    <a:cubicBezTo>
                      <a:pt x="675" y="200"/>
                      <a:pt x="683" y="196"/>
                      <a:pt x="690" y="194"/>
                    </a:cubicBezTo>
                    <a:cubicBezTo>
                      <a:pt x="692" y="193"/>
                      <a:pt x="694" y="192"/>
                      <a:pt x="694" y="192"/>
                    </a:cubicBezTo>
                    <a:cubicBezTo>
                      <a:pt x="694" y="192"/>
                      <a:pt x="694" y="192"/>
                      <a:pt x="694" y="192"/>
                    </a:cubicBezTo>
                    <a:cubicBezTo>
                      <a:pt x="691" y="190"/>
                      <a:pt x="689" y="189"/>
                      <a:pt x="688" y="186"/>
                    </a:cubicBezTo>
                    <a:cubicBezTo>
                      <a:pt x="688" y="184"/>
                      <a:pt x="689" y="182"/>
                      <a:pt x="691" y="181"/>
                    </a:cubicBezTo>
                    <a:cubicBezTo>
                      <a:pt x="693" y="179"/>
                      <a:pt x="695" y="179"/>
                      <a:pt x="698" y="179"/>
                    </a:cubicBezTo>
                    <a:cubicBezTo>
                      <a:pt x="702" y="179"/>
                      <a:pt x="704" y="179"/>
                      <a:pt x="706" y="180"/>
                    </a:cubicBezTo>
                    <a:cubicBezTo>
                      <a:pt x="706" y="180"/>
                      <a:pt x="707" y="180"/>
                      <a:pt x="707" y="180"/>
                    </a:cubicBezTo>
                    <a:cubicBezTo>
                      <a:pt x="708" y="180"/>
                      <a:pt x="709" y="178"/>
                      <a:pt x="712" y="176"/>
                    </a:cubicBezTo>
                    <a:cubicBezTo>
                      <a:pt x="713" y="174"/>
                      <a:pt x="714" y="173"/>
                      <a:pt x="716" y="171"/>
                    </a:cubicBezTo>
                    <a:cubicBezTo>
                      <a:pt x="723" y="164"/>
                      <a:pt x="725" y="159"/>
                      <a:pt x="727" y="154"/>
                    </a:cubicBezTo>
                    <a:cubicBezTo>
                      <a:pt x="728" y="150"/>
                      <a:pt x="730" y="146"/>
                      <a:pt x="735" y="143"/>
                    </a:cubicBezTo>
                    <a:cubicBezTo>
                      <a:pt x="739" y="141"/>
                      <a:pt x="741" y="140"/>
                      <a:pt x="743" y="139"/>
                    </a:cubicBezTo>
                    <a:cubicBezTo>
                      <a:pt x="746" y="138"/>
                      <a:pt x="748" y="137"/>
                      <a:pt x="754" y="131"/>
                    </a:cubicBezTo>
                    <a:cubicBezTo>
                      <a:pt x="762" y="122"/>
                      <a:pt x="771" y="118"/>
                      <a:pt x="778" y="115"/>
                    </a:cubicBezTo>
                    <a:cubicBezTo>
                      <a:pt x="781" y="114"/>
                      <a:pt x="783" y="113"/>
                      <a:pt x="784" y="112"/>
                    </a:cubicBezTo>
                    <a:cubicBezTo>
                      <a:pt x="787" y="111"/>
                      <a:pt x="787" y="110"/>
                      <a:pt x="788" y="108"/>
                    </a:cubicBezTo>
                    <a:cubicBezTo>
                      <a:pt x="788" y="106"/>
                      <a:pt x="789" y="104"/>
                      <a:pt x="792" y="102"/>
                    </a:cubicBezTo>
                    <a:cubicBezTo>
                      <a:pt x="795" y="100"/>
                      <a:pt x="798" y="98"/>
                      <a:pt x="800" y="99"/>
                    </a:cubicBezTo>
                    <a:cubicBezTo>
                      <a:pt x="803" y="100"/>
                      <a:pt x="803" y="104"/>
                      <a:pt x="803" y="105"/>
                    </a:cubicBezTo>
                    <a:cubicBezTo>
                      <a:pt x="803" y="105"/>
                      <a:pt x="803" y="105"/>
                      <a:pt x="803" y="105"/>
                    </a:cubicBezTo>
                    <a:cubicBezTo>
                      <a:pt x="803" y="105"/>
                      <a:pt x="803" y="105"/>
                      <a:pt x="803" y="105"/>
                    </a:cubicBezTo>
                    <a:cubicBezTo>
                      <a:pt x="804" y="105"/>
                      <a:pt x="805" y="104"/>
                      <a:pt x="805" y="101"/>
                    </a:cubicBezTo>
                    <a:cubicBezTo>
                      <a:pt x="805" y="90"/>
                      <a:pt x="815" y="88"/>
                      <a:pt x="821" y="86"/>
                    </a:cubicBezTo>
                    <a:cubicBezTo>
                      <a:pt x="825" y="85"/>
                      <a:pt x="829" y="86"/>
                      <a:pt x="833" y="87"/>
                    </a:cubicBezTo>
                    <a:cubicBezTo>
                      <a:pt x="837" y="88"/>
                      <a:pt x="841" y="90"/>
                      <a:pt x="844" y="87"/>
                    </a:cubicBezTo>
                    <a:cubicBezTo>
                      <a:pt x="850" y="83"/>
                      <a:pt x="856" y="77"/>
                      <a:pt x="859" y="68"/>
                    </a:cubicBezTo>
                    <a:cubicBezTo>
                      <a:pt x="864" y="70"/>
                      <a:pt x="864" y="70"/>
                      <a:pt x="864" y="70"/>
                    </a:cubicBezTo>
                    <a:cubicBezTo>
                      <a:pt x="860" y="80"/>
                      <a:pt x="853" y="86"/>
                      <a:pt x="847" y="91"/>
                    </a:cubicBezTo>
                    <a:cubicBezTo>
                      <a:pt x="842" y="95"/>
                      <a:pt x="837" y="93"/>
                      <a:pt x="831" y="92"/>
                    </a:cubicBezTo>
                    <a:cubicBezTo>
                      <a:pt x="828" y="91"/>
                      <a:pt x="825" y="90"/>
                      <a:pt x="822" y="91"/>
                    </a:cubicBezTo>
                    <a:cubicBezTo>
                      <a:pt x="814" y="93"/>
                      <a:pt x="810" y="95"/>
                      <a:pt x="810" y="101"/>
                    </a:cubicBezTo>
                    <a:cubicBezTo>
                      <a:pt x="809" y="107"/>
                      <a:pt x="806" y="110"/>
                      <a:pt x="803" y="110"/>
                    </a:cubicBezTo>
                    <a:cubicBezTo>
                      <a:pt x="800" y="110"/>
                      <a:pt x="798" y="108"/>
                      <a:pt x="798" y="105"/>
                    </a:cubicBezTo>
                    <a:cubicBezTo>
                      <a:pt x="798" y="104"/>
                      <a:pt x="798" y="104"/>
                      <a:pt x="798" y="104"/>
                    </a:cubicBezTo>
                    <a:cubicBezTo>
                      <a:pt x="797" y="104"/>
                      <a:pt x="797" y="105"/>
                      <a:pt x="795" y="106"/>
                    </a:cubicBezTo>
                    <a:cubicBezTo>
                      <a:pt x="793" y="107"/>
                      <a:pt x="793" y="108"/>
                      <a:pt x="792" y="110"/>
                    </a:cubicBezTo>
                    <a:cubicBezTo>
                      <a:pt x="791" y="112"/>
                      <a:pt x="790" y="114"/>
                      <a:pt x="787" y="116"/>
                    </a:cubicBezTo>
                    <a:cubicBezTo>
                      <a:pt x="785" y="117"/>
                      <a:pt x="783" y="118"/>
                      <a:pt x="780" y="119"/>
                    </a:cubicBezTo>
                    <a:cubicBezTo>
                      <a:pt x="774" y="122"/>
                      <a:pt x="765" y="126"/>
                      <a:pt x="758" y="134"/>
                    </a:cubicBezTo>
                    <a:cubicBezTo>
                      <a:pt x="751" y="141"/>
                      <a:pt x="748" y="142"/>
                      <a:pt x="745" y="143"/>
                    </a:cubicBezTo>
                    <a:cubicBezTo>
                      <a:pt x="743" y="144"/>
                      <a:pt x="741" y="145"/>
                      <a:pt x="738" y="147"/>
                    </a:cubicBezTo>
                    <a:cubicBezTo>
                      <a:pt x="734" y="150"/>
                      <a:pt x="733" y="152"/>
                      <a:pt x="731" y="156"/>
                    </a:cubicBezTo>
                    <a:cubicBezTo>
                      <a:pt x="729" y="161"/>
                      <a:pt x="727" y="167"/>
                      <a:pt x="719" y="174"/>
                    </a:cubicBezTo>
                    <a:cubicBezTo>
                      <a:pt x="718" y="176"/>
                      <a:pt x="716" y="178"/>
                      <a:pt x="715" y="179"/>
                    </a:cubicBezTo>
                    <a:cubicBezTo>
                      <a:pt x="710" y="184"/>
                      <a:pt x="709" y="185"/>
                      <a:pt x="705" y="184"/>
                    </a:cubicBezTo>
                    <a:cubicBezTo>
                      <a:pt x="703" y="184"/>
                      <a:pt x="702" y="184"/>
                      <a:pt x="698" y="183"/>
                    </a:cubicBezTo>
                    <a:cubicBezTo>
                      <a:pt x="697" y="183"/>
                      <a:pt x="695" y="184"/>
                      <a:pt x="694" y="185"/>
                    </a:cubicBezTo>
                    <a:cubicBezTo>
                      <a:pt x="693" y="185"/>
                      <a:pt x="693" y="186"/>
                      <a:pt x="693" y="186"/>
                    </a:cubicBezTo>
                    <a:cubicBezTo>
                      <a:pt x="693" y="186"/>
                      <a:pt x="693" y="186"/>
                      <a:pt x="696" y="188"/>
                    </a:cubicBezTo>
                    <a:cubicBezTo>
                      <a:pt x="699" y="189"/>
                      <a:pt x="700" y="191"/>
                      <a:pt x="700" y="192"/>
                    </a:cubicBezTo>
                    <a:cubicBezTo>
                      <a:pt x="699" y="195"/>
                      <a:pt x="697" y="197"/>
                      <a:pt x="691" y="198"/>
                    </a:cubicBezTo>
                    <a:cubicBezTo>
                      <a:pt x="685" y="200"/>
                      <a:pt x="678" y="204"/>
                      <a:pt x="674" y="207"/>
                    </a:cubicBezTo>
                    <a:cubicBezTo>
                      <a:pt x="671" y="209"/>
                      <a:pt x="666" y="212"/>
                      <a:pt x="662" y="211"/>
                    </a:cubicBezTo>
                    <a:cubicBezTo>
                      <a:pt x="659" y="210"/>
                      <a:pt x="656" y="209"/>
                      <a:pt x="655" y="206"/>
                    </a:cubicBezTo>
                    <a:cubicBezTo>
                      <a:pt x="653" y="203"/>
                      <a:pt x="649" y="196"/>
                      <a:pt x="652" y="191"/>
                    </a:cubicBezTo>
                    <a:cubicBezTo>
                      <a:pt x="653" y="190"/>
                      <a:pt x="654" y="188"/>
                      <a:pt x="658" y="188"/>
                    </a:cubicBezTo>
                    <a:cubicBezTo>
                      <a:pt x="661" y="188"/>
                      <a:pt x="662" y="187"/>
                      <a:pt x="664" y="185"/>
                    </a:cubicBezTo>
                    <a:cubicBezTo>
                      <a:pt x="665" y="183"/>
                      <a:pt x="666" y="182"/>
                      <a:pt x="668" y="181"/>
                    </a:cubicBezTo>
                    <a:cubicBezTo>
                      <a:pt x="671" y="178"/>
                      <a:pt x="674" y="178"/>
                      <a:pt x="676" y="177"/>
                    </a:cubicBezTo>
                    <a:cubicBezTo>
                      <a:pt x="679" y="177"/>
                      <a:pt x="681" y="177"/>
                      <a:pt x="683" y="176"/>
                    </a:cubicBezTo>
                    <a:cubicBezTo>
                      <a:pt x="688" y="173"/>
                      <a:pt x="688" y="172"/>
                      <a:pt x="688" y="172"/>
                    </a:cubicBezTo>
                    <a:cubicBezTo>
                      <a:pt x="688" y="172"/>
                      <a:pt x="688" y="172"/>
                      <a:pt x="687" y="171"/>
                    </a:cubicBezTo>
                    <a:cubicBezTo>
                      <a:pt x="685" y="170"/>
                      <a:pt x="683" y="168"/>
                      <a:pt x="683" y="165"/>
                    </a:cubicBezTo>
                    <a:cubicBezTo>
                      <a:pt x="683" y="162"/>
                      <a:pt x="686" y="159"/>
                      <a:pt x="690" y="157"/>
                    </a:cubicBezTo>
                    <a:cubicBezTo>
                      <a:pt x="693" y="155"/>
                      <a:pt x="694" y="153"/>
                      <a:pt x="695" y="152"/>
                    </a:cubicBezTo>
                    <a:cubicBezTo>
                      <a:pt x="695" y="151"/>
                      <a:pt x="695" y="150"/>
                      <a:pt x="695" y="150"/>
                    </a:cubicBezTo>
                    <a:cubicBezTo>
                      <a:pt x="694" y="150"/>
                      <a:pt x="694" y="150"/>
                      <a:pt x="692" y="151"/>
                    </a:cubicBezTo>
                    <a:cubicBezTo>
                      <a:pt x="686" y="155"/>
                      <a:pt x="680" y="156"/>
                      <a:pt x="676" y="154"/>
                    </a:cubicBezTo>
                    <a:cubicBezTo>
                      <a:pt x="674" y="152"/>
                      <a:pt x="672" y="150"/>
                      <a:pt x="672" y="148"/>
                    </a:cubicBezTo>
                    <a:cubicBezTo>
                      <a:pt x="672" y="143"/>
                      <a:pt x="675" y="142"/>
                      <a:pt x="676" y="141"/>
                    </a:cubicBezTo>
                    <a:cubicBezTo>
                      <a:pt x="677" y="141"/>
                      <a:pt x="677" y="141"/>
                      <a:pt x="677" y="140"/>
                    </a:cubicBezTo>
                    <a:cubicBezTo>
                      <a:pt x="677" y="137"/>
                      <a:pt x="678" y="130"/>
                      <a:pt x="674" y="127"/>
                    </a:cubicBezTo>
                    <a:cubicBezTo>
                      <a:pt x="670" y="124"/>
                      <a:pt x="669" y="121"/>
                      <a:pt x="669" y="117"/>
                    </a:cubicBezTo>
                    <a:cubicBezTo>
                      <a:pt x="670" y="114"/>
                      <a:pt x="672" y="110"/>
                      <a:pt x="677" y="107"/>
                    </a:cubicBezTo>
                    <a:cubicBezTo>
                      <a:pt x="687" y="102"/>
                      <a:pt x="690" y="98"/>
                      <a:pt x="692" y="92"/>
                    </a:cubicBezTo>
                    <a:cubicBezTo>
                      <a:pt x="693" y="88"/>
                      <a:pt x="695" y="85"/>
                      <a:pt x="696" y="83"/>
                    </a:cubicBezTo>
                    <a:cubicBezTo>
                      <a:pt x="697" y="81"/>
                      <a:pt x="698" y="79"/>
                      <a:pt x="699" y="77"/>
                    </a:cubicBezTo>
                    <a:cubicBezTo>
                      <a:pt x="700" y="75"/>
                      <a:pt x="701" y="73"/>
                      <a:pt x="702" y="71"/>
                    </a:cubicBezTo>
                    <a:cubicBezTo>
                      <a:pt x="703" y="67"/>
                      <a:pt x="705" y="63"/>
                      <a:pt x="709" y="55"/>
                    </a:cubicBezTo>
                    <a:cubicBezTo>
                      <a:pt x="712" y="47"/>
                      <a:pt x="712" y="46"/>
                      <a:pt x="709" y="41"/>
                    </a:cubicBezTo>
                    <a:cubicBezTo>
                      <a:pt x="708" y="40"/>
                      <a:pt x="707" y="38"/>
                      <a:pt x="706" y="35"/>
                    </a:cubicBezTo>
                    <a:cubicBezTo>
                      <a:pt x="704" y="31"/>
                      <a:pt x="700" y="28"/>
                      <a:pt x="696" y="26"/>
                    </a:cubicBezTo>
                    <a:cubicBezTo>
                      <a:pt x="692" y="23"/>
                      <a:pt x="687" y="20"/>
                      <a:pt x="687" y="15"/>
                    </a:cubicBezTo>
                    <a:cubicBezTo>
                      <a:pt x="687" y="9"/>
                      <a:pt x="686" y="4"/>
                      <a:pt x="684" y="4"/>
                    </a:cubicBezTo>
                    <a:cubicBezTo>
                      <a:pt x="684" y="4"/>
                      <a:pt x="684" y="5"/>
                      <a:pt x="684" y="6"/>
                    </a:cubicBezTo>
                    <a:cubicBezTo>
                      <a:pt x="683" y="8"/>
                      <a:pt x="682" y="12"/>
                      <a:pt x="677" y="16"/>
                    </a:cubicBezTo>
                    <a:cubicBezTo>
                      <a:pt x="670" y="21"/>
                      <a:pt x="666" y="20"/>
                      <a:pt x="659" y="19"/>
                    </a:cubicBezTo>
                    <a:cubicBezTo>
                      <a:pt x="658" y="18"/>
                      <a:pt x="656" y="18"/>
                      <a:pt x="654" y="17"/>
                    </a:cubicBezTo>
                    <a:cubicBezTo>
                      <a:pt x="644" y="16"/>
                      <a:pt x="644" y="16"/>
                      <a:pt x="639" y="22"/>
                    </a:cubicBezTo>
                    <a:cubicBezTo>
                      <a:pt x="636" y="25"/>
                      <a:pt x="635" y="29"/>
                      <a:pt x="634" y="32"/>
                    </a:cubicBezTo>
                    <a:cubicBezTo>
                      <a:pt x="632" y="36"/>
                      <a:pt x="631" y="39"/>
                      <a:pt x="628" y="41"/>
                    </a:cubicBezTo>
                    <a:cubicBezTo>
                      <a:pt x="627" y="41"/>
                      <a:pt x="626" y="41"/>
                      <a:pt x="625" y="41"/>
                    </a:cubicBezTo>
                    <a:cubicBezTo>
                      <a:pt x="622" y="42"/>
                      <a:pt x="620" y="42"/>
                      <a:pt x="618" y="47"/>
                    </a:cubicBezTo>
                    <a:cubicBezTo>
                      <a:pt x="616" y="52"/>
                      <a:pt x="614" y="55"/>
                      <a:pt x="612" y="59"/>
                    </a:cubicBezTo>
                    <a:cubicBezTo>
                      <a:pt x="610" y="63"/>
                      <a:pt x="608" y="66"/>
                      <a:pt x="607" y="70"/>
                    </a:cubicBezTo>
                    <a:cubicBezTo>
                      <a:pt x="606" y="72"/>
                      <a:pt x="605" y="74"/>
                      <a:pt x="605" y="76"/>
                    </a:cubicBezTo>
                    <a:cubicBezTo>
                      <a:pt x="603" y="83"/>
                      <a:pt x="602" y="90"/>
                      <a:pt x="595" y="91"/>
                    </a:cubicBezTo>
                    <a:cubicBezTo>
                      <a:pt x="588" y="93"/>
                      <a:pt x="574" y="100"/>
                      <a:pt x="571" y="104"/>
                    </a:cubicBezTo>
                    <a:cubicBezTo>
                      <a:pt x="570" y="106"/>
                      <a:pt x="570" y="107"/>
                      <a:pt x="569" y="109"/>
                    </a:cubicBezTo>
                    <a:cubicBezTo>
                      <a:pt x="566" y="115"/>
                      <a:pt x="562" y="124"/>
                      <a:pt x="555" y="124"/>
                    </a:cubicBezTo>
                    <a:cubicBezTo>
                      <a:pt x="550" y="124"/>
                      <a:pt x="546" y="128"/>
                      <a:pt x="542" y="132"/>
                    </a:cubicBezTo>
                    <a:cubicBezTo>
                      <a:pt x="539" y="134"/>
                      <a:pt x="537" y="136"/>
                      <a:pt x="535" y="138"/>
                    </a:cubicBezTo>
                    <a:cubicBezTo>
                      <a:pt x="529" y="142"/>
                      <a:pt x="525" y="153"/>
                      <a:pt x="525" y="159"/>
                    </a:cubicBezTo>
                    <a:cubicBezTo>
                      <a:pt x="526" y="168"/>
                      <a:pt x="523" y="172"/>
                      <a:pt x="517" y="179"/>
                    </a:cubicBezTo>
                    <a:cubicBezTo>
                      <a:pt x="508" y="192"/>
                      <a:pt x="499" y="197"/>
                      <a:pt x="490" y="193"/>
                    </a:cubicBezTo>
                    <a:cubicBezTo>
                      <a:pt x="485" y="191"/>
                      <a:pt x="482" y="193"/>
                      <a:pt x="476" y="198"/>
                    </a:cubicBezTo>
                    <a:cubicBezTo>
                      <a:pt x="474" y="200"/>
                      <a:pt x="472" y="202"/>
                      <a:pt x="469" y="203"/>
                    </a:cubicBezTo>
                    <a:cubicBezTo>
                      <a:pt x="467" y="205"/>
                      <a:pt x="464" y="205"/>
                      <a:pt x="462" y="205"/>
                    </a:cubicBezTo>
                    <a:cubicBezTo>
                      <a:pt x="458" y="203"/>
                      <a:pt x="456" y="199"/>
                      <a:pt x="454" y="195"/>
                    </a:cubicBezTo>
                    <a:cubicBezTo>
                      <a:pt x="453" y="193"/>
                      <a:pt x="452" y="192"/>
                      <a:pt x="451" y="191"/>
                    </a:cubicBezTo>
                    <a:cubicBezTo>
                      <a:pt x="450" y="189"/>
                      <a:pt x="448" y="188"/>
                      <a:pt x="446" y="188"/>
                    </a:cubicBezTo>
                    <a:cubicBezTo>
                      <a:pt x="444" y="188"/>
                      <a:pt x="441" y="189"/>
                      <a:pt x="439" y="191"/>
                    </a:cubicBezTo>
                    <a:cubicBezTo>
                      <a:pt x="435" y="196"/>
                      <a:pt x="432" y="203"/>
                      <a:pt x="431" y="209"/>
                    </a:cubicBezTo>
                    <a:cubicBezTo>
                      <a:pt x="431" y="213"/>
                      <a:pt x="428" y="216"/>
                      <a:pt x="425" y="219"/>
                    </a:cubicBezTo>
                    <a:cubicBezTo>
                      <a:pt x="421" y="223"/>
                      <a:pt x="417" y="228"/>
                      <a:pt x="417" y="235"/>
                    </a:cubicBezTo>
                    <a:cubicBezTo>
                      <a:pt x="418" y="248"/>
                      <a:pt x="426" y="257"/>
                      <a:pt x="430" y="260"/>
                    </a:cubicBezTo>
                    <a:cubicBezTo>
                      <a:pt x="433" y="263"/>
                      <a:pt x="434" y="267"/>
                      <a:pt x="436" y="270"/>
                    </a:cubicBezTo>
                    <a:cubicBezTo>
                      <a:pt x="438" y="274"/>
                      <a:pt x="440" y="278"/>
                      <a:pt x="444" y="281"/>
                    </a:cubicBezTo>
                    <a:cubicBezTo>
                      <a:pt x="450" y="285"/>
                      <a:pt x="455" y="286"/>
                      <a:pt x="458" y="284"/>
                    </a:cubicBezTo>
                    <a:cubicBezTo>
                      <a:pt x="461" y="281"/>
                      <a:pt x="463" y="282"/>
                      <a:pt x="466" y="282"/>
                    </a:cubicBezTo>
                    <a:cubicBezTo>
                      <a:pt x="468" y="282"/>
                      <a:pt x="469" y="283"/>
                      <a:pt x="471" y="283"/>
                    </a:cubicBezTo>
                    <a:cubicBezTo>
                      <a:pt x="472" y="283"/>
                      <a:pt x="473" y="283"/>
                      <a:pt x="474" y="283"/>
                    </a:cubicBezTo>
                    <a:cubicBezTo>
                      <a:pt x="479" y="283"/>
                      <a:pt x="481" y="284"/>
                      <a:pt x="486" y="287"/>
                    </a:cubicBezTo>
                    <a:cubicBezTo>
                      <a:pt x="486" y="288"/>
                      <a:pt x="487" y="289"/>
                      <a:pt x="488" y="289"/>
                    </a:cubicBezTo>
                    <a:cubicBezTo>
                      <a:pt x="490" y="289"/>
                      <a:pt x="492" y="286"/>
                      <a:pt x="493" y="284"/>
                    </a:cubicBezTo>
                    <a:cubicBezTo>
                      <a:pt x="495" y="281"/>
                      <a:pt x="497" y="279"/>
                      <a:pt x="500" y="279"/>
                    </a:cubicBezTo>
                    <a:cubicBezTo>
                      <a:pt x="504" y="278"/>
                      <a:pt x="508" y="280"/>
                      <a:pt x="510" y="282"/>
                    </a:cubicBezTo>
                    <a:cubicBezTo>
                      <a:pt x="512" y="283"/>
                      <a:pt x="512" y="283"/>
                      <a:pt x="512" y="283"/>
                    </a:cubicBezTo>
                    <a:cubicBezTo>
                      <a:pt x="515" y="287"/>
                      <a:pt x="518" y="290"/>
                      <a:pt x="521" y="294"/>
                    </a:cubicBezTo>
                    <a:cubicBezTo>
                      <a:pt x="523" y="297"/>
                      <a:pt x="522" y="300"/>
                      <a:pt x="521" y="303"/>
                    </a:cubicBezTo>
                    <a:cubicBezTo>
                      <a:pt x="520" y="306"/>
                      <a:pt x="521" y="306"/>
                      <a:pt x="521" y="306"/>
                    </a:cubicBezTo>
                    <a:cubicBezTo>
                      <a:pt x="524" y="307"/>
                      <a:pt x="526" y="309"/>
                      <a:pt x="526" y="311"/>
                    </a:cubicBezTo>
                    <a:cubicBezTo>
                      <a:pt x="527" y="314"/>
                      <a:pt x="526" y="317"/>
                      <a:pt x="525" y="320"/>
                    </a:cubicBezTo>
                    <a:cubicBezTo>
                      <a:pt x="523" y="324"/>
                      <a:pt x="520" y="332"/>
                      <a:pt x="520" y="337"/>
                    </a:cubicBezTo>
                    <a:cubicBezTo>
                      <a:pt x="521" y="341"/>
                      <a:pt x="518" y="343"/>
                      <a:pt x="517" y="345"/>
                    </a:cubicBezTo>
                    <a:cubicBezTo>
                      <a:pt x="515" y="346"/>
                      <a:pt x="515" y="346"/>
                      <a:pt x="516" y="347"/>
                    </a:cubicBezTo>
                    <a:cubicBezTo>
                      <a:pt x="517" y="349"/>
                      <a:pt x="520" y="350"/>
                      <a:pt x="523" y="351"/>
                    </a:cubicBezTo>
                    <a:cubicBezTo>
                      <a:pt x="525" y="352"/>
                      <a:pt x="528" y="353"/>
                      <a:pt x="529" y="355"/>
                    </a:cubicBezTo>
                    <a:cubicBezTo>
                      <a:pt x="530" y="356"/>
                      <a:pt x="535" y="361"/>
                      <a:pt x="538" y="364"/>
                    </a:cubicBezTo>
                    <a:cubicBezTo>
                      <a:pt x="542" y="366"/>
                      <a:pt x="544" y="367"/>
                      <a:pt x="550" y="365"/>
                    </a:cubicBezTo>
                    <a:cubicBezTo>
                      <a:pt x="557" y="363"/>
                      <a:pt x="561" y="363"/>
                      <a:pt x="571" y="363"/>
                    </a:cubicBezTo>
                    <a:cubicBezTo>
                      <a:pt x="575" y="363"/>
                      <a:pt x="579" y="361"/>
                      <a:pt x="582" y="357"/>
                    </a:cubicBezTo>
                    <a:cubicBezTo>
                      <a:pt x="585" y="354"/>
                      <a:pt x="586" y="350"/>
                      <a:pt x="586" y="347"/>
                    </a:cubicBezTo>
                    <a:cubicBezTo>
                      <a:pt x="584" y="338"/>
                      <a:pt x="586" y="336"/>
                      <a:pt x="593" y="332"/>
                    </a:cubicBezTo>
                    <a:cubicBezTo>
                      <a:pt x="595" y="331"/>
                      <a:pt x="595" y="331"/>
                      <a:pt x="595" y="331"/>
                    </a:cubicBezTo>
                    <a:cubicBezTo>
                      <a:pt x="603" y="326"/>
                      <a:pt x="608" y="319"/>
                      <a:pt x="609" y="314"/>
                    </a:cubicBezTo>
                    <a:cubicBezTo>
                      <a:pt x="611" y="306"/>
                      <a:pt x="612" y="303"/>
                      <a:pt x="619" y="301"/>
                    </a:cubicBezTo>
                    <a:cubicBezTo>
                      <a:pt x="622" y="300"/>
                      <a:pt x="624" y="299"/>
                      <a:pt x="627" y="297"/>
                    </a:cubicBezTo>
                    <a:cubicBezTo>
                      <a:pt x="631" y="295"/>
                      <a:pt x="635" y="293"/>
                      <a:pt x="640" y="291"/>
                    </a:cubicBezTo>
                    <a:cubicBezTo>
                      <a:pt x="649" y="288"/>
                      <a:pt x="653" y="290"/>
                      <a:pt x="658" y="293"/>
                    </a:cubicBezTo>
                    <a:cubicBezTo>
                      <a:pt x="659" y="294"/>
                      <a:pt x="661" y="295"/>
                      <a:pt x="663" y="296"/>
                    </a:cubicBezTo>
                    <a:cubicBezTo>
                      <a:pt x="668" y="298"/>
                      <a:pt x="670" y="301"/>
                      <a:pt x="673" y="304"/>
                    </a:cubicBezTo>
                    <a:cubicBezTo>
                      <a:pt x="675" y="306"/>
                      <a:pt x="676" y="308"/>
                      <a:pt x="680" y="310"/>
                    </a:cubicBezTo>
                    <a:cubicBezTo>
                      <a:pt x="681" y="310"/>
                      <a:pt x="681" y="311"/>
                      <a:pt x="681" y="311"/>
                    </a:cubicBezTo>
                    <a:cubicBezTo>
                      <a:pt x="682" y="310"/>
                      <a:pt x="682" y="310"/>
                      <a:pt x="682" y="309"/>
                    </a:cubicBezTo>
                    <a:cubicBezTo>
                      <a:pt x="682" y="308"/>
                      <a:pt x="683" y="305"/>
                      <a:pt x="686" y="305"/>
                    </a:cubicBezTo>
                    <a:cubicBezTo>
                      <a:pt x="689" y="305"/>
                      <a:pt x="690" y="306"/>
                      <a:pt x="692" y="309"/>
                    </a:cubicBezTo>
                    <a:cubicBezTo>
                      <a:pt x="693" y="311"/>
                      <a:pt x="695" y="313"/>
                      <a:pt x="699" y="317"/>
                    </a:cubicBezTo>
                    <a:cubicBezTo>
                      <a:pt x="704" y="321"/>
                      <a:pt x="707" y="320"/>
                      <a:pt x="712" y="317"/>
                    </a:cubicBezTo>
                    <a:cubicBezTo>
                      <a:pt x="715" y="316"/>
                      <a:pt x="718" y="314"/>
                      <a:pt x="721" y="314"/>
                    </a:cubicBezTo>
                    <a:cubicBezTo>
                      <a:pt x="729" y="313"/>
                      <a:pt x="731" y="311"/>
                      <a:pt x="731" y="309"/>
                    </a:cubicBezTo>
                    <a:cubicBezTo>
                      <a:pt x="732" y="306"/>
                      <a:pt x="734" y="304"/>
                      <a:pt x="737" y="304"/>
                    </a:cubicBezTo>
                    <a:cubicBezTo>
                      <a:pt x="740" y="304"/>
                      <a:pt x="743" y="306"/>
                      <a:pt x="744" y="310"/>
                    </a:cubicBezTo>
                    <a:cubicBezTo>
                      <a:pt x="745" y="312"/>
                      <a:pt x="747" y="314"/>
                      <a:pt x="757" y="316"/>
                    </a:cubicBezTo>
                    <a:cubicBezTo>
                      <a:pt x="767" y="318"/>
                      <a:pt x="769" y="317"/>
                      <a:pt x="773" y="314"/>
                    </a:cubicBezTo>
                    <a:cubicBezTo>
                      <a:pt x="778" y="311"/>
                      <a:pt x="780" y="312"/>
                      <a:pt x="782" y="313"/>
                    </a:cubicBezTo>
                    <a:cubicBezTo>
                      <a:pt x="782" y="315"/>
                      <a:pt x="784" y="318"/>
                      <a:pt x="778" y="322"/>
                    </a:cubicBezTo>
                    <a:cubicBezTo>
                      <a:pt x="774" y="326"/>
                      <a:pt x="774" y="327"/>
                      <a:pt x="777" y="331"/>
                    </a:cubicBezTo>
                    <a:cubicBezTo>
                      <a:pt x="778" y="331"/>
                      <a:pt x="778" y="331"/>
                      <a:pt x="778" y="331"/>
                    </a:cubicBezTo>
                    <a:cubicBezTo>
                      <a:pt x="780" y="335"/>
                      <a:pt x="777" y="339"/>
                      <a:pt x="774" y="341"/>
                    </a:cubicBezTo>
                    <a:cubicBezTo>
                      <a:pt x="772" y="343"/>
                      <a:pt x="770" y="345"/>
                      <a:pt x="770" y="346"/>
                    </a:cubicBezTo>
                    <a:cubicBezTo>
                      <a:pt x="770" y="348"/>
                      <a:pt x="771" y="348"/>
                      <a:pt x="774" y="348"/>
                    </a:cubicBezTo>
                    <a:cubicBezTo>
                      <a:pt x="775" y="348"/>
                      <a:pt x="777" y="348"/>
                      <a:pt x="778" y="349"/>
                    </a:cubicBezTo>
                    <a:cubicBezTo>
                      <a:pt x="780" y="350"/>
                      <a:pt x="781" y="351"/>
                      <a:pt x="782" y="352"/>
                    </a:cubicBezTo>
                    <a:cubicBezTo>
                      <a:pt x="782" y="355"/>
                      <a:pt x="781" y="358"/>
                      <a:pt x="778" y="364"/>
                    </a:cubicBezTo>
                    <a:cubicBezTo>
                      <a:pt x="771" y="373"/>
                      <a:pt x="762" y="374"/>
                      <a:pt x="756" y="373"/>
                    </a:cubicBezTo>
                    <a:cubicBezTo>
                      <a:pt x="752" y="372"/>
                      <a:pt x="750" y="370"/>
                      <a:pt x="749" y="369"/>
                    </a:cubicBezTo>
                    <a:cubicBezTo>
                      <a:pt x="748" y="368"/>
                      <a:pt x="747" y="367"/>
                      <a:pt x="745" y="367"/>
                    </a:cubicBezTo>
                    <a:cubicBezTo>
                      <a:pt x="742" y="366"/>
                      <a:pt x="741" y="365"/>
                      <a:pt x="740" y="364"/>
                    </a:cubicBezTo>
                    <a:cubicBezTo>
                      <a:pt x="739" y="364"/>
                      <a:pt x="738" y="363"/>
                      <a:pt x="737" y="363"/>
                    </a:cubicBezTo>
                    <a:cubicBezTo>
                      <a:pt x="737" y="363"/>
                      <a:pt x="737" y="363"/>
                      <a:pt x="737" y="363"/>
                    </a:cubicBezTo>
                    <a:cubicBezTo>
                      <a:pt x="735" y="363"/>
                      <a:pt x="734" y="365"/>
                      <a:pt x="732" y="367"/>
                    </a:cubicBezTo>
                    <a:cubicBezTo>
                      <a:pt x="731" y="369"/>
                      <a:pt x="729" y="370"/>
                      <a:pt x="727" y="372"/>
                    </a:cubicBezTo>
                    <a:cubicBezTo>
                      <a:pt x="725" y="373"/>
                      <a:pt x="724" y="375"/>
                      <a:pt x="723" y="376"/>
                    </a:cubicBezTo>
                    <a:cubicBezTo>
                      <a:pt x="721" y="379"/>
                      <a:pt x="719" y="382"/>
                      <a:pt x="711" y="384"/>
                    </a:cubicBezTo>
                    <a:cubicBezTo>
                      <a:pt x="706" y="385"/>
                      <a:pt x="703" y="387"/>
                      <a:pt x="700" y="389"/>
                    </a:cubicBezTo>
                    <a:cubicBezTo>
                      <a:pt x="697" y="391"/>
                      <a:pt x="693" y="393"/>
                      <a:pt x="688" y="394"/>
                    </a:cubicBezTo>
                    <a:cubicBezTo>
                      <a:pt x="677" y="398"/>
                      <a:pt x="674" y="403"/>
                      <a:pt x="673" y="412"/>
                    </a:cubicBezTo>
                    <a:cubicBezTo>
                      <a:pt x="672" y="420"/>
                      <a:pt x="668" y="425"/>
                      <a:pt x="664" y="425"/>
                    </a:cubicBezTo>
                    <a:cubicBezTo>
                      <a:pt x="664" y="425"/>
                      <a:pt x="664" y="425"/>
                      <a:pt x="664" y="425"/>
                    </a:cubicBezTo>
                    <a:cubicBezTo>
                      <a:pt x="662" y="425"/>
                      <a:pt x="660" y="424"/>
                      <a:pt x="660" y="420"/>
                    </a:cubicBezTo>
                    <a:cubicBezTo>
                      <a:pt x="660" y="419"/>
                      <a:pt x="659" y="419"/>
                      <a:pt x="659" y="419"/>
                    </a:cubicBezTo>
                    <a:cubicBezTo>
                      <a:pt x="657" y="419"/>
                      <a:pt x="655" y="421"/>
                      <a:pt x="654" y="425"/>
                    </a:cubicBezTo>
                    <a:cubicBezTo>
                      <a:pt x="654" y="429"/>
                      <a:pt x="655" y="431"/>
                      <a:pt x="656" y="433"/>
                    </a:cubicBezTo>
                    <a:cubicBezTo>
                      <a:pt x="657" y="436"/>
                      <a:pt x="659" y="439"/>
                      <a:pt x="657" y="444"/>
                    </a:cubicBezTo>
                    <a:cubicBezTo>
                      <a:pt x="655" y="453"/>
                      <a:pt x="645" y="461"/>
                      <a:pt x="633" y="458"/>
                    </a:cubicBezTo>
                    <a:cubicBezTo>
                      <a:pt x="628" y="458"/>
                      <a:pt x="624" y="456"/>
                      <a:pt x="621" y="454"/>
                    </a:cubicBezTo>
                    <a:cubicBezTo>
                      <a:pt x="618" y="453"/>
                      <a:pt x="614" y="452"/>
                      <a:pt x="613" y="452"/>
                    </a:cubicBezTo>
                    <a:cubicBezTo>
                      <a:pt x="613" y="452"/>
                      <a:pt x="613" y="452"/>
                      <a:pt x="613" y="453"/>
                    </a:cubicBezTo>
                    <a:cubicBezTo>
                      <a:pt x="613" y="457"/>
                      <a:pt x="615" y="458"/>
                      <a:pt x="619" y="459"/>
                    </a:cubicBezTo>
                    <a:cubicBezTo>
                      <a:pt x="622" y="460"/>
                      <a:pt x="625" y="461"/>
                      <a:pt x="626" y="464"/>
                    </a:cubicBezTo>
                    <a:cubicBezTo>
                      <a:pt x="628" y="471"/>
                      <a:pt x="625" y="474"/>
                      <a:pt x="615" y="480"/>
                    </a:cubicBezTo>
                    <a:cubicBezTo>
                      <a:pt x="613" y="481"/>
                      <a:pt x="610" y="483"/>
                      <a:pt x="606" y="485"/>
                    </a:cubicBezTo>
                    <a:cubicBezTo>
                      <a:pt x="598" y="489"/>
                      <a:pt x="588" y="494"/>
                      <a:pt x="588" y="501"/>
                    </a:cubicBezTo>
                    <a:cubicBezTo>
                      <a:pt x="587" y="510"/>
                      <a:pt x="583" y="516"/>
                      <a:pt x="581" y="520"/>
                    </a:cubicBezTo>
                    <a:cubicBezTo>
                      <a:pt x="580" y="522"/>
                      <a:pt x="579" y="523"/>
                      <a:pt x="578" y="525"/>
                    </a:cubicBezTo>
                    <a:cubicBezTo>
                      <a:pt x="577" y="526"/>
                      <a:pt x="577" y="528"/>
                      <a:pt x="576" y="530"/>
                    </a:cubicBezTo>
                    <a:cubicBezTo>
                      <a:pt x="575" y="534"/>
                      <a:pt x="574" y="539"/>
                      <a:pt x="569" y="544"/>
                    </a:cubicBezTo>
                    <a:cubicBezTo>
                      <a:pt x="562" y="552"/>
                      <a:pt x="560" y="558"/>
                      <a:pt x="564" y="565"/>
                    </a:cubicBezTo>
                    <a:cubicBezTo>
                      <a:pt x="566" y="569"/>
                      <a:pt x="568" y="569"/>
                      <a:pt x="572" y="570"/>
                    </a:cubicBezTo>
                    <a:cubicBezTo>
                      <a:pt x="574" y="570"/>
                      <a:pt x="577" y="571"/>
                      <a:pt x="582" y="573"/>
                    </a:cubicBezTo>
                    <a:cubicBezTo>
                      <a:pt x="587" y="576"/>
                      <a:pt x="589" y="579"/>
                      <a:pt x="592" y="581"/>
                    </a:cubicBezTo>
                    <a:cubicBezTo>
                      <a:pt x="595" y="584"/>
                      <a:pt x="597" y="586"/>
                      <a:pt x="602" y="588"/>
                    </a:cubicBezTo>
                    <a:cubicBezTo>
                      <a:pt x="606" y="589"/>
                      <a:pt x="611" y="591"/>
                      <a:pt x="616" y="592"/>
                    </a:cubicBezTo>
                    <a:cubicBezTo>
                      <a:pt x="625" y="594"/>
                      <a:pt x="635" y="596"/>
                      <a:pt x="642" y="601"/>
                    </a:cubicBezTo>
                    <a:cubicBezTo>
                      <a:pt x="649" y="606"/>
                      <a:pt x="653" y="616"/>
                      <a:pt x="657" y="627"/>
                    </a:cubicBezTo>
                    <a:cubicBezTo>
                      <a:pt x="659" y="632"/>
                      <a:pt x="661" y="637"/>
                      <a:pt x="664" y="643"/>
                    </a:cubicBezTo>
                    <a:cubicBezTo>
                      <a:pt x="670" y="654"/>
                      <a:pt x="675" y="667"/>
                      <a:pt x="680" y="678"/>
                    </a:cubicBezTo>
                    <a:cubicBezTo>
                      <a:pt x="682" y="684"/>
                      <a:pt x="684" y="689"/>
                      <a:pt x="686" y="694"/>
                    </a:cubicBezTo>
                    <a:cubicBezTo>
                      <a:pt x="689" y="701"/>
                      <a:pt x="693" y="706"/>
                      <a:pt x="697" y="712"/>
                    </a:cubicBezTo>
                    <a:cubicBezTo>
                      <a:pt x="701" y="718"/>
                      <a:pt x="705" y="724"/>
                      <a:pt x="706" y="730"/>
                    </a:cubicBezTo>
                    <a:cubicBezTo>
                      <a:pt x="707" y="734"/>
                      <a:pt x="707" y="738"/>
                      <a:pt x="707" y="741"/>
                    </a:cubicBezTo>
                    <a:cubicBezTo>
                      <a:pt x="706" y="748"/>
                      <a:pt x="706" y="753"/>
                      <a:pt x="718" y="757"/>
                    </a:cubicBezTo>
                    <a:cubicBezTo>
                      <a:pt x="737" y="764"/>
                      <a:pt x="739" y="767"/>
                      <a:pt x="744" y="778"/>
                    </a:cubicBezTo>
                    <a:cubicBezTo>
                      <a:pt x="745" y="781"/>
                      <a:pt x="745" y="781"/>
                      <a:pt x="745" y="781"/>
                    </a:cubicBezTo>
                    <a:cubicBezTo>
                      <a:pt x="749" y="790"/>
                      <a:pt x="751" y="790"/>
                      <a:pt x="759" y="794"/>
                    </a:cubicBezTo>
                    <a:cubicBezTo>
                      <a:pt x="761" y="795"/>
                      <a:pt x="765" y="796"/>
                      <a:pt x="769" y="798"/>
                    </a:cubicBezTo>
                    <a:cubicBezTo>
                      <a:pt x="790" y="808"/>
                      <a:pt x="790" y="823"/>
                      <a:pt x="790" y="828"/>
                    </a:cubicBezTo>
                    <a:cubicBezTo>
                      <a:pt x="790" y="830"/>
                      <a:pt x="789" y="832"/>
                      <a:pt x="787" y="833"/>
                    </a:cubicBezTo>
                    <a:cubicBezTo>
                      <a:pt x="780" y="836"/>
                      <a:pt x="766" y="831"/>
                      <a:pt x="756" y="825"/>
                    </a:cubicBezTo>
                    <a:cubicBezTo>
                      <a:pt x="743" y="817"/>
                      <a:pt x="737" y="821"/>
                      <a:pt x="731" y="825"/>
                    </a:cubicBezTo>
                    <a:cubicBezTo>
                      <a:pt x="723" y="829"/>
                      <a:pt x="715" y="827"/>
                      <a:pt x="711" y="820"/>
                    </a:cubicBezTo>
                    <a:cubicBezTo>
                      <a:pt x="710" y="819"/>
                      <a:pt x="710" y="818"/>
                      <a:pt x="710" y="818"/>
                    </a:cubicBezTo>
                    <a:cubicBezTo>
                      <a:pt x="709" y="819"/>
                      <a:pt x="707" y="821"/>
                      <a:pt x="708" y="824"/>
                    </a:cubicBezTo>
                    <a:cubicBezTo>
                      <a:pt x="708" y="827"/>
                      <a:pt x="708" y="827"/>
                      <a:pt x="721" y="831"/>
                    </a:cubicBezTo>
                    <a:cubicBezTo>
                      <a:pt x="722" y="831"/>
                      <a:pt x="722" y="831"/>
                      <a:pt x="722" y="831"/>
                    </a:cubicBezTo>
                    <a:cubicBezTo>
                      <a:pt x="731" y="833"/>
                      <a:pt x="734" y="835"/>
                      <a:pt x="739" y="840"/>
                    </a:cubicBezTo>
                    <a:cubicBezTo>
                      <a:pt x="743" y="843"/>
                      <a:pt x="748" y="848"/>
                      <a:pt x="760" y="855"/>
                    </a:cubicBezTo>
                    <a:cubicBezTo>
                      <a:pt x="777" y="865"/>
                      <a:pt x="781" y="871"/>
                      <a:pt x="786" y="877"/>
                    </a:cubicBezTo>
                    <a:cubicBezTo>
                      <a:pt x="788" y="880"/>
                      <a:pt x="790" y="883"/>
                      <a:pt x="793" y="886"/>
                    </a:cubicBezTo>
                    <a:cubicBezTo>
                      <a:pt x="799" y="894"/>
                      <a:pt x="799" y="899"/>
                      <a:pt x="798" y="903"/>
                    </a:cubicBezTo>
                    <a:cubicBezTo>
                      <a:pt x="795" y="909"/>
                      <a:pt x="788" y="914"/>
                      <a:pt x="777" y="915"/>
                    </a:cubicBezTo>
                    <a:cubicBezTo>
                      <a:pt x="762" y="917"/>
                      <a:pt x="756" y="923"/>
                      <a:pt x="750" y="931"/>
                    </a:cubicBezTo>
                    <a:cubicBezTo>
                      <a:pt x="749" y="932"/>
                      <a:pt x="748" y="932"/>
                      <a:pt x="748" y="933"/>
                    </a:cubicBezTo>
                    <a:cubicBezTo>
                      <a:pt x="745" y="936"/>
                      <a:pt x="743" y="938"/>
                      <a:pt x="741" y="939"/>
                    </a:cubicBezTo>
                    <a:cubicBezTo>
                      <a:pt x="737" y="944"/>
                      <a:pt x="733" y="947"/>
                      <a:pt x="732" y="953"/>
                    </a:cubicBezTo>
                    <a:cubicBezTo>
                      <a:pt x="731" y="958"/>
                      <a:pt x="729" y="961"/>
                      <a:pt x="726" y="962"/>
                    </a:cubicBezTo>
                    <a:cubicBezTo>
                      <a:pt x="722" y="964"/>
                      <a:pt x="717" y="963"/>
                      <a:pt x="713" y="961"/>
                    </a:cubicBezTo>
                    <a:cubicBezTo>
                      <a:pt x="711" y="960"/>
                      <a:pt x="710" y="960"/>
                      <a:pt x="709" y="961"/>
                    </a:cubicBezTo>
                    <a:cubicBezTo>
                      <a:pt x="708" y="962"/>
                      <a:pt x="709" y="968"/>
                      <a:pt x="709" y="971"/>
                    </a:cubicBezTo>
                    <a:cubicBezTo>
                      <a:pt x="709" y="973"/>
                      <a:pt x="709" y="973"/>
                      <a:pt x="709" y="973"/>
                    </a:cubicBezTo>
                    <a:cubicBezTo>
                      <a:pt x="709" y="976"/>
                      <a:pt x="710" y="978"/>
                      <a:pt x="712" y="979"/>
                    </a:cubicBezTo>
                    <a:cubicBezTo>
                      <a:pt x="713" y="980"/>
                      <a:pt x="715" y="980"/>
                      <a:pt x="717" y="979"/>
                    </a:cubicBezTo>
                    <a:cubicBezTo>
                      <a:pt x="718" y="979"/>
                      <a:pt x="719" y="978"/>
                      <a:pt x="720" y="978"/>
                    </a:cubicBezTo>
                    <a:cubicBezTo>
                      <a:pt x="725" y="976"/>
                      <a:pt x="731" y="974"/>
                      <a:pt x="737" y="969"/>
                    </a:cubicBezTo>
                    <a:cubicBezTo>
                      <a:pt x="746" y="960"/>
                      <a:pt x="755" y="957"/>
                      <a:pt x="762" y="959"/>
                    </a:cubicBezTo>
                    <a:cubicBezTo>
                      <a:pt x="763" y="959"/>
                      <a:pt x="764" y="959"/>
                      <a:pt x="765" y="960"/>
                    </a:cubicBezTo>
                    <a:cubicBezTo>
                      <a:pt x="771" y="961"/>
                      <a:pt x="777" y="963"/>
                      <a:pt x="780" y="971"/>
                    </a:cubicBezTo>
                    <a:cubicBezTo>
                      <a:pt x="783" y="979"/>
                      <a:pt x="786" y="981"/>
                      <a:pt x="790" y="984"/>
                    </a:cubicBezTo>
                    <a:cubicBezTo>
                      <a:pt x="796" y="986"/>
                      <a:pt x="801" y="988"/>
                      <a:pt x="806" y="988"/>
                    </a:cubicBezTo>
                    <a:cubicBezTo>
                      <a:pt x="808" y="988"/>
                      <a:pt x="811" y="988"/>
                      <a:pt x="814" y="988"/>
                    </a:cubicBezTo>
                    <a:cubicBezTo>
                      <a:pt x="821" y="988"/>
                      <a:pt x="825" y="988"/>
                      <a:pt x="826" y="990"/>
                    </a:cubicBezTo>
                    <a:cubicBezTo>
                      <a:pt x="829" y="993"/>
                      <a:pt x="827" y="995"/>
                      <a:pt x="825" y="997"/>
                    </a:cubicBezTo>
                    <a:cubicBezTo>
                      <a:pt x="824" y="997"/>
                      <a:pt x="824" y="998"/>
                      <a:pt x="823" y="999"/>
                    </a:cubicBezTo>
                    <a:cubicBezTo>
                      <a:pt x="821" y="1001"/>
                      <a:pt x="818" y="1002"/>
                      <a:pt x="816" y="1003"/>
                    </a:cubicBezTo>
                    <a:cubicBezTo>
                      <a:pt x="814" y="1004"/>
                      <a:pt x="812" y="1005"/>
                      <a:pt x="811" y="1007"/>
                    </a:cubicBezTo>
                    <a:cubicBezTo>
                      <a:pt x="809" y="1010"/>
                      <a:pt x="807" y="1012"/>
                      <a:pt x="805" y="1015"/>
                    </a:cubicBezTo>
                    <a:cubicBezTo>
                      <a:pt x="803" y="1016"/>
                      <a:pt x="801" y="1018"/>
                      <a:pt x="800" y="1020"/>
                    </a:cubicBezTo>
                    <a:cubicBezTo>
                      <a:pt x="796" y="1025"/>
                      <a:pt x="793" y="1026"/>
                      <a:pt x="789" y="1027"/>
                    </a:cubicBezTo>
                    <a:cubicBezTo>
                      <a:pt x="787" y="1028"/>
                      <a:pt x="786" y="1028"/>
                      <a:pt x="784" y="1029"/>
                    </a:cubicBezTo>
                    <a:cubicBezTo>
                      <a:pt x="782" y="1030"/>
                      <a:pt x="781" y="1031"/>
                      <a:pt x="781" y="1031"/>
                    </a:cubicBezTo>
                    <a:cubicBezTo>
                      <a:pt x="781" y="1032"/>
                      <a:pt x="782" y="1032"/>
                      <a:pt x="782" y="1032"/>
                    </a:cubicBezTo>
                    <a:cubicBezTo>
                      <a:pt x="782" y="1032"/>
                      <a:pt x="784" y="1032"/>
                      <a:pt x="785" y="1032"/>
                    </a:cubicBezTo>
                    <a:cubicBezTo>
                      <a:pt x="788" y="1031"/>
                      <a:pt x="791" y="1031"/>
                      <a:pt x="792" y="1029"/>
                    </a:cubicBezTo>
                    <a:cubicBezTo>
                      <a:pt x="794" y="1027"/>
                      <a:pt x="796" y="1026"/>
                      <a:pt x="798" y="1025"/>
                    </a:cubicBezTo>
                    <a:cubicBezTo>
                      <a:pt x="799" y="1024"/>
                      <a:pt x="800" y="1024"/>
                      <a:pt x="801" y="1023"/>
                    </a:cubicBezTo>
                    <a:cubicBezTo>
                      <a:pt x="801" y="1022"/>
                      <a:pt x="802" y="1022"/>
                      <a:pt x="802" y="1021"/>
                    </a:cubicBezTo>
                    <a:cubicBezTo>
                      <a:pt x="803" y="1019"/>
                      <a:pt x="805" y="1016"/>
                      <a:pt x="809" y="1014"/>
                    </a:cubicBezTo>
                    <a:cubicBezTo>
                      <a:pt x="813" y="1013"/>
                      <a:pt x="816" y="1014"/>
                      <a:pt x="818" y="1016"/>
                    </a:cubicBezTo>
                    <a:cubicBezTo>
                      <a:pt x="820" y="1017"/>
                      <a:pt x="821" y="1020"/>
                      <a:pt x="820" y="1023"/>
                    </a:cubicBezTo>
                    <a:cubicBezTo>
                      <a:pt x="819" y="1025"/>
                      <a:pt x="819" y="1026"/>
                      <a:pt x="819" y="1029"/>
                    </a:cubicBezTo>
                    <a:cubicBezTo>
                      <a:pt x="818" y="1030"/>
                      <a:pt x="818" y="1033"/>
                      <a:pt x="818" y="1036"/>
                    </a:cubicBezTo>
                    <a:cubicBezTo>
                      <a:pt x="817" y="1040"/>
                      <a:pt x="819" y="1043"/>
                      <a:pt x="821" y="1046"/>
                    </a:cubicBezTo>
                    <a:cubicBezTo>
                      <a:pt x="823" y="1048"/>
                      <a:pt x="825" y="1051"/>
                      <a:pt x="823" y="1054"/>
                    </a:cubicBezTo>
                    <a:cubicBezTo>
                      <a:pt x="819" y="1058"/>
                      <a:pt x="814" y="1058"/>
                      <a:pt x="808" y="1058"/>
                    </a:cubicBezTo>
                    <a:cubicBezTo>
                      <a:pt x="806" y="1058"/>
                      <a:pt x="805" y="1058"/>
                      <a:pt x="803" y="1059"/>
                    </a:cubicBezTo>
                    <a:cubicBezTo>
                      <a:pt x="801" y="1059"/>
                      <a:pt x="798" y="1060"/>
                      <a:pt x="795" y="1056"/>
                    </a:cubicBezTo>
                    <a:cubicBezTo>
                      <a:pt x="794" y="1055"/>
                      <a:pt x="793" y="1055"/>
                      <a:pt x="792" y="1056"/>
                    </a:cubicBezTo>
                    <a:cubicBezTo>
                      <a:pt x="788" y="1057"/>
                      <a:pt x="784" y="1061"/>
                      <a:pt x="784" y="1063"/>
                    </a:cubicBezTo>
                    <a:cubicBezTo>
                      <a:pt x="784" y="1063"/>
                      <a:pt x="784" y="1063"/>
                      <a:pt x="784" y="1063"/>
                    </a:cubicBezTo>
                    <a:cubicBezTo>
                      <a:pt x="784" y="1063"/>
                      <a:pt x="786" y="1063"/>
                      <a:pt x="787" y="1063"/>
                    </a:cubicBezTo>
                    <a:cubicBezTo>
                      <a:pt x="789" y="1063"/>
                      <a:pt x="791" y="1062"/>
                      <a:pt x="793" y="1062"/>
                    </a:cubicBezTo>
                    <a:cubicBezTo>
                      <a:pt x="800" y="1062"/>
                      <a:pt x="801" y="1068"/>
                      <a:pt x="802" y="1072"/>
                    </a:cubicBezTo>
                    <a:cubicBezTo>
                      <a:pt x="803" y="1074"/>
                      <a:pt x="803" y="1075"/>
                      <a:pt x="804" y="1077"/>
                    </a:cubicBezTo>
                    <a:cubicBezTo>
                      <a:pt x="805" y="1081"/>
                      <a:pt x="805" y="1082"/>
                      <a:pt x="804" y="1084"/>
                    </a:cubicBezTo>
                    <a:cubicBezTo>
                      <a:pt x="803" y="1085"/>
                      <a:pt x="802" y="1086"/>
                      <a:pt x="803" y="1091"/>
                    </a:cubicBezTo>
                    <a:cubicBezTo>
                      <a:pt x="804" y="1099"/>
                      <a:pt x="799" y="1100"/>
                      <a:pt x="796" y="1101"/>
                    </a:cubicBezTo>
                    <a:cubicBezTo>
                      <a:pt x="794" y="1102"/>
                      <a:pt x="793" y="1103"/>
                      <a:pt x="792" y="1104"/>
                    </a:cubicBezTo>
                    <a:cubicBezTo>
                      <a:pt x="792" y="1106"/>
                      <a:pt x="792" y="1107"/>
                      <a:pt x="795" y="1109"/>
                    </a:cubicBezTo>
                    <a:cubicBezTo>
                      <a:pt x="798" y="1111"/>
                      <a:pt x="801" y="1114"/>
                      <a:pt x="801" y="1118"/>
                    </a:cubicBezTo>
                    <a:cubicBezTo>
                      <a:pt x="802" y="1121"/>
                      <a:pt x="803" y="1124"/>
                      <a:pt x="804" y="1126"/>
                    </a:cubicBezTo>
                    <a:cubicBezTo>
                      <a:pt x="806" y="1130"/>
                      <a:pt x="808" y="1133"/>
                      <a:pt x="807" y="1137"/>
                    </a:cubicBezTo>
                    <a:cubicBezTo>
                      <a:pt x="807" y="1139"/>
                      <a:pt x="806" y="1142"/>
                      <a:pt x="803" y="1143"/>
                    </a:cubicBezTo>
                    <a:cubicBezTo>
                      <a:pt x="800" y="1144"/>
                      <a:pt x="797" y="1142"/>
                      <a:pt x="794" y="1140"/>
                    </a:cubicBezTo>
                    <a:cubicBezTo>
                      <a:pt x="793" y="1139"/>
                      <a:pt x="793" y="1139"/>
                      <a:pt x="792" y="1139"/>
                    </a:cubicBezTo>
                    <a:cubicBezTo>
                      <a:pt x="791" y="1139"/>
                      <a:pt x="789" y="1144"/>
                      <a:pt x="788" y="1148"/>
                    </a:cubicBezTo>
                    <a:cubicBezTo>
                      <a:pt x="787" y="1152"/>
                      <a:pt x="787" y="1152"/>
                      <a:pt x="787" y="1152"/>
                    </a:cubicBezTo>
                    <a:cubicBezTo>
                      <a:pt x="784" y="1160"/>
                      <a:pt x="780" y="1165"/>
                      <a:pt x="775" y="1167"/>
                    </a:cubicBezTo>
                    <a:cubicBezTo>
                      <a:pt x="773" y="1168"/>
                      <a:pt x="772" y="1168"/>
                      <a:pt x="770" y="1167"/>
                    </a:cubicBezTo>
                    <a:cubicBezTo>
                      <a:pt x="769" y="1166"/>
                      <a:pt x="768" y="1165"/>
                      <a:pt x="767" y="1163"/>
                    </a:cubicBezTo>
                    <a:cubicBezTo>
                      <a:pt x="766" y="1160"/>
                      <a:pt x="768" y="1156"/>
                      <a:pt x="772" y="1149"/>
                    </a:cubicBezTo>
                    <a:cubicBezTo>
                      <a:pt x="774" y="1146"/>
                      <a:pt x="774" y="1141"/>
                      <a:pt x="773" y="1139"/>
                    </a:cubicBezTo>
                    <a:cubicBezTo>
                      <a:pt x="772" y="1139"/>
                      <a:pt x="772" y="1139"/>
                      <a:pt x="771" y="1139"/>
                    </a:cubicBezTo>
                    <a:cubicBezTo>
                      <a:pt x="767" y="1140"/>
                      <a:pt x="767" y="1142"/>
                      <a:pt x="767" y="1149"/>
                    </a:cubicBezTo>
                    <a:cubicBezTo>
                      <a:pt x="767" y="1154"/>
                      <a:pt x="765" y="1156"/>
                      <a:pt x="764" y="1159"/>
                    </a:cubicBezTo>
                    <a:cubicBezTo>
                      <a:pt x="762" y="1161"/>
                      <a:pt x="761" y="1162"/>
                      <a:pt x="760" y="1165"/>
                    </a:cubicBezTo>
                    <a:cubicBezTo>
                      <a:pt x="758" y="1173"/>
                      <a:pt x="753" y="1174"/>
                      <a:pt x="751" y="1174"/>
                    </a:cubicBezTo>
                    <a:cubicBezTo>
                      <a:pt x="750" y="1174"/>
                      <a:pt x="749" y="1174"/>
                      <a:pt x="749" y="1174"/>
                    </a:cubicBezTo>
                    <a:cubicBezTo>
                      <a:pt x="749" y="1174"/>
                      <a:pt x="749" y="1175"/>
                      <a:pt x="749" y="1176"/>
                    </a:cubicBezTo>
                    <a:cubicBezTo>
                      <a:pt x="749" y="1177"/>
                      <a:pt x="749" y="1180"/>
                      <a:pt x="748" y="1182"/>
                    </a:cubicBezTo>
                    <a:cubicBezTo>
                      <a:pt x="747" y="1184"/>
                      <a:pt x="746" y="1186"/>
                      <a:pt x="745" y="1187"/>
                    </a:cubicBezTo>
                    <a:cubicBezTo>
                      <a:pt x="742" y="1192"/>
                      <a:pt x="739" y="1197"/>
                      <a:pt x="738" y="1202"/>
                    </a:cubicBezTo>
                    <a:cubicBezTo>
                      <a:pt x="738" y="1207"/>
                      <a:pt x="735" y="1209"/>
                      <a:pt x="734" y="1211"/>
                    </a:cubicBezTo>
                    <a:cubicBezTo>
                      <a:pt x="733" y="1212"/>
                      <a:pt x="733" y="1212"/>
                      <a:pt x="732" y="1212"/>
                    </a:cubicBezTo>
                    <a:cubicBezTo>
                      <a:pt x="732" y="1212"/>
                      <a:pt x="732" y="1212"/>
                      <a:pt x="732" y="1212"/>
                    </a:cubicBezTo>
                    <a:cubicBezTo>
                      <a:pt x="733" y="1212"/>
                      <a:pt x="733" y="1213"/>
                      <a:pt x="734" y="1214"/>
                    </a:cubicBezTo>
                    <a:cubicBezTo>
                      <a:pt x="740" y="1220"/>
                      <a:pt x="740" y="1223"/>
                      <a:pt x="737" y="1229"/>
                    </a:cubicBezTo>
                    <a:cubicBezTo>
                      <a:pt x="736" y="1230"/>
                      <a:pt x="736" y="1231"/>
                      <a:pt x="735" y="1232"/>
                    </a:cubicBezTo>
                    <a:cubicBezTo>
                      <a:pt x="733" y="1235"/>
                      <a:pt x="730" y="1240"/>
                      <a:pt x="730" y="1246"/>
                    </a:cubicBezTo>
                    <a:cubicBezTo>
                      <a:pt x="730" y="1256"/>
                      <a:pt x="720" y="1259"/>
                      <a:pt x="715" y="1261"/>
                    </a:cubicBezTo>
                    <a:cubicBezTo>
                      <a:pt x="712" y="1261"/>
                      <a:pt x="711" y="1265"/>
                      <a:pt x="710" y="1268"/>
                    </a:cubicBezTo>
                    <a:cubicBezTo>
                      <a:pt x="709" y="1271"/>
                      <a:pt x="707" y="1275"/>
                      <a:pt x="704" y="1275"/>
                    </a:cubicBezTo>
                    <a:cubicBezTo>
                      <a:pt x="701" y="1276"/>
                      <a:pt x="698" y="1277"/>
                      <a:pt x="697" y="1279"/>
                    </a:cubicBezTo>
                    <a:cubicBezTo>
                      <a:pt x="697" y="1279"/>
                      <a:pt x="697" y="1280"/>
                      <a:pt x="697" y="1280"/>
                    </a:cubicBezTo>
                    <a:cubicBezTo>
                      <a:pt x="698" y="1282"/>
                      <a:pt x="699" y="1282"/>
                      <a:pt x="700" y="1283"/>
                    </a:cubicBezTo>
                    <a:cubicBezTo>
                      <a:pt x="701" y="1284"/>
                      <a:pt x="702" y="1284"/>
                      <a:pt x="703" y="1285"/>
                    </a:cubicBezTo>
                    <a:cubicBezTo>
                      <a:pt x="705" y="1289"/>
                      <a:pt x="706" y="1292"/>
                      <a:pt x="706" y="1296"/>
                    </a:cubicBezTo>
                    <a:cubicBezTo>
                      <a:pt x="705" y="1300"/>
                      <a:pt x="700" y="1303"/>
                      <a:pt x="696" y="1305"/>
                    </a:cubicBezTo>
                    <a:cubicBezTo>
                      <a:pt x="695" y="1306"/>
                      <a:pt x="693" y="1307"/>
                      <a:pt x="692" y="1308"/>
                    </a:cubicBezTo>
                    <a:cubicBezTo>
                      <a:pt x="685" y="1315"/>
                      <a:pt x="682" y="1315"/>
                      <a:pt x="681" y="1314"/>
                    </a:cubicBezTo>
                    <a:cubicBezTo>
                      <a:pt x="680" y="1314"/>
                      <a:pt x="680" y="1314"/>
                      <a:pt x="680" y="1314"/>
                    </a:cubicBezTo>
                    <a:cubicBezTo>
                      <a:pt x="681" y="1315"/>
                      <a:pt x="681" y="1316"/>
                      <a:pt x="681" y="1317"/>
                    </a:cubicBezTo>
                    <a:cubicBezTo>
                      <a:pt x="682" y="1319"/>
                      <a:pt x="682" y="1320"/>
                      <a:pt x="681" y="1321"/>
                    </a:cubicBezTo>
                    <a:cubicBezTo>
                      <a:pt x="683" y="1320"/>
                      <a:pt x="686" y="1320"/>
                      <a:pt x="688" y="1320"/>
                    </a:cubicBezTo>
                    <a:cubicBezTo>
                      <a:pt x="690" y="1321"/>
                      <a:pt x="692" y="1323"/>
                      <a:pt x="692" y="1326"/>
                    </a:cubicBezTo>
                    <a:cubicBezTo>
                      <a:pt x="693" y="1333"/>
                      <a:pt x="685" y="1335"/>
                      <a:pt x="678" y="1337"/>
                    </a:cubicBezTo>
                    <a:cubicBezTo>
                      <a:pt x="677" y="1338"/>
                      <a:pt x="676" y="1338"/>
                      <a:pt x="675" y="1338"/>
                    </a:cubicBezTo>
                    <a:cubicBezTo>
                      <a:pt x="669" y="1341"/>
                      <a:pt x="663" y="1351"/>
                      <a:pt x="662" y="1356"/>
                    </a:cubicBezTo>
                    <a:cubicBezTo>
                      <a:pt x="663" y="1356"/>
                      <a:pt x="664" y="1356"/>
                      <a:pt x="665" y="1356"/>
                    </a:cubicBezTo>
                    <a:cubicBezTo>
                      <a:pt x="668" y="1355"/>
                      <a:pt x="675" y="1354"/>
                      <a:pt x="677" y="1360"/>
                    </a:cubicBezTo>
                    <a:cubicBezTo>
                      <a:pt x="678" y="1364"/>
                      <a:pt x="677" y="1367"/>
                      <a:pt x="675" y="1369"/>
                    </a:cubicBezTo>
                    <a:cubicBezTo>
                      <a:pt x="674" y="1371"/>
                      <a:pt x="673" y="1374"/>
                      <a:pt x="673" y="1380"/>
                    </a:cubicBezTo>
                    <a:cubicBezTo>
                      <a:pt x="673" y="1388"/>
                      <a:pt x="668" y="1390"/>
                      <a:pt x="665" y="1391"/>
                    </a:cubicBezTo>
                    <a:cubicBezTo>
                      <a:pt x="663" y="1391"/>
                      <a:pt x="662" y="1392"/>
                      <a:pt x="662" y="1393"/>
                    </a:cubicBezTo>
                    <a:cubicBezTo>
                      <a:pt x="662" y="1395"/>
                      <a:pt x="662" y="1395"/>
                      <a:pt x="662" y="1395"/>
                    </a:cubicBezTo>
                    <a:cubicBezTo>
                      <a:pt x="662" y="1395"/>
                      <a:pt x="663" y="1395"/>
                      <a:pt x="663" y="1395"/>
                    </a:cubicBezTo>
                    <a:cubicBezTo>
                      <a:pt x="665" y="1396"/>
                      <a:pt x="668" y="1396"/>
                      <a:pt x="669" y="1399"/>
                    </a:cubicBezTo>
                    <a:cubicBezTo>
                      <a:pt x="670" y="1400"/>
                      <a:pt x="671" y="1401"/>
                      <a:pt x="672" y="1402"/>
                    </a:cubicBezTo>
                    <a:cubicBezTo>
                      <a:pt x="675" y="1405"/>
                      <a:pt x="678" y="1410"/>
                      <a:pt x="678" y="1415"/>
                    </a:cubicBezTo>
                    <a:cubicBezTo>
                      <a:pt x="678" y="1417"/>
                      <a:pt x="678" y="1420"/>
                      <a:pt x="676" y="1421"/>
                    </a:cubicBezTo>
                    <a:cubicBezTo>
                      <a:pt x="674" y="1423"/>
                      <a:pt x="671" y="1421"/>
                      <a:pt x="668" y="1420"/>
                    </a:cubicBezTo>
                    <a:cubicBezTo>
                      <a:pt x="667" y="1419"/>
                      <a:pt x="667" y="1419"/>
                      <a:pt x="667" y="1419"/>
                    </a:cubicBezTo>
                    <a:cubicBezTo>
                      <a:pt x="666" y="1419"/>
                      <a:pt x="665" y="1418"/>
                      <a:pt x="665" y="1418"/>
                    </a:cubicBezTo>
                    <a:cubicBezTo>
                      <a:pt x="660" y="1416"/>
                      <a:pt x="659" y="1415"/>
                      <a:pt x="658" y="1410"/>
                    </a:cubicBezTo>
                    <a:cubicBezTo>
                      <a:pt x="658" y="1410"/>
                      <a:pt x="658" y="1410"/>
                      <a:pt x="657" y="1409"/>
                    </a:cubicBezTo>
                    <a:cubicBezTo>
                      <a:pt x="655" y="1409"/>
                      <a:pt x="649" y="1411"/>
                      <a:pt x="645" y="1413"/>
                    </a:cubicBezTo>
                    <a:cubicBezTo>
                      <a:pt x="641" y="1416"/>
                      <a:pt x="639" y="1418"/>
                      <a:pt x="639" y="1419"/>
                    </a:cubicBezTo>
                    <a:cubicBezTo>
                      <a:pt x="639" y="1419"/>
                      <a:pt x="640" y="1420"/>
                      <a:pt x="641" y="1420"/>
                    </a:cubicBezTo>
                    <a:cubicBezTo>
                      <a:pt x="643" y="1421"/>
                      <a:pt x="643" y="1421"/>
                      <a:pt x="643" y="1421"/>
                    </a:cubicBezTo>
                    <a:cubicBezTo>
                      <a:pt x="650" y="1423"/>
                      <a:pt x="654" y="1425"/>
                      <a:pt x="653" y="1433"/>
                    </a:cubicBezTo>
                    <a:cubicBezTo>
                      <a:pt x="652" y="1440"/>
                      <a:pt x="646" y="1440"/>
                      <a:pt x="642" y="1440"/>
                    </a:cubicBezTo>
                    <a:cubicBezTo>
                      <a:pt x="642" y="1440"/>
                      <a:pt x="641" y="1440"/>
                      <a:pt x="641" y="1440"/>
                    </a:cubicBezTo>
                    <a:cubicBezTo>
                      <a:pt x="641" y="1440"/>
                      <a:pt x="641" y="1440"/>
                      <a:pt x="641" y="1440"/>
                    </a:cubicBezTo>
                    <a:cubicBezTo>
                      <a:pt x="640" y="1440"/>
                      <a:pt x="640" y="1440"/>
                      <a:pt x="640" y="1440"/>
                    </a:cubicBezTo>
                    <a:cubicBezTo>
                      <a:pt x="640" y="1442"/>
                      <a:pt x="639" y="1444"/>
                      <a:pt x="636" y="1444"/>
                    </a:cubicBezTo>
                    <a:cubicBezTo>
                      <a:pt x="635" y="1445"/>
                      <a:pt x="635" y="1445"/>
                      <a:pt x="635" y="1445"/>
                    </a:cubicBezTo>
                    <a:cubicBezTo>
                      <a:pt x="633" y="1445"/>
                      <a:pt x="630" y="1446"/>
                      <a:pt x="628" y="1444"/>
                    </a:cubicBezTo>
                    <a:cubicBezTo>
                      <a:pt x="626" y="1443"/>
                      <a:pt x="625" y="1441"/>
                      <a:pt x="625" y="1438"/>
                    </a:cubicBezTo>
                    <a:cubicBezTo>
                      <a:pt x="624" y="1436"/>
                      <a:pt x="624" y="1436"/>
                      <a:pt x="623" y="1436"/>
                    </a:cubicBezTo>
                    <a:cubicBezTo>
                      <a:pt x="623" y="1435"/>
                      <a:pt x="622" y="1436"/>
                      <a:pt x="622" y="1436"/>
                    </a:cubicBezTo>
                    <a:cubicBezTo>
                      <a:pt x="623" y="1438"/>
                      <a:pt x="624" y="1440"/>
                      <a:pt x="623" y="1442"/>
                    </a:cubicBezTo>
                    <a:cubicBezTo>
                      <a:pt x="622" y="1444"/>
                      <a:pt x="621" y="1446"/>
                      <a:pt x="618" y="1447"/>
                    </a:cubicBezTo>
                    <a:cubicBezTo>
                      <a:pt x="617" y="1447"/>
                      <a:pt x="617" y="1448"/>
                      <a:pt x="617" y="1449"/>
                    </a:cubicBezTo>
                    <a:cubicBezTo>
                      <a:pt x="617" y="1450"/>
                      <a:pt x="617" y="1451"/>
                      <a:pt x="620" y="1450"/>
                    </a:cubicBezTo>
                    <a:cubicBezTo>
                      <a:pt x="624" y="1450"/>
                      <a:pt x="627" y="1449"/>
                      <a:pt x="629" y="1451"/>
                    </a:cubicBezTo>
                    <a:cubicBezTo>
                      <a:pt x="630" y="1453"/>
                      <a:pt x="629" y="1456"/>
                      <a:pt x="628" y="1459"/>
                    </a:cubicBezTo>
                    <a:cubicBezTo>
                      <a:pt x="626" y="1464"/>
                      <a:pt x="624" y="1465"/>
                      <a:pt x="621" y="1466"/>
                    </a:cubicBezTo>
                    <a:cubicBezTo>
                      <a:pt x="620" y="1466"/>
                      <a:pt x="619" y="1466"/>
                      <a:pt x="617" y="1468"/>
                    </a:cubicBezTo>
                    <a:cubicBezTo>
                      <a:pt x="614" y="1472"/>
                      <a:pt x="609" y="1471"/>
                      <a:pt x="606" y="1471"/>
                    </a:cubicBezTo>
                    <a:cubicBezTo>
                      <a:pt x="604" y="1470"/>
                      <a:pt x="602" y="1470"/>
                      <a:pt x="602" y="1470"/>
                    </a:cubicBezTo>
                    <a:cubicBezTo>
                      <a:pt x="601" y="1471"/>
                      <a:pt x="601" y="1472"/>
                      <a:pt x="601" y="1472"/>
                    </a:cubicBezTo>
                    <a:cubicBezTo>
                      <a:pt x="602" y="1472"/>
                      <a:pt x="604" y="1472"/>
                      <a:pt x="605" y="1472"/>
                    </a:cubicBezTo>
                    <a:cubicBezTo>
                      <a:pt x="605" y="1471"/>
                      <a:pt x="606" y="1471"/>
                      <a:pt x="607" y="1471"/>
                    </a:cubicBezTo>
                    <a:cubicBezTo>
                      <a:pt x="609" y="1471"/>
                      <a:pt x="611" y="1472"/>
                      <a:pt x="612" y="1474"/>
                    </a:cubicBezTo>
                    <a:cubicBezTo>
                      <a:pt x="614" y="1477"/>
                      <a:pt x="612" y="1480"/>
                      <a:pt x="610" y="1485"/>
                    </a:cubicBezTo>
                    <a:cubicBezTo>
                      <a:pt x="604" y="1498"/>
                      <a:pt x="600" y="1498"/>
                      <a:pt x="598" y="1498"/>
                    </a:cubicBezTo>
                    <a:cubicBezTo>
                      <a:pt x="598" y="1498"/>
                      <a:pt x="596" y="1498"/>
                      <a:pt x="594" y="1496"/>
                    </a:cubicBezTo>
                    <a:cubicBezTo>
                      <a:pt x="593" y="1493"/>
                      <a:pt x="590" y="1494"/>
                      <a:pt x="584" y="1496"/>
                    </a:cubicBezTo>
                    <a:cubicBezTo>
                      <a:pt x="585" y="1496"/>
                      <a:pt x="587" y="1498"/>
                      <a:pt x="588" y="1499"/>
                    </a:cubicBezTo>
                    <a:cubicBezTo>
                      <a:pt x="588" y="1499"/>
                      <a:pt x="588" y="1499"/>
                      <a:pt x="588" y="1499"/>
                    </a:cubicBezTo>
                    <a:cubicBezTo>
                      <a:pt x="589" y="1500"/>
                      <a:pt x="591" y="1502"/>
                      <a:pt x="590" y="1505"/>
                    </a:cubicBezTo>
                    <a:cubicBezTo>
                      <a:pt x="589" y="1508"/>
                      <a:pt x="588" y="1509"/>
                      <a:pt x="587" y="1511"/>
                    </a:cubicBezTo>
                    <a:cubicBezTo>
                      <a:pt x="586" y="1512"/>
                      <a:pt x="584" y="1513"/>
                      <a:pt x="582" y="1512"/>
                    </a:cubicBezTo>
                    <a:cubicBezTo>
                      <a:pt x="581" y="1511"/>
                      <a:pt x="580" y="1510"/>
                      <a:pt x="580" y="1507"/>
                    </a:cubicBezTo>
                    <a:cubicBezTo>
                      <a:pt x="580" y="1507"/>
                      <a:pt x="580" y="1507"/>
                      <a:pt x="580" y="1507"/>
                    </a:cubicBezTo>
                    <a:cubicBezTo>
                      <a:pt x="580" y="1506"/>
                      <a:pt x="579" y="1505"/>
                      <a:pt x="579" y="1505"/>
                    </a:cubicBezTo>
                    <a:cubicBezTo>
                      <a:pt x="579" y="1504"/>
                      <a:pt x="579" y="1503"/>
                      <a:pt x="580" y="1503"/>
                    </a:cubicBezTo>
                    <a:cubicBezTo>
                      <a:pt x="580" y="1502"/>
                      <a:pt x="580" y="1502"/>
                      <a:pt x="581" y="1501"/>
                    </a:cubicBezTo>
                    <a:cubicBezTo>
                      <a:pt x="581" y="1500"/>
                      <a:pt x="581" y="1499"/>
                      <a:pt x="581" y="1499"/>
                    </a:cubicBezTo>
                    <a:cubicBezTo>
                      <a:pt x="581" y="1498"/>
                      <a:pt x="581" y="1497"/>
                      <a:pt x="582" y="1497"/>
                    </a:cubicBezTo>
                    <a:cubicBezTo>
                      <a:pt x="582" y="1497"/>
                      <a:pt x="581" y="1497"/>
                      <a:pt x="581" y="1497"/>
                    </a:cubicBezTo>
                    <a:cubicBezTo>
                      <a:pt x="577" y="1499"/>
                      <a:pt x="571" y="1501"/>
                      <a:pt x="567" y="1499"/>
                    </a:cubicBezTo>
                    <a:cubicBezTo>
                      <a:pt x="565" y="1498"/>
                      <a:pt x="564" y="1496"/>
                      <a:pt x="564" y="1494"/>
                    </a:cubicBezTo>
                    <a:cubicBezTo>
                      <a:pt x="564" y="1493"/>
                      <a:pt x="564" y="1493"/>
                      <a:pt x="564" y="1493"/>
                    </a:cubicBezTo>
                    <a:cubicBezTo>
                      <a:pt x="564" y="1493"/>
                      <a:pt x="563" y="1493"/>
                      <a:pt x="563" y="1493"/>
                    </a:cubicBezTo>
                    <a:cubicBezTo>
                      <a:pt x="562" y="1493"/>
                      <a:pt x="562" y="1494"/>
                      <a:pt x="562" y="1495"/>
                    </a:cubicBezTo>
                    <a:cubicBezTo>
                      <a:pt x="562" y="1496"/>
                      <a:pt x="563" y="1497"/>
                      <a:pt x="563" y="1498"/>
                    </a:cubicBezTo>
                    <a:cubicBezTo>
                      <a:pt x="563" y="1502"/>
                      <a:pt x="564" y="1505"/>
                      <a:pt x="562" y="1507"/>
                    </a:cubicBezTo>
                    <a:cubicBezTo>
                      <a:pt x="561" y="1509"/>
                      <a:pt x="560" y="1509"/>
                      <a:pt x="558" y="1509"/>
                    </a:cubicBezTo>
                    <a:cubicBezTo>
                      <a:pt x="547" y="1511"/>
                      <a:pt x="544" y="1512"/>
                      <a:pt x="543" y="1513"/>
                    </a:cubicBezTo>
                    <a:cubicBezTo>
                      <a:pt x="543" y="1513"/>
                      <a:pt x="543" y="1513"/>
                      <a:pt x="543" y="1513"/>
                    </a:cubicBezTo>
                    <a:cubicBezTo>
                      <a:pt x="544" y="1514"/>
                      <a:pt x="546" y="1514"/>
                      <a:pt x="550" y="1513"/>
                    </a:cubicBezTo>
                    <a:cubicBezTo>
                      <a:pt x="556" y="1512"/>
                      <a:pt x="559" y="1514"/>
                      <a:pt x="562" y="1516"/>
                    </a:cubicBezTo>
                    <a:cubicBezTo>
                      <a:pt x="563" y="1516"/>
                      <a:pt x="563" y="1517"/>
                      <a:pt x="564" y="1517"/>
                    </a:cubicBezTo>
                    <a:cubicBezTo>
                      <a:pt x="565" y="1518"/>
                      <a:pt x="566" y="1519"/>
                      <a:pt x="566" y="1521"/>
                    </a:cubicBezTo>
                    <a:cubicBezTo>
                      <a:pt x="565" y="1525"/>
                      <a:pt x="560" y="1531"/>
                      <a:pt x="555" y="1533"/>
                    </a:cubicBezTo>
                    <a:cubicBezTo>
                      <a:pt x="554" y="1534"/>
                      <a:pt x="554" y="1534"/>
                      <a:pt x="554" y="1534"/>
                    </a:cubicBezTo>
                    <a:cubicBezTo>
                      <a:pt x="550" y="1536"/>
                      <a:pt x="550" y="1536"/>
                      <a:pt x="550" y="1539"/>
                    </a:cubicBezTo>
                    <a:cubicBezTo>
                      <a:pt x="550" y="1543"/>
                      <a:pt x="548" y="1546"/>
                      <a:pt x="546" y="1549"/>
                    </a:cubicBezTo>
                    <a:cubicBezTo>
                      <a:pt x="545" y="1550"/>
                      <a:pt x="544" y="1551"/>
                      <a:pt x="543" y="1552"/>
                    </a:cubicBezTo>
                    <a:cubicBezTo>
                      <a:pt x="541" y="1556"/>
                      <a:pt x="537" y="1561"/>
                      <a:pt x="534" y="1561"/>
                    </a:cubicBezTo>
                    <a:cubicBezTo>
                      <a:pt x="533" y="1561"/>
                      <a:pt x="532" y="1560"/>
                      <a:pt x="531" y="1560"/>
                    </a:cubicBezTo>
                    <a:cubicBezTo>
                      <a:pt x="530" y="1558"/>
                      <a:pt x="531" y="1556"/>
                      <a:pt x="532" y="1553"/>
                    </a:cubicBezTo>
                    <a:cubicBezTo>
                      <a:pt x="532" y="1552"/>
                      <a:pt x="533" y="1551"/>
                      <a:pt x="533" y="1550"/>
                    </a:cubicBezTo>
                    <a:cubicBezTo>
                      <a:pt x="533" y="1550"/>
                      <a:pt x="533" y="1550"/>
                      <a:pt x="532" y="1550"/>
                    </a:cubicBezTo>
                    <a:cubicBezTo>
                      <a:pt x="531" y="1551"/>
                      <a:pt x="531" y="1552"/>
                      <a:pt x="531" y="1553"/>
                    </a:cubicBezTo>
                    <a:cubicBezTo>
                      <a:pt x="530" y="1557"/>
                      <a:pt x="527" y="1558"/>
                      <a:pt x="523" y="1559"/>
                    </a:cubicBezTo>
                    <a:cubicBezTo>
                      <a:pt x="520" y="1559"/>
                      <a:pt x="518" y="1560"/>
                      <a:pt x="516" y="1561"/>
                    </a:cubicBezTo>
                    <a:cubicBezTo>
                      <a:pt x="514" y="1562"/>
                      <a:pt x="513" y="1564"/>
                      <a:pt x="511" y="1567"/>
                    </a:cubicBezTo>
                    <a:cubicBezTo>
                      <a:pt x="509" y="1570"/>
                      <a:pt x="507" y="1573"/>
                      <a:pt x="503" y="1574"/>
                    </a:cubicBezTo>
                    <a:cubicBezTo>
                      <a:pt x="500" y="1575"/>
                      <a:pt x="500" y="1576"/>
                      <a:pt x="498" y="1578"/>
                    </a:cubicBezTo>
                    <a:cubicBezTo>
                      <a:pt x="497" y="1580"/>
                      <a:pt x="496" y="1582"/>
                      <a:pt x="494" y="1584"/>
                    </a:cubicBezTo>
                    <a:cubicBezTo>
                      <a:pt x="489" y="1591"/>
                      <a:pt x="487" y="1591"/>
                      <a:pt x="480" y="1589"/>
                    </a:cubicBezTo>
                    <a:cubicBezTo>
                      <a:pt x="478" y="1589"/>
                      <a:pt x="478" y="1589"/>
                      <a:pt x="478" y="1589"/>
                    </a:cubicBezTo>
                    <a:cubicBezTo>
                      <a:pt x="473" y="1588"/>
                      <a:pt x="472" y="1590"/>
                      <a:pt x="469" y="1597"/>
                    </a:cubicBezTo>
                    <a:cubicBezTo>
                      <a:pt x="469" y="1598"/>
                      <a:pt x="469" y="1599"/>
                      <a:pt x="468" y="1600"/>
                    </a:cubicBezTo>
                    <a:cubicBezTo>
                      <a:pt x="466" y="1605"/>
                      <a:pt x="464" y="1609"/>
                      <a:pt x="463" y="1612"/>
                    </a:cubicBezTo>
                    <a:cubicBezTo>
                      <a:pt x="461" y="1615"/>
                      <a:pt x="459" y="1618"/>
                      <a:pt x="458" y="1622"/>
                    </a:cubicBezTo>
                    <a:cubicBezTo>
                      <a:pt x="456" y="1626"/>
                      <a:pt x="453" y="1627"/>
                      <a:pt x="450" y="1628"/>
                    </a:cubicBezTo>
                    <a:cubicBezTo>
                      <a:pt x="446" y="1630"/>
                      <a:pt x="443" y="1631"/>
                      <a:pt x="443" y="1638"/>
                    </a:cubicBezTo>
                    <a:cubicBezTo>
                      <a:pt x="443" y="1647"/>
                      <a:pt x="439" y="1651"/>
                      <a:pt x="436" y="1653"/>
                    </a:cubicBezTo>
                    <a:cubicBezTo>
                      <a:pt x="432" y="1656"/>
                      <a:pt x="427" y="1656"/>
                      <a:pt x="423" y="1654"/>
                    </a:cubicBezTo>
                    <a:cubicBezTo>
                      <a:pt x="420" y="1653"/>
                      <a:pt x="419" y="1654"/>
                      <a:pt x="417" y="1658"/>
                    </a:cubicBezTo>
                    <a:cubicBezTo>
                      <a:pt x="416" y="1658"/>
                      <a:pt x="416" y="1659"/>
                      <a:pt x="415" y="1659"/>
                    </a:cubicBezTo>
                    <a:cubicBezTo>
                      <a:pt x="412" y="1664"/>
                      <a:pt x="409" y="1666"/>
                      <a:pt x="402" y="1666"/>
                    </a:cubicBezTo>
                    <a:cubicBezTo>
                      <a:pt x="397" y="1666"/>
                      <a:pt x="396" y="1666"/>
                      <a:pt x="390" y="1670"/>
                    </a:cubicBezTo>
                    <a:cubicBezTo>
                      <a:pt x="382" y="1675"/>
                      <a:pt x="380" y="1675"/>
                      <a:pt x="376" y="1671"/>
                    </a:cubicBezTo>
                    <a:cubicBezTo>
                      <a:pt x="375" y="1669"/>
                      <a:pt x="373" y="1668"/>
                      <a:pt x="371" y="1666"/>
                    </a:cubicBezTo>
                    <a:cubicBezTo>
                      <a:pt x="368" y="1665"/>
                      <a:pt x="368" y="1665"/>
                      <a:pt x="364" y="1668"/>
                    </a:cubicBezTo>
                    <a:cubicBezTo>
                      <a:pt x="362" y="1669"/>
                      <a:pt x="361" y="1671"/>
                      <a:pt x="361" y="1673"/>
                    </a:cubicBezTo>
                    <a:cubicBezTo>
                      <a:pt x="361" y="1673"/>
                      <a:pt x="361" y="1673"/>
                      <a:pt x="361" y="1673"/>
                    </a:cubicBezTo>
                    <a:cubicBezTo>
                      <a:pt x="362" y="1673"/>
                      <a:pt x="363" y="1673"/>
                      <a:pt x="364" y="1673"/>
                    </a:cubicBezTo>
                    <a:cubicBezTo>
                      <a:pt x="365" y="1675"/>
                      <a:pt x="365" y="1677"/>
                      <a:pt x="365" y="1680"/>
                    </a:cubicBezTo>
                    <a:cubicBezTo>
                      <a:pt x="365" y="1681"/>
                      <a:pt x="365" y="1682"/>
                      <a:pt x="364" y="1683"/>
                    </a:cubicBezTo>
                    <a:cubicBezTo>
                      <a:pt x="362" y="1684"/>
                      <a:pt x="360" y="1684"/>
                      <a:pt x="358" y="1683"/>
                    </a:cubicBezTo>
                    <a:cubicBezTo>
                      <a:pt x="355" y="1683"/>
                      <a:pt x="353" y="1682"/>
                      <a:pt x="350" y="1683"/>
                    </a:cubicBezTo>
                    <a:cubicBezTo>
                      <a:pt x="345" y="1684"/>
                      <a:pt x="341" y="1683"/>
                      <a:pt x="339" y="1680"/>
                    </a:cubicBezTo>
                    <a:cubicBezTo>
                      <a:pt x="339" y="1680"/>
                      <a:pt x="338" y="1677"/>
                      <a:pt x="341" y="1674"/>
                    </a:cubicBezTo>
                    <a:cubicBezTo>
                      <a:pt x="341" y="1674"/>
                      <a:pt x="341" y="1674"/>
                      <a:pt x="341" y="1674"/>
                    </a:cubicBezTo>
                    <a:cubicBezTo>
                      <a:pt x="341" y="1674"/>
                      <a:pt x="340" y="1674"/>
                      <a:pt x="339" y="1674"/>
                    </a:cubicBezTo>
                    <a:cubicBezTo>
                      <a:pt x="335" y="1676"/>
                      <a:pt x="328" y="1676"/>
                      <a:pt x="322" y="1676"/>
                    </a:cubicBezTo>
                    <a:cubicBezTo>
                      <a:pt x="319" y="1676"/>
                      <a:pt x="318" y="1677"/>
                      <a:pt x="317" y="1679"/>
                    </a:cubicBezTo>
                    <a:cubicBezTo>
                      <a:pt x="317" y="1680"/>
                      <a:pt x="317" y="1681"/>
                      <a:pt x="316" y="1682"/>
                    </a:cubicBezTo>
                    <a:cubicBezTo>
                      <a:pt x="315" y="1683"/>
                      <a:pt x="314" y="1684"/>
                      <a:pt x="313" y="1685"/>
                    </a:cubicBezTo>
                    <a:cubicBezTo>
                      <a:pt x="312" y="1687"/>
                      <a:pt x="310" y="1689"/>
                      <a:pt x="309" y="1692"/>
                    </a:cubicBezTo>
                    <a:cubicBezTo>
                      <a:pt x="307" y="1696"/>
                      <a:pt x="304" y="1695"/>
                      <a:pt x="302" y="1695"/>
                    </a:cubicBezTo>
                    <a:cubicBezTo>
                      <a:pt x="300" y="1695"/>
                      <a:pt x="299" y="1694"/>
                      <a:pt x="298" y="1695"/>
                    </a:cubicBezTo>
                    <a:cubicBezTo>
                      <a:pt x="296" y="1696"/>
                      <a:pt x="294" y="1696"/>
                      <a:pt x="292" y="1695"/>
                    </a:cubicBezTo>
                    <a:cubicBezTo>
                      <a:pt x="290" y="1694"/>
                      <a:pt x="290" y="1691"/>
                      <a:pt x="290" y="1687"/>
                    </a:cubicBezTo>
                    <a:cubicBezTo>
                      <a:pt x="290" y="1682"/>
                      <a:pt x="292" y="1679"/>
                      <a:pt x="293" y="1677"/>
                    </a:cubicBezTo>
                    <a:cubicBezTo>
                      <a:pt x="293" y="1677"/>
                      <a:pt x="293" y="1677"/>
                      <a:pt x="293" y="1677"/>
                    </a:cubicBezTo>
                    <a:cubicBezTo>
                      <a:pt x="291" y="1678"/>
                      <a:pt x="287" y="1681"/>
                      <a:pt x="283" y="1682"/>
                    </a:cubicBezTo>
                    <a:cubicBezTo>
                      <a:pt x="282" y="1683"/>
                      <a:pt x="282" y="1683"/>
                      <a:pt x="282" y="1683"/>
                    </a:cubicBezTo>
                    <a:cubicBezTo>
                      <a:pt x="279" y="1684"/>
                      <a:pt x="278" y="1684"/>
                      <a:pt x="277" y="1687"/>
                    </a:cubicBezTo>
                    <a:cubicBezTo>
                      <a:pt x="277" y="1687"/>
                      <a:pt x="277" y="1687"/>
                      <a:pt x="278" y="1688"/>
                    </a:cubicBezTo>
                    <a:cubicBezTo>
                      <a:pt x="278" y="1690"/>
                      <a:pt x="280" y="1692"/>
                      <a:pt x="278" y="1694"/>
                    </a:cubicBezTo>
                    <a:cubicBezTo>
                      <a:pt x="278" y="1695"/>
                      <a:pt x="279" y="1695"/>
                      <a:pt x="279" y="1695"/>
                    </a:cubicBezTo>
                    <a:cubicBezTo>
                      <a:pt x="281" y="1697"/>
                      <a:pt x="283" y="1699"/>
                      <a:pt x="283" y="1701"/>
                    </a:cubicBezTo>
                    <a:cubicBezTo>
                      <a:pt x="283" y="1701"/>
                      <a:pt x="283" y="1701"/>
                      <a:pt x="283" y="1701"/>
                    </a:cubicBezTo>
                    <a:cubicBezTo>
                      <a:pt x="284" y="1701"/>
                      <a:pt x="285" y="1701"/>
                      <a:pt x="286" y="1701"/>
                    </a:cubicBezTo>
                    <a:cubicBezTo>
                      <a:pt x="287" y="1702"/>
                      <a:pt x="287" y="1703"/>
                      <a:pt x="287" y="1704"/>
                    </a:cubicBezTo>
                    <a:cubicBezTo>
                      <a:pt x="287" y="1706"/>
                      <a:pt x="286" y="1707"/>
                      <a:pt x="284" y="1707"/>
                    </a:cubicBezTo>
                    <a:cubicBezTo>
                      <a:pt x="284" y="1707"/>
                      <a:pt x="284" y="1707"/>
                      <a:pt x="284" y="1707"/>
                    </a:cubicBezTo>
                    <a:cubicBezTo>
                      <a:pt x="283" y="1707"/>
                      <a:pt x="283" y="1707"/>
                      <a:pt x="283" y="1707"/>
                    </a:cubicBezTo>
                    <a:cubicBezTo>
                      <a:pt x="282" y="1707"/>
                      <a:pt x="281" y="1706"/>
                      <a:pt x="281" y="1705"/>
                    </a:cubicBezTo>
                    <a:cubicBezTo>
                      <a:pt x="281" y="1705"/>
                      <a:pt x="281" y="1705"/>
                      <a:pt x="281" y="1705"/>
                    </a:cubicBezTo>
                    <a:cubicBezTo>
                      <a:pt x="279" y="1706"/>
                      <a:pt x="277" y="1707"/>
                      <a:pt x="275" y="1706"/>
                    </a:cubicBezTo>
                    <a:cubicBezTo>
                      <a:pt x="273" y="1705"/>
                      <a:pt x="271" y="1703"/>
                      <a:pt x="270" y="1700"/>
                    </a:cubicBezTo>
                    <a:cubicBezTo>
                      <a:pt x="269" y="1697"/>
                      <a:pt x="264" y="1695"/>
                      <a:pt x="261" y="1696"/>
                    </a:cubicBezTo>
                    <a:cubicBezTo>
                      <a:pt x="260" y="1696"/>
                      <a:pt x="260" y="1697"/>
                      <a:pt x="260" y="1697"/>
                    </a:cubicBezTo>
                    <a:cubicBezTo>
                      <a:pt x="261" y="1703"/>
                      <a:pt x="256" y="1704"/>
                      <a:pt x="255" y="1704"/>
                    </a:cubicBezTo>
                    <a:cubicBezTo>
                      <a:pt x="255" y="1704"/>
                      <a:pt x="256" y="1704"/>
                      <a:pt x="258" y="1704"/>
                    </a:cubicBezTo>
                    <a:cubicBezTo>
                      <a:pt x="260" y="1703"/>
                      <a:pt x="263" y="1704"/>
                      <a:pt x="264" y="1705"/>
                    </a:cubicBezTo>
                    <a:cubicBezTo>
                      <a:pt x="266" y="1707"/>
                      <a:pt x="267" y="1710"/>
                      <a:pt x="267" y="1712"/>
                    </a:cubicBezTo>
                    <a:cubicBezTo>
                      <a:pt x="267" y="1716"/>
                      <a:pt x="262" y="1716"/>
                      <a:pt x="260" y="1716"/>
                    </a:cubicBezTo>
                    <a:cubicBezTo>
                      <a:pt x="260" y="1715"/>
                      <a:pt x="259" y="1715"/>
                      <a:pt x="259" y="1715"/>
                    </a:cubicBezTo>
                    <a:cubicBezTo>
                      <a:pt x="259" y="1718"/>
                      <a:pt x="259" y="1721"/>
                      <a:pt x="258" y="1722"/>
                    </a:cubicBezTo>
                    <a:cubicBezTo>
                      <a:pt x="256" y="1723"/>
                      <a:pt x="254" y="1722"/>
                      <a:pt x="252" y="1721"/>
                    </a:cubicBezTo>
                    <a:cubicBezTo>
                      <a:pt x="251" y="1720"/>
                      <a:pt x="249" y="1721"/>
                      <a:pt x="247" y="1721"/>
                    </a:cubicBezTo>
                    <a:cubicBezTo>
                      <a:pt x="245" y="1721"/>
                      <a:pt x="241" y="1722"/>
                      <a:pt x="238" y="1719"/>
                    </a:cubicBezTo>
                    <a:cubicBezTo>
                      <a:pt x="236" y="1718"/>
                      <a:pt x="236" y="1718"/>
                      <a:pt x="233" y="1718"/>
                    </a:cubicBezTo>
                    <a:cubicBezTo>
                      <a:pt x="232" y="1718"/>
                      <a:pt x="231" y="1718"/>
                      <a:pt x="229" y="1718"/>
                    </a:cubicBezTo>
                    <a:cubicBezTo>
                      <a:pt x="225" y="1718"/>
                      <a:pt x="224" y="1715"/>
                      <a:pt x="223" y="1714"/>
                    </a:cubicBezTo>
                    <a:cubicBezTo>
                      <a:pt x="223" y="1711"/>
                      <a:pt x="225" y="1708"/>
                      <a:pt x="228" y="1706"/>
                    </a:cubicBezTo>
                    <a:cubicBezTo>
                      <a:pt x="228" y="1706"/>
                      <a:pt x="229" y="1706"/>
                      <a:pt x="229" y="1706"/>
                    </a:cubicBezTo>
                    <a:cubicBezTo>
                      <a:pt x="229" y="1705"/>
                      <a:pt x="228" y="1705"/>
                      <a:pt x="227" y="1704"/>
                    </a:cubicBezTo>
                    <a:cubicBezTo>
                      <a:pt x="218" y="1701"/>
                      <a:pt x="217" y="1698"/>
                      <a:pt x="214" y="1689"/>
                    </a:cubicBezTo>
                    <a:cubicBezTo>
                      <a:pt x="212" y="1681"/>
                      <a:pt x="211" y="1680"/>
                      <a:pt x="204" y="1681"/>
                    </a:cubicBezTo>
                    <a:cubicBezTo>
                      <a:pt x="196" y="1682"/>
                      <a:pt x="194" y="1675"/>
                      <a:pt x="192" y="1669"/>
                    </a:cubicBezTo>
                    <a:cubicBezTo>
                      <a:pt x="191" y="1667"/>
                      <a:pt x="190" y="1665"/>
                      <a:pt x="190" y="1663"/>
                    </a:cubicBezTo>
                    <a:cubicBezTo>
                      <a:pt x="190" y="1666"/>
                      <a:pt x="190" y="1669"/>
                      <a:pt x="191" y="1671"/>
                    </a:cubicBezTo>
                    <a:cubicBezTo>
                      <a:pt x="191" y="1673"/>
                      <a:pt x="192" y="1674"/>
                      <a:pt x="194" y="1676"/>
                    </a:cubicBezTo>
                    <a:cubicBezTo>
                      <a:pt x="195" y="1678"/>
                      <a:pt x="197" y="1681"/>
                      <a:pt x="199" y="1684"/>
                    </a:cubicBezTo>
                    <a:cubicBezTo>
                      <a:pt x="203" y="1691"/>
                      <a:pt x="198" y="1694"/>
                      <a:pt x="196" y="1695"/>
                    </a:cubicBezTo>
                    <a:cubicBezTo>
                      <a:pt x="196" y="1695"/>
                      <a:pt x="195" y="1695"/>
                      <a:pt x="195" y="1696"/>
                    </a:cubicBezTo>
                    <a:cubicBezTo>
                      <a:pt x="195" y="1696"/>
                      <a:pt x="195" y="1696"/>
                      <a:pt x="195" y="1696"/>
                    </a:cubicBezTo>
                    <a:cubicBezTo>
                      <a:pt x="197" y="1699"/>
                      <a:pt x="198" y="1703"/>
                      <a:pt x="199" y="1706"/>
                    </a:cubicBezTo>
                    <a:cubicBezTo>
                      <a:pt x="200" y="1709"/>
                      <a:pt x="200" y="1712"/>
                      <a:pt x="201" y="1713"/>
                    </a:cubicBezTo>
                    <a:cubicBezTo>
                      <a:pt x="204" y="1717"/>
                      <a:pt x="206" y="1724"/>
                      <a:pt x="202" y="1736"/>
                    </a:cubicBezTo>
                    <a:cubicBezTo>
                      <a:pt x="199" y="1743"/>
                      <a:pt x="194" y="1743"/>
                      <a:pt x="192" y="1743"/>
                    </a:cubicBezTo>
                    <a:cubicBezTo>
                      <a:pt x="188" y="1742"/>
                      <a:pt x="184" y="1739"/>
                      <a:pt x="184" y="1735"/>
                    </a:cubicBezTo>
                    <a:cubicBezTo>
                      <a:pt x="184" y="1733"/>
                      <a:pt x="183" y="1732"/>
                      <a:pt x="181" y="1730"/>
                    </a:cubicBezTo>
                    <a:cubicBezTo>
                      <a:pt x="179" y="1728"/>
                      <a:pt x="177" y="1726"/>
                      <a:pt x="175" y="1721"/>
                    </a:cubicBezTo>
                    <a:cubicBezTo>
                      <a:pt x="175" y="1721"/>
                      <a:pt x="175" y="1721"/>
                      <a:pt x="175" y="1720"/>
                    </a:cubicBezTo>
                    <a:cubicBezTo>
                      <a:pt x="174" y="1721"/>
                      <a:pt x="174" y="1724"/>
                      <a:pt x="174" y="1726"/>
                    </a:cubicBezTo>
                    <a:cubicBezTo>
                      <a:pt x="176" y="1730"/>
                      <a:pt x="175" y="1732"/>
                      <a:pt x="174" y="1735"/>
                    </a:cubicBezTo>
                    <a:cubicBezTo>
                      <a:pt x="174" y="1736"/>
                      <a:pt x="173" y="1738"/>
                      <a:pt x="173" y="1740"/>
                    </a:cubicBezTo>
                    <a:cubicBezTo>
                      <a:pt x="174" y="1745"/>
                      <a:pt x="170" y="1748"/>
                      <a:pt x="167" y="1748"/>
                    </a:cubicBezTo>
                    <a:cubicBezTo>
                      <a:pt x="163" y="1749"/>
                      <a:pt x="159" y="1747"/>
                      <a:pt x="158" y="1743"/>
                    </a:cubicBezTo>
                    <a:cubicBezTo>
                      <a:pt x="156" y="1738"/>
                      <a:pt x="159" y="1732"/>
                      <a:pt x="160" y="1727"/>
                    </a:cubicBezTo>
                    <a:cubicBezTo>
                      <a:pt x="161" y="1726"/>
                      <a:pt x="161" y="1725"/>
                      <a:pt x="161" y="1724"/>
                    </a:cubicBezTo>
                    <a:cubicBezTo>
                      <a:pt x="162" y="1724"/>
                      <a:pt x="162" y="1723"/>
                      <a:pt x="162" y="1723"/>
                    </a:cubicBezTo>
                    <a:cubicBezTo>
                      <a:pt x="161" y="1723"/>
                      <a:pt x="159" y="1722"/>
                      <a:pt x="156" y="1722"/>
                    </a:cubicBezTo>
                    <a:cubicBezTo>
                      <a:pt x="154" y="1722"/>
                      <a:pt x="154" y="1722"/>
                      <a:pt x="154" y="1722"/>
                    </a:cubicBezTo>
                    <a:cubicBezTo>
                      <a:pt x="153" y="1723"/>
                      <a:pt x="154" y="1727"/>
                      <a:pt x="155" y="1730"/>
                    </a:cubicBezTo>
                    <a:cubicBezTo>
                      <a:pt x="156" y="1737"/>
                      <a:pt x="154" y="1746"/>
                      <a:pt x="152" y="1754"/>
                    </a:cubicBezTo>
                    <a:cubicBezTo>
                      <a:pt x="152" y="1755"/>
                      <a:pt x="152" y="1755"/>
                      <a:pt x="152" y="1755"/>
                    </a:cubicBezTo>
                    <a:cubicBezTo>
                      <a:pt x="151" y="1761"/>
                      <a:pt x="146" y="1764"/>
                      <a:pt x="142" y="1764"/>
                    </a:cubicBezTo>
                    <a:cubicBezTo>
                      <a:pt x="140" y="1764"/>
                      <a:pt x="138" y="1763"/>
                      <a:pt x="138" y="1760"/>
                    </a:cubicBezTo>
                    <a:cubicBezTo>
                      <a:pt x="138" y="1760"/>
                      <a:pt x="138" y="1760"/>
                      <a:pt x="138" y="1760"/>
                    </a:cubicBezTo>
                    <a:cubicBezTo>
                      <a:pt x="138" y="1756"/>
                      <a:pt x="138" y="1755"/>
                      <a:pt x="135" y="1755"/>
                    </a:cubicBezTo>
                    <a:cubicBezTo>
                      <a:pt x="135" y="1755"/>
                      <a:pt x="135" y="1755"/>
                      <a:pt x="135" y="1755"/>
                    </a:cubicBezTo>
                    <a:cubicBezTo>
                      <a:pt x="132" y="1755"/>
                      <a:pt x="126" y="1761"/>
                      <a:pt x="124" y="1765"/>
                    </a:cubicBezTo>
                    <a:cubicBezTo>
                      <a:pt x="122" y="1769"/>
                      <a:pt x="120" y="1775"/>
                      <a:pt x="112" y="1773"/>
                    </a:cubicBezTo>
                    <a:cubicBezTo>
                      <a:pt x="105" y="1772"/>
                      <a:pt x="103" y="1772"/>
                      <a:pt x="102" y="1774"/>
                    </a:cubicBezTo>
                    <a:cubicBezTo>
                      <a:pt x="100" y="1777"/>
                      <a:pt x="98" y="1779"/>
                      <a:pt x="94" y="1779"/>
                    </a:cubicBezTo>
                    <a:cubicBezTo>
                      <a:pt x="91" y="1780"/>
                      <a:pt x="88" y="1779"/>
                      <a:pt x="85" y="1777"/>
                    </a:cubicBezTo>
                    <a:cubicBezTo>
                      <a:pt x="81" y="1774"/>
                      <a:pt x="81" y="1771"/>
                      <a:pt x="81" y="1769"/>
                    </a:cubicBezTo>
                    <a:cubicBezTo>
                      <a:pt x="80" y="1767"/>
                      <a:pt x="80" y="1767"/>
                      <a:pt x="78" y="1766"/>
                    </a:cubicBezTo>
                    <a:cubicBezTo>
                      <a:pt x="75" y="1765"/>
                      <a:pt x="73" y="1767"/>
                      <a:pt x="69" y="1771"/>
                    </a:cubicBezTo>
                    <a:cubicBezTo>
                      <a:pt x="67" y="1773"/>
                      <a:pt x="66" y="1774"/>
                      <a:pt x="64" y="1776"/>
                    </a:cubicBezTo>
                    <a:cubicBezTo>
                      <a:pt x="64" y="1776"/>
                      <a:pt x="64" y="1776"/>
                      <a:pt x="64" y="1776"/>
                    </a:cubicBezTo>
                    <a:cubicBezTo>
                      <a:pt x="64" y="1776"/>
                      <a:pt x="65" y="1777"/>
                      <a:pt x="65" y="1777"/>
                    </a:cubicBezTo>
                    <a:cubicBezTo>
                      <a:pt x="66" y="1778"/>
                      <a:pt x="68" y="1780"/>
                      <a:pt x="68" y="1782"/>
                    </a:cubicBezTo>
                    <a:cubicBezTo>
                      <a:pt x="68" y="1785"/>
                      <a:pt x="66" y="1787"/>
                      <a:pt x="61" y="1790"/>
                    </a:cubicBezTo>
                    <a:cubicBezTo>
                      <a:pt x="59" y="1790"/>
                      <a:pt x="58" y="1791"/>
                      <a:pt x="57" y="1792"/>
                    </a:cubicBezTo>
                    <a:cubicBezTo>
                      <a:pt x="56" y="1793"/>
                      <a:pt x="54" y="1795"/>
                      <a:pt x="52" y="1794"/>
                    </a:cubicBezTo>
                    <a:cubicBezTo>
                      <a:pt x="50" y="1793"/>
                      <a:pt x="50" y="1792"/>
                      <a:pt x="50" y="1792"/>
                    </a:cubicBezTo>
                    <a:cubicBezTo>
                      <a:pt x="49" y="1790"/>
                      <a:pt x="50" y="1788"/>
                      <a:pt x="51" y="1785"/>
                    </a:cubicBezTo>
                    <a:cubicBezTo>
                      <a:pt x="52" y="1784"/>
                      <a:pt x="52" y="1783"/>
                      <a:pt x="53" y="1782"/>
                    </a:cubicBezTo>
                    <a:cubicBezTo>
                      <a:pt x="53" y="1781"/>
                      <a:pt x="53" y="1780"/>
                      <a:pt x="52" y="1780"/>
                    </a:cubicBezTo>
                    <a:cubicBezTo>
                      <a:pt x="52" y="1779"/>
                      <a:pt x="51" y="1779"/>
                      <a:pt x="51" y="1779"/>
                    </a:cubicBezTo>
                    <a:cubicBezTo>
                      <a:pt x="51" y="1779"/>
                      <a:pt x="50" y="1779"/>
                      <a:pt x="50" y="1780"/>
                    </a:cubicBezTo>
                    <a:cubicBezTo>
                      <a:pt x="49" y="1787"/>
                      <a:pt x="47" y="1788"/>
                      <a:pt x="37" y="1788"/>
                    </a:cubicBezTo>
                    <a:cubicBezTo>
                      <a:pt x="37" y="1788"/>
                      <a:pt x="37" y="1788"/>
                      <a:pt x="37" y="1788"/>
                    </a:cubicBezTo>
                    <a:cubicBezTo>
                      <a:pt x="30" y="1788"/>
                      <a:pt x="26" y="1791"/>
                      <a:pt x="22" y="1795"/>
                    </a:cubicBezTo>
                    <a:cubicBezTo>
                      <a:pt x="20" y="1796"/>
                      <a:pt x="18" y="1798"/>
                      <a:pt x="17" y="1799"/>
                    </a:cubicBezTo>
                    <a:cubicBezTo>
                      <a:pt x="13" y="1801"/>
                      <a:pt x="10" y="1803"/>
                      <a:pt x="7" y="1803"/>
                    </a:cubicBezTo>
                    <a:close/>
                    <a:moveTo>
                      <a:pt x="283" y="1704"/>
                    </a:moveTo>
                    <a:cubicBezTo>
                      <a:pt x="283" y="1704"/>
                      <a:pt x="283" y="1704"/>
                      <a:pt x="283" y="1704"/>
                    </a:cubicBezTo>
                    <a:cubicBezTo>
                      <a:pt x="283" y="1705"/>
                      <a:pt x="283" y="1705"/>
                      <a:pt x="283" y="1705"/>
                    </a:cubicBezTo>
                    <a:cubicBezTo>
                      <a:pt x="284" y="1706"/>
                      <a:pt x="284" y="1706"/>
                      <a:pt x="285" y="1706"/>
                    </a:cubicBezTo>
                    <a:cubicBezTo>
                      <a:pt x="283" y="1704"/>
                      <a:pt x="283" y="1704"/>
                      <a:pt x="283" y="1704"/>
                    </a:cubicBezTo>
                    <a:cubicBezTo>
                      <a:pt x="284" y="1704"/>
                      <a:pt x="284" y="1704"/>
                      <a:pt x="284" y="1704"/>
                    </a:cubicBezTo>
                    <a:cubicBezTo>
                      <a:pt x="284" y="1703"/>
                      <a:pt x="284" y="1703"/>
                      <a:pt x="284" y="1703"/>
                    </a:cubicBezTo>
                    <a:cubicBezTo>
                      <a:pt x="283" y="1703"/>
                      <a:pt x="283" y="1703"/>
                      <a:pt x="283" y="1704"/>
                    </a:cubicBezTo>
                    <a:cubicBezTo>
                      <a:pt x="283" y="1704"/>
                      <a:pt x="283" y="1704"/>
                      <a:pt x="283" y="1704"/>
                    </a:cubicBezTo>
                    <a:close/>
                    <a:moveTo>
                      <a:pt x="285" y="1703"/>
                    </a:moveTo>
                    <a:cubicBezTo>
                      <a:pt x="285" y="1704"/>
                      <a:pt x="285" y="1704"/>
                      <a:pt x="285" y="1704"/>
                    </a:cubicBezTo>
                    <a:cubicBezTo>
                      <a:pt x="285" y="1704"/>
                      <a:pt x="285" y="1704"/>
                      <a:pt x="285" y="1704"/>
                    </a:cubicBezTo>
                    <a:cubicBezTo>
                      <a:pt x="285" y="1704"/>
                      <a:pt x="285" y="1703"/>
                      <a:pt x="285" y="1703"/>
                    </a:cubicBezTo>
                    <a:close/>
                    <a:moveTo>
                      <a:pt x="295" y="1674"/>
                    </a:moveTo>
                    <a:cubicBezTo>
                      <a:pt x="295" y="1674"/>
                      <a:pt x="295" y="1674"/>
                      <a:pt x="295" y="1674"/>
                    </a:cubicBezTo>
                    <a:close/>
                    <a:moveTo>
                      <a:pt x="584" y="1505"/>
                    </a:moveTo>
                    <a:cubicBezTo>
                      <a:pt x="584" y="1505"/>
                      <a:pt x="584" y="1506"/>
                      <a:pt x="584" y="1507"/>
                    </a:cubicBezTo>
                    <a:cubicBezTo>
                      <a:pt x="585" y="1506"/>
                      <a:pt x="585" y="1505"/>
                      <a:pt x="586" y="1503"/>
                    </a:cubicBezTo>
                    <a:cubicBezTo>
                      <a:pt x="586" y="1503"/>
                      <a:pt x="586" y="1503"/>
                      <a:pt x="585" y="1503"/>
                    </a:cubicBezTo>
                    <a:cubicBezTo>
                      <a:pt x="585" y="1503"/>
                      <a:pt x="585" y="1503"/>
                      <a:pt x="585" y="1503"/>
                    </a:cubicBezTo>
                    <a:cubicBezTo>
                      <a:pt x="585" y="1503"/>
                      <a:pt x="585" y="1503"/>
                      <a:pt x="585" y="1504"/>
                    </a:cubicBezTo>
                    <a:cubicBezTo>
                      <a:pt x="584" y="1504"/>
                      <a:pt x="584" y="1504"/>
                      <a:pt x="584" y="1505"/>
                    </a:cubicBezTo>
                    <a:close/>
                    <a:moveTo>
                      <a:pt x="667" y="1321"/>
                    </a:moveTo>
                    <a:cubicBezTo>
                      <a:pt x="667" y="1322"/>
                      <a:pt x="668" y="1323"/>
                      <a:pt x="669" y="1326"/>
                    </a:cubicBezTo>
                    <a:cubicBezTo>
                      <a:pt x="670" y="1327"/>
                      <a:pt x="670" y="1327"/>
                      <a:pt x="671" y="1327"/>
                    </a:cubicBezTo>
                    <a:cubicBezTo>
                      <a:pt x="673" y="1327"/>
                      <a:pt x="674" y="1326"/>
                      <a:pt x="675" y="1325"/>
                    </a:cubicBezTo>
                    <a:cubicBezTo>
                      <a:pt x="676" y="1325"/>
                      <a:pt x="677" y="1324"/>
                      <a:pt x="677" y="1323"/>
                    </a:cubicBezTo>
                    <a:cubicBezTo>
                      <a:pt x="675" y="1324"/>
                      <a:pt x="672" y="1323"/>
                      <a:pt x="669" y="1322"/>
                    </a:cubicBezTo>
                    <a:cubicBezTo>
                      <a:pt x="668" y="1322"/>
                      <a:pt x="668" y="1322"/>
                      <a:pt x="668" y="1322"/>
                    </a:cubicBezTo>
                    <a:cubicBezTo>
                      <a:pt x="668" y="1321"/>
                      <a:pt x="668" y="1321"/>
                      <a:pt x="667" y="1321"/>
                    </a:cubicBezTo>
                    <a:close/>
                    <a:moveTo>
                      <a:pt x="667" y="1321"/>
                    </a:moveTo>
                    <a:cubicBezTo>
                      <a:pt x="667" y="1321"/>
                      <a:pt x="667" y="1321"/>
                      <a:pt x="667" y="1321"/>
                    </a:cubicBezTo>
                    <a:close/>
                    <a:moveTo>
                      <a:pt x="688" y="1305"/>
                    </a:moveTo>
                    <a:cubicBezTo>
                      <a:pt x="688" y="1305"/>
                      <a:pt x="687" y="1306"/>
                      <a:pt x="686" y="1306"/>
                    </a:cubicBezTo>
                    <a:cubicBezTo>
                      <a:pt x="683" y="1308"/>
                      <a:pt x="682" y="1308"/>
                      <a:pt x="682" y="1309"/>
                    </a:cubicBezTo>
                    <a:cubicBezTo>
                      <a:pt x="682" y="1309"/>
                      <a:pt x="682" y="1310"/>
                      <a:pt x="682" y="1310"/>
                    </a:cubicBezTo>
                    <a:cubicBezTo>
                      <a:pt x="683" y="1309"/>
                      <a:pt x="685" y="1308"/>
                      <a:pt x="688" y="1305"/>
                    </a:cubicBezTo>
                    <a:close/>
                    <a:moveTo>
                      <a:pt x="670" y="1303"/>
                    </a:moveTo>
                    <a:cubicBezTo>
                      <a:pt x="673" y="1303"/>
                      <a:pt x="675" y="1306"/>
                      <a:pt x="678" y="1309"/>
                    </a:cubicBezTo>
                    <a:cubicBezTo>
                      <a:pt x="678" y="1305"/>
                      <a:pt x="681" y="1303"/>
                      <a:pt x="684" y="1302"/>
                    </a:cubicBezTo>
                    <a:cubicBezTo>
                      <a:pt x="686" y="1301"/>
                      <a:pt x="688" y="1300"/>
                      <a:pt x="689" y="1298"/>
                    </a:cubicBezTo>
                    <a:cubicBezTo>
                      <a:pt x="689" y="1296"/>
                      <a:pt x="690" y="1294"/>
                      <a:pt x="691" y="1293"/>
                    </a:cubicBezTo>
                    <a:cubicBezTo>
                      <a:pt x="691" y="1292"/>
                      <a:pt x="692" y="1291"/>
                      <a:pt x="692" y="1291"/>
                    </a:cubicBezTo>
                    <a:cubicBezTo>
                      <a:pt x="692" y="1291"/>
                      <a:pt x="691" y="1291"/>
                      <a:pt x="691" y="1291"/>
                    </a:cubicBezTo>
                    <a:cubicBezTo>
                      <a:pt x="687" y="1290"/>
                      <a:pt x="687" y="1290"/>
                      <a:pt x="686" y="1295"/>
                    </a:cubicBezTo>
                    <a:cubicBezTo>
                      <a:pt x="686" y="1297"/>
                      <a:pt x="685" y="1299"/>
                      <a:pt x="683" y="1300"/>
                    </a:cubicBezTo>
                    <a:cubicBezTo>
                      <a:pt x="681" y="1301"/>
                      <a:pt x="678" y="1300"/>
                      <a:pt x="676" y="1298"/>
                    </a:cubicBezTo>
                    <a:cubicBezTo>
                      <a:pt x="675" y="1298"/>
                      <a:pt x="675" y="1298"/>
                      <a:pt x="674" y="1297"/>
                    </a:cubicBezTo>
                    <a:cubicBezTo>
                      <a:pt x="672" y="1296"/>
                      <a:pt x="668" y="1295"/>
                      <a:pt x="666" y="1296"/>
                    </a:cubicBezTo>
                    <a:cubicBezTo>
                      <a:pt x="665" y="1296"/>
                      <a:pt x="664" y="1297"/>
                      <a:pt x="664" y="1299"/>
                    </a:cubicBezTo>
                    <a:cubicBezTo>
                      <a:pt x="663" y="1301"/>
                      <a:pt x="663" y="1302"/>
                      <a:pt x="664" y="1303"/>
                    </a:cubicBezTo>
                    <a:cubicBezTo>
                      <a:pt x="664" y="1304"/>
                      <a:pt x="667" y="1303"/>
                      <a:pt x="668" y="1303"/>
                    </a:cubicBezTo>
                    <a:cubicBezTo>
                      <a:pt x="669" y="1303"/>
                      <a:pt x="669" y="1303"/>
                      <a:pt x="669" y="1303"/>
                    </a:cubicBezTo>
                    <a:cubicBezTo>
                      <a:pt x="669" y="1303"/>
                      <a:pt x="669" y="1303"/>
                      <a:pt x="670" y="1303"/>
                    </a:cubicBezTo>
                    <a:close/>
                    <a:moveTo>
                      <a:pt x="802" y="1715"/>
                    </a:moveTo>
                    <a:cubicBezTo>
                      <a:pt x="800" y="1715"/>
                      <a:pt x="799" y="1714"/>
                      <a:pt x="798" y="1714"/>
                    </a:cubicBezTo>
                    <a:cubicBezTo>
                      <a:pt x="795" y="1713"/>
                      <a:pt x="792" y="1712"/>
                      <a:pt x="789" y="1706"/>
                    </a:cubicBezTo>
                    <a:cubicBezTo>
                      <a:pt x="786" y="1702"/>
                      <a:pt x="785" y="1697"/>
                      <a:pt x="784" y="1691"/>
                    </a:cubicBezTo>
                    <a:cubicBezTo>
                      <a:pt x="783" y="1690"/>
                      <a:pt x="783" y="1689"/>
                      <a:pt x="783" y="1687"/>
                    </a:cubicBezTo>
                    <a:cubicBezTo>
                      <a:pt x="782" y="1682"/>
                      <a:pt x="778" y="1679"/>
                      <a:pt x="774" y="1675"/>
                    </a:cubicBezTo>
                    <a:cubicBezTo>
                      <a:pt x="773" y="1674"/>
                      <a:pt x="773" y="1674"/>
                      <a:pt x="773" y="1674"/>
                    </a:cubicBezTo>
                    <a:cubicBezTo>
                      <a:pt x="771" y="1672"/>
                      <a:pt x="767" y="1671"/>
                      <a:pt x="764" y="1670"/>
                    </a:cubicBezTo>
                    <a:cubicBezTo>
                      <a:pt x="757" y="1668"/>
                      <a:pt x="749" y="1665"/>
                      <a:pt x="749" y="1653"/>
                    </a:cubicBezTo>
                    <a:cubicBezTo>
                      <a:pt x="749" y="1651"/>
                      <a:pt x="748" y="1650"/>
                      <a:pt x="746" y="1648"/>
                    </a:cubicBezTo>
                    <a:cubicBezTo>
                      <a:pt x="744" y="1646"/>
                      <a:pt x="742" y="1644"/>
                      <a:pt x="742" y="1640"/>
                    </a:cubicBezTo>
                    <a:cubicBezTo>
                      <a:pt x="742" y="1637"/>
                      <a:pt x="740" y="1635"/>
                      <a:pt x="738" y="1633"/>
                    </a:cubicBezTo>
                    <a:cubicBezTo>
                      <a:pt x="737" y="1630"/>
                      <a:pt x="735" y="1628"/>
                      <a:pt x="734" y="1624"/>
                    </a:cubicBezTo>
                    <a:cubicBezTo>
                      <a:pt x="733" y="1623"/>
                      <a:pt x="732" y="1623"/>
                      <a:pt x="731" y="1622"/>
                    </a:cubicBezTo>
                    <a:cubicBezTo>
                      <a:pt x="729" y="1622"/>
                      <a:pt x="727" y="1621"/>
                      <a:pt x="726" y="1619"/>
                    </a:cubicBezTo>
                    <a:cubicBezTo>
                      <a:pt x="726" y="1618"/>
                      <a:pt x="726" y="1617"/>
                      <a:pt x="727" y="1615"/>
                    </a:cubicBezTo>
                    <a:cubicBezTo>
                      <a:pt x="727" y="1615"/>
                      <a:pt x="727" y="1615"/>
                      <a:pt x="727" y="1615"/>
                    </a:cubicBezTo>
                    <a:cubicBezTo>
                      <a:pt x="729" y="1613"/>
                      <a:pt x="729" y="1612"/>
                      <a:pt x="728" y="1611"/>
                    </a:cubicBezTo>
                    <a:cubicBezTo>
                      <a:pt x="728" y="1608"/>
                      <a:pt x="727" y="1605"/>
                      <a:pt x="728" y="1601"/>
                    </a:cubicBezTo>
                    <a:cubicBezTo>
                      <a:pt x="728" y="1599"/>
                      <a:pt x="729" y="1597"/>
                      <a:pt x="729" y="1594"/>
                    </a:cubicBezTo>
                    <a:cubicBezTo>
                      <a:pt x="730" y="1590"/>
                      <a:pt x="731" y="1586"/>
                      <a:pt x="731" y="1583"/>
                    </a:cubicBezTo>
                    <a:cubicBezTo>
                      <a:pt x="731" y="1575"/>
                      <a:pt x="731" y="1574"/>
                      <a:pt x="729" y="1570"/>
                    </a:cubicBezTo>
                    <a:cubicBezTo>
                      <a:pt x="728" y="1566"/>
                      <a:pt x="736" y="1542"/>
                      <a:pt x="739" y="1538"/>
                    </a:cubicBezTo>
                    <a:cubicBezTo>
                      <a:pt x="741" y="1537"/>
                      <a:pt x="742" y="1533"/>
                      <a:pt x="743" y="1530"/>
                    </a:cubicBezTo>
                    <a:cubicBezTo>
                      <a:pt x="745" y="1527"/>
                      <a:pt x="746" y="1523"/>
                      <a:pt x="748" y="1521"/>
                    </a:cubicBezTo>
                    <a:cubicBezTo>
                      <a:pt x="750" y="1518"/>
                      <a:pt x="752" y="1513"/>
                      <a:pt x="752" y="1511"/>
                    </a:cubicBezTo>
                    <a:cubicBezTo>
                      <a:pt x="751" y="1508"/>
                      <a:pt x="753" y="1504"/>
                      <a:pt x="756" y="1500"/>
                    </a:cubicBezTo>
                    <a:cubicBezTo>
                      <a:pt x="756" y="1500"/>
                      <a:pt x="756" y="1500"/>
                      <a:pt x="756" y="1500"/>
                    </a:cubicBezTo>
                    <a:cubicBezTo>
                      <a:pt x="758" y="1497"/>
                      <a:pt x="758" y="1497"/>
                      <a:pt x="759" y="1494"/>
                    </a:cubicBezTo>
                    <a:cubicBezTo>
                      <a:pt x="760" y="1489"/>
                      <a:pt x="760" y="1489"/>
                      <a:pt x="763" y="1485"/>
                    </a:cubicBezTo>
                    <a:cubicBezTo>
                      <a:pt x="764" y="1485"/>
                      <a:pt x="764" y="1485"/>
                      <a:pt x="764" y="1485"/>
                    </a:cubicBezTo>
                    <a:cubicBezTo>
                      <a:pt x="765" y="1483"/>
                      <a:pt x="765" y="1483"/>
                      <a:pt x="765" y="1480"/>
                    </a:cubicBezTo>
                    <a:cubicBezTo>
                      <a:pt x="764" y="1476"/>
                      <a:pt x="767" y="1473"/>
                      <a:pt x="770" y="1470"/>
                    </a:cubicBezTo>
                    <a:cubicBezTo>
                      <a:pt x="771" y="1469"/>
                      <a:pt x="772" y="1468"/>
                      <a:pt x="773" y="1466"/>
                    </a:cubicBezTo>
                    <a:cubicBezTo>
                      <a:pt x="774" y="1466"/>
                      <a:pt x="774" y="1465"/>
                      <a:pt x="775" y="1464"/>
                    </a:cubicBezTo>
                    <a:cubicBezTo>
                      <a:pt x="778" y="1460"/>
                      <a:pt x="782" y="1454"/>
                      <a:pt x="785" y="1444"/>
                    </a:cubicBezTo>
                    <a:cubicBezTo>
                      <a:pt x="788" y="1432"/>
                      <a:pt x="806" y="1422"/>
                      <a:pt x="813" y="1419"/>
                    </a:cubicBezTo>
                    <a:cubicBezTo>
                      <a:pt x="816" y="1417"/>
                      <a:pt x="820" y="1412"/>
                      <a:pt x="824" y="1408"/>
                    </a:cubicBezTo>
                    <a:cubicBezTo>
                      <a:pt x="827" y="1404"/>
                      <a:pt x="829" y="1401"/>
                      <a:pt x="832" y="1399"/>
                    </a:cubicBezTo>
                    <a:cubicBezTo>
                      <a:pt x="834" y="1396"/>
                      <a:pt x="837" y="1396"/>
                      <a:pt x="840" y="1397"/>
                    </a:cubicBezTo>
                    <a:cubicBezTo>
                      <a:pt x="842" y="1399"/>
                      <a:pt x="844" y="1403"/>
                      <a:pt x="843" y="1407"/>
                    </a:cubicBezTo>
                    <a:cubicBezTo>
                      <a:pt x="844" y="1408"/>
                      <a:pt x="854" y="1414"/>
                      <a:pt x="858" y="1415"/>
                    </a:cubicBezTo>
                    <a:cubicBezTo>
                      <a:pt x="864" y="1417"/>
                      <a:pt x="874" y="1425"/>
                      <a:pt x="872" y="1433"/>
                    </a:cubicBezTo>
                    <a:cubicBezTo>
                      <a:pt x="871" y="1438"/>
                      <a:pt x="868" y="1442"/>
                      <a:pt x="863" y="1447"/>
                    </a:cubicBezTo>
                    <a:cubicBezTo>
                      <a:pt x="860" y="1451"/>
                      <a:pt x="865" y="1461"/>
                      <a:pt x="867" y="1464"/>
                    </a:cubicBezTo>
                    <a:cubicBezTo>
                      <a:pt x="870" y="1468"/>
                      <a:pt x="869" y="1474"/>
                      <a:pt x="867" y="1479"/>
                    </a:cubicBezTo>
                    <a:cubicBezTo>
                      <a:pt x="867" y="1481"/>
                      <a:pt x="867" y="1482"/>
                      <a:pt x="867" y="1484"/>
                    </a:cubicBezTo>
                    <a:cubicBezTo>
                      <a:pt x="865" y="1489"/>
                      <a:pt x="864" y="1496"/>
                      <a:pt x="861" y="1503"/>
                    </a:cubicBezTo>
                    <a:cubicBezTo>
                      <a:pt x="857" y="1512"/>
                      <a:pt x="857" y="1514"/>
                      <a:pt x="857" y="1519"/>
                    </a:cubicBezTo>
                    <a:cubicBezTo>
                      <a:pt x="857" y="1521"/>
                      <a:pt x="857" y="1524"/>
                      <a:pt x="856" y="1528"/>
                    </a:cubicBezTo>
                    <a:cubicBezTo>
                      <a:pt x="856" y="1531"/>
                      <a:pt x="855" y="1533"/>
                      <a:pt x="855" y="1535"/>
                    </a:cubicBezTo>
                    <a:cubicBezTo>
                      <a:pt x="854" y="1541"/>
                      <a:pt x="853" y="1547"/>
                      <a:pt x="853" y="1555"/>
                    </a:cubicBezTo>
                    <a:cubicBezTo>
                      <a:pt x="853" y="1558"/>
                      <a:pt x="853" y="1558"/>
                      <a:pt x="853" y="1558"/>
                    </a:cubicBezTo>
                    <a:cubicBezTo>
                      <a:pt x="853" y="1568"/>
                      <a:pt x="853" y="1569"/>
                      <a:pt x="850" y="1580"/>
                    </a:cubicBezTo>
                    <a:cubicBezTo>
                      <a:pt x="846" y="1589"/>
                      <a:pt x="846" y="1590"/>
                      <a:pt x="846" y="1595"/>
                    </a:cubicBezTo>
                    <a:cubicBezTo>
                      <a:pt x="847" y="1596"/>
                      <a:pt x="847" y="1596"/>
                      <a:pt x="847" y="1596"/>
                    </a:cubicBezTo>
                    <a:cubicBezTo>
                      <a:pt x="847" y="1598"/>
                      <a:pt x="847" y="1599"/>
                      <a:pt x="847" y="1600"/>
                    </a:cubicBezTo>
                    <a:cubicBezTo>
                      <a:pt x="847" y="1604"/>
                      <a:pt x="847" y="1605"/>
                      <a:pt x="844" y="1610"/>
                    </a:cubicBezTo>
                    <a:cubicBezTo>
                      <a:pt x="844" y="1611"/>
                      <a:pt x="844" y="1611"/>
                      <a:pt x="844" y="1611"/>
                    </a:cubicBezTo>
                    <a:cubicBezTo>
                      <a:pt x="840" y="1616"/>
                      <a:pt x="839" y="1618"/>
                      <a:pt x="835" y="1621"/>
                    </a:cubicBezTo>
                    <a:cubicBezTo>
                      <a:pt x="832" y="1624"/>
                      <a:pt x="832" y="1625"/>
                      <a:pt x="830" y="1628"/>
                    </a:cubicBezTo>
                    <a:cubicBezTo>
                      <a:pt x="829" y="1630"/>
                      <a:pt x="829" y="1630"/>
                      <a:pt x="829" y="1630"/>
                    </a:cubicBezTo>
                    <a:cubicBezTo>
                      <a:pt x="829" y="1631"/>
                      <a:pt x="828" y="1633"/>
                      <a:pt x="827" y="1635"/>
                    </a:cubicBezTo>
                    <a:cubicBezTo>
                      <a:pt x="826" y="1640"/>
                      <a:pt x="824" y="1646"/>
                      <a:pt x="820" y="1650"/>
                    </a:cubicBezTo>
                    <a:cubicBezTo>
                      <a:pt x="817" y="1653"/>
                      <a:pt x="817" y="1655"/>
                      <a:pt x="816" y="1658"/>
                    </a:cubicBezTo>
                    <a:cubicBezTo>
                      <a:pt x="815" y="1659"/>
                      <a:pt x="815" y="1660"/>
                      <a:pt x="815" y="1661"/>
                    </a:cubicBezTo>
                    <a:cubicBezTo>
                      <a:pt x="814" y="1662"/>
                      <a:pt x="814" y="1663"/>
                      <a:pt x="813" y="1665"/>
                    </a:cubicBezTo>
                    <a:cubicBezTo>
                      <a:pt x="810" y="1671"/>
                      <a:pt x="807" y="1678"/>
                      <a:pt x="808" y="1684"/>
                    </a:cubicBezTo>
                    <a:cubicBezTo>
                      <a:pt x="809" y="1691"/>
                      <a:pt x="809" y="1694"/>
                      <a:pt x="809" y="1699"/>
                    </a:cubicBezTo>
                    <a:cubicBezTo>
                      <a:pt x="808" y="1701"/>
                      <a:pt x="808" y="1703"/>
                      <a:pt x="808" y="1705"/>
                    </a:cubicBezTo>
                    <a:cubicBezTo>
                      <a:pt x="808" y="1709"/>
                      <a:pt x="807" y="1712"/>
                      <a:pt x="805" y="1713"/>
                    </a:cubicBezTo>
                    <a:cubicBezTo>
                      <a:pt x="804" y="1714"/>
                      <a:pt x="803" y="1715"/>
                      <a:pt x="802" y="1715"/>
                    </a:cubicBezTo>
                    <a:close/>
                    <a:moveTo>
                      <a:pt x="731" y="1617"/>
                    </a:moveTo>
                    <a:cubicBezTo>
                      <a:pt x="731" y="1618"/>
                      <a:pt x="732" y="1618"/>
                      <a:pt x="732" y="1618"/>
                    </a:cubicBezTo>
                    <a:cubicBezTo>
                      <a:pt x="734" y="1618"/>
                      <a:pt x="737" y="1620"/>
                      <a:pt x="738" y="1623"/>
                    </a:cubicBezTo>
                    <a:cubicBezTo>
                      <a:pt x="739" y="1625"/>
                      <a:pt x="740" y="1627"/>
                      <a:pt x="742" y="1630"/>
                    </a:cubicBezTo>
                    <a:cubicBezTo>
                      <a:pt x="744" y="1633"/>
                      <a:pt x="747" y="1636"/>
                      <a:pt x="747" y="1640"/>
                    </a:cubicBezTo>
                    <a:cubicBezTo>
                      <a:pt x="747" y="1642"/>
                      <a:pt x="748" y="1643"/>
                      <a:pt x="749" y="1644"/>
                    </a:cubicBezTo>
                    <a:cubicBezTo>
                      <a:pt x="752" y="1646"/>
                      <a:pt x="754" y="1649"/>
                      <a:pt x="754" y="1654"/>
                    </a:cubicBezTo>
                    <a:cubicBezTo>
                      <a:pt x="754" y="1661"/>
                      <a:pt x="758" y="1663"/>
                      <a:pt x="765" y="1665"/>
                    </a:cubicBezTo>
                    <a:cubicBezTo>
                      <a:pt x="769" y="1666"/>
                      <a:pt x="773" y="1668"/>
                      <a:pt x="776" y="1671"/>
                    </a:cubicBezTo>
                    <a:cubicBezTo>
                      <a:pt x="778" y="1672"/>
                      <a:pt x="778" y="1672"/>
                      <a:pt x="778" y="1672"/>
                    </a:cubicBezTo>
                    <a:cubicBezTo>
                      <a:pt x="781" y="1676"/>
                      <a:pt x="786" y="1680"/>
                      <a:pt x="787" y="1686"/>
                    </a:cubicBezTo>
                    <a:cubicBezTo>
                      <a:pt x="788" y="1688"/>
                      <a:pt x="788" y="1689"/>
                      <a:pt x="788" y="1690"/>
                    </a:cubicBezTo>
                    <a:cubicBezTo>
                      <a:pt x="789" y="1695"/>
                      <a:pt x="790" y="1700"/>
                      <a:pt x="792" y="1704"/>
                    </a:cubicBezTo>
                    <a:cubicBezTo>
                      <a:pt x="795" y="1708"/>
                      <a:pt x="797" y="1708"/>
                      <a:pt x="799" y="1709"/>
                    </a:cubicBezTo>
                    <a:cubicBezTo>
                      <a:pt x="801" y="1710"/>
                      <a:pt x="802" y="1710"/>
                      <a:pt x="803" y="1710"/>
                    </a:cubicBezTo>
                    <a:cubicBezTo>
                      <a:pt x="803" y="1709"/>
                      <a:pt x="804" y="1708"/>
                      <a:pt x="804" y="1705"/>
                    </a:cubicBezTo>
                    <a:cubicBezTo>
                      <a:pt x="804" y="1703"/>
                      <a:pt x="804" y="1701"/>
                      <a:pt x="804" y="1698"/>
                    </a:cubicBezTo>
                    <a:cubicBezTo>
                      <a:pt x="804" y="1694"/>
                      <a:pt x="804" y="1691"/>
                      <a:pt x="803" y="1685"/>
                    </a:cubicBezTo>
                    <a:cubicBezTo>
                      <a:pt x="802" y="1678"/>
                      <a:pt x="806" y="1669"/>
                      <a:pt x="809" y="1663"/>
                    </a:cubicBezTo>
                    <a:cubicBezTo>
                      <a:pt x="809" y="1662"/>
                      <a:pt x="810" y="1660"/>
                      <a:pt x="810" y="1659"/>
                    </a:cubicBezTo>
                    <a:cubicBezTo>
                      <a:pt x="811" y="1658"/>
                      <a:pt x="811" y="1657"/>
                      <a:pt x="811" y="1656"/>
                    </a:cubicBezTo>
                    <a:cubicBezTo>
                      <a:pt x="812" y="1653"/>
                      <a:pt x="813" y="1651"/>
                      <a:pt x="817" y="1647"/>
                    </a:cubicBezTo>
                    <a:cubicBezTo>
                      <a:pt x="820" y="1644"/>
                      <a:pt x="821" y="1638"/>
                      <a:pt x="823" y="1634"/>
                    </a:cubicBezTo>
                    <a:cubicBezTo>
                      <a:pt x="824" y="1631"/>
                      <a:pt x="825" y="1629"/>
                      <a:pt x="825" y="1628"/>
                    </a:cubicBezTo>
                    <a:cubicBezTo>
                      <a:pt x="826" y="1626"/>
                      <a:pt x="826" y="1626"/>
                      <a:pt x="826" y="1626"/>
                    </a:cubicBezTo>
                    <a:cubicBezTo>
                      <a:pt x="828" y="1623"/>
                      <a:pt x="829" y="1621"/>
                      <a:pt x="832" y="1618"/>
                    </a:cubicBezTo>
                    <a:cubicBezTo>
                      <a:pt x="835" y="1615"/>
                      <a:pt x="836" y="1613"/>
                      <a:pt x="840" y="1608"/>
                    </a:cubicBezTo>
                    <a:cubicBezTo>
                      <a:pt x="840" y="1607"/>
                      <a:pt x="840" y="1607"/>
                      <a:pt x="840" y="1607"/>
                    </a:cubicBezTo>
                    <a:cubicBezTo>
                      <a:pt x="842" y="1604"/>
                      <a:pt x="842" y="1603"/>
                      <a:pt x="842" y="1601"/>
                    </a:cubicBezTo>
                    <a:cubicBezTo>
                      <a:pt x="842" y="1600"/>
                      <a:pt x="842" y="1598"/>
                      <a:pt x="842" y="1596"/>
                    </a:cubicBezTo>
                    <a:cubicBezTo>
                      <a:pt x="842" y="1595"/>
                      <a:pt x="842" y="1595"/>
                      <a:pt x="842" y="1595"/>
                    </a:cubicBezTo>
                    <a:cubicBezTo>
                      <a:pt x="842" y="1589"/>
                      <a:pt x="842" y="1588"/>
                      <a:pt x="845" y="1578"/>
                    </a:cubicBezTo>
                    <a:cubicBezTo>
                      <a:pt x="849" y="1569"/>
                      <a:pt x="849" y="1568"/>
                      <a:pt x="848" y="1558"/>
                    </a:cubicBezTo>
                    <a:cubicBezTo>
                      <a:pt x="848" y="1556"/>
                      <a:pt x="848" y="1556"/>
                      <a:pt x="848" y="1556"/>
                    </a:cubicBezTo>
                    <a:cubicBezTo>
                      <a:pt x="848" y="1546"/>
                      <a:pt x="849" y="1540"/>
                      <a:pt x="850" y="1534"/>
                    </a:cubicBezTo>
                    <a:cubicBezTo>
                      <a:pt x="851" y="1532"/>
                      <a:pt x="851" y="1530"/>
                      <a:pt x="851" y="1528"/>
                    </a:cubicBezTo>
                    <a:cubicBezTo>
                      <a:pt x="852" y="1524"/>
                      <a:pt x="852" y="1521"/>
                      <a:pt x="852" y="1519"/>
                    </a:cubicBezTo>
                    <a:cubicBezTo>
                      <a:pt x="852" y="1514"/>
                      <a:pt x="853" y="1511"/>
                      <a:pt x="857" y="1501"/>
                    </a:cubicBezTo>
                    <a:cubicBezTo>
                      <a:pt x="859" y="1495"/>
                      <a:pt x="861" y="1488"/>
                      <a:pt x="862" y="1483"/>
                    </a:cubicBezTo>
                    <a:cubicBezTo>
                      <a:pt x="862" y="1481"/>
                      <a:pt x="863" y="1480"/>
                      <a:pt x="863" y="1478"/>
                    </a:cubicBezTo>
                    <a:cubicBezTo>
                      <a:pt x="864" y="1476"/>
                      <a:pt x="865" y="1469"/>
                      <a:pt x="863" y="1467"/>
                    </a:cubicBezTo>
                    <a:cubicBezTo>
                      <a:pt x="861" y="1465"/>
                      <a:pt x="853" y="1451"/>
                      <a:pt x="860" y="1444"/>
                    </a:cubicBezTo>
                    <a:cubicBezTo>
                      <a:pt x="865" y="1440"/>
                      <a:pt x="867" y="1436"/>
                      <a:pt x="868" y="1432"/>
                    </a:cubicBezTo>
                    <a:cubicBezTo>
                      <a:pt x="869" y="1428"/>
                      <a:pt x="862" y="1421"/>
                      <a:pt x="857" y="1420"/>
                    </a:cubicBezTo>
                    <a:cubicBezTo>
                      <a:pt x="857" y="1420"/>
                      <a:pt x="837" y="1412"/>
                      <a:pt x="838" y="1405"/>
                    </a:cubicBezTo>
                    <a:cubicBezTo>
                      <a:pt x="839" y="1404"/>
                      <a:pt x="838" y="1402"/>
                      <a:pt x="837" y="1401"/>
                    </a:cubicBezTo>
                    <a:cubicBezTo>
                      <a:pt x="837" y="1401"/>
                      <a:pt x="836" y="1401"/>
                      <a:pt x="835" y="1402"/>
                    </a:cubicBezTo>
                    <a:cubicBezTo>
                      <a:pt x="833" y="1404"/>
                      <a:pt x="830" y="1407"/>
                      <a:pt x="827" y="1410"/>
                    </a:cubicBezTo>
                    <a:cubicBezTo>
                      <a:pt x="823" y="1416"/>
                      <a:pt x="819" y="1421"/>
                      <a:pt x="815" y="1423"/>
                    </a:cubicBezTo>
                    <a:cubicBezTo>
                      <a:pt x="810" y="1425"/>
                      <a:pt x="793" y="1434"/>
                      <a:pt x="789" y="1446"/>
                    </a:cubicBezTo>
                    <a:cubicBezTo>
                      <a:pt x="786" y="1457"/>
                      <a:pt x="782" y="1463"/>
                      <a:pt x="779" y="1467"/>
                    </a:cubicBezTo>
                    <a:cubicBezTo>
                      <a:pt x="778" y="1468"/>
                      <a:pt x="777" y="1468"/>
                      <a:pt x="777" y="1469"/>
                    </a:cubicBezTo>
                    <a:cubicBezTo>
                      <a:pt x="776" y="1471"/>
                      <a:pt x="774" y="1472"/>
                      <a:pt x="773" y="1473"/>
                    </a:cubicBezTo>
                    <a:cubicBezTo>
                      <a:pt x="770" y="1476"/>
                      <a:pt x="769" y="1477"/>
                      <a:pt x="769" y="1479"/>
                    </a:cubicBezTo>
                    <a:cubicBezTo>
                      <a:pt x="770" y="1484"/>
                      <a:pt x="770" y="1485"/>
                      <a:pt x="767" y="1488"/>
                    </a:cubicBezTo>
                    <a:cubicBezTo>
                      <a:pt x="766" y="1489"/>
                      <a:pt x="766" y="1489"/>
                      <a:pt x="766" y="1489"/>
                    </a:cubicBezTo>
                    <a:cubicBezTo>
                      <a:pt x="764" y="1491"/>
                      <a:pt x="764" y="1491"/>
                      <a:pt x="764" y="1494"/>
                    </a:cubicBezTo>
                    <a:cubicBezTo>
                      <a:pt x="763" y="1499"/>
                      <a:pt x="762" y="1500"/>
                      <a:pt x="760" y="1502"/>
                    </a:cubicBezTo>
                    <a:cubicBezTo>
                      <a:pt x="759" y="1503"/>
                      <a:pt x="759" y="1503"/>
                      <a:pt x="759" y="1503"/>
                    </a:cubicBezTo>
                    <a:cubicBezTo>
                      <a:pt x="757" y="1506"/>
                      <a:pt x="756" y="1508"/>
                      <a:pt x="756" y="1510"/>
                    </a:cubicBezTo>
                    <a:cubicBezTo>
                      <a:pt x="757" y="1514"/>
                      <a:pt x="754" y="1520"/>
                      <a:pt x="752" y="1523"/>
                    </a:cubicBezTo>
                    <a:cubicBezTo>
                      <a:pt x="750" y="1526"/>
                      <a:pt x="749" y="1529"/>
                      <a:pt x="748" y="1532"/>
                    </a:cubicBezTo>
                    <a:cubicBezTo>
                      <a:pt x="746" y="1536"/>
                      <a:pt x="745" y="1539"/>
                      <a:pt x="742" y="1542"/>
                    </a:cubicBezTo>
                    <a:cubicBezTo>
                      <a:pt x="740" y="1544"/>
                      <a:pt x="734" y="1566"/>
                      <a:pt x="734" y="1569"/>
                    </a:cubicBezTo>
                    <a:cubicBezTo>
                      <a:pt x="735" y="1573"/>
                      <a:pt x="736" y="1574"/>
                      <a:pt x="736" y="1583"/>
                    </a:cubicBezTo>
                    <a:cubicBezTo>
                      <a:pt x="736" y="1586"/>
                      <a:pt x="735" y="1591"/>
                      <a:pt x="734" y="1595"/>
                    </a:cubicBezTo>
                    <a:cubicBezTo>
                      <a:pt x="733" y="1598"/>
                      <a:pt x="733" y="1600"/>
                      <a:pt x="732" y="1602"/>
                    </a:cubicBezTo>
                    <a:cubicBezTo>
                      <a:pt x="732" y="1604"/>
                      <a:pt x="732" y="1607"/>
                      <a:pt x="733" y="1609"/>
                    </a:cubicBezTo>
                    <a:cubicBezTo>
                      <a:pt x="734" y="1613"/>
                      <a:pt x="733" y="1615"/>
                      <a:pt x="731" y="1617"/>
                    </a:cubicBezTo>
                    <a:close/>
                    <a:moveTo>
                      <a:pt x="731" y="1618"/>
                    </a:moveTo>
                    <a:cubicBezTo>
                      <a:pt x="731" y="1618"/>
                      <a:pt x="731" y="1618"/>
                      <a:pt x="731" y="1618"/>
                    </a:cubicBezTo>
                    <a:close/>
                    <a:moveTo>
                      <a:pt x="865" y="1702"/>
                    </a:moveTo>
                    <a:cubicBezTo>
                      <a:pt x="864" y="1702"/>
                      <a:pt x="862" y="1702"/>
                      <a:pt x="862" y="1701"/>
                    </a:cubicBezTo>
                    <a:cubicBezTo>
                      <a:pt x="861" y="1701"/>
                      <a:pt x="861" y="1701"/>
                      <a:pt x="859" y="1700"/>
                    </a:cubicBezTo>
                    <a:cubicBezTo>
                      <a:pt x="858" y="1700"/>
                      <a:pt x="857" y="1699"/>
                      <a:pt x="856" y="1698"/>
                    </a:cubicBezTo>
                    <a:cubicBezTo>
                      <a:pt x="856" y="1697"/>
                      <a:pt x="856" y="1696"/>
                      <a:pt x="856" y="1695"/>
                    </a:cubicBezTo>
                    <a:cubicBezTo>
                      <a:pt x="856" y="1693"/>
                      <a:pt x="857" y="1692"/>
                      <a:pt x="859" y="1691"/>
                    </a:cubicBezTo>
                    <a:cubicBezTo>
                      <a:pt x="860" y="1690"/>
                      <a:pt x="862" y="1690"/>
                      <a:pt x="863" y="1691"/>
                    </a:cubicBezTo>
                    <a:cubicBezTo>
                      <a:pt x="865" y="1692"/>
                      <a:pt x="866" y="1694"/>
                      <a:pt x="866" y="1696"/>
                    </a:cubicBezTo>
                    <a:cubicBezTo>
                      <a:pt x="866" y="1695"/>
                      <a:pt x="866" y="1696"/>
                      <a:pt x="866" y="1696"/>
                    </a:cubicBezTo>
                    <a:cubicBezTo>
                      <a:pt x="867" y="1696"/>
                      <a:pt x="867" y="1697"/>
                      <a:pt x="868" y="1698"/>
                    </a:cubicBezTo>
                    <a:cubicBezTo>
                      <a:pt x="869" y="1699"/>
                      <a:pt x="869" y="1701"/>
                      <a:pt x="868" y="1702"/>
                    </a:cubicBezTo>
                    <a:cubicBezTo>
                      <a:pt x="867" y="1702"/>
                      <a:pt x="866" y="1702"/>
                      <a:pt x="865" y="1702"/>
                    </a:cubicBezTo>
                    <a:close/>
                    <a:moveTo>
                      <a:pt x="861" y="1696"/>
                    </a:moveTo>
                    <a:cubicBezTo>
                      <a:pt x="861" y="1696"/>
                      <a:pt x="861" y="1696"/>
                      <a:pt x="861" y="1696"/>
                    </a:cubicBezTo>
                    <a:cubicBezTo>
                      <a:pt x="861" y="1696"/>
                      <a:pt x="861" y="1696"/>
                      <a:pt x="861" y="1695"/>
                    </a:cubicBezTo>
                    <a:cubicBezTo>
                      <a:pt x="861" y="1695"/>
                      <a:pt x="861" y="1695"/>
                      <a:pt x="861" y="1695"/>
                    </a:cubicBezTo>
                    <a:cubicBezTo>
                      <a:pt x="861" y="1695"/>
                      <a:pt x="861" y="1695"/>
                      <a:pt x="861" y="1695"/>
                    </a:cubicBezTo>
                    <a:cubicBezTo>
                      <a:pt x="861" y="1695"/>
                      <a:pt x="861" y="1695"/>
                      <a:pt x="861" y="1695"/>
                    </a:cubicBezTo>
                    <a:cubicBezTo>
                      <a:pt x="861" y="1696"/>
                      <a:pt x="861" y="1696"/>
                      <a:pt x="861" y="1696"/>
                    </a:cubicBezTo>
                    <a:close/>
                    <a:moveTo>
                      <a:pt x="851" y="1648"/>
                    </a:moveTo>
                    <a:cubicBezTo>
                      <a:pt x="850" y="1648"/>
                      <a:pt x="847" y="1647"/>
                      <a:pt x="847" y="1645"/>
                    </a:cubicBezTo>
                    <a:cubicBezTo>
                      <a:pt x="846" y="1644"/>
                      <a:pt x="846" y="1642"/>
                      <a:pt x="847" y="1641"/>
                    </a:cubicBezTo>
                    <a:cubicBezTo>
                      <a:pt x="847" y="1641"/>
                      <a:pt x="847" y="1641"/>
                      <a:pt x="847" y="1640"/>
                    </a:cubicBezTo>
                    <a:cubicBezTo>
                      <a:pt x="848" y="1640"/>
                      <a:pt x="848" y="1639"/>
                      <a:pt x="849" y="1638"/>
                    </a:cubicBezTo>
                    <a:cubicBezTo>
                      <a:pt x="851" y="1638"/>
                      <a:pt x="852" y="1638"/>
                      <a:pt x="852" y="1638"/>
                    </a:cubicBezTo>
                    <a:cubicBezTo>
                      <a:pt x="853" y="1639"/>
                      <a:pt x="855" y="1640"/>
                      <a:pt x="855" y="1642"/>
                    </a:cubicBezTo>
                    <a:cubicBezTo>
                      <a:pt x="855" y="1642"/>
                      <a:pt x="856" y="1643"/>
                      <a:pt x="855" y="1645"/>
                    </a:cubicBezTo>
                    <a:cubicBezTo>
                      <a:pt x="853" y="1647"/>
                      <a:pt x="853" y="1648"/>
                      <a:pt x="851" y="1648"/>
                    </a:cubicBezTo>
                    <a:close/>
                    <a:moveTo>
                      <a:pt x="486" y="1610"/>
                    </a:moveTo>
                    <a:cubicBezTo>
                      <a:pt x="485" y="1610"/>
                      <a:pt x="484" y="1609"/>
                      <a:pt x="484" y="1609"/>
                    </a:cubicBezTo>
                    <a:cubicBezTo>
                      <a:pt x="483" y="1609"/>
                      <a:pt x="482" y="1608"/>
                      <a:pt x="481" y="1608"/>
                    </a:cubicBezTo>
                    <a:cubicBezTo>
                      <a:pt x="477" y="1608"/>
                      <a:pt x="475" y="1609"/>
                      <a:pt x="474" y="1609"/>
                    </a:cubicBezTo>
                    <a:cubicBezTo>
                      <a:pt x="474" y="1609"/>
                      <a:pt x="474" y="1609"/>
                      <a:pt x="474" y="1609"/>
                    </a:cubicBezTo>
                    <a:cubicBezTo>
                      <a:pt x="471" y="1610"/>
                      <a:pt x="470" y="1610"/>
                      <a:pt x="469" y="1609"/>
                    </a:cubicBezTo>
                    <a:cubicBezTo>
                      <a:pt x="468" y="1608"/>
                      <a:pt x="468" y="1607"/>
                      <a:pt x="468" y="1606"/>
                    </a:cubicBezTo>
                    <a:cubicBezTo>
                      <a:pt x="468" y="1602"/>
                      <a:pt x="471" y="1601"/>
                      <a:pt x="472" y="1601"/>
                    </a:cubicBezTo>
                    <a:cubicBezTo>
                      <a:pt x="474" y="1600"/>
                      <a:pt x="477" y="1599"/>
                      <a:pt x="479" y="1598"/>
                    </a:cubicBezTo>
                    <a:cubicBezTo>
                      <a:pt x="480" y="1596"/>
                      <a:pt x="482" y="1596"/>
                      <a:pt x="485" y="1596"/>
                    </a:cubicBezTo>
                    <a:cubicBezTo>
                      <a:pt x="487" y="1597"/>
                      <a:pt x="490" y="1599"/>
                      <a:pt x="490" y="1602"/>
                    </a:cubicBezTo>
                    <a:cubicBezTo>
                      <a:pt x="491" y="1604"/>
                      <a:pt x="490" y="1606"/>
                      <a:pt x="489" y="1608"/>
                    </a:cubicBezTo>
                    <a:cubicBezTo>
                      <a:pt x="488" y="1609"/>
                      <a:pt x="487" y="1610"/>
                      <a:pt x="486" y="1610"/>
                    </a:cubicBezTo>
                    <a:close/>
                    <a:moveTo>
                      <a:pt x="481" y="1604"/>
                    </a:moveTo>
                    <a:cubicBezTo>
                      <a:pt x="483" y="1604"/>
                      <a:pt x="484" y="1604"/>
                      <a:pt x="485" y="1605"/>
                    </a:cubicBezTo>
                    <a:cubicBezTo>
                      <a:pt x="486" y="1604"/>
                      <a:pt x="486" y="1603"/>
                      <a:pt x="486" y="1602"/>
                    </a:cubicBezTo>
                    <a:cubicBezTo>
                      <a:pt x="485" y="1602"/>
                      <a:pt x="483" y="1600"/>
                      <a:pt x="482" y="1601"/>
                    </a:cubicBezTo>
                    <a:cubicBezTo>
                      <a:pt x="481" y="1602"/>
                      <a:pt x="479" y="1603"/>
                      <a:pt x="477" y="1604"/>
                    </a:cubicBezTo>
                    <a:cubicBezTo>
                      <a:pt x="478" y="1604"/>
                      <a:pt x="479" y="1604"/>
                      <a:pt x="481" y="1604"/>
                    </a:cubicBezTo>
                    <a:close/>
                    <a:moveTo>
                      <a:pt x="506" y="1593"/>
                    </a:moveTo>
                    <a:cubicBezTo>
                      <a:pt x="505" y="1593"/>
                      <a:pt x="504" y="1593"/>
                      <a:pt x="503" y="1592"/>
                    </a:cubicBezTo>
                    <a:cubicBezTo>
                      <a:pt x="500" y="1589"/>
                      <a:pt x="501" y="1584"/>
                      <a:pt x="502" y="1580"/>
                    </a:cubicBezTo>
                    <a:cubicBezTo>
                      <a:pt x="504" y="1576"/>
                      <a:pt x="508" y="1574"/>
                      <a:pt x="511" y="1575"/>
                    </a:cubicBezTo>
                    <a:cubicBezTo>
                      <a:pt x="511" y="1575"/>
                      <a:pt x="511" y="1575"/>
                      <a:pt x="511" y="1575"/>
                    </a:cubicBezTo>
                    <a:cubicBezTo>
                      <a:pt x="512" y="1575"/>
                      <a:pt x="513" y="1576"/>
                      <a:pt x="513" y="1576"/>
                    </a:cubicBezTo>
                    <a:cubicBezTo>
                      <a:pt x="514" y="1578"/>
                      <a:pt x="513" y="1580"/>
                      <a:pt x="512" y="1581"/>
                    </a:cubicBezTo>
                    <a:cubicBezTo>
                      <a:pt x="511" y="1582"/>
                      <a:pt x="511" y="1583"/>
                      <a:pt x="511" y="1584"/>
                    </a:cubicBezTo>
                    <a:cubicBezTo>
                      <a:pt x="510" y="1585"/>
                      <a:pt x="510" y="1585"/>
                      <a:pt x="510" y="1586"/>
                    </a:cubicBezTo>
                    <a:cubicBezTo>
                      <a:pt x="509" y="1589"/>
                      <a:pt x="509" y="1592"/>
                      <a:pt x="506" y="1593"/>
                    </a:cubicBezTo>
                    <a:cubicBezTo>
                      <a:pt x="506" y="1593"/>
                      <a:pt x="506" y="1593"/>
                      <a:pt x="506" y="1593"/>
                    </a:cubicBezTo>
                    <a:close/>
                    <a:moveTo>
                      <a:pt x="689" y="1583"/>
                    </a:moveTo>
                    <a:cubicBezTo>
                      <a:pt x="687" y="1583"/>
                      <a:pt x="686" y="1582"/>
                      <a:pt x="686" y="1581"/>
                    </a:cubicBezTo>
                    <a:cubicBezTo>
                      <a:pt x="684" y="1580"/>
                      <a:pt x="684" y="1580"/>
                      <a:pt x="684" y="1580"/>
                    </a:cubicBezTo>
                    <a:cubicBezTo>
                      <a:pt x="684" y="1580"/>
                      <a:pt x="684" y="1580"/>
                      <a:pt x="683" y="1580"/>
                    </a:cubicBezTo>
                    <a:cubicBezTo>
                      <a:pt x="683" y="1580"/>
                      <a:pt x="682" y="1580"/>
                      <a:pt x="682" y="1579"/>
                    </a:cubicBezTo>
                    <a:cubicBezTo>
                      <a:pt x="682" y="1580"/>
                      <a:pt x="682" y="1580"/>
                      <a:pt x="682" y="1580"/>
                    </a:cubicBezTo>
                    <a:cubicBezTo>
                      <a:pt x="681" y="1579"/>
                      <a:pt x="681" y="1579"/>
                      <a:pt x="681" y="1579"/>
                    </a:cubicBezTo>
                    <a:cubicBezTo>
                      <a:pt x="680" y="1578"/>
                      <a:pt x="680" y="1577"/>
                      <a:pt x="680" y="1575"/>
                    </a:cubicBezTo>
                    <a:cubicBezTo>
                      <a:pt x="679" y="1574"/>
                      <a:pt x="680" y="1573"/>
                      <a:pt x="681" y="1573"/>
                    </a:cubicBezTo>
                    <a:cubicBezTo>
                      <a:pt x="681" y="1573"/>
                      <a:pt x="682" y="1572"/>
                      <a:pt x="682" y="1572"/>
                    </a:cubicBezTo>
                    <a:cubicBezTo>
                      <a:pt x="682" y="1571"/>
                      <a:pt x="682" y="1569"/>
                      <a:pt x="682" y="1568"/>
                    </a:cubicBezTo>
                    <a:cubicBezTo>
                      <a:pt x="682" y="1566"/>
                      <a:pt x="682" y="1565"/>
                      <a:pt x="684" y="1564"/>
                    </a:cubicBezTo>
                    <a:cubicBezTo>
                      <a:pt x="684" y="1564"/>
                      <a:pt x="685" y="1563"/>
                      <a:pt x="687" y="1564"/>
                    </a:cubicBezTo>
                    <a:cubicBezTo>
                      <a:pt x="689" y="1566"/>
                      <a:pt x="694" y="1571"/>
                      <a:pt x="694" y="1574"/>
                    </a:cubicBezTo>
                    <a:cubicBezTo>
                      <a:pt x="694" y="1576"/>
                      <a:pt x="693" y="1577"/>
                      <a:pt x="692" y="1578"/>
                    </a:cubicBezTo>
                    <a:cubicBezTo>
                      <a:pt x="692" y="1578"/>
                      <a:pt x="692" y="1578"/>
                      <a:pt x="692" y="1578"/>
                    </a:cubicBezTo>
                    <a:cubicBezTo>
                      <a:pt x="693" y="1580"/>
                      <a:pt x="692" y="1581"/>
                      <a:pt x="691" y="1582"/>
                    </a:cubicBezTo>
                    <a:cubicBezTo>
                      <a:pt x="690" y="1583"/>
                      <a:pt x="690" y="1583"/>
                      <a:pt x="689" y="1583"/>
                    </a:cubicBezTo>
                    <a:close/>
                    <a:moveTo>
                      <a:pt x="688" y="1581"/>
                    </a:moveTo>
                    <a:cubicBezTo>
                      <a:pt x="688" y="1581"/>
                      <a:pt x="688" y="1581"/>
                      <a:pt x="688" y="1581"/>
                    </a:cubicBezTo>
                    <a:close/>
                    <a:moveTo>
                      <a:pt x="686" y="1578"/>
                    </a:moveTo>
                    <a:cubicBezTo>
                      <a:pt x="686" y="1578"/>
                      <a:pt x="686" y="1578"/>
                      <a:pt x="686" y="1578"/>
                    </a:cubicBezTo>
                    <a:cubicBezTo>
                      <a:pt x="686" y="1578"/>
                      <a:pt x="686" y="1578"/>
                      <a:pt x="686" y="1578"/>
                    </a:cubicBezTo>
                    <a:cubicBezTo>
                      <a:pt x="686" y="1578"/>
                      <a:pt x="686" y="1578"/>
                      <a:pt x="686" y="1578"/>
                    </a:cubicBezTo>
                    <a:close/>
                    <a:moveTo>
                      <a:pt x="686" y="1573"/>
                    </a:moveTo>
                    <a:cubicBezTo>
                      <a:pt x="687" y="1573"/>
                      <a:pt x="687" y="1574"/>
                      <a:pt x="687" y="1574"/>
                    </a:cubicBezTo>
                    <a:cubicBezTo>
                      <a:pt x="688" y="1574"/>
                      <a:pt x="688" y="1574"/>
                      <a:pt x="689" y="1575"/>
                    </a:cubicBezTo>
                    <a:cubicBezTo>
                      <a:pt x="689" y="1575"/>
                      <a:pt x="689" y="1575"/>
                      <a:pt x="689" y="1575"/>
                    </a:cubicBezTo>
                    <a:cubicBezTo>
                      <a:pt x="689" y="1575"/>
                      <a:pt x="689" y="1574"/>
                      <a:pt x="689" y="1574"/>
                    </a:cubicBezTo>
                    <a:cubicBezTo>
                      <a:pt x="689" y="1574"/>
                      <a:pt x="688" y="1572"/>
                      <a:pt x="687" y="1571"/>
                    </a:cubicBezTo>
                    <a:cubicBezTo>
                      <a:pt x="687" y="1571"/>
                      <a:pt x="687" y="1572"/>
                      <a:pt x="686" y="1573"/>
                    </a:cubicBezTo>
                    <a:cubicBezTo>
                      <a:pt x="686" y="1573"/>
                      <a:pt x="686" y="1573"/>
                      <a:pt x="686" y="1573"/>
                    </a:cubicBezTo>
                    <a:close/>
                    <a:moveTo>
                      <a:pt x="669" y="1441"/>
                    </a:moveTo>
                    <a:cubicBezTo>
                      <a:pt x="667" y="1441"/>
                      <a:pt x="666" y="1440"/>
                      <a:pt x="665" y="1439"/>
                    </a:cubicBezTo>
                    <a:cubicBezTo>
                      <a:pt x="665" y="1438"/>
                      <a:pt x="665" y="1438"/>
                      <a:pt x="665" y="1438"/>
                    </a:cubicBezTo>
                    <a:cubicBezTo>
                      <a:pt x="665" y="1437"/>
                      <a:pt x="665" y="1437"/>
                      <a:pt x="665" y="1437"/>
                    </a:cubicBezTo>
                    <a:cubicBezTo>
                      <a:pt x="663" y="1437"/>
                      <a:pt x="662" y="1437"/>
                      <a:pt x="662" y="1437"/>
                    </a:cubicBezTo>
                    <a:cubicBezTo>
                      <a:pt x="662" y="1437"/>
                      <a:pt x="662" y="1437"/>
                      <a:pt x="662" y="1437"/>
                    </a:cubicBezTo>
                    <a:cubicBezTo>
                      <a:pt x="661" y="1436"/>
                      <a:pt x="661" y="1436"/>
                      <a:pt x="661" y="1436"/>
                    </a:cubicBezTo>
                    <a:cubicBezTo>
                      <a:pt x="660" y="1435"/>
                      <a:pt x="659" y="1434"/>
                      <a:pt x="659" y="1433"/>
                    </a:cubicBezTo>
                    <a:cubicBezTo>
                      <a:pt x="658" y="1432"/>
                      <a:pt x="659" y="1430"/>
                      <a:pt x="663" y="1428"/>
                    </a:cubicBezTo>
                    <a:cubicBezTo>
                      <a:pt x="664" y="1428"/>
                      <a:pt x="665" y="1428"/>
                      <a:pt x="666" y="1429"/>
                    </a:cubicBezTo>
                    <a:cubicBezTo>
                      <a:pt x="666" y="1429"/>
                      <a:pt x="667" y="1430"/>
                      <a:pt x="667" y="1431"/>
                    </a:cubicBezTo>
                    <a:cubicBezTo>
                      <a:pt x="668" y="1431"/>
                      <a:pt x="668" y="1431"/>
                      <a:pt x="669" y="1431"/>
                    </a:cubicBezTo>
                    <a:cubicBezTo>
                      <a:pt x="670" y="1431"/>
                      <a:pt x="671" y="1431"/>
                      <a:pt x="672" y="1432"/>
                    </a:cubicBezTo>
                    <a:cubicBezTo>
                      <a:pt x="673" y="1433"/>
                      <a:pt x="673" y="1435"/>
                      <a:pt x="672" y="1437"/>
                    </a:cubicBezTo>
                    <a:cubicBezTo>
                      <a:pt x="672" y="1439"/>
                      <a:pt x="671" y="1440"/>
                      <a:pt x="669" y="1441"/>
                    </a:cubicBezTo>
                    <a:cubicBezTo>
                      <a:pt x="669" y="1441"/>
                      <a:pt x="669" y="1441"/>
                      <a:pt x="669" y="1441"/>
                    </a:cubicBezTo>
                    <a:close/>
                    <a:moveTo>
                      <a:pt x="663" y="1437"/>
                    </a:moveTo>
                    <a:cubicBezTo>
                      <a:pt x="663" y="1437"/>
                      <a:pt x="663" y="1437"/>
                      <a:pt x="663" y="1437"/>
                    </a:cubicBezTo>
                    <a:cubicBezTo>
                      <a:pt x="663" y="1437"/>
                      <a:pt x="663" y="1437"/>
                      <a:pt x="663" y="1437"/>
                    </a:cubicBezTo>
                    <a:close/>
                    <a:moveTo>
                      <a:pt x="663" y="1432"/>
                    </a:moveTo>
                    <a:cubicBezTo>
                      <a:pt x="663" y="1432"/>
                      <a:pt x="663" y="1432"/>
                      <a:pt x="663" y="1432"/>
                    </a:cubicBezTo>
                    <a:cubicBezTo>
                      <a:pt x="663" y="1432"/>
                      <a:pt x="663" y="1432"/>
                      <a:pt x="663" y="1432"/>
                    </a:cubicBezTo>
                    <a:close/>
                    <a:moveTo>
                      <a:pt x="1252" y="1438"/>
                    </a:moveTo>
                    <a:cubicBezTo>
                      <a:pt x="1246" y="1438"/>
                      <a:pt x="1239" y="1435"/>
                      <a:pt x="1233" y="1433"/>
                    </a:cubicBezTo>
                    <a:cubicBezTo>
                      <a:pt x="1232" y="1432"/>
                      <a:pt x="1231" y="1432"/>
                      <a:pt x="1230" y="1431"/>
                    </a:cubicBezTo>
                    <a:cubicBezTo>
                      <a:pt x="1223" y="1429"/>
                      <a:pt x="1221" y="1422"/>
                      <a:pt x="1219" y="1416"/>
                    </a:cubicBezTo>
                    <a:cubicBezTo>
                      <a:pt x="1219" y="1415"/>
                      <a:pt x="1219" y="1413"/>
                      <a:pt x="1218" y="1412"/>
                    </a:cubicBezTo>
                    <a:cubicBezTo>
                      <a:pt x="1215" y="1403"/>
                      <a:pt x="1217" y="1395"/>
                      <a:pt x="1223" y="1389"/>
                    </a:cubicBezTo>
                    <a:cubicBezTo>
                      <a:pt x="1228" y="1386"/>
                      <a:pt x="1231" y="1382"/>
                      <a:pt x="1233" y="1379"/>
                    </a:cubicBezTo>
                    <a:cubicBezTo>
                      <a:pt x="1235" y="1378"/>
                      <a:pt x="1236" y="1376"/>
                      <a:pt x="1237" y="1375"/>
                    </a:cubicBezTo>
                    <a:cubicBezTo>
                      <a:pt x="1242" y="1371"/>
                      <a:pt x="1256" y="1368"/>
                      <a:pt x="1256" y="1368"/>
                    </a:cubicBezTo>
                    <a:cubicBezTo>
                      <a:pt x="1256" y="1368"/>
                      <a:pt x="1256" y="1368"/>
                      <a:pt x="1256" y="1368"/>
                    </a:cubicBezTo>
                    <a:cubicBezTo>
                      <a:pt x="1259" y="1367"/>
                      <a:pt x="1267" y="1367"/>
                      <a:pt x="1277" y="1368"/>
                    </a:cubicBezTo>
                    <a:cubicBezTo>
                      <a:pt x="1281" y="1368"/>
                      <a:pt x="1283" y="1368"/>
                      <a:pt x="1285" y="1368"/>
                    </a:cubicBezTo>
                    <a:cubicBezTo>
                      <a:pt x="1287" y="1368"/>
                      <a:pt x="1288" y="1367"/>
                      <a:pt x="1290" y="1367"/>
                    </a:cubicBezTo>
                    <a:cubicBezTo>
                      <a:pt x="1294" y="1366"/>
                      <a:pt x="1300" y="1364"/>
                      <a:pt x="1303" y="1372"/>
                    </a:cubicBezTo>
                    <a:cubicBezTo>
                      <a:pt x="1305" y="1380"/>
                      <a:pt x="1299" y="1388"/>
                      <a:pt x="1293" y="1395"/>
                    </a:cubicBezTo>
                    <a:cubicBezTo>
                      <a:pt x="1291" y="1397"/>
                      <a:pt x="1291" y="1397"/>
                      <a:pt x="1291" y="1397"/>
                    </a:cubicBezTo>
                    <a:cubicBezTo>
                      <a:pt x="1288" y="1400"/>
                      <a:pt x="1288" y="1404"/>
                      <a:pt x="1287" y="1408"/>
                    </a:cubicBezTo>
                    <a:cubicBezTo>
                      <a:pt x="1287" y="1412"/>
                      <a:pt x="1287" y="1416"/>
                      <a:pt x="1284" y="1418"/>
                    </a:cubicBezTo>
                    <a:cubicBezTo>
                      <a:pt x="1279" y="1422"/>
                      <a:pt x="1268" y="1429"/>
                      <a:pt x="1261" y="1434"/>
                    </a:cubicBezTo>
                    <a:cubicBezTo>
                      <a:pt x="1259" y="1436"/>
                      <a:pt x="1259" y="1436"/>
                      <a:pt x="1259" y="1436"/>
                    </a:cubicBezTo>
                    <a:cubicBezTo>
                      <a:pt x="1257" y="1437"/>
                      <a:pt x="1254" y="1438"/>
                      <a:pt x="1252" y="1438"/>
                    </a:cubicBezTo>
                    <a:close/>
                    <a:moveTo>
                      <a:pt x="1257" y="1372"/>
                    </a:moveTo>
                    <a:cubicBezTo>
                      <a:pt x="1257" y="1372"/>
                      <a:pt x="1257" y="1372"/>
                      <a:pt x="1257" y="1372"/>
                    </a:cubicBezTo>
                    <a:cubicBezTo>
                      <a:pt x="1252" y="1373"/>
                      <a:pt x="1243" y="1376"/>
                      <a:pt x="1240" y="1379"/>
                    </a:cubicBezTo>
                    <a:cubicBezTo>
                      <a:pt x="1239" y="1380"/>
                      <a:pt x="1238" y="1381"/>
                      <a:pt x="1237" y="1382"/>
                    </a:cubicBezTo>
                    <a:cubicBezTo>
                      <a:pt x="1234" y="1385"/>
                      <a:pt x="1231" y="1389"/>
                      <a:pt x="1226" y="1393"/>
                    </a:cubicBezTo>
                    <a:cubicBezTo>
                      <a:pt x="1220" y="1399"/>
                      <a:pt x="1221" y="1405"/>
                      <a:pt x="1222" y="1410"/>
                    </a:cubicBezTo>
                    <a:cubicBezTo>
                      <a:pt x="1223" y="1412"/>
                      <a:pt x="1223" y="1413"/>
                      <a:pt x="1224" y="1415"/>
                    </a:cubicBezTo>
                    <a:cubicBezTo>
                      <a:pt x="1225" y="1420"/>
                      <a:pt x="1227" y="1425"/>
                      <a:pt x="1231" y="1427"/>
                    </a:cubicBezTo>
                    <a:cubicBezTo>
                      <a:pt x="1232" y="1427"/>
                      <a:pt x="1234" y="1428"/>
                      <a:pt x="1235" y="1428"/>
                    </a:cubicBezTo>
                    <a:cubicBezTo>
                      <a:pt x="1241" y="1431"/>
                      <a:pt x="1252" y="1435"/>
                      <a:pt x="1256" y="1432"/>
                    </a:cubicBezTo>
                    <a:cubicBezTo>
                      <a:pt x="1259" y="1430"/>
                      <a:pt x="1259" y="1430"/>
                      <a:pt x="1259" y="1430"/>
                    </a:cubicBezTo>
                    <a:cubicBezTo>
                      <a:pt x="1265" y="1426"/>
                      <a:pt x="1276" y="1419"/>
                      <a:pt x="1280" y="1415"/>
                    </a:cubicBezTo>
                    <a:cubicBezTo>
                      <a:pt x="1282" y="1413"/>
                      <a:pt x="1282" y="1411"/>
                      <a:pt x="1283" y="1407"/>
                    </a:cubicBezTo>
                    <a:cubicBezTo>
                      <a:pt x="1283" y="1404"/>
                      <a:pt x="1284" y="1399"/>
                      <a:pt x="1288" y="1394"/>
                    </a:cubicBezTo>
                    <a:cubicBezTo>
                      <a:pt x="1290" y="1392"/>
                      <a:pt x="1290" y="1392"/>
                      <a:pt x="1290" y="1392"/>
                    </a:cubicBezTo>
                    <a:cubicBezTo>
                      <a:pt x="1295" y="1385"/>
                      <a:pt x="1300" y="1379"/>
                      <a:pt x="1298" y="1374"/>
                    </a:cubicBezTo>
                    <a:cubicBezTo>
                      <a:pt x="1297" y="1370"/>
                      <a:pt x="1296" y="1370"/>
                      <a:pt x="1291" y="1371"/>
                    </a:cubicBezTo>
                    <a:cubicBezTo>
                      <a:pt x="1289" y="1372"/>
                      <a:pt x="1287" y="1372"/>
                      <a:pt x="1285" y="1372"/>
                    </a:cubicBezTo>
                    <a:cubicBezTo>
                      <a:pt x="1283" y="1372"/>
                      <a:pt x="1281" y="1372"/>
                      <a:pt x="1277" y="1372"/>
                    </a:cubicBezTo>
                    <a:cubicBezTo>
                      <a:pt x="1270" y="1372"/>
                      <a:pt x="1259" y="1372"/>
                      <a:pt x="1257" y="1372"/>
                    </a:cubicBezTo>
                    <a:close/>
                    <a:moveTo>
                      <a:pt x="683" y="1418"/>
                    </a:moveTo>
                    <a:cubicBezTo>
                      <a:pt x="683" y="1418"/>
                      <a:pt x="683" y="1418"/>
                      <a:pt x="683" y="1418"/>
                    </a:cubicBezTo>
                    <a:cubicBezTo>
                      <a:pt x="681" y="1418"/>
                      <a:pt x="679" y="1416"/>
                      <a:pt x="679" y="1413"/>
                    </a:cubicBezTo>
                    <a:cubicBezTo>
                      <a:pt x="679" y="1412"/>
                      <a:pt x="679" y="1411"/>
                      <a:pt x="679" y="1409"/>
                    </a:cubicBezTo>
                    <a:cubicBezTo>
                      <a:pt x="679" y="1406"/>
                      <a:pt x="679" y="1402"/>
                      <a:pt x="677" y="1400"/>
                    </a:cubicBezTo>
                    <a:cubicBezTo>
                      <a:pt x="676" y="1397"/>
                      <a:pt x="676" y="1395"/>
                      <a:pt x="677" y="1394"/>
                    </a:cubicBezTo>
                    <a:cubicBezTo>
                      <a:pt x="678" y="1392"/>
                      <a:pt x="680" y="1391"/>
                      <a:pt x="681" y="1391"/>
                    </a:cubicBezTo>
                    <a:cubicBezTo>
                      <a:pt x="681" y="1391"/>
                      <a:pt x="681" y="1391"/>
                      <a:pt x="681" y="1391"/>
                    </a:cubicBezTo>
                    <a:cubicBezTo>
                      <a:pt x="683" y="1391"/>
                      <a:pt x="688" y="1390"/>
                      <a:pt x="691" y="1393"/>
                    </a:cubicBezTo>
                    <a:cubicBezTo>
                      <a:pt x="692" y="1394"/>
                      <a:pt x="693" y="1396"/>
                      <a:pt x="693" y="1399"/>
                    </a:cubicBezTo>
                    <a:cubicBezTo>
                      <a:pt x="693" y="1404"/>
                      <a:pt x="691" y="1407"/>
                      <a:pt x="690" y="1410"/>
                    </a:cubicBezTo>
                    <a:cubicBezTo>
                      <a:pt x="689" y="1411"/>
                      <a:pt x="689" y="1412"/>
                      <a:pt x="688" y="1413"/>
                    </a:cubicBezTo>
                    <a:cubicBezTo>
                      <a:pt x="687" y="1416"/>
                      <a:pt x="685" y="1418"/>
                      <a:pt x="683" y="1418"/>
                    </a:cubicBezTo>
                    <a:close/>
                    <a:moveTo>
                      <a:pt x="682" y="1396"/>
                    </a:moveTo>
                    <a:cubicBezTo>
                      <a:pt x="682" y="1396"/>
                      <a:pt x="681" y="1396"/>
                      <a:pt x="681" y="1396"/>
                    </a:cubicBezTo>
                    <a:cubicBezTo>
                      <a:pt x="681" y="1396"/>
                      <a:pt x="681" y="1397"/>
                      <a:pt x="681" y="1397"/>
                    </a:cubicBezTo>
                    <a:cubicBezTo>
                      <a:pt x="684" y="1401"/>
                      <a:pt x="684" y="1406"/>
                      <a:pt x="683" y="1409"/>
                    </a:cubicBezTo>
                    <a:cubicBezTo>
                      <a:pt x="683" y="1411"/>
                      <a:pt x="683" y="1412"/>
                      <a:pt x="683" y="1413"/>
                    </a:cubicBezTo>
                    <a:cubicBezTo>
                      <a:pt x="683" y="1412"/>
                      <a:pt x="684" y="1412"/>
                      <a:pt x="684" y="1412"/>
                    </a:cubicBezTo>
                    <a:cubicBezTo>
                      <a:pt x="684" y="1410"/>
                      <a:pt x="685" y="1409"/>
                      <a:pt x="686" y="1407"/>
                    </a:cubicBezTo>
                    <a:cubicBezTo>
                      <a:pt x="687" y="1405"/>
                      <a:pt x="689" y="1403"/>
                      <a:pt x="689" y="1399"/>
                    </a:cubicBezTo>
                    <a:cubicBezTo>
                      <a:pt x="689" y="1398"/>
                      <a:pt x="688" y="1397"/>
                      <a:pt x="688" y="1397"/>
                    </a:cubicBezTo>
                    <a:cubicBezTo>
                      <a:pt x="686" y="1396"/>
                      <a:pt x="684" y="1395"/>
                      <a:pt x="682" y="1396"/>
                    </a:cubicBezTo>
                    <a:close/>
                    <a:moveTo>
                      <a:pt x="1274" y="1361"/>
                    </a:moveTo>
                    <a:cubicBezTo>
                      <a:pt x="1262" y="1361"/>
                      <a:pt x="1260" y="1352"/>
                      <a:pt x="1258" y="1344"/>
                    </a:cubicBezTo>
                    <a:cubicBezTo>
                      <a:pt x="1258" y="1342"/>
                      <a:pt x="1257" y="1340"/>
                      <a:pt x="1257" y="1338"/>
                    </a:cubicBezTo>
                    <a:cubicBezTo>
                      <a:pt x="1255" y="1331"/>
                      <a:pt x="1254" y="1326"/>
                      <a:pt x="1257" y="1323"/>
                    </a:cubicBezTo>
                    <a:cubicBezTo>
                      <a:pt x="1260" y="1321"/>
                      <a:pt x="1260" y="1318"/>
                      <a:pt x="1259" y="1317"/>
                    </a:cubicBezTo>
                    <a:cubicBezTo>
                      <a:pt x="1258" y="1315"/>
                      <a:pt x="1252" y="1315"/>
                      <a:pt x="1245" y="1317"/>
                    </a:cubicBezTo>
                    <a:cubicBezTo>
                      <a:pt x="1244" y="1317"/>
                      <a:pt x="1244" y="1317"/>
                      <a:pt x="1244" y="1317"/>
                    </a:cubicBezTo>
                    <a:cubicBezTo>
                      <a:pt x="1241" y="1318"/>
                      <a:pt x="1238" y="1319"/>
                      <a:pt x="1235" y="1318"/>
                    </a:cubicBezTo>
                    <a:cubicBezTo>
                      <a:pt x="1234" y="1317"/>
                      <a:pt x="1233" y="1316"/>
                      <a:pt x="1233" y="1314"/>
                    </a:cubicBezTo>
                    <a:cubicBezTo>
                      <a:pt x="1233" y="1313"/>
                      <a:pt x="1230" y="1313"/>
                      <a:pt x="1229" y="1313"/>
                    </a:cubicBezTo>
                    <a:cubicBezTo>
                      <a:pt x="1227" y="1313"/>
                      <a:pt x="1224" y="1312"/>
                      <a:pt x="1222" y="1311"/>
                    </a:cubicBezTo>
                    <a:cubicBezTo>
                      <a:pt x="1220" y="1310"/>
                      <a:pt x="1218" y="1311"/>
                      <a:pt x="1215" y="1314"/>
                    </a:cubicBezTo>
                    <a:cubicBezTo>
                      <a:pt x="1214" y="1314"/>
                      <a:pt x="1213" y="1315"/>
                      <a:pt x="1212" y="1315"/>
                    </a:cubicBezTo>
                    <a:cubicBezTo>
                      <a:pt x="1206" y="1319"/>
                      <a:pt x="1198" y="1316"/>
                      <a:pt x="1198" y="1316"/>
                    </a:cubicBezTo>
                    <a:cubicBezTo>
                      <a:pt x="1199" y="1311"/>
                      <a:pt x="1199" y="1311"/>
                      <a:pt x="1199" y="1311"/>
                    </a:cubicBezTo>
                    <a:cubicBezTo>
                      <a:pt x="1201" y="1312"/>
                      <a:pt x="1206" y="1313"/>
                      <a:pt x="1210" y="1311"/>
                    </a:cubicBezTo>
                    <a:cubicBezTo>
                      <a:pt x="1211" y="1311"/>
                      <a:pt x="1211" y="1310"/>
                      <a:pt x="1212" y="1310"/>
                    </a:cubicBezTo>
                    <a:cubicBezTo>
                      <a:pt x="1216" y="1307"/>
                      <a:pt x="1220" y="1305"/>
                      <a:pt x="1224" y="1307"/>
                    </a:cubicBezTo>
                    <a:cubicBezTo>
                      <a:pt x="1226" y="1308"/>
                      <a:pt x="1228" y="1308"/>
                      <a:pt x="1229" y="1308"/>
                    </a:cubicBezTo>
                    <a:cubicBezTo>
                      <a:pt x="1233" y="1309"/>
                      <a:pt x="1237" y="1309"/>
                      <a:pt x="1238" y="1313"/>
                    </a:cubicBezTo>
                    <a:cubicBezTo>
                      <a:pt x="1238" y="1314"/>
                      <a:pt x="1238" y="1314"/>
                      <a:pt x="1238" y="1314"/>
                    </a:cubicBezTo>
                    <a:cubicBezTo>
                      <a:pt x="1238" y="1314"/>
                      <a:pt x="1242" y="1313"/>
                      <a:pt x="1243" y="1313"/>
                    </a:cubicBezTo>
                    <a:cubicBezTo>
                      <a:pt x="1244" y="1313"/>
                      <a:pt x="1244" y="1313"/>
                      <a:pt x="1244" y="1313"/>
                    </a:cubicBezTo>
                    <a:cubicBezTo>
                      <a:pt x="1248" y="1312"/>
                      <a:pt x="1259" y="1309"/>
                      <a:pt x="1263" y="1314"/>
                    </a:cubicBezTo>
                    <a:cubicBezTo>
                      <a:pt x="1271" y="1314"/>
                      <a:pt x="1289" y="1316"/>
                      <a:pt x="1292" y="1316"/>
                    </a:cubicBezTo>
                    <a:cubicBezTo>
                      <a:pt x="1292" y="1317"/>
                      <a:pt x="1292" y="1317"/>
                      <a:pt x="1292" y="1317"/>
                    </a:cubicBezTo>
                    <a:cubicBezTo>
                      <a:pt x="1292" y="1317"/>
                      <a:pt x="1292" y="1317"/>
                      <a:pt x="1292" y="1317"/>
                    </a:cubicBezTo>
                    <a:cubicBezTo>
                      <a:pt x="1296" y="1315"/>
                      <a:pt x="1303" y="1315"/>
                      <a:pt x="1309" y="1314"/>
                    </a:cubicBezTo>
                    <a:cubicBezTo>
                      <a:pt x="1314" y="1314"/>
                      <a:pt x="1320" y="1313"/>
                      <a:pt x="1322" y="1312"/>
                    </a:cubicBezTo>
                    <a:cubicBezTo>
                      <a:pt x="1324" y="1311"/>
                      <a:pt x="1324" y="1311"/>
                      <a:pt x="1324" y="1311"/>
                    </a:cubicBezTo>
                    <a:cubicBezTo>
                      <a:pt x="1328" y="1309"/>
                      <a:pt x="1332" y="1307"/>
                      <a:pt x="1340" y="1305"/>
                    </a:cubicBezTo>
                    <a:cubicBezTo>
                      <a:pt x="1348" y="1303"/>
                      <a:pt x="1358" y="1301"/>
                      <a:pt x="1367" y="1298"/>
                    </a:cubicBezTo>
                    <a:cubicBezTo>
                      <a:pt x="1369" y="1298"/>
                      <a:pt x="1369" y="1298"/>
                      <a:pt x="1369" y="1298"/>
                    </a:cubicBezTo>
                    <a:cubicBezTo>
                      <a:pt x="1375" y="1296"/>
                      <a:pt x="1385" y="1293"/>
                      <a:pt x="1387" y="1289"/>
                    </a:cubicBezTo>
                    <a:cubicBezTo>
                      <a:pt x="1389" y="1286"/>
                      <a:pt x="1387" y="1275"/>
                      <a:pt x="1386" y="1270"/>
                    </a:cubicBezTo>
                    <a:cubicBezTo>
                      <a:pt x="1386" y="1269"/>
                      <a:pt x="1386" y="1269"/>
                      <a:pt x="1386" y="1269"/>
                    </a:cubicBezTo>
                    <a:cubicBezTo>
                      <a:pt x="1385" y="1267"/>
                      <a:pt x="1386" y="1266"/>
                      <a:pt x="1387" y="1265"/>
                    </a:cubicBezTo>
                    <a:cubicBezTo>
                      <a:pt x="1388" y="1265"/>
                      <a:pt x="1389" y="1264"/>
                      <a:pt x="1392" y="1265"/>
                    </a:cubicBezTo>
                    <a:cubicBezTo>
                      <a:pt x="1396" y="1266"/>
                      <a:pt x="1401" y="1271"/>
                      <a:pt x="1402" y="1275"/>
                    </a:cubicBezTo>
                    <a:cubicBezTo>
                      <a:pt x="1402" y="1279"/>
                      <a:pt x="1404" y="1282"/>
                      <a:pt x="1405" y="1282"/>
                    </a:cubicBezTo>
                    <a:cubicBezTo>
                      <a:pt x="1406" y="1282"/>
                      <a:pt x="1406" y="1283"/>
                      <a:pt x="1408" y="1282"/>
                    </a:cubicBezTo>
                    <a:cubicBezTo>
                      <a:pt x="1410" y="1279"/>
                      <a:pt x="1413" y="1279"/>
                      <a:pt x="1416" y="1279"/>
                    </a:cubicBezTo>
                    <a:cubicBezTo>
                      <a:pt x="1418" y="1278"/>
                      <a:pt x="1421" y="1278"/>
                      <a:pt x="1425" y="1276"/>
                    </a:cubicBezTo>
                    <a:cubicBezTo>
                      <a:pt x="1427" y="1275"/>
                      <a:pt x="1429" y="1274"/>
                      <a:pt x="1430" y="1273"/>
                    </a:cubicBezTo>
                    <a:cubicBezTo>
                      <a:pt x="1437" y="1269"/>
                      <a:pt x="1445" y="1265"/>
                      <a:pt x="1451" y="1268"/>
                    </a:cubicBezTo>
                    <a:cubicBezTo>
                      <a:pt x="1455" y="1270"/>
                      <a:pt x="1461" y="1268"/>
                      <a:pt x="1466" y="1266"/>
                    </a:cubicBezTo>
                    <a:cubicBezTo>
                      <a:pt x="1469" y="1265"/>
                      <a:pt x="1472" y="1264"/>
                      <a:pt x="1475" y="1264"/>
                    </a:cubicBezTo>
                    <a:cubicBezTo>
                      <a:pt x="1482" y="1262"/>
                      <a:pt x="1491" y="1255"/>
                      <a:pt x="1496" y="1249"/>
                    </a:cubicBezTo>
                    <a:cubicBezTo>
                      <a:pt x="1497" y="1247"/>
                      <a:pt x="1499" y="1246"/>
                      <a:pt x="1500" y="1244"/>
                    </a:cubicBezTo>
                    <a:cubicBezTo>
                      <a:pt x="1503" y="1240"/>
                      <a:pt x="1505" y="1236"/>
                      <a:pt x="1510" y="1235"/>
                    </a:cubicBezTo>
                    <a:cubicBezTo>
                      <a:pt x="1512" y="1235"/>
                      <a:pt x="1514" y="1235"/>
                      <a:pt x="1515" y="1235"/>
                    </a:cubicBezTo>
                    <a:cubicBezTo>
                      <a:pt x="1518" y="1235"/>
                      <a:pt x="1520" y="1236"/>
                      <a:pt x="1524" y="1232"/>
                    </a:cubicBezTo>
                    <a:cubicBezTo>
                      <a:pt x="1527" y="1236"/>
                      <a:pt x="1527" y="1236"/>
                      <a:pt x="1527" y="1236"/>
                    </a:cubicBezTo>
                    <a:cubicBezTo>
                      <a:pt x="1521" y="1240"/>
                      <a:pt x="1518" y="1240"/>
                      <a:pt x="1515" y="1240"/>
                    </a:cubicBezTo>
                    <a:cubicBezTo>
                      <a:pt x="1513" y="1240"/>
                      <a:pt x="1512" y="1240"/>
                      <a:pt x="1511" y="1240"/>
                    </a:cubicBezTo>
                    <a:cubicBezTo>
                      <a:pt x="1508" y="1240"/>
                      <a:pt x="1506" y="1243"/>
                      <a:pt x="1504" y="1247"/>
                    </a:cubicBezTo>
                    <a:cubicBezTo>
                      <a:pt x="1502" y="1248"/>
                      <a:pt x="1501" y="1250"/>
                      <a:pt x="1500" y="1252"/>
                    </a:cubicBezTo>
                    <a:cubicBezTo>
                      <a:pt x="1497" y="1255"/>
                      <a:pt x="1487" y="1266"/>
                      <a:pt x="1476" y="1268"/>
                    </a:cubicBezTo>
                    <a:cubicBezTo>
                      <a:pt x="1473" y="1269"/>
                      <a:pt x="1470" y="1270"/>
                      <a:pt x="1468" y="1271"/>
                    </a:cubicBezTo>
                    <a:cubicBezTo>
                      <a:pt x="1461" y="1273"/>
                      <a:pt x="1455" y="1275"/>
                      <a:pt x="1449" y="1272"/>
                    </a:cubicBezTo>
                    <a:cubicBezTo>
                      <a:pt x="1445" y="1270"/>
                      <a:pt x="1439" y="1273"/>
                      <a:pt x="1432" y="1277"/>
                    </a:cubicBezTo>
                    <a:cubicBezTo>
                      <a:pt x="1431" y="1278"/>
                      <a:pt x="1429" y="1279"/>
                      <a:pt x="1428" y="1280"/>
                    </a:cubicBezTo>
                    <a:cubicBezTo>
                      <a:pt x="1423" y="1282"/>
                      <a:pt x="1419" y="1283"/>
                      <a:pt x="1417" y="1283"/>
                    </a:cubicBezTo>
                    <a:cubicBezTo>
                      <a:pt x="1414" y="1284"/>
                      <a:pt x="1412" y="1284"/>
                      <a:pt x="1410" y="1285"/>
                    </a:cubicBezTo>
                    <a:cubicBezTo>
                      <a:pt x="1408" y="1287"/>
                      <a:pt x="1406" y="1287"/>
                      <a:pt x="1404" y="1286"/>
                    </a:cubicBezTo>
                    <a:cubicBezTo>
                      <a:pt x="1400" y="1285"/>
                      <a:pt x="1398" y="1281"/>
                      <a:pt x="1397" y="1276"/>
                    </a:cubicBezTo>
                    <a:cubicBezTo>
                      <a:pt x="1397" y="1273"/>
                      <a:pt x="1393" y="1270"/>
                      <a:pt x="1390" y="1269"/>
                    </a:cubicBezTo>
                    <a:cubicBezTo>
                      <a:pt x="1390" y="1269"/>
                      <a:pt x="1390" y="1269"/>
                      <a:pt x="1390" y="1269"/>
                    </a:cubicBezTo>
                    <a:cubicBezTo>
                      <a:pt x="1392" y="1278"/>
                      <a:pt x="1394" y="1287"/>
                      <a:pt x="1391" y="1292"/>
                    </a:cubicBezTo>
                    <a:cubicBezTo>
                      <a:pt x="1388" y="1296"/>
                      <a:pt x="1379" y="1299"/>
                      <a:pt x="1370" y="1302"/>
                    </a:cubicBezTo>
                    <a:cubicBezTo>
                      <a:pt x="1368" y="1303"/>
                      <a:pt x="1368" y="1303"/>
                      <a:pt x="1368" y="1303"/>
                    </a:cubicBezTo>
                    <a:cubicBezTo>
                      <a:pt x="1359" y="1305"/>
                      <a:pt x="1349" y="1308"/>
                      <a:pt x="1341" y="1310"/>
                    </a:cubicBezTo>
                    <a:cubicBezTo>
                      <a:pt x="1334" y="1312"/>
                      <a:pt x="1330" y="1313"/>
                      <a:pt x="1326" y="1315"/>
                    </a:cubicBezTo>
                    <a:cubicBezTo>
                      <a:pt x="1324" y="1316"/>
                      <a:pt x="1324" y="1316"/>
                      <a:pt x="1324" y="1316"/>
                    </a:cubicBezTo>
                    <a:cubicBezTo>
                      <a:pt x="1321" y="1318"/>
                      <a:pt x="1316" y="1318"/>
                      <a:pt x="1309" y="1319"/>
                    </a:cubicBezTo>
                    <a:cubicBezTo>
                      <a:pt x="1303" y="1319"/>
                      <a:pt x="1297" y="1320"/>
                      <a:pt x="1294" y="1321"/>
                    </a:cubicBezTo>
                    <a:cubicBezTo>
                      <a:pt x="1289" y="1323"/>
                      <a:pt x="1287" y="1325"/>
                      <a:pt x="1287" y="1327"/>
                    </a:cubicBezTo>
                    <a:cubicBezTo>
                      <a:pt x="1287" y="1330"/>
                      <a:pt x="1287" y="1332"/>
                      <a:pt x="1286" y="1333"/>
                    </a:cubicBezTo>
                    <a:cubicBezTo>
                      <a:pt x="1285" y="1334"/>
                      <a:pt x="1283" y="1334"/>
                      <a:pt x="1282" y="1334"/>
                    </a:cubicBezTo>
                    <a:cubicBezTo>
                      <a:pt x="1281" y="1335"/>
                      <a:pt x="1280" y="1335"/>
                      <a:pt x="1279" y="1335"/>
                    </a:cubicBezTo>
                    <a:cubicBezTo>
                      <a:pt x="1279" y="1336"/>
                      <a:pt x="1279" y="1336"/>
                      <a:pt x="1280" y="1337"/>
                    </a:cubicBezTo>
                    <a:cubicBezTo>
                      <a:pt x="1280" y="1337"/>
                      <a:pt x="1281" y="1338"/>
                      <a:pt x="1282" y="1339"/>
                    </a:cubicBezTo>
                    <a:cubicBezTo>
                      <a:pt x="1285" y="1343"/>
                      <a:pt x="1288" y="1347"/>
                      <a:pt x="1288" y="1351"/>
                    </a:cubicBezTo>
                    <a:cubicBezTo>
                      <a:pt x="1287" y="1354"/>
                      <a:pt x="1286" y="1361"/>
                      <a:pt x="1274" y="1361"/>
                    </a:cubicBezTo>
                    <a:close/>
                    <a:moveTo>
                      <a:pt x="1264" y="1319"/>
                    </a:moveTo>
                    <a:cubicBezTo>
                      <a:pt x="1264" y="1321"/>
                      <a:pt x="1263" y="1324"/>
                      <a:pt x="1260" y="1327"/>
                    </a:cubicBezTo>
                    <a:cubicBezTo>
                      <a:pt x="1259" y="1328"/>
                      <a:pt x="1260" y="1333"/>
                      <a:pt x="1261" y="1337"/>
                    </a:cubicBezTo>
                    <a:cubicBezTo>
                      <a:pt x="1262" y="1339"/>
                      <a:pt x="1262" y="1341"/>
                      <a:pt x="1263" y="1343"/>
                    </a:cubicBezTo>
                    <a:cubicBezTo>
                      <a:pt x="1265" y="1352"/>
                      <a:pt x="1266" y="1357"/>
                      <a:pt x="1274" y="1357"/>
                    </a:cubicBezTo>
                    <a:cubicBezTo>
                      <a:pt x="1282" y="1357"/>
                      <a:pt x="1283" y="1353"/>
                      <a:pt x="1283" y="1350"/>
                    </a:cubicBezTo>
                    <a:cubicBezTo>
                      <a:pt x="1283" y="1349"/>
                      <a:pt x="1280" y="1344"/>
                      <a:pt x="1278" y="1342"/>
                    </a:cubicBezTo>
                    <a:cubicBezTo>
                      <a:pt x="1277" y="1341"/>
                      <a:pt x="1277" y="1340"/>
                      <a:pt x="1276" y="1340"/>
                    </a:cubicBezTo>
                    <a:cubicBezTo>
                      <a:pt x="1275" y="1339"/>
                      <a:pt x="1274" y="1336"/>
                      <a:pt x="1274" y="1334"/>
                    </a:cubicBezTo>
                    <a:cubicBezTo>
                      <a:pt x="1274" y="1333"/>
                      <a:pt x="1275" y="1332"/>
                      <a:pt x="1276" y="1331"/>
                    </a:cubicBezTo>
                    <a:cubicBezTo>
                      <a:pt x="1279" y="1330"/>
                      <a:pt x="1281" y="1330"/>
                      <a:pt x="1282" y="1330"/>
                    </a:cubicBezTo>
                    <a:cubicBezTo>
                      <a:pt x="1282" y="1330"/>
                      <a:pt x="1282" y="1330"/>
                      <a:pt x="1282" y="1330"/>
                    </a:cubicBezTo>
                    <a:cubicBezTo>
                      <a:pt x="1282" y="1329"/>
                      <a:pt x="1282" y="1329"/>
                      <a:pt x="1282" y="1328"/>
                    </a:cubicBezTo>
                    <a:cubicBezTo>
                      <a:pt x="1282" y="1325"/>
                      <a:pt x="1283" y="1322"/>
                      <a:pt x="1286" y="1320"/>
                    </a:cubicBezTo>
                    <a:cubicBezTo>
                      <a:pt x="1279" y="1320"/>
                      <a:pt x="1269" y="1319"/>
                      <a:pt x="1264" y="1319"/>
                    </a:cubicBezTo>
                    <a:close/>
                    <a:moveTo>
                      <a:pt x="983" y="1355"/>
                    </a:moveTo>
                    <a:cubicBezTo>
                      <a:pt x="982" y="1355"/>
                      <a:pt x="981" y="1355"/>
                      <a:pt x="981" y="1355"/>
                    </a:cubicBezTo>
                    <a:cubicBezTo>
                      <a:pt x="980" y="1354"/>
                      <a:pt x="979" y="1353"/>
                      <a:pt x="979" y="1352"/>
                    </a:cubicBezTo>
                    <a:cubicBezTo>
                      <a:pt x="978" y="1349"/>
                      <a:pt x="981" y="1347"/>
                      <a:pt x="982" y="1346"/>
                    </a:cubicBezTo>
                    <a:cubicBezTo>
                      <a:pt x="984" y="1345"/>
                      <a:pt x="986" y="1345"/>
                      <a:pt x="987" y="1346"/>
                    </a:cubicBezTo>
                    <a:cubicBezTo>
                      <a:pt x="988" y="1347"/>
                      <a:pt x="988" y="1350"/>
                      <a:pt x="987" y="1352"/>
                    </a:cubicBezTo>
                    <a:cubicBezTo>
                      <a:pt x="987" y="1353"/>
                      <a:pt x="987" y="1353"/>
                      <a:pt x="987" y="1353"/>
                    </a:cubicBezTo>
                    <a:cubicBezTo>
                      <a:pt x="986" y="1354"/>
                      <a:pt x="986" y="1355"/>
                      <a:pt x="984" y="1355"/>
                    </a:cubicBezTo>
                    <a:cubicBezTo>
                      <a:pt x="984" y="1355"/>
                      <a:pt x="984" y="1355"/>
                      <a:pt x="984" y="1355"/>
                    </a:cubicBezTo>
                    <a:cubicBezTo>
                      <a:pt x="983" y="1355"/>
                      <a:pt x="983" y="1355"/>
                      <a:pt x="983" y="1355"/>
                    </a:cubicBezTo>
                    <a:close/>
                    <a:moveTo>
                      <a:pt x="990" y="1338"/>
                    </a:moveTo>
                    <a:cubicBezTo>
                      <a:pt x="990" y="1338"/>
                      <a:pt x="989" y="1338"/>
                      <a:pt x="988" y="1337"/>
                    </a:cubicBezTo>
                    <a:cubicBezTo>
                      <a:pt x="987" y="1337"/>
                      <a:pt x="986" y="1336"/>
                      <a:pt x="987" y="1333"/>
                    </a:cubicBezTo>
                    <a:cubicBezTo>
                      <a:pt x="987" y="1333"/>
                      <a:pt x="987" y="1333"/>
                      <a:pt x="987" y="1333"/>
                    </a:cubicBezTo>
                    <a:cubicBezTo>
                      <a:pt x="987" y="1333"/>
                      <a:pt x="987" y="1332"/>
                      <a:pt x="987" y="1332"/>
                    </a:cubicBezTo>
                    <a:cubicBezTo>
                      <a:pt x="987" y="1332"/>
                      <a:pt x="987" y="1333"/>
                      <a:pt x="987" y="1333"/>
                    </a:cubicBezTo>
                    <a:cubicBezTo>
                      <a:pt x="991" y="1330"/>
                      <a:pt x="991" y="1330"/>
                      <a:pt x="991" y="1330"/>
                    </a:cubicBezTo>
                    <a:cubicBezTo>
                      <a:pt x="990" y="1330"/>
                      <a:pt x="990" y="1330"/>
                      <a:pt x="990" y="1330"/>
                    </a:cubicBezTo>
                    <a:cubicBezTo>
                      <a:pt x="990" y="1330"/>
                      <a:pt x="990" y="1330"/>
                      <a:pt x="991" y="1330"/>
                    </a:cubicBezTo>
                    <a:cubicBezTo>
                      <a:pt x="995" y="1330"/>
                      <a:pt x="996" y="1332"/>
                      <a:pt x="996" y="1333"/>
                    </a:cubicBezTo>
                    <a:cubicBezTo>
                      <a:pt x="996" y="1334"/>
                      <a:pt x="996" y="1335"/>
                      <a:pt x="994" y="1337"/>
                    </a:cubicBezTo>
                    <a:cubicBezTo>
                      <a:pt x="993" y="1337"/>
                      <a:pt x="992" y="1338"/>
                      <a:pt x="990" y="1338"/>
                    </a:cubicBezTo>
                    <a:close/>
                    <a:moveTo>
                      <a:pt x="1061" y="1335"/>
                    </a:moveTo>
                    <a:cubicBezTo>
                      <a:pt x="1060" y="1335"/>
                      <a:pt x="1058" y="1335"/>
                      <a:pt x="1057" y="1334"/>
                    </a:cubicBezTo>
                    <a:cubicBezTo>
                      <a:pt x="1056" y="1333"/>
                      <a:pt x="1056" y="1333"/>
                      <a:pt x="1056" y="1333"/>
                    </a:cubicBezTo>
                    <a:cubicBezTo>
                      <a:pt x="1056" y="1333"/>
                      <a:pt x="1054" y="1332"/>
                      <a:pt x="1055" y="1330"/>
                    </a:cubicBezTo>
                    <a:cubicBezTo>
                      <a:pt x="1055" y="1330"/>
                      <a:pt x="1055" y="1330"/>
                      <a:pt x="1055" y="1330"/>
                    </a:cubicBezTo>
                    <a:cubicBezTo>
                      <a:pt x="1055" y="1327"/>
                      <a:pt x="1057" y="1326"/>
                      <a:pt x="1059" y="1326"/>
                    </a:cubicBezTo>
                    <a:cubicBezTo>
                      <a:pt x="1063" y="1326"/>
                      <a:pt x="1064" y="1329"/>
                      <a:pt x="1064" y="1330"/>
                    </a:cubicBezTo>
                    <a:cubicBezTo>
                      <a:pt x="1065" y="1332"/>
                      <a:pt x="1064" y="1334"/>
                      <a:pt x="1063" y="1335"/>
                    </a:cubicBezTo>
                    <a:cubicBezTo>
                      <a:pt x="1063" y="1335"/>
                      <a:pt x="1062" y="1335"/>
                      <a:pt x="1061" y="1335"/>
                    </a:cubicBezTo>
                    <a:close/>
                    <a:moveTo>
                      <a:pt x="713" y="1275"/>
                    </a:moveTo>
                    <a:cubicBezTo>
                      <a:pt x="712" y="1275"/>
                      <a:pt x="712" y="1275"/>
                      <a:pt x="711" y="1274"/>
                    </a:cubicBezTo>
                    <a:cubicBezTo>
                      <a:pt x="709" y="1272"/>
                      <a:pt x="711" y="1270"/>
                      <a:pt x="711" y="1269"/>
                    </a:cubicBezTo>
                    <a:cubicBezTo>
                      <a:pt x="712" y="1268"/>
                      <a:pt x="713" y="1268"/>
                      <a:pt x="713" y="1267"/>
                    </a:cubicBezTo>
                    <a:cubicBezTo>
                      <a:pt x="714" y="1267"/>
                      <a:pt x="714" y="1267"/>
                      <a:pt x="714" y="1266"/>
                    </a:cubicBezTo>
                    <a:cubicBezTo>
                      <a:pt x="717" y="1265"/>
                      <a:pt x="720" y="1266"/>
                      <a:pt x="721" y="1267"/>
                    </a:cubicBezTo>
                    <a:cubicBezTo>
                      <a:pt x="722" y="1267"/>
                      <a:pt x="722" y="1268"/>
                      <a:pt x="723" y="1269"/>
                    </a:cubicBezTo>
                    <a:cubicBezTo>
                      <a:pt x="723" y="1270"/>
                      <a:pt x="723" y="1272"/>
                      <a:pt x="722" y="1273"/>
                    </a:cubicBezTo>
                    <a:cubicBezTo>
                      <a:pt x="720" y="1274"/>
                      <a:pt x="718" y="1275"/>
                      <a:pt x="716" y="1275"/>
                    </a:cubicBezTo>
                    <a:cubicBezTo>
                      <a:pt x="716" y="1275"/>
                      <a:pt x="715" y="1275"/>
                      <a:pt x="714" y="1275"/>
                    </a:cubicBezTo>
                    <a:cubicBezTo>
                      <a:pt x="714" y="1275"/>
                      <a:pt x="714" y="1275"/>
                      <a:pt x="713" y="1275"/>
                    </a:cubicBezTo>
                    <a:close/>
                    <a:moveTo>
                      <a:pt x="713" y="1271"/>
                    </a:moveTo>
                    <a:cubicBezTo>
                      <a:pt x="713" y="1271"/>
                      <a:pt x="713" y="1271"/>
                      <a:pt x="713" y="1271"/>
                    </a:cubicBezTo>
                    <a:cubicBezTo>
                      <a:pt x="714" y="1273"/>
                      <a:pt x="714" y="1273"/>
                      <a:pt x="714" y="1273"/>
                    </a:cubicBezTo>
                    <a:lnTo>
                      <a:pt x="713" y="1271"/>
                    </a:lnTo>
                    <a:close/>
                    <a:moveTo>
                      <a:pt x="719" y="1271"/>
                    </a:moveTo>
                    <a:cubicBezTo>
                      <a:pt x="719" y="1271"/>
                      <a:pt x="719" y="1271"/>
                      <a:pt x="719" y="1271"/>
                    </a:cubicBezTo>
                    <a:cubicBezTo>
                      <a:pt x="719" y="1271"/>
                      <a:pt x="719" y="1271"/>
                      <a:pt x="719" y="1271"/>
                    </a:cubicBezTo>
                    <a:close/>
                    <a:moveTo>
                      <a:pt x="718" y="1270"/>
                    </a:moveTo>
                    <a:cubicBezTo>
                      <a:pt x="718" y="1270"/>
                      <a:pt x="718" y="1270"/>
                      <a:pt x="718" y="1270"/>
                    </a:cubicBezTo>
                    <a:close/>
                    <a:moveTo>
                      <a:pt x="771" y="1190"/>
                    </a:moveTo>
                    <a:cubicBezTo>
                      <a:pt x="770" y="1190"/>
                      <a:pt x="770" y="1190"/>
                      <a:pt x="769" y="1190"/>
                    </a:cubicBezTo>
                    <a:cubicBezTo>
                      <a:pt x="767" y="1189"/>
                      <a:pt x="766" y="1188"/>
                      <a:pt x="766" y="1187"/>
                    </a:cubicBezTo>
                    <a:cubicBezTo>
                      <a:pt x="765" y="1185"/>
                      <a:pt x="766" y="1184"/>
                      <a:pt x="768" y="1183"/>
                    </a:cubicBezTo>
                    <a:cubicBezTo>
                      <a:pt x="768" y="1182"/>
                      <a:pt x="769" y="1182"/>
                      <a:pt x="769" y="1182"/>
                    </a:cubicBezTo>
                    <a:cubicBezTo>
                      <a:pt x="770" y="1182"/>
                      <a:pt x="770" y="1182"/>
                      <a:pt x="770" y="1182"/>
                    </a:cubicBezTo>
                    <a:cubicBezTo>
                      <a:pt x="771" y="1182"/>
                      <a:pt x="771" y="1182"/>
                      <a:pt x="771" y="1182"/>
                    </a:cubicBezTo>
                    <a:cubicBezTo>
                      <a:pt x="771" y="1182"/>
                      <a:pt x="771" y="1182"/>
                      <a:pt x="772" y="1182"/>
                    </a:cubicBezTo>
                    <a:cubicBezTo>
                      <a:pt x="774" y="1182"/>
                      <a:pt x="775" y="1183"/>
                      <a:pt x="775" y="1184"/>
                    </a:cubicBezTo>
                    <a:cubicBezTo>
                      <a:pt x="776" y="1186"/>
                      <a:pt x="774" y="1188"/>
                      <a:pt x="773" y="1188"/>
                    </a:cubicBezTo>
                    <a:cubicBezTo>
                      <a:pt x="773" y="1189"/>
                      <a:pt x="773" y="1189"/>
                      <a:pt x="773" y="1189"/>
                    </a:cubicBezTo>
                    <a:cubicBezTo>
                      <a:pt x="772" y="1190"/>
                      <a:pt x="772" y="1190"/>
                      <a:pt x="771" y="1190"/>
                    </a:cubicBezTo>
                    <a:close/>
                    <a:moveTo>
                      <a:pt x="769" y="1190"/>
                    </a:moveTo>
                    <a:cubicBezTo>
                      <a:pt x="769" y="1190"/>
                      <a:pt x="769" y="1190"/>
                      <a:pt x="769" y="1190"/>
                    </a:cubicBezTo>
                    <a:cubicBezTo>
                      <a:pt x="769" y="1190"/>
                      <a:pt x="769" y="1190"/>
                      <a:pt x="769" y="1190"/>
                    </a:cubicBezTo>
                    <a:close/>
                    <a:moveTo>
                      <a:pt x="769" y="1185"/>
                    </a:moveTo>
                    <a:cubicBezTo>
                      <a:pt x="770" y="1187"/>
                      <a:pt x="770" y="1187"/>
                      <a:pt x="770" y="1187"/>
                    </a:cubicBezTo>
                    <a:cubicBezTo>
                      <a:pt x="770" y="1187"/>
                      <a:pt x="770" y="1187"/>
                      <a:pt x="770" y="1187"/>
                    </a:cubicBezTo>
                    <a:cubicBezTo>
                      <a:pt x="770" y="1187"/>
                      <a:pt x="770" y="1187"/>
                      <a:pt x="770" y="1187"/>
                    </a:cubicBezTo>
                    <a:cubicBezTo>
                      <a:pt x="770" y="1187"/>
                      <a:pt x="770" y="1187"/>
                      <a:pt x="770" y="1187"/>
                    </a:cubicBezTo>
                    <a:cubicBezTo>
                      <a:pt x="770" y="1187"/>
                      <a:pt x="770" y="1187"/>
                      <a:pt x="770" y="1187"/>
                    </a:cubicBezTo>
                    <a:lnTo>
                      <a:pt x="769" y="1185"/>
                    </a:lnTo>
                    <a:close/>
                    <a:moveTo>
                      <a:pt x="770" y="1185"/>
                    </a:moveTo>
                    <a:cubicBezTo>
                      <a:pt x="770" y="1185"/>
                      <a:pt x="770" y="1185"/>
                      <a:pt x="770" y="1185"/>
                    </a:cubicBezTo>
                    <a:close/>
                    <a:moveTo>
                      <a:pt x="769" y="1185"/>
                    </a:moveTo>
                    <a:cubicBezTo>
                      <a:pt x="769" y="1185"/>
                      <a:pt x="769" y="1185"/>
                      <a:pt x="769" y="1185"/>
                    </a:cubicBezTo>
                    <a:cubicBezTo>
                      <a:pt x="769" y="1185"/>
                      <a:pt x="769" y="1185"/>
                      <a:pt x="769" y="1185"/>
                    </a:cubicBezTo>
                    <a:close/>
                    <a:moveTo>
                      <a:pt x="769" y="1185"/>
                    </a:moveTo>
                    <a:cubicBezTo>
                      <a:pt x="769" y="1185"/>
                      <a:pt x="769" y="1185"/>
                      <a:pt x="769" y="1185"/>
                    </a:cubicBezTo>
                    <a:cubicBezTo>
                      <a:pt x="769" y="1185"/>
                      <a:pt x="769" y="1185"/>
                      <a:pt x="769" y="1185"/>
                    </a:cubicBezTo>
                    <a:close/>
                    <a:moveTo>
                      <a:pt x="763" y="1175"/>
                    </a:moveTo>
                    <a:cubicBezTo>
                      <a:pt x="762" y="1175"/>
                      <a:pt x="762" y="1175"/>
                      <a:pt x="761" y="1174"/>
                    </a:cubicBezTo>
                    <a:cubicBezTo>
                      <a:pt x="760" y="1173"/>
                      <a:pt x="760" y="1171"/>
                      <a:pt x="761" y="1170"/>
                    </a:cubicBezTo>
                    <a:cubicBezTo>
                      <a:pt x="761" y="1170"/>
                      <a:pt x="761" y="1169"/>
                      <a:pt x="762" y="1169"/>
                    </a:cubicBezTo>
                    <a:cubicBezTo>
                      <a:pt x="763" y="1168"/>
                      <a:pt x="763" y="1168"/>
                      <a:pt x="764" y="1168"/>
                    </a:cubicBezTo>
                    <a:cubicBezTo>
                      <a:pt x="765" y="1166"/>
                      <a:pt x="767" y="1166"/>
                      <a:pt x="769" y="1166"/>
                    </a:cubicBezTo>
                    <a:cubicBezTo>
                      <a:pt x="770" y="1167"/>
                      <a:pt x="771" y="1168"/>
                      <a:pt x="772" y="1169"/>
                    </a:cubicBezTo>
                    <a:cubicBezTo>
                      <a:pt x="772" y="1171"/>
                      <a:pt x="771" y="1172"/>
                      <a:pt x="770" y="1173"/>
                    </a:cubicBezTo>
                    <a:cubicBezTo>
                      <a:pt x="770" y="1173"/>
                      <a:pt x="770" y="1173"/>
                      <a:pt x="769" y="1173"/>
                    </a:cubicBezTo>
                    <a:cubicBezTo>
                      <a:pt x="768" y="1175"/>
                      <a:pt x="766" y="1175"/>
                      <a:pt x="765" y="1175"/>
                    </a:cubicBezTo>
                    <a:cubicBezTo>
                      <a:pt x="765" y="1175"/>
                      <a:pt x="765" y="1175"/>
                      <a:pt x="764" y="1175"/>
                    </a:cubicBezTo>
                    <a:cubicBezTo>
                      <a:pt x="764" y="1175"/>
                      <a:pt x="764" y="1175"/>
                      <a:pt x="763" y="1175"/>
                    </a:cubicBezTo>
                    <a:close/>
                    <a:moveTo>
                      <a:pt x="764" y="1175"/>
                    </a:moveTo>
                    <a:cubicBezTo>
                      <a:pt x="764" y="1175"/>
                      <a:pt x="764" y="1175"/>
                      <a:pt x="764" y="1175"/>
                    </a:cubicBezTo>
                    <a:cubicBezTo>
                      <a:pt x="764" y="1175"/>
                      <a:pt x="764" y="1175"/>
                      <a:pt x="764" y="1175"/>
                    </a:cubicBezTo>
                    <a:close/>
                    <a:moveTo>
                      <a:pt x="830" y="1014"/>
                    </a:moveTo>
                    <a:cubicBezTo>
                      <a:pt x="826" y="1014"/>
                      <a:pt x="821" y="1011"/>
                      <a:pt x="819" y="1008"/>
                    </a:cubicBezTo>
                    <a:cubicBezTo>
                      <a:pt x="817" y="1006"/>
                      <a:pt x="818" y="1005"/>
                      <a:pt x="818" y="1004"/>
                    </a:cubicBezTo>
                    <a:cubicBezTo>
                      <a:pt x="819" y="1001"/>
                      <a:pt x="822" y="1001"/>
                      <a:pt x="825" y="1001"/>
                    </a:cubicBezTo>
                    <a:cubicBezTo>
                      <a:pt x="825" y="1001"/>
                      <a:pt x="825" y="1001"/>
                      <a:pt x="825" y="1001"/>
                    </a:cubicBezTo>
                    <a:cubicBezTo>
                      <a:pt x="828" y="1001"/>
                      <a:pt x="833" y="1005"/>
                      <a:pt x="834" y="1008"/>
                    </a:cubicBezTo>
                    <a:cubicBezTo>
                      <a:pt x="835" y="1010"/>
                      <a:pt x="835" y="1012"/>
                      <a:pt x="833" y="1013"/>
                    </a:cubicBezTo>
                    <a:cubicBezTo>
                      <a:pt x="832" y="1014"/>
                      <a:pt x="831" y="1014"/>
                      <a:pt x="830" y="1014"/>
                    </a:cubicBezTo>
                    <a:close/>
                    <a:moveTo>
                      <a:pt x="823" y="1006"/>
                    </a:moveTo>
                    <a:cubicBezTo>
                      <a:pt x="825" y="1008"/>
                      <a:pt x="828" y="1009"/>
                      <a:pt x="830" y="1010"/>
                    </a:cubicBezTo>
                    <a:cubicBezTo>
                      <a:pt x="829" y="1008"/>
                      <a:pt x="826" y="1006"/>
                      <a:pt x="825" y="1006"/>
                    </a:cubicBezTo>
                    <a:cubicBezTo>
                      <a:pt x="824" y="1006"/>
                      <a:pt x="824" y="1006"/>
                      <a:pt x="823" y="1006"/>
                    </a:cubicBezTo>
                    <a:close/>
                    <a:moveTo>
                      <a:pt x="822" y="1005"/>
                    </a:moveTo>
                    <a:cubicBezTo>
                      <a:pt x="822" y="1005"/>
                      <a:pt x="822" y="1005"/>
                      <a:pt x="822" y="1005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1" name="iş1íďe"/>
              <p:cNvSpPr/>
              <p:nvPr/>
            </p:nvSpPr>
            <p:spPr bwMode="auto">
              <a:xfrm>
                <a:off x="9966325" y="6269038"/>
                <a:ext cx="9525" cy="11113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2" name="íṧlíḓè"/>
              <p:cNvSpPr/>
              <p:nvPr/>
            </p:nvSpPr>
            <p:spPr bwMode="auto">
              <a:xfrm>
                <a:off x="9961563" y="6264275"/>
                <a:ext cx="19050" cy="19050"/>
              </a:xfrm>
              <a:custGeom>
                <a:avLst/>
                <a:gdLst>
                  <a:gd name="T0" fmla="*/ 5 w 9"/>
                  <a:gd name="T1" fmla="*/ 9 h 9"/>
                  <a:gd name="T2" fmla="*/ 0 w 9"/>
                  <a:gd name="T3" fmla="*/ 4 h 9"/>
                  <a:gd name="T4" fmla="*/ 5 w 9"/>
                  <a:gd name="T5" fmla="*/ 0 h 9"/>
                  <a:gd name="T6" fmla="*/ 9 w 9"/>
                  <a:gd name="T7" fmla="*/ 4 h 9"/>
                  <a:gd name="T8" fmla="*/ 5 w 9"/>
                  <a:gd name="T9" fmla="*/ 9 h 9"/>
                  <a:gd name="T10" fmla="*/ 5 w 9"/>
                  <a:gd name="T11" fmla="*/ 2 h 9"/>
                  <a:gd name="T12" fmla="*/ 5 w 9"/>
                  <a:gd name="T13" fmla="*/ 4 h 9"/>
                  <a:gd name="T14" fmla="*/ 5 w 9"/>
                  <a:gd name="T15" fmla="*/ 4 h 9"/>
                  <a:gd name="T16" fmla="*/ 5 w 9"/>
                  <a:gd name="T1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  <a:close/>
                    <a:moveTo>
                      <a:pt x="5" y="2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3" name="îṩḻïḍe"/>
              <p:cNvSpPr/>
              <p:nvPr/>
            </p:nvSpPr>
            <p:spPr bwMode="auto">
              <a:xfrm>
                <a:off x="10072688" y="6134100"/>
                <a:ext cx="9525" cy="7938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4" name="îSlîḍé"/>
              <p:cNvSpPr/>
              <p:nvPr/>
            </p:nvSpPr>
            <p:spPr bwMode="auto">
              <a:xfrm>
                <a:off x="10066338" y="6129338"/>
                <a:ext cx="19050" cy="17463"/>
              </a:xfrm>
              <a:custGeom>
                <a:avLst/>
                <a:gdLst>
                  <a:gd name="T0" fmla="*/ 5 w 9"/>
                  <a:gd name="T1" fmla="*/ 8 h 8"/>
                  <a:gd name="T2" fmla="*/ 0 w 9"/>
                  <a:gd name="T3" fmla="*/ 4 h 8"/>
                  <a:gd name="T4" fmla="*/ 5 w 9"/>
                  <a:gd name="T5" fmla="*/ 0 h 8"/>
                  <a:gd name="T6" fmla="*/ 9 w 9"/>
                  <a:gd name="T7" fmla="*/ 4 h 8"/>
                  <a:gd name="T8" fmla="*/ 5 w 9"/>
                  <a:gd name="T9" fmla="*/ 8 h 8"/>
                  <a:gd name="T10" fmla="*/ 5 w 9"/>
                  <a:gd name="T11" fmla="*/ 4 h 8"/>
                  <a:gd name="T12" fmla="*/ 4 w 9"/>
                  <a:gd name="T13" fmla="*/ 4 h 8"/>
                  <a:gd name="T14" fmla="*/ 5 w 9"/>
                  <a:gd name="T15" fmla="*/ 4 h 8"/>
                  <a:gd name="T16" fmla="*/ 5 w 9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  <a:close/>
                    <a:moveTo>
                      <a:pt x="5" y="4"/>
                    </a:moveTo>
                    <a:cubicBezTo>
                      <a:pt x="5" y="4"/>
                      <a:pt x="4" y="4"/>
                      <a:pt x="4" y="4"/>
                    </a:cubicBezTo>
                    <a:cubicBezTo>
                      <a:pt x="4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5" name="işļiďe"/>
              <p:cNvSpPr/>
              <p:nvPr/>
            </p:nvSpPr>
            <p:spPr bwMode="auto">
              <a:xfrm>
                <a:off x="9896475" y="6564313"/>
                <a:ext cx="22225" cy="19050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6" name="íṩļiḋé"/>
              <p:cNvSpPr/>
              <p:nvPr/>
            </p:nvSpPr>
            <p:spPr bwMode="auto">
              <a:xfrm>
                <a:off x="9893300" y="6557963"/>
                <a:ext cx="30163" cy="31750"/>
              </a:xfrm>
              <a:custGeom>
                <a:avLst/>
                <a:gdLst>
                  <a:gd name="T0" fmla="*/ 7 w 14"/>
                  <a:gd name="T1" fmla="*/ 15 h 15"/>
                  <a:gd name="T2" fmla="*/ 0 w 14"/>
                  <a:gd name="T3" fmla="*/ 7 h 15"/>
                  <a:gd name="T4" fmla="*/ 7 w 14"/>
                  <a:gd name="T5" fmla="*/ 0 h 15"/>
                  <a:gd name="T6" fmla="*/ 14 w 14"/>
                  <a:gd name="T7" fmla="*/ 7 h 15"/>
                  <a:gd name="T8" fmla="*/ 7 w 14"/>
                  <a:gd name="T9" fmla="*/ 15 h 15"/>
                  <a:gd name="T10" fmla="*/ 7 w 14"/>
                  <a:gd name="T11" fmla="*/ 5 h 15"/>
                  <a:gd name="T12" fmla="*/ 4 w 14"/>
                  <a:gd name="T13" fmla="*/ 7 h 15"/>
                  <a:gd name="T14" fmla="*/ 7 w 14"/>
                  <a:gd name="T15" fmla="*/ 10 h 15"/>
                  <a:gd name="T16" fmla="*/ 9 w 14"/>
                  <a:gd name="T17" fmla="*/ 7 h 15"/>
                  <a:gd name="T18" fmla="*/ 7 w 14"/>
                  <a:gd name="T19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5">
                    <a:moveTo>
                      <a:pt x="7" y="15"/>
                    </a:moveTo>
                    <a:cubicBezTo>
                      <a:pt x="3" y="15"/>
                      <a:pt x="0" y="11"/>
                      <a:pt x="0" y="7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11" y="0"/>
                      <a:pt x="14" y="3"/>
                      <a:pt x="14" y="7"/>
                    </a:cubicBezTo>
                    <a:cubicBezTo>
                      <a:pt x="14" y="11"/>
                      <a:pt x="11" y="15"/>
                      <a:pt x="7" y="15"/>
                    </a:cubicBezTo>
                    <a:close/>
                    <a:moveTo>
                      <a:pt x="7" y="5"/>
                    </a:moveTo>
                    <a:cubicBezTo>
                      <a:pt x="5" y="5"/>
                      <a:pt x="4" y="6"/>
                      <a:pt x="4" y="7"/>
                    </a:cubicBezTo>
                    <a:cubicBezTo>
                      <a:pt x="4" y="9"/>
                      <a:pt x="5" y="10"/>
                      <a:pt x="7" y="10"/>
                    </a:cubicBezTo>
                    <a:cubicBezTo>
                      <a:pt x="8" y="10"/>
                      <a:pt x="9" y="9"/>
                      <a:pt x="9" y="7"/>
                    </a:cubicBezTo>
                    <a:cubicBezTo>
                      <a:pt x="9" y="6"/>
                      <a:pt x="8" y="5"/>
                      <a:pt x="7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7" name="iślíḋe"/>
              <p:cNvSpPr/>
              <p:nvPr/>
            </p:nvSpPr>
            <p:spPr bwMode="auto">
              <a:xfrm>
                <a:off x="10299700" y="5716588"/>
                <a:ext cx="17463" cy="14288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8" name="ïS1ïdê"/>
              <p:cNvSpPr/>
              <p:nvPr/>
            </p:nvSpPr>
            <p:spPr bwMode="auto">
              <a:xfrm>
                <a:off x="10296525" y="5710238"/>
                <a:ext cx="25400" cy="26988"/>
              </a:xfrm>
              <a:custGeom>
                <a:avLst/>
                <a:gdLst>
                  <a:gd name="T0" fmla="*/ 6 w 12"/>
                  <a:gd name="T1" fmla="*/ 13 h 13"/>
                  <a:gd name="T2" fmla="*/ 0 w 12"/>
                  <a:gd name="T3" fmla="*/ 6 h 13"/>
                  <a:gd name="T4" fmla="*/ 6 w 12"/>
                  <a:gd name="T5" fmla="*/ 0 h 13"/>
                  <a:gd name="T6" fmla="*/ 12 w 12"/>
                  <a:gd name="T7" fmla="*/ 6 h 13"/>
                  <a:gd name="T8" fmla="*/ 6 w 12"/>
                  <a:gd name="T9" fmla="*/ 13 h 13"/>
                  <a:gd name="T10" fmla="*/ 6 w 12"/>
                  <a:gd name="T11" fmla="*/ 5 h 13"/>
                  <a:gd name="T12" fmla="*/ 5 w 12"/>
                  <a:gd name="T13" fmla="*/ 6 h 13"/>
                  <a:gd name="T14" fmla="*/ 6 w 12"/>
                  <a:gd name="T15" fmla="*/ 8 h 13"/>
                  <a:gd name="T16" fmla="*/ 8 w 12"/>
                  <a:gd name="T17" fmla="*/ 6 h 13"/>
                  <a:gd name="T18" fmla="*/ 6 w 12"/>
                  <a:gd name="T1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3">
                    <a:moveTo>
                      <a:pt x="6" y="13"/>
                    </a:moveTo>
                    <a:cubicBezTo>
                      <a:pt x="3" y="13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0" y="0"/>
                      <a:pt x="12" y="3"/>
                      <a:pt x="12" y="6"/>
                    </a:cubicBezTo>
                    <a:cubicBezTo>
                      <a:pt x="12" y="10"/>
                      <a:pt x="10" y="13"/>
                      <a:pt x="6" y="13"/>
                    </a:cubicBezTo>
                    <a:close/>
                    <a:moveTo>
                      <a:pt x="6" y="5"/>
                    </a:moveTo>
                    <a:cubicBezTo>
                      <a:pt x="5" y="5"/>
                      <a:pt x="5" y="6"/>
                      <a:pt x="5" y="6"/>
                    </a:cubicBezTo>
                    <a:cubicBezTo>
                      <a:pt x="5" y="7"/>
                      <a:pt x="5" y="8"/>
                      <a:pt x="6" y="8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8" y="6"/>
                      <a:pt x="7" y="5"/>
                      <a:pt x="6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9" name="îş1ïďè"/>
              <p:cNvSpPr/>
              <p:nvPr/>
            </p:nvSpPr>
            <p:spPr bwMode="auto">
              <a:xfrm>
                <a:off x="9925050" y="5538788"/>
                <a:ext cx="7938" cy="14288"/>
              </a:xfrm>
              <a:custGeom>
                <a:avLst/>
                <a:gdLst>
                  <a:gd name="T0" fmla="*/ 1 w 4"/>
                  <a:gd name="T1" fmla="*/ 1 h 7"/>
                  <a:gd name="T2" fmla="*/ 0 w 4"/>
                  <a:gd name="T3" fmla="*/ 3 h 7"/>
                  <a:gd name="T4" fmla="*/ 1 w 4"/>
                  <a:gd name="T5" fmla="*/ 7 h 7"/>
                  <a:gd name="T6" fmla="*/ 4 w 4"/>
                  <a:gd name="T7" fmla="*/ 5 h 7"/>
                  <a:gd name="T8" fmla="*/ 4 w 4"/>
                  <a:gd name="T9" fmla="*/ 1 h 7"/>
                  <a:gd name="T10" fmla="*/ 1 w 4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7">
                    <a:moveTo>
                      <a:pt x="1" y="1"/>
                    </a:moveTo>
                    <a:cubicBezTo>
                      <a:pt x="1" y="2"/>
                      <a:pt x="0" y="2"/>
                      <a:pt x="0" y="3"/>
                    </a:cubicBezTo>
                    <a:cubicBezTo>
                      <a:pt x="0" y="5"/>
                      <a:pt x="1" y="7"/>
                      <a:pt x="1" y="7"/>
                    </a:cubicBezTo>
                    <a:cubicBezTo>
                      <a:pt x="2" y="7"/>
                      <a:pt x="4" y="6"/>
                      <a:pt x="4" y="5"/>
                    </a:cubicBezTo>
                    <a:cubicBezTo>
                      <a:pt x="4" y="4"/>
                      <a:pt x="4" y="2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0" name="íṩļíḋê"/>
              <p:cNvSpPr/>
              <p:nvPr/>
            </p:nvSpPr>
            <p:spPr bwMode="auto">
              <a:xfrm>
                <a:off x="9918700" y="5534025"/>
                <a:ext cx="19050" cy="23813"/>
              </a:xfrm>
              <a:custGeom>
                <a:avLst/>
                <a:gdLst>
                  <a:gd name="T0" fmla="*/ 5 w 9"/>
                  <a:gd name="T1" fmla="*/ 11 h 11"/>
                  <a:gd name="T2" fmla="*/ 4 w 9"/>
                  <a:gd name="T3" fmla="*/ 11 h 11"/>
                  <a:gd name="T4" fmla="*/ 0 w 9"/>
                  <a:gd name="T5" fmla="*/ 5 h 11"/>
                  <a:gd name="T6" fmla="*/ 2 w 9"/>
                  <a:gd name="T7" fmla="*/ 2 h 11"/>
                  <a:gd name="T8" fmla="*/ 4 w 9"/>
                  <a:gd name="T9" fmla="*/ 3 h 11"/>
                  <a:gd name="T10" fmla="*/ 2 w 9"/>
                  <a:gd name="T11" fmla="*/ 2 h 11"/>
                  <a:gd name="T12" fmla="*/ 6 w 9"/>
                  <a:gd name="T13" fmla="*/ 0 h 11"/>
                  <a:gd name="T14" fmla="*/ 9 w 9"/>
                  <a:gd name="T15" fmla="*/ 2 h 11"/>
                  <a:gd name="T16" fmla="*/ 9 w 9"/>
                  <a:gd name="T17" fmla="*/ 7 h 11"/>
                  <a:gd name="T18" fmla="*/ 8 w 9"/>
                  <a:gd name="T19" fmla="*/ 10 h 11"/>
                  <a:gd name="T20" fmla="*/ 5 w 9"/>
                  <a:gd name="T21" fmla="*/ 11 h 11"/>
                  <a:gd name="T22" fmla="*/ 6 w 9"/>
                  <a:gd name="T23" fmla="*/ 5 h 11"/>
                  <a:gd name="T24" fmla="*/ 6 w 9"/>
                  <a:gd name="T25" fmla="*/ 5 h 11"/>
                  <a:gd name="T26" fmla="*/ 6 w 9"/>
                  <a:gd name="T27" fmla="*/ 5 h 11"/>
                  <a:gd name="T28" fmla="*/ 4 w 9"/>
                  <a:gd name="T29" fmla="*/ 4 h 11"/>
                  <a:gd name="T30" fmla="*/ 4 w 9"/>
                  <a:gd name="T31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11">
                    <a:moveTo>
                      <a:pt x="5" y="11"/>
                    </a:moveTo>
                    <a:cubicBezTo>
                      <a:pt x="4" y="11"/>
                      <a:pt x="4" y="11"/>
                      <a:pt x="4" y="11"/>
                    </a:cubicBezTo>
                    <a:cubicBezTo>
                      <a:pt x="2" y="11"/>
                      <a:pt x="0" y="8"/>
                      <a:pt x="0" y="5"/>
                    </a:cubicBezTo>
                    <a:cubicBezTo>
                      <a:pt x="0" y="3"/>
                      <a:pt x="1" y="2"/>
                      <a:pt x="2" y="2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1"/>
                      <a:pt x="5" y="0"/>
                      <a:pt x="6" y="0"/>
                    </a:cubicBezTo>
                    <a:cubicBezTo>
                      <a:pt x="7" y="0"/>
                      <a:pt x="8" y="1"/>
                      <a:pt x="9" y="2"/>
                    </a:cubicBezTo>
                    <a:cubicBezTo>
                      <a:pt x="9" y="3"/>
                      <a:pt x="9" y="5"/>
                      <a:pt x="9" y="7"/>
                    </a:cubicBezTo>
                    <a:cubicBezTo>
                      <a:pt x="9" y="8"/>
                      <a:pt x="9" y="9"/>
                      <a:pt x="8" y="10"/>
                    </a:cubicBezTo>
                    <a:cubicBezTo>
                      <a:pt x="7" y="11"/>
                      <a:pt x="6" y="11"/>
                      <a:pt x="5" y="11"/>
                    </a:cubicBezTo>
                    <a:close/>
                    <a:moveTo>
                      <a:pt x="6" y="5"/>
                    </a:move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lose/>
                    <a:moveTo>
                      <a:pt x="4" y="4"/>
                    </a:moveTo>
                    <a:cubicBezTo>
                      <a:pt x="4" y="4"/>
                      <a:pt x="4" y="4"/>
                      <a:pt x="4" y="4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1" name="î$ḷidè"/>
              <p:cNvSpPr/>
              <p:nvPr/>
            </p:nvSpPr>
            <p:spPr bwMode="auto">
              <a:xfrm>
                <a:off x="10137775" y="6102350"/>
                <a:ext cx="7938" cy="9525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2" name="îṩlíḓe"/>
              <p:cNvSpPr/>
              <p:nvPr/>
            </p:nvSpPr>
            <p:spPr bwMode="auto">
              <a:xfrm>
                <a:off x="10131425" y="6097588"/>
                <a:ext cx="20638" cy="19050"/>
              </a:xfrm>
              <a:custGeom>
                <a:avLst/>
                <a:gdLst>
                  <a:gd name="T0" fmla="*/ 5 w 10"/>
                  <a:gd name="T1" fmla="*/ 9 h 9"/>
                  <a:gd name="T2" fmla="*/ 0 w 10"/>
                  <a:gd name="T3" fmla="*/ 4 h 9"/>
                  <a:gd name="T4" fmla="*/ 5 w 10"/>
                  <a:gd name="T5" fmla="*/ 0 h 9"/>
                  <a:gd name="T6" fmla="*/ 10 w 10"/>
                  <a:gd name="T7" fmla="*/ 4 h 9"/>
                  <a:gd name="T8" fmla="*/ 5 w 10"/>
                  <a:gd name="T9" fmla="*/ 9 h 9"/>
                  <a:gd name="T10" fmla="*/ 5 w 10"/>
                  <a:gd name="T11" fmla="*/ 2 h 9"/>
                  <a:gd name="T12" fmla="*/ 5 w 10"/>
                  <a:gd name="T13" fmla="*/ 4 h 9"/>
                  <a:gd name="T14" fmla="*/ 5 w 10"/>
                  <a:gd name="T15" fmla="*/ 4 h 9"/>
                  <a:gd name="T16" fmla="*/ 5 w 10"/>
                  <a:gd name="T1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9">
                    <a:moveTo>
                      <a:pt x="5" y="9"/>
                    </a:moveTo>
                    <a:cubicBezTo>
                      <a:pt x="3" y="9"/>
                      <a:pt x="0" y="7"/>
                      <a:pt x="0" y="4"/>
                    </a:cubicBezTo>
                    <a:cubicBezTo>
                      <a:pt x="0" y="2"/>
                      <a:pt x="3" y="0"/>
                      <a:pt x="5" y="0"/>
                    </a:cubicBezTo>
                    <a:cubicBezTo>
                      <a:pt x="8" y="0"/>
                      <a:pt x="10" y="2"/>
                      <a:pt x="10" y="4"/>
                    </a:cubicBezTo>
                    <a:cubicBezTo>
                      <a:pt x="10" y="7"/>
                      <a:pt x="8" y="9"/>
                      <a:pt x="5" y="9"/>
                    </a:cubicBezTo>
                    <a:close/>
                    <a:moveTo>
                      <a:pt x="5" y="2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3" name="ïṡḷiḓè"/>
              <p:cNvSpPr/>
              <p:nvPr/>
            </p:nvSpPr>
            <p:spPr bwMode="auto">
              <a:xfrm>
                <a:off x="9744075" y="6330950"/>
                <a:ext cx="11113" cy="11113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4" name="îṡḻîḍê"/>
              <p:cNvSpPr/>
              <p:nvPr/>
            </p:nvSpPr>
            <p:spPr bwMode="auto">
              <a:xfrm>
                <a:off x="9740900" y="6326188"/>
                <a:ext cx="19050" cy="19050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5" name="iṩļiďê"/>
              <p:cNvSpPr/>
              <p:nvPr/>
            </p:nvSpPr>
            <p:spPr bwMode="auto">
              <a:xfrm>
                <a:off x="10064750" y="6088063"/>
                <a:ext cx="12700" cy="14288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6" name="iṣ1íďê"/>
              <p:cNvSpPr/>
              <p:nvPr/>
            </p:nvSpPr>
            <p:spPr bwMode="auto">
              <a:xfrm>
                <a:off x="10058400" y="6084888"/>
                <a:ext cx="23813" cy="20638"/>
              </a:xfrm>
              <a:custGeom>
                <a:avLst/>
                <a:gdLst>
                  <a:gd name="T0" fmla="*/ 6 w 11"/>
                  <a:gd name="T1" fmla="*/ 10 h 10"/>
                  <a:gd name="T2" fmla="*/ 0 w 11"/>
                  <a:gd name="T3" fmla="*/ 5 h 10"/>
                  <a:gd name="T4" fmla="*/ 6 w 11"/>
                  <a:gd name="T5" fmla="*/ 0 h 10"/>
                  <a:gd name="T6" fmla="*/ 11 w 11"/>
                  <a:gd name="T7" fmla="*/ 5 h 10"/>
                  <a:gd name="T8" fmla="*/ 6 w 11"/>
                  <a:gd name="T9" fmla="*/ 10 h 10"/>
                  <a:gd name="T10" fmla="*/ 6 w 11"/>
                  <a:gd name="T11" fmla="*/ 4 h 10"/>
                  <a:gd name="T12" fmla="*/ 5 w 11"/>
                  <a:gd name="T13" fmla="*/ 5 h 10"/>
                  <a:gd name="T14" fmla="*/ 6 w 11"/>
                  <a:gd name="T15" fmla="*/ 5 h 10"/>
                  <a:gd name="T16" fmla="*/ 6 w 11"/>
                  <a:gd name="T1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0">
                    <a:moveTo>
                      <a:pt x="6" y="10"/>
                    </a:moveTo>
                    <a:cubicBezTo>
                      <a:pt x="3" y="10"/>
                      <a:pt x="0" y="8"/>
                      <a:pt x="0" y="5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1" y="2"/>
                      <a:pt x="11" y="5"/>
                    </a:cubicBezTo>
                    <a:cubicBezTo>
                      <a:pt x="11" y="8"/>
                      <a:pt x="9" y="10"/>
                      <a:pt x="6" y="10"/>
                    </a:cubicBezTo>
                    <a:close/>
                    <a:moveTo>
                      <a:pt x="6" y="4"/>
                    </a:moveTo>
                    <a:cubicBezTo>
                      <a:pt x="5" y="4"/>
                      <a:pt x="5" y="5"/>
                      <a:pt x="5" y="5"/>
                    </a:cubicBezTo>
                    <a:cubicBezTo>
                      <a:pt x="5" y="6"/>
                      <a:pt x="6" y="6"/>
                      <a:pt x="6" y="5"/>
                    </a:cubicBezTo>
                    <a:cubicBezTo>
                      <a:pt x="6" y="5"/>
                      <a:pt x="6" y="4"/>
                      <a:pt x="6" y="4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7" name="íŝḻïdé"/>
              <p:cNvSpPr/>
              <p:nvPr/>
            </p:nvSpPr>
            <p:spPr bwMode="auto">
              <a:xfrm>
                <a:off x="10071100" y="6053138"/>
                <a:ext cx="14288" cy="14288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8" name="îṩlïďé"/>
              <p:cNvSpPr/>
              <p:nvPr/>
            </p:nvSpPr>
            <p:spPr bwMode="auto">
              <a:xfrm>
                <a:off x="10066338" y="6048375"/>
                <a:ext cx="25400" cy="25400"/>
              </a:xfrm>
              <a:custGeom>
                <a:avLst/>
                <a:gdLst>
                  <a:gd name="T0" fmla="*/ 6 w 12"/>
                  <a:gd name="T1" fmla="*/ 12 h 12"/>
                  <a:gd name="T2" fmla="*/ 0 w 12"/>
                  <a:gd name="T3" fmla="*/ 6 h 12"/>
                  <a:gd name="T4" fmla="*/ 6 w 12"/>
                  <a:gd name="T5" fmla="*/ 0 h 12"/>
                  <a:gd name="T6" fmla="*/ 12 w 12"/>
                  <a:gd name="T7" fmla="*/ 6 h 12"/>
                  <a:gd name="T8" fmla="*/ 6 w 12"/>
                  <a:gd name="T9" fmla="*/ 12 h 12"/>
                  <a:gd name="T10" fmla="*/ 6 w 12"/>
                  <a:gd name="T11" fmla="*/ 4 h 12"/>
                  <a:gd name="T12" fmla="*/ 5 w 12"/>
                  <a:gd name="T13" fmla="*/ 6 h 12"/>
                  <a:gd name="T14" fmla="*/ 6 w 12"/>
                  <a:gd name="T15" fmla="*/ 7 h 12"/>
                  <a:gd name="T16" fmla="*/ 7 w 12"/>
                  <a:gd name="T17" fmla="*/ 6 h 12"/>
                  <a:gd name="T18" fmla="*/ 6 w 12"/>
                  <a:gd name="T1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12"/>
                    </a:move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9"/>
                      <a:pt x="9" y="12"/>
                      <a:pt x="6" y="12"/>
                    </a:cubicBezTo>
                    <a:close/>
                    <a:moveTo>
                      <a:pt x="6" y="4"/>
                    </a:moveTo>
                    <a:cubicBezTo>
                      <a:pt x="5" y="4"/>
                      <a:pt x="5" y="5"/>
                      <a:pt x="5" y="6"/>
                    </a:cubicBezTo>
                    <a:cubicBezTo>
                      <a:pt x="5" y="6"/>
                      <a:pt x="5" y="7"/>
                      <a:pt x="6" y="7"/>
                    </a:cubicBezTo>
                    <a:cubicBezTo>
                      <a:pt x="6" y="7"/>
                      <a:pt x="7" y="6"/>
                      <a:pt x="7" y="6"/>
                    </a:cubicBezTo>
                    <a:cubicBezTo>
                      <a:pt x="7" y="5"/>
                      <a:pt x="6" y="4"/>
                      <a:pt x="6" y="4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9" name="îsḷiďê"/>
              <p:cNvSpPr/>
              <p:nvPr/>
            </p:nvSpPr>
            <p:spPr bwMode="auto">
              <a:xfrm>
                <a:off x="10061575" y="5995988"/>
                <a:ext cx="17463" cy="17463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0" name="išḻïdé"/>
              <p:cNvSpPr/>
              <p:nvPr/>
            </p:nvSpPr>
            <p:spPr bwMode="auto">
              <a:xfrm>
                <a:off x="10058400" y="5992813"/>
                <a:ext cx="26988" cy="25400"/>
              </a:xfrm>
              <a:custGeom>
                <a:avLst/>
                <a:gdLst>
                  <a:gd name="T0" fmla="*/ 6 w 13"/>
                  <a:gd name="T1" fmla="*/ 12 h 12"/>
                  <a:gd name="T2" fmla="*/ 0 w 13"/>
                  <a:gd name="T3" fmla="*/ 6 h 12"/>
                  <a:gd name="T4" fmla="*/ 6 w 13"/>
                  <a:gd name="T5" fmla="*/ 0 h 12"/>
                  <a:gd name="T6" fmla="*/ 13 w 13"/>
                  <a:gd name="T7" fmla="*/ 6 h 12"/>
                  <a:gd name="T8" fmla="*/ 6 w 13"/>
                  <a:gd name="T9" fmla="*/ 12 h 12"/>
                  <a:gd name="T10" fmla="*/ 6 w 13"/>
                  <a:gd name="T11" fmla="*/ 4 h 12"/>
                  <a:gd name="T12" fmla="*/ 5 w 13"/>
                  <a:gd name="T13" fmla="*/ 6 h 12"/>
                  <a:gd name="T14" fmla="*/ 6 w 13"/>
                  <a:gd name="T15" fmla="*/ 8 h 12"/>
                  <a:gd name="T16" fmla="*/ 8 w 13"/>
                  <a:gd name="T17" fmla="*/ 6 h 12"/>
                  <a:gd name="T18" fmla="*/ 6 w 13"/>
                  <a:gd name="T1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2">
                    <a:moveTo>
                      <a:pt x="6" y="12"/>
                    </a:move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0" y="0"/>
                      <a:pt x="13" y="3"/>
                      <a:pt x="13" y="6"/>
                    </a:cubicBezTo>
                    <a:cubicBezTo>
                      <a:pt x="13" y="10"/>
                      <a:pt x="10" y="12"/>
                      <a:pt x="6" y="12"/>
                    </a:cubicBezTo>
                    <a:close/>
                    <a:moveTo>
                      <a:pt x="6" y="4"/>
                    </a:moveTo>
                    <a:cubicBezTo>
                      <a:pt x="5" y="4"/>
                      <a:pt x="5" y="5"/>
                      <a:pt x="5" y="6"/>
                    </a:cubicBezTo>
                    <a:cubicBezTo>
                      <a:pt x="5" y="7"/>
                      <a:pt x="5" y="8"/>
                      <a:pt x="6" y="8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8" y="5"/>
                      <a:pt x="7" y="4"/>
                      <a:pt x="6" y="4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1" name="îṩļíde"/>
              <p:cNvSpPr/>
              <p:nvPr/>
            </p:nvSpPr>
            <p:spPr bwMode="auto">
              <a:xfrm>
                <a:off x="10040938" y="5675313"/>
                <a:ext cx="7938" cy="11113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2" name="iŝľïḓê"/>
              <p:cNvSpPr/>
              <p:nvPr/>
            </p:nvSpPr>
            <p:spPr bwMode="auto">
              <a:xfrm>
                <a:off x="10034588" y="5670550"/>
                <a:ext cx="20638" cy="19050"/>
              </a:xfrm>
              <a:custGeom>
                <a:avLst/>
                <a:gdLst>
                  <a:gd name="T0" fmla="*/ 5 w 10"/>
                  <a:gd name="T1" fmla="*/ 9 h 9"/>
                  <a:gd name="T2" fmla="*/ 0 w 10"/>
                  <a:gd name="T3" fmla="*/ 4 h 9"/>
                  <a:gd name="T4" fmla="*/ 5 w 10"/>
                  <a:gd name="T5" fmla="*/ 0 h 9"/>
                  <a:gd name="T6" fmla="*/ 10 w 10"/>
                  <a:gd name="T7" fmla="*/ 4 h 9"/>
                  <a:gd name="T8" fmla="*/ 5 w 10"/>
                  <a:gd name="T9" fmla="*/ 9 h 9"/>
                  <a:gd name="T10" fmla="*/ 5 w 10"/>
                  <a:gd name="T11" fmla="*/ 2 h 9"/>
                  <a:gd name="T12" fmla="*/ 5 w 10"/>
                  <a:gd name="T13" fmla="*/ 4 h 9"/>
                  <a:gd name="T14" fmla="*/ 5 w 10"/>
                  <a:gd name="T15" fmla="*/ 4 h 9"/>
                  <a:gd name="T16" fmla="*/ 5 w 10"/>
                  <a:gd name="T1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ubicBezTo>
                      <a:pt x="10" y="7"/>
                      <a:pt x="7" y="9"/>
                      <a:pt x="5" y="9"/>
                    </a:cubicBezTo>
                    <a:close/>
                    <a:moveTo>
                      <a:pt x="5" y="2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3" name="íṧlíďê"/>
              <p:cNvSpPr/>
              <p:nvPr/>
            </p:nvSpPr>
            <p:spPr bwMode="auto">
              <a:xfrm>
                <a:off x="10082213" y="5618163"/>
                <a:ext cx="7938" cy="9525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4" name="ï$ľiḑé"/>
              <p:cNvSpPr/>
              <p:nvPr/>
            </p:nvSpPr>
            <p:spPr bwMode="auto">
              <a:xfrm>
                <a:off x="10075863" y="5613400"/>
                <a:ext cx="20638" cy="19050"/>
              </a:xfrm>
              <a:custGeom>
                <a:avLst/>
                <a:gdLst>
                  <a:gd name="T0" fmla="*/ 5 w 10"/>
                  <a:gd name="T1" fmla="*/ 9 h 9"/>
                  <a:gd name="T2" fmla="*/ 0 w 10"/>
                  <a:gd name="T3" fmla="*/ 5 h 9"/>
                  <a:gd name="T4" fmla="*/ 5 w 10"/>
                  <a:gd name="T5" fmla="*/ 0 h 9"/>
                  <a:gd name="T6" fmla="*/ 10 w 10"/>
                  <a:gd name="T7" fmla="*/ 5 h 9"/>
                  <a:gd name="T8" fmla="*/ 5 w 10"/>
                  <a:gd name="T9" fmla="*/ 9 h 9"/>
                  <a:gd name="T10" fmla="*/ 5 w 10"/>
                  <a:gd name="T11" fmla="*/ 2 h 9"/>
                  <a:gd name="T12" fmla="*/ 5 w 10"/>
                  <a:gd name="T13" fmla="*/ 5 h 9"/>
                  <a:gd name="T14" fmla="*/ 5 w 10"/>
                  <a:gd name="T15" fmla="*/ 5 h 9"/>
                  <a:gd name="T16" fmla="*/ 5 w 10"/>
                  <a:gd name="T1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9">
                    <a:moveTo>
                      <a:pt x="5" y="9"/>
                    </a:moveTo>
                    <a:cubicBezTo>
                      <a:pt x="3" y="9"/>
                      <a:pt x="0" y="7"/>
                      <a:pt x="0" y="5"/>
                    </a:cubicBezTo>
                    <a:cubicBezTo>
                      <a:pt x="0" y="2"/>
                      <a:pt x="3" y="0"/>
                      <a:pt x="5" y="0"/>
                    </a:cubicBezTo>
                    <a:cubicBezTo>
                      <a:pt x="8" y="0"/>
                      <a:pt x="10" y="2"/>
                      <a:pt x="10" y="5"/>
                    </a:cubicBezTo>
                    <a:cubicBezTo>
                      <a:pt x="10" y="7"/>
                      <a:pt x="8" y="9"/>
                      <a:pt x="5" y="9"/>
                    </a:cubicBezTo>
                    <a:close/>
                    <a:moveTo>
                      <a:pt x="5" y="2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5" name="işḷíḋe"/>
              <p:cNvSpPr/>
              <p:nvPr/>
            </p:nvSpPr>
            <p:spPr bwMode="auto">
              <a:xfrm>
                <a:off x="9936163" y="5630863"/>
                <a:ext cx="7938" cy="7938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6" name="iṣļídé"/>
              <p:cNvSpPr/>
              <p:nvPr/>
            </p:nvSpPr>
            <p:spPr bwMode="auto">
              <a:xfrm>
                <a:off x="9929813" y="5624513"/>
                <a:ext cx="20638" cy="20638"/>
              </a:xfrm>
              <a:custGeom>
                <a:avLst/>
                <a:gdLst>
                  <a:gd name="T0" fmla="*/ 5 w 10"/>
                  <a:gd name="T1" fmla="*/ 10 h 10"/>
                  <a:gd name="T2" fmla="*/ 0 w 10"/>
                  <a:gd name="T3" fmla="*/ 5 h 10"/>
                  <a:gd name="T4" fmla="*/ 5 w 10"/>
                  <a:gd name="T5" fmla="*/ 0 h 10"/>
                  <a:gd name="T6" fmla="*/ 10 w 10"/>
                  <a:gd name="T7" fmla="*/ 5 h 10"/>
                  <a:gd name="T8" fmla="*/ 5 w 10"/>
                  <a:gd name="T9" fmla="*/ 10 h 10"/>
                  <a:gd name="T10" fmla="*/ 5 w 10"/>
                  <a:gd name="T11" fmla="*/ 5 h 10"/>
                  <a:gd name="T12" fmla="*/ 5 w 10"/>
                  <a:gd name="T13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0">
                    <a:moveTo>
                      <a:pt x="5" y="10"/>
                    </a:move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0" y="2"/>
                      <a:pt x="10" y="5"/>
                    </a:cubicBezTo>
                    <a:cubicBezTo>
                      <a:pt x="10" y="8"/>
                      <a:pt x="8" y="10"/>
                      <a:pt x="5" y="10"/>
                    </a:cubicBezTo>
                    <a:close/>
                    <a:moveTo>
                      <a:pt x="5" y="5"/>
                    </a:moveTo>
                    <a:cubicBezTo>
                      <a:pt x="5" y="5"/>
                      <a:pt x="5" y="5"/>
                      <a:pt x="5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7" name="iślïďe"/>
              <p:cNvSpPr/>
              <p:nvPr/>
            </p:nvSpPr>
            <p:spPr bwMode="auto">
              <a:xfrm>
                <a:off x="9863138" y="5568950"/>
                <a:ext cx="11113" cy="9525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8" name="išľïḓe"/>
              <p:cNvSpPr/>
              <p:nvPr/>
            </p:nvSpPr>
            <p:spPr bwMode="auto">
              <a:xfrm>
                <a:off x="9858375" y="5564188"/>
                <a:ext cx="19050" cy="19050"/>
              </a:xfrm>
              <a:custGeom>
                <a:avLst/>
                <a:gdLst>
                  <a:gd name="T0" fmla="*/ 5 w 9"/>
                  <a:gd name="T1" fmla="*/ 9 h 9"/>
                  <a:gd name="T2" fmla="*/ 0 w 9"/>
                  <a:gd name="T3" fmla="*/ 4 h 9"/>
                  <a:gd name="T4" fmla="*/ 5 w 9"/>
                  <a:gd name="T5" fmla="*/ 0 h 9"/>
                  <a:gd name="T6" fmla="*/ 9 w 9"/>
                  <a:gd name="T7" fmla="*/ 4 h 9"/>
                  <a:gd name="T8" fmla="*/ 5 w 9"/>
                  <a:gd name="T9" fmla="*/ 9 h 9"/>
                  <a:gd name="T10" fmla="*/ 5 w 9"/>
                  <a:gd name="T11" fmla="*/ 2 h 9"/>
                  <a:gd name="T12" fmla="*/ 5 w 9"/>
                  <a:gd name="T13" fmla="*/ 4 h 9"/>
                  <a:gd name="T14" fmla="*/ 5 w 9"/>
                  <a:gd name="T15" fmla="*/ 4 h 9"/>
                  <a:gd name="T16" fmla="*/ 5 w 9"/>
                  <a:gd name="T1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  <a:close/>
                    <a:moveTo>
                      <a:pt x="5" y="2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9" name="îŝḻïďê"/>
              <p:cNvSpPr/>
              <p:nvPr/>
            </p:nvSpPr>
            <p:spPr bwMode="auto">
              <a:xfrm>
                <a:off x="9869488" y="5626100"/>
                <a:ext cx="7938" cy="7938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0" name="iṣḻïḍe"/>
              <p:cNvSpPr/>
              <p:nvPr/>
            </p:nvSpPr>
            <p:spPr bwMode="auto">
              <a:xfrm>
                <a:off x="9863138" y="5619750"/>
                <a:ext cx="20638" cy="20638"/>
              </a:xfrm>
              <a:custGeom>
                <a:avLst/>
                <a:gdLst>
                  <a:gd name="T0" fmla="*/ 5 w 10"/>
                  <a:gd name="T1" fmla="*/ 10 h 10"/>
                  <a:gd name="T2" fmla="*/ 0 w 10"/>
                  <a:gd name="T3" fmla="*/ 5 h 10"/>
                  <a:gd name="T4" fmla="*/ 5 w 10"/>
                  <a:gd name="T5" fmla="*/ 0 h 10"/>
                  <a:gd name="T6" fmla="*/ 10 w 10"/>
                  <a:gd name="T7" fmla="*/ 5 h 10"/>
                  <a:gd name="T8" fmla="*/ 5 w 10"/>
                  <a:gd name="T9" fmla="*/ 10 h 10"/>
                  <a:gd name="T10" fmla="*/ 5 w 10"/>
                  <a:gd name="T11" fmla="*/ 3 h 10"/>
                  <a:gd name="T12" fmla="*/ 5 w 10"/>
                  <a:gd name="T13" fmla="*/ 5 h 10"/>
                  <a:gd name="T14" fmla="*/ 5 w 10"/>
                  <a:gd name="T15" fmla="*/ 5 h 10"/>
                  <a:gd name="T16" fmla="*/ 5 w 10"/>
                  <a:gd name="T17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10">
                    <a:moveTo>
                      <a:pt x="5" y="10"/>
                    </a:move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0" y="2"/>
                      <a:pt x="10" y="5"/>
                    </a:cubicBezTo>
                    <a:cubicBezTo>
                      <a:pt x="10" y="8"/>
                      <a:pt x="8" y="10"/>
                      <a:pt x="5" y="10"/>
                    </a:cubicBezTo>
                    <a:close/>
                    <a:moveTo>
                      <a:pt x="5" y="3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1" name="îŝľíḓe"/>
              <p:cNvSpPr/>
              <p:nvPr/>
            </p:nvSpPr>
            <p:spPr bwMode="auto">
              <a:xfrm>
                <a:off x="9821863" y="5646738"/>
                <a:ext cx="11113" cy="11113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2" name="í$ḷîḋé"/>
              <p:cNvSpPr/>
              <p:nvPr/>
            </p:nvSpPr>
            <p:spPr bwMode="auto">
              <a:xfrm>
                <a:off x="9817100" y="5643563"/>
                <a:ext cx="20638" cy="19050"/>
              </a:xfrm>
              <a:custGeom>
                <a:avLst/>
                <a:gdLst>
                  <a:gd name="T0" fmla="*/ 4 w 9"/>
                  <a:gd name="T1" fmla="*/ 9 h 9"/>
                  <a:gd name="T2" fmla="*/ 0 w 9"/>
                  <a:gd name="T3" fmla="*/ 5 h 9"/>
                  <a:gd name="T4" fmla="*/ 4 w 9"/>
                  <a:gd name="T5" fmla="*/ 0 h 9"/>
                  <a:gd name="T6" fmla="*/ 9 w 9"/>
                  <a:gd name="T7" fmla="*/ 5 h 9"/>
                  <a:gd name="T8" fmla="*/ 4 w 9"/>
                  <a:gd name="T9" fmla="*/ 9 h 9"/>
                  <a:gd name="T10" fmla="*/ 4 w 9"/>
                  <a:gd name="T11" fmla="*/ 5 h 9"/>
                  <a:gd name="T12" fmla="*/ 4 w 9"/>
                  <a:gd name="T13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4" y="9"/>
                    </a:cubicBezTo>
                    <a:close/>
                    <a:moveTo>
                      <a:pt x="4" y="5"/>
                    </a:moveTo>
                    <a:cubicBezTo>
                      <a:pt x="4" y="5"/>
                      <a:pt x="4" y="5"/>
                      <a:pt x="4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3" name="îšlidé"/>
              <p:cNvSpPr/>
              <p:nvPr/>
            </p:nvSpPr>
            <p:spPr bwMode="auto">
              <a:xfrm>
                <a:off x="10137775" y="5667375"/>
                <a:ext cx="9525" cy="9525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4" name="í$lîḓé"/>
              <p:cNvSpPr/>
              <p:nvPr/>
            </p:nvSpPr>
            <p:spPr bwMode="auto">
              <a:xfrm>
                <a:off x="10133013" y="5662613"/>
                <a:ext cx="19050" cy="19050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5" name="i$ļîdè"/>
              <p:cNvSpPr/>
              <p:nvPr/>
            </p:nvSpPr>
            <p:spPr bwMode="auto">
              <a:xfrm>
                <a:off x="10067925" y="5711825"/>
                <a:ext cx="11113" cy="7938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6" name="î$ḻiḍe"/>
              <p:cNvSpPr/>
              <p:nvPr/>
            </p:nvSpPr>
            <p:spPr bwMode="auto">
              <a:xfrm>
                <a:off x="10064750" y="5705475"/>
                <a:ext cx="20638" cy="20638"/>
              </a:xfrm>
              <a:custGeom>
                <a:avLst/>
                <a:gdLst>
                  <a:gd name="T0" fmla="*/ 5 w 10"/>
                  <a:gd name="T1" fmla="*/ 10 h 10"/>
                  <a:gd name="T2" fmla="*/ 0 w 10"/>
                  <a:gd name="T3" fmla="*/ 5 h 10"/>
                  <a:gd name="T4" fmla="*/ 5 w 10"/>
                  <a:gd name="T5" fmla="*/ 0 h 10"/>
                  <a:gd name="T6" fmla="*/ 10 w 10"/>
                  <a:gd name="T7" fmla="*/ 5 h 10"/>
                  <a:gd name="T8" fmla="*/ 5 w 10"/>
                  <a:gd name="T9" fmla="*/ 10 h 10"/>
                  <a:gd name="T10" fmla="*/ 5 w 10"/>
                  <a:gd name="T11" fmla="*/ 3 h 10"/>
                  <a:gd name="T12" fmla="*/ 5 w 10"/>
                  <a:gd name="T13" fmla="*/ 5 h 10"/>
                  <a:gd name="T14" fmla="*/ 5 w 10"/>
                  <a:gd name="T15" fmla="*/ 5 h 10"/>
                  <a:gd name="T16" fmla="*/ 5 w 10"/>
                  <a:gd name="T17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10">
                    <a:moveTo>
                      <a:pt x="5" y="10"/>
                    </a:moveTo>
                    <a:cubicBezTo>
                      <a:pt x="2" y="10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0" y="7"/>
                      <a:pt x="7" y="10"/>
                      <a:pt x="5" y="10"/>
                    </a:cubicBezTo>
                    <a:close/>
                    <a:moveTo>
                      <a:pt x="5" y="3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7" name="ïṥ1iḍé"/>
              <p:cNvSpPr/>
              <p:nvPr/>
            </p:nvSpPr>
            <p:spPr bwMode="auto">
              <a:xfrm>
                <a:off x="9961563" y="5572125"/>
                <a:ext cx="7938" cy="11113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8" name="íSľiḋe"/>
              <p:cNvSpPr/>
              <p:nvPr/>
            </p:nvSpPr>
            <p:spPr bwMode="auto">
              <a:xfrm>
                <a:off x="9955213" y="5568950"/>
                <a:ext cx="20638" cy="19050"/>
              </a:xfrm>
              <a:custGeom>
                <a:avLst/>
                <a:gdLst>
                  <a:gd name="T0" fmla="*/ 5 w 10"/>
                  <a:gd name="T1" fmla="*/ 9 h 9"/>
                  <a:gd name="T2" fmla="*/ 0 w 10"/>
                  <a:gd name="T3" fmla="*/ 4 h 9"/>
                  <a:gd name="T4" fmla="*/ 5 w 10"/>
                  <a:gd name="T5" fmla="*/ 0 h 9"/>
                  <a:gd name="T6" fmla="*/ 10 w 10"/>
                  <a:gd name="T7" fmla="*/ 4 h 9"/>
                  <a:gd name="T8" fmla="*/ 5 w 10"/>
                  <a:gd name="T9" fmla="*/ 9 h 9"/>
                  <a:gd name="T10" fmla="*/ 5 w 10"/>
                  <a:gd name="T11" fmla="*/ 4 h 9"/>
                  <a:gd name="T12" fmla="*/ 5 w 10"/>
                  <a:gd name="T13" fmla="*/ 4 h 9"/>
                  <a:gd name="T14" fmla="*/ 5 w 10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0" y="2"/>
                      <a:pt x="10" y="4"/>
                    </a:cubicBezTo>
                    <a:cubicBezTo>
                      <a:pt x="10" y="7"/>
                      <a:pt x="8" y="9"/>
                      <a:pt x="5" y="9"/>
                    </a:cubicBezTo>
                    <a:close/>
                    <a:moveTo>
                      <a:pt x="5" y="4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9" name="îšļíḍe"/>
              <p:cNvSpPr/>
              <p:nvPr/>
            </p:nvSpPr>
            <p:spPr bwMode="auto">
              <a:xfrm>
                <a:off x="10310813" y="6043613"/>
                <a:ext cx="12700" cy="15875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0" name="ïšḻïḋè"/>
              <p:cNvSpPr/>
              <p:nvPr/>
            </p:nvSpPr>
            <p:spPr bwMode="auto">
              <a:xfrm>
                <a:off x="10306050" y="6038850"/>
                <a:ext cx="23813" cy="23813"/>
              </a:xfrm>
              <a:custGeom>
                <a:avLst/>
                <a:gdLst>
                  <a:gd name="T0" fmla="*/ 5 w 11"/>
                  <a:gd name="T1" fmla="*/ 11 h 11"/>
                  <a:gd name="T2" fmla="*/ 0 w 11"/>
                  <a:gd name="T3" fmla="*/ 6 h 11"/>
                  <a:gd name="T4" fmla="*/ 5 w 11"/>
                  <a:gd name="T5" fmla="*/ 0 h 11"/>
                  <a:gd name="T6" fmla="*/ 11 w 11"/>
                  <a:gd name="T7" fmla="*/ 6 h 11"/>
                  <a:gd name="T8" fmla="*/ 5 w 11"/>
                  <a:gd name="T9" fmla="*/ 11 h 11"/>
                  <a:gd name="T10" fmla="*/ 5 w 11"/>
                  <a:gd name="T11" fmla="*/ 5 h 11"/>
                  <a:gd name="T12" fmla="*/ 4 w 11"/>
                  <a:gd name="T13" fmla="*/ 6 h 11"/>
                  <a:gd name="T14" fmla="*/ 6 w 11"/>
                  <a:gd name="T15" fmla="*/ 6 h 11"/>
                  <a:gd name="T16" fmla="*/ 5 w 11"/>
                  <a:gd name="T1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5" y="11"/>
                    </a:moveTo>
                    <a:cubicBezTo>
                      <a:pt x="2" y="11"/>
                      <a:pt x="0" y="9"/>
                      <a:pt x="0" y="6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8" y="0"/>
                      <a:pt x="11" y="3"/>
                      <a:pt x="11" y="6"/>
                    </a:cubicBezTo>
                    <a:cubicBezTo>
                      <a:pt x="11" y="9"/>
                      <a:pt x="8" y="11"/>
                      <a:pt x="5" y="11"/>
                    </a:cubicBezTo>
                    <a:close/>
                    <a:moveTo>
                      <a:pt x="5" y="5"/>
                    </a:moveTo>
                    <a:cubicBezTo>
                      <a:pt x="5" y="5"/>
                      <a:pt x="4" y="5"/>
                      <a:pt x="4" y="6"/>
                    </a:cubicBezTo>
                    <a:cubicBezTo>
                      <a:pt x="4" y="6"/>
                      <a:pt x="6" y="6"/>
                      <a:pt x="6" y="6"/>
                    </a:cubicBezTo>
                    <a:cubicBezTo>
                      <a:pt x="6" y="5"/>
                      <a:pt x="6" y="5"/>
                      <a:pt x="5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1" name="îŝ1íďe"/>
              <p:cNvSpPr/>
              <p:nvPr/>
            </p:nvSpPr>
            <p:spPr bwMode="auto">
              <a:xfrm>
                <a:off x="9779000" y="6289675"/>
                <a:ext cx="7938" cy="11113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2" name="ïṥľiḍé"/>
              <p:cNvSpPr/>
              <p:nvPr/>
            </p:nvSpPr>
            <p:spPr bwMode="auto">
              <a:xfrm>
                <a:off x="9772650" y="6286500"/>
                <a:ext cx="22225" cy="19050"/>
              </a:xfrm>
              <a:custGeom>
                <a:avLst/>
                <a:gdLst>
                  <a:gd name="T0" fmla="*/ 5 w 10"/>
                  <a:gd name="T1" fmla="*/ 9 h 9"/>
                  <a:gd name="T2" fmla="*/ 0 w 10"/>
                  <a:gd name="T3" fmla="*/ 4 h 9"/>
                  <a:gd name="T4" fmla="*/ 5 w 10"/>
                  <a:gd name="T5" fmla="*/ 0 h 9"/>
                  <a:gd name="T6" fmla="*/ 10 w 10"/>
                  <a:gd name="T7" fmla="*/ 4 h 9"/>
                  <a:gd name="T8" fmla="*/ 5 w 10"/>
                  <a:gd name="T9" fmla="*/ 9 h 9"/>
                  <a:gd name="T10" fmla="*/ 5 w 10"/>
                  <a:gd name="T11" fmla="*/ 2 h 9"/>
                  <a:gd name="T12" fmla="*/ 5 w 10"/>
                  <a:gd name="T13" fmla="*/ 4 h 9"/>
                  <a:gd name="T14" fmla="*/ 5 w 10"/>
                  <a:gd name="T15" fmla="*/ 4 h 9"/>
                  <a:gd name="T16" fmla="*/ 5 w 10"/>
                  <a:gd name="T1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0" y="2"/>
                      <a:pt x="10" y="4"/>
                    </a:cubicBezTo>
                    <a:cubicBezTo>
                      <a:pt x="10" y="7"/>
                      <a:pt x="8" y="9"/>
                      <a:pt x="5" y="9"/>
                    </a:cubicBezTo>
                    <a:close/>
                    <a:moveTo>
                      <a:pt x="5" y="2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3" name="îsḷîḋé"/>
              <p:cNvSpPr/>
              <p:nvPr/>
            </p:nvSpPr>
            <p:spPr bwMode="auto">
              <a:xfrm>
                <a:off x="9932988" y="6453188"/>
                <a:ext cx="15875" cy="14288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4" name="iS1îde"/>
              <p:cNvSpPr/>
              <p:nvPr/>
            </p:nvSpPr>
            <p:spPr bwMode="auto">
              <a:xfrm>
                <a:off x="9926638" y="6446838"/>
                <a:ext cx="26988" cy="25400"/>
              </a:xfrm>
              <a:custGeom>
                <a:avLst/>
                <a:gdLst>
                  <a:gd name="T0" fmla="*/ 6 w 12"/>
                  <a:gd name="T1" fmla="*/ 12 h 12"/>
                  <a:gd name="T2" fmla="*/ 0 w 12"/>
                  <a:gd name="T3" fmla="*/ 6 h 12"/>
                  <a:gd name="T4" fmla="*/ 6 w 12"/>
                  <a:gd name="T5" fmla="*/ 0 h 12"/>
                  <a:gd name="T6" fmla="*/ 12 w 12"/>
                  <a:gd name="T7" fmla="*/ 6 h 12"/>
                  <a:gd name="T8" fmla="*/ 6 w 12"/>
                  <a:gd name="T9" fmla="*/ 12 h 12"/>
                  <a:gd name="T10" fmla="*/ 6 w 12"/>
                  <a:gd name="T11" fmla="*/ 5 h 12"/>
                  <a:gd name="T12" fmla="*/ 5 w 12"/>
                  <a:gd name="T13" fmla="*/ 6 h 12"/>
                  <a:gd name="T14" fmla="*/ 6 w 12"/>
                  <a:gd name="T15" fmla="*/ 7 h 12"/>
                  <a:gd name="T16" fmla="*/ 8 w 12"/>
                  <a:gd name="T17" fmla="*/ 6 h 12"/>
                  <a:gd name="T18" fmla="*/ 6 w 12"/>
                  <a:gd name="T1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6" y="12"/>
                    </a:move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0" y="0"/>
                      <a:pt x="12" y="3"/>
                      <a:pt x="12" y="6"/>
                    </a:cubicBezTo>
                    <a:cubicBezTo>
                      <a:pt x="12" y="9"/>
                      <a:pt x="10" y="12"/>
                      <a:pt x="6" y="12"/>
                    </a:cubicBezTo>
                    <a:close/>
                    <a:moveTo>
                      <a:pt x="6" y="5"/>
                    </a:moveTo>
                    <a:cubicBezTo>
                      <a:pt x="6" y="5"/>
                      <a:pt x="5" y="5"/>
                      <a:pt x="5" y="6"/>
                    </a:cubicBezTo>
                    <a:cubicBezTo>
                      <a:pt x="5" y="7"/>
                      <a:pt x="6" y="7"/>
                      <a:pt x="6" y="7"/>
                    </a:cubicBezTo>
                    <a:cubicBezTo>
                      <a:pt x="7" y="7"/>
                      <a:pt x="8" y="7"/>
                      <a:pt x="8" y="6"/>
                    </a:cubicBezTo>
                    <a:cubicBezTo>
                      <a:pt x="8" y="5"/>
                      <a:pt x="7" y="5"/>
                      <a:pt x="6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5" name="ïṩḷîḋé"/>
              <p:cNvSpPr/>
              <p:nvPr/>
            </p:nvSpPr>
            <p:spPr bwMode="auto">
              <a:xfrm>
                <a:off x="9956800" y="6356350"/>
                <a:ext cx="11113" cy="9525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6" name="iSlîḓê"/>
              <p:cNvSpPr/>
              <p:nvPr/>
            </p:nvSpPr>
            <p:spPr bwMode="auto">
              <a:xfrm>
                <a:off x="9953625" y="6350000"/>
                <a:ext cx="19050" cy="22225"/>
              </a:xfrm>
              <a:custGeom>
                <a:avLst/>
                <a:gdLst>
                  <a:gd name="T0" fmla="*/ 5 w 9"/>
                  <a:gd name="T1" fmla="*/ 10 h 10"/>
                  <a:gd name="T2" fmla="*/ 0 w 9"/>
                  <a:gd name="T3" fmla="*/ 5 h 10"/>
                  <a:gd name="T4" fmla="*/ 5 w 9"/>
                  <a:gd name="T5" fmla="*/ 0 h 10"/>
                  <a:gd name="T6" fmla="*/ 9 w 9"/>
                  <a:gd name="T7" fmla="*/ 5 h 10"/>
                  <a:gd name="T8" fmla="*/ 5 w 9"/>
                  <a:gd name="T9" fmla="*/ 10 h 10"/>
                  <a:gd name="T10" fmla="*/ 5 w 9"/>
                  <a:gd name="T11" fmla="*/ 5 h 10"/>
                  <a:gd name="T12" fmla="*/ 5 w 9"/>
                  <a:gd name="T13" fmla="*/ 5 h 10"/>
                  <a:gd name="T14" fmla="*/ 5 w 9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0">
                    <a:moveTo>
                      <a:pt x="5" y="10"/>
                    </a:moveTo>
                    <a:cubicBezTo>
                      <a:pt x="2" y="10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10"/>
                      <a:pt x="5" y="10"/>
                    </a:cubicBezTo>
                    <a:close/>
                    <a:moveTo>
                      <a:pt x="5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7" name="îşlíḍé"/>
              <p:cNvSpPr/>
              <p:nvPr/>
            </p:nvSpPr>
            <p:spPr bwMode="auto">
              <a:xfrm>
                <a:off x="9956800" y="6111875"/>
                <a:ext cx="9525" cy="9525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8" name="îṩļiḓè"/>
              <p:cNvSpPr/>
              <p:nvPr/>
            </p:nvSpPr>
            <p:spPr bwMode="auto">
              <a:xfrm>
                <a:off x="9950450" y="6105525"/>
                <a:ext cx="19050" cy="19050"/>
              </a:xfrm>
              <a:custGeom>
                <a:avLst/>
                <a:gdLst>
                  <a:gd name="T0" fmla="*/ 5 w 9"/>
                  <a:gd name="T1" fmla="*/ 9 h 9"/>
                  <a:gd name="T2" fmla="*/ 0 w 9"/>
                  <a:gd name="T3" fmla="*/ 5 h 9"/>
                  <a:gd name="T4" fmla="*/ 5 w 9"/>
                  <a:gd name="T5" fmla="*/ 0 h 9"/>
                  <a:gd name="T6" fmla="*/ 9 w 9"/>
                  <a:gd name="T7" fmla="*/ 5 h 9"/>
                  <a:gd name="T8" fmla="*/ 5 w 9"/>
                  <a:gd name="T9" fmla="*/ 9 h 9"/>
                  <a:gd name="T10" fmla="*/ 5 w 9"/>
                  <a:gd name="T11" fmla="*/ 5 h 9"/>
                  <a:gd name="T12" fmla="*/ 4 w 9"/>
                  <a:gd name="T13" fmla="*/ 5 h 9"/>
                  <a:gd name="T14" fmla="*/ 5 w 9"/>
                  <a:gd name="T15" fmla="*/ 5 h 9"/>
                  <a:gd name="T16" fmla="*/ 5 w 9"/>
                  <a:gd name="T1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5"/>
                    </a:cubicBezTo>
                    <a:cubicBezTo>
                      <a:pt x="9" y="7"/>
                      <a:pt x="7" y="9"/>
                      <a:pt x="5" y="9"/>
                    </a:cubicBezTo>
                    <a:close/>
                    <a:moveTo>
                      <a:pt x="5" y="5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9" name="íśļiḓè"/>
              <p:cNvSpPr/>
              <p:nvPr/>
            </p:nvSpPr>
            <p:spPr bwMode="auto">
              <a:xfrm>
                <a:off x="10167938" y="6030913"/>
                <a:ext cx="9525" cy="11113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0" name="íşļïḑè"/>
              <p:cNvSpPr/>
              <p:nvPr/>
            </p:nvSpPr>
            <p:spPr bwMode="auto">
              <a:xfrm>
                <a:off x="10163175" y="6026150"/>
                <a:ext cx="20638" cy="22225"/>
              </a:xfrm>
              <a:custGeom>
                <a:avLst/>
                <a:gdLst>
                  <a:gd name="T0" fmla="*/ 5 w 10"/>
                  <a:gd name="T1" fmla="*/ 10 h 10"/>
                  <a:gd name="T2" fmla="*/ 0 w 10"/>
                  <a:gd name="T3" fmla="*/ 5 h 10"/>
                  <a:gd name="T4" fmla="*/ 5 w 10"/>
                  <a:gd name="T5" fmla="*/ 0 h 10"/>
                  <a:gd name="T6" fmla="*/ 10 w 10"/>
                  <a:gd name="T7" fmla="*/ 5 h 10"/>
                  <a:gd name="T8" fmla="*/ 5 w 10"/>
                  <a:gd name="T9" fmla="*/ 10 h 10"/>
                  <a:gd name="T10" fmla="*/ 5 w 10"/>
                  <a:gd name="T11" fmla="*/ 5 h 10"/>
                  <a:gd name="T12" fmla="*/ 5 w 10"/>
                  <a:gd name="T13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0">
                    <a:moveTo>
                      <a:pt x="5" y="10"/>
                    </a:moveTo>
                    <a:cubicBezTo>
                      <a:pt x="2" y="10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0" y="7"/>
                      <a:pt x="7" y="10"/>
                      <a:pt x="5" y="10"/>
                    </a:cubicBezTo>
                    <a:close/>
                    <a:moveTo>
                      <a:pt x="5" y="5"/>
                    </a:moveTo>
                    <a:cubicBezTo>
                      <a:pt x="5" y="5"/>
                      <a:pt x="5" y="5"/>
                      <a:pt x="5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1" name="íSlïďè"/>
              <p:cNvSpPr/>
              <p:nvPr/>
            </p:nvSpPr>
            <p:spPr bwMode="auto">
              <a:xfrm>
                <a:off x="10261600" y="5264150"/>
                <a:ext cx="11113" cy="11113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2" name="íšľïdè"/>
              <p:cNvSpPr/>
              <p:nvPr/>
            </p:nvSpPr>
            <p:spPr bwMode="auto">
              <a:xfrm>
                <a:off x="10256838" y="5259388"/>
                <a:ext cx="20638" cy="19050"/>
              </a:xfrm>
              <a:custGeom>
                <a:avLst/>
                <a:gdLst>
                  <a:gd name="T0" fmla="*/ 5 w 9"/>
                  <a:gd name="T1" fmla="*/ 9 h 9"/>
                  <a:gd name="T2" fmla="*/ 0 w 9"/>
                  <a:gd name="T3" fmla="*/ 4 h 9"/>
                  <a:gd name="T4" fmla="*/ 5 w 9"/>
                  <a:gd name="T5" fmla="*/ 0 h 9"/>
                  <a:gd name="T6" fmla="*/ 9 w 9"/>
                  <a:gd name="T7" fmla="*/ 4 h 9"/>
                  <a:gd name="T8" fmla="*/ 5 w 9"/>
                  <a:gd name="T9" fmla="*/ 9 h 9"/>
                  <a:gd name="T10" fmla="*/ 5 w 9"/>
                  <a:gd name="T11" fmla="*/ 4 h 9"/>
                  <a:gd name="T12" fmla="*/ 5 w 9"/>
                  <a:gd name="T13" fmla="*/ 4 h 9"/>
                  <a:gd name="T14" fmla="*/ 5 w 9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5" y="9"/>
                    </a:cubicBezTo>
                    <a:close/>
                    <a:moveTo>
                      <a:pt x="5" y="4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3" name="îṣļíďé"/>
              <p:cNvSpPr/>
              <p:nvPr/>
            </p:nvSpPr>
            <p:spPr bwMode="auto">
              <a:xfrm>
                <a:off x="10186988" y="5238750"/>
                <a:ext cx="6350" cy="6350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4" name="îṧḷíḋê"/>
              <p:cNvSpPr/>
              <p:nvPr/>
            </p:nvSpPr>
            <p:spPr bwMode="auto">
              <a:xfrm>
                <a:off x="10180638" y="5232400"/>
                <a:ext cx="17463" cy="15875"/>
              </a:xfrm>
              <a:custGeom>
                <a:avLst/>
                <a:gdLst>
                  <a:gd name="T0" fmla="*/ 4 w 8"/>
                  <a:gd name="T1" fmla="*/ 8 h 8"/>
                  <a:gd name="T2" fmla="*/ 0 w 8"/>
                  <a:gd name="T3" fmla="*/ 4 h 8"/>
                  <a:gd name="T4" fmla="*/ 4 w 8"/>
                  <a:gd name="T5" fmla="*/ 0 h 8"/>
                  <a:gd name="T6" fmla="*/ 8 w 8"/>
                  <a:gd name="T7" fmla="*/ 4 h 8"/>
                  <a:gd name="T8" fmla="*/ 4 w 8"/>
                  <a:gd name="T9" fmla="*/ 8 h 8"/>
                  <a:gd name="T10" fmla="*/ 4 w 8"/>
                  <a:gd name="T11" fmla="*/ 4 h 8"/>
                  <a:gd name="T12" fmla="*/ 4 w 8"/>
                  <a:gd name="T13" fmla="*/ 4 h 8"/>
                  <a:gd name="T14" fmla="*/ 5 w 8"/>
                  <a:gd name="T15" fmla="*/ 4 h 8"/>
                  <a:gd name="T16" fmla="*/ 4 w 8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7" y="8"/>
                      <a:pt x="4" y="8"/>
                    </a:cubicBezTo>
                    <a:close/>
                    <a:moveTo>
                      <a:pt x="4" y="4"/>
                    </a:moveTo>
                    <a:cubicBezTo>
                      <a:pt x="4" y="4"/>
                      <a:pt x="4" y="4"/>
                      <a:pt x="4" y="4"/>
                    </a:cubicBezTo>
                    <a:cubicBezTo>
                      <a:pt x="4" y="5"/>
                      <a:pt x="5" y="5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5" name="ïşlïḋé"/>
              <p:cNvSpPr/>
              <p:nvPr/>
            </p:nvSpPr>
            <p:spPr bwMode="auto">
              <a:xfrm>
                <a:off x="10191750" y="5265738"/>
                <a:ext cx="6350" cy="9525"/>
              </a:xfrm>
              <a:prstGeom prst="ellipse">
                <a:avLst/>
              </a:pr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6" name="iŝľïdè"/>
              <p:cNvSpPr/>
              <p:nvPr/>
            </p:nvSpPr>
            <p:spPr bwMode="auto">
              <a:xfrm>
                <a:off x="10183813" y="5262563"/>
                <a:ext cx="20638" cy="15875"/>
              </a:xfrm>
              <a:custGeom>
                <a:avLst/>
                <a:gdLst>
                  <a:gd name="T0" fmla="*/ 5 w 9"/>
                  <a:gd name="T1" fmla="*/ 8 h 8"/>
                  <a:gd name="T2" fmla="*/ 0 w 9"/>
                  <a:gd name="T3" fmla="*/ 4 h 8"/>
                  <a:gd name="T4" fmla="*/ 5 w 9"/>
                  <a:gd name="T5" fmla="*/ 0 h 8"/>
                  <a:gd name="T6" fmla="*/ 9 w 9"/>
                  <a:gd name="T7" fmla="*/ 4 h 8"/>
                  <a:gd name="T8" fmla="*/ 5 w 9"/>
                  <a:gd name="T9" fmla="*/ 8 h 8"/>
                  <a:gd name="T10" fmla="*/ 5 w 9"/>
                  <a:gd name="T11" fmla="*/ 3 h 8"/>
                  <a:gd name="T12" fmla="*/ 4 w 9"/>
                  <a:gd name="T13" fmla="*/ 4 h 8"/>
                  <a:gd name="T14" fmla="*/ 5 w 9"/>
                  <a:gd name="T15" fmla="*/ 4 h 8"/>
                  <a:gd name="T16" fmla="*/ 5 w 9"/>
                  <a:gd name="T17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  <a:close/>
                    <a:moveTo>
                      <a:pt x="5" y="3"/>
                    </a:moveTo>
                    <a:cubicBezTo>
                      <a:pt x="4" y="3"/>
                      <a:pt x="4" y="4"/>
                      <a:pt x="4" y="4"/>
                    </a:cubicBezTo>
                    <a:cubicBezTo>
                      <a:pt x="4" y="4"/>
                      <a:pt x="5" y="4"/>
                      <a:pt x="5" y="4"/>
                    </a:cubicBezTo>
                    <a:cubicBezTo>
                      <a:pt x="5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7" name="íṧļiḓê"/>
              <p:cNvSpPr/>
              <p:nvPr/>
            </p:nvSpPr>
            <p:spPr bwMode="auto">
              <a:xfrm>
                <a:off x="7872413" y="6337300"/>
                <a:ext cx="25400" cy="49213"/>
              </a:xfrm>
              <a:custGeom>
                <a:avLst/>
                <a:gdLst>
                  <a:gd name="T0" fmla="*/ 7 w 12"/>
                  <a:gd name="T1" fmla="*/ 23 h 23"/>
                  <a:gd name="T2" fmla="*/ 7 w 12"/>
                  <a:gd name="T3" fmla="*/ 23 h 23"/>
                  <a:gd name="T4" fmla="*/ 6 w 12"/>
                  <a:gd name="T5" fmla="*/ 22 h 23"/>
                  <a:gd name="T6" fmla="*/ 3 w 12"/>
                  <a:gd name="T7" fmla="*/ 18 h 23"/>
                  <a:gd name="T8" fmla="*/ 4 w 12"/>
                  <a:gd name="T9" fmla="*/ 15 h 23"/>
                  <a:gd name="T10" fmla="*/ 4 w 12"/>
                  <a:gd name="T11" fmla="*/ 15 h 23"/>
                  <a:gd name="T12" fmla="*/ 9 w 12"/>
                  <a:gd name="T13" fmla="*/ 14 h 23"/>
                  <a:gd name="T14" fmla="*/ 11 w 12"/>
                  <a:gd name="T15" fmla="*/ 18 h 23"/>
                  <a:gd name="T16" fmla="*/ 10 w 12"/>
                  <a:gd name="T17" fmla="*/ 21 h 23"/>
                  <a:gd name="T18" fmla="*/ 7 w 12"/>
                  <a:gd name="T19" fmla="*/ 23 h 23"/>
                  <a:gd name="T20" fmla="*/ 7 w 12"/>
                  <a:gd name="T21" fmla="*/ 18 h 23"/>
                  <a:gd name="T22" fmla="*/ 7 w 12"/>
                  <a:gd name="T23" fmla="*/ 18 h 23"/>
                  <a:gd name="T24" fmla="*/ 7 w 12"/>
                  <a:gd name="T25" fmla="*/ 18 h 23"/>
                  <a:gd name="T26" fmla="*/ 7 w 12"/>
                  <a:gd name="T27" fmla="*/ 18 h 23"/>
                  <a:gd name="T28" fmla="*/ 4 w 12"/>
                  <a:gd name="T29" fmla="*/ 9 h 23"/>
                  <a:gd name="T30" fmla="*/ 3 w 12"/>
                  <a:gd name="T31" fmla="*/ 9 h 23"/>
                  <a:gd name="T32" fmla="*/ 3 w 12"/>
                  <a:gd name="T33" fmla="*/ 8 h 23"/>
                  <a:gd name="T34" fmla="*/ 0 w 12"/>
                  <a:gd name="T35" fmla="*/ 4 h 23"/>
                  <a:gd name="T36" fmla="*/ 1 w 12"/>
                  <a:gd name="T37" fmla="*/ 2 h 23"/>
                  <a:gd name="T38" fmla="*/ 1 w 12"/>
                  <a:gd name="T39" fmla="*/ 2 h 23"/>
                  <a:gd name="T40" fmla="*/ 6 w 12"/>
                  <a:gd name="T41" fmla="*/ 0 h 23"/>
                  <a:gd name="T42" fmla="*/ 8 w 12"/>
                  <a:gd name="T43" fmla="*/ 4 h 23"/>
                  <a:gd name="T44" fmla="*/ 7 w 12"/>
                  <a:gd name="T45" fmla="*/ 8 h 23"/>
                  <a:gd name="T46" fmla="*/ 4 w 12"/>
                  <a:gd name="T47" fmla="*/ 9 h 23"/>
                  <a:gd name="T48" fmla="*/ 3 w 12"/>
                  <a:gd name="T49" fmla="*/ 5 h 23"/>
                  <a:gd name="T50" fmla="*/ 4 w 12"/>
                  <a:gd name="T51" fmla="*/ 5 h 23"/>
                  <a:gd name="T52" fmla="*/ 4 w 12"/>
                  <a:gd name="T53" fmla="*/ 5 h 23"/>
                  <a:gd name="T54" fmla="*/ 4 w 12"/>
                  <a:gd name="T55" fmla="*/ 4 h 23"/>
                  <a:gd name="T56" fmla="*/ 3 w 12"/>
                  <a:gd name="T57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2" h="23">
                    <a:moveTo>
                      <a:pt x="7" y="23"/>
                    </a:moveTo>
                    <a:cubicBezTo>
                      <a:pt x="7" y="23"/>
                      <a:pt x="7" y="23"/>
                      <a:pt x="7" y="2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5" y="21"/>
                      <a:pt x="3" y="20"/>
                      <a:pt x="3" y="18"/>
                    </a:cubicBezTo>
                    <a:cubicBezTo>
                      <a:pt x="3" y="17"/>
                      <a:pt x="3" y="16"/>
                      <a:pt x="4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6" y="14"/>
                      <a:pt x="7" y="13"/>
                      <a:pt x="9" y="14"/>
                    </a:cubicBezTo>
                    <a:cubicBezTo>
                      <a:pt x="10" y="14"/>
                      <a:pt x="11" y="15"/>
                      <a:pt x="11" y="18"/>
                    </a:cubicBezTo>
                    <a:cubicBezTo>
                      <a:pt x="12" y="19"/>
                      <a:pt x="11" y="21"/>
                      <a:pt x="10" y="21"/>
                    </a:cubicBezTo>
                    <a:cubicBezTo>
                      <a:pt x="9" y="22"/>
                      <a:pt x="8" y="23"/>
                      <a:pt x="7" y="23"/>
                    </a:cubicBezTo>
                    <a:close/>
                    <a:moveTo>
                      <a:pt x="7" y="18"/>
                    </a:moveTo>
                    <a:cubicBezTo>
                      <a:pt x="7" y="18"/>
                      <a:pt x="7" y="18"/>
                      <a:pt x="7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18"/>
                      <a:pt x="7" y="18"/>
                      <a:pt x="7" y="18"/>
                    </a:cubicBezTo>
                    <a:close/>
                    <a:moveTo>
                      <a:pt x="4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0"/>
                      <a:pt x="4" y="0"/>
                      <a:pt x="6" y="0"/>
                    </a:cubicBezTo>
                    <a:cubicBezTo>
                      <a:pt x="6" y="1"/>
                      <a:pt x="8" y="2"/>
                      <a:pt x="8" y="4"/>
                    </a:cubicBezTo>
                    <a:cubicBezTo>
                      <a:pt x="8" y="6"/>
                      <a:pt x="8" y="7"/>
                      <a:pt x="7" y="8"/>
                    </a:cubicBezTo>
                    <a:cubicBezTo>
                      <a:pt x="6" y="9"/>
                      <a:pt x="5" y="9"/>
                      <a:pt x="4" y="9"/>
                    </a:cubicBezTo>
                    <a:close/>
                    <a:moveTo>
                      <a:pt x="3" y="5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3" y="5"/>
                    </a:cubicBezTo>
                    <a:close/>
                  </a:path>
                </a:pathLst>
              </a:custGeom>
              <a:solidFill>
                <a:srgbClr val="009F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8" name="iṥ1iḓe"/>
              <p:cNvSpPr/>
              <p:nvPr/>
            </p:nvSpPr>
            <p:spPr bwMode="auto">
              <a:xfrm>
                <a:off x="7472363" y="5124450"/>
                <a:ext cx="2609850" cy="996950"/>
              </a:xfrm>
              <a:custGeom>
                <a:avLst/>
                <a:gdLst>
                  <a:gd name="T0" fmla="*/ 32 w 1216"/>
                  <a:gd name="T1" fmla="*/ 464 h 465"/>
                  <a:gd name="T2" fmla="*/ 40 w 1216"/>
                  <a:gd name="T3" fmla="*/ 460 h 465"/>
                  <a:gd name="T4" fmla="*/ 43 w 1216"/>
                  <a:gd name="T5" fmla="*/ 464 h 465"/>
                  <a:gd name="T6" fmla="*/ 8 w 1216"/>
                  <a:gd name="T7" fmla="*/ 464 h 465"/>
                  <a:gd name="T8" fmla="*/ 11 w 1216"/>
                  <a:gd name="T9" fmla="*/ 459 h 465"/>
                  <a:gd name="T10" fmla="*/ 14 w 1216"/>
                  <a:gd name="T11" fmla="*/ 464 h 465"/>
                  <a:gd name="T12" fmla="*/ 1 w 1216"/>
                  <a:gd name="T13" fmla="*/ 451 h 465"/>
                  <a:gd name="T14" fmla="*/ 4 w 1216"/>
                  <a:gd name="T15" fmla="*/ 435 h 465"/>
                  <a:gd name="T16" fmla="*/ 11 w 1216"/>
                  <a:gd name="T17" fmla="*/ 430 h 465"/>
                  <a:gd name="T18" fmla="*/ 9 w 1216"/>
                  <a:gd name="T19" fmla="*/ 445 h 465"/>
                  <a:gd name="T20" fmla="*/ 6 w 1216"/>
                  <a:gd name="T21" fmla="*/ 452 h 465"/>
                  <a:gd name="T22" fmla="*/ 59 w 1216"/>
                  <a:gd name="T23" fmla="*/ 454 h 465"/>
                  <a:gd name="T24" fmla="*/ 64 w 1216"/>
                  <a:gd name="T25" fmla="*/ 440 h 465"/>
                  <a:gd name="T26" fmla="*/ 55 w 1216"/>
                  <a:gd name="T27" fmla="*/ 431 h 465"/>
                  <a:gd name="T28" fmla="*/ 47 w 1216"/>
                  <a:gd name="T29" fmla="*/ 425 h 465"/>
                  <a:gd name="T30" fmla="*/ 40 w 1216"/>
                  <a:gd name="T31" fmla="*/ 426 h 465"/>
                  <a:gd name="T32" fmla="*/ 36 w 1216"/>
                  <a:gd name="T33" fmla="*/ 423 h 465"/>
                  <a:gd name="T34" fmla="*/ 41 w 1216"/>
                  <a:gd name="T35" fmla="*/ 420 h 465"/>
                  <a:gd name="T36" fmla="*/ 56 w 1216"/>
                  <a:gd name="T37" fmla="*/ 421 h 465"/>
                  <a:gd name="T38" fmla="*/ 21 w 1216"/>
                  <a:gd name="T39" fmla="*/ 430 h 465"/>
                  <a:gd name="T40" fmla="*/ 19 w 1216"/>
                  <a:gd name="T41" fmla="*/ 426 h 465"/>
                  <a:gd name="T42" fmla="*/ 22 w 1216"/>
                  <a:gd name="T43" fmla="*/ 425 h 465"/>
                  <a:gd name="T44" fmla="*/ 26 w 1216"/>
                  <a:gd name="T45" fmla="*/ 423 h 465"/>
                  <a:gd name="T46" fmla="*/ 28 w 1216"/>
                  <a:gd name="T47" fmla="*/ 423 h 465"/>
                  <a:gd name="T48" fmla="*/ 30 w 1216"/>
                  <a:gd name="T49" fmla="*/ 427 h 465"/>
                  <a:gd name="T50" fmla="*/ 30 w 1216"/>
                  <a:gd name="T51" fmla="*/ 427 h 465"/>
                  <a:gd name="T52" fmla="*/ 25 w 1216"/>
                  <a:gd name="T53" fmla="*/ 429 h 465"/>
                  <a:gd name="T54" fmla="*/ 30 w 1216"/>
                  <a:gd name="T55" fmla="*/ 427 h 465"/>
                  <a:gd name="T56" fmla="*/ 25 w 1216"/>
                  <a:gd name="T57" fmla="*/ 426 h 465"/>
                  <a:gd name="T58" fmla="*/ 26 w 1216"/>
                  <a:gd name="T59" fmla="*/ 424 h 465"/>
                  <a:gd name="T60" fmla="*/ 1192 w 1216"/>
                  <a:gd name="T61" fmla="*/ 22 h 465"/>
                  <a:gd name="T62" fmla="*/ 1186 w 1216"/>
                  <a:gd name="T63" fmla="*/ 17 h 465"/>
                  <a:gd name="T64" fmla="*/ 1190 w 1216"/>
                  <a:gd name="T65" fmla="*/ 16 h 465"/>
                  <a:gd name="T66" fmla="*/ 1201 w 1216"/>
                  <a:gd name="T67" fmla="*/ 16 h 465"/>
                  <a:gd name="T68" fmla="*/ 1210 w 1216"/>
                  <a:gd name="T69" fmla="*/ 21 h 465"/>
                  <a:gd name="T70" fmla="*/ 1209 w 1216"/>
                  <a:gd name="T71" fmla="*/ 7 h 465"/>
                  <a:gd name="T72" fmla="*/ 1207 w 1216"/>
                  <a:gd name="T73" fmla="*/ 4 h 465"/>
                  <a:gd name="T74" fmla="*/ 1205 w 1216"/>
                  <a:gd name="T75" fmla="*/ 5 h 465"/>
                  <a:gd name="T76" fmla="*/ 1200 w 1216"/>
                  <a:gd name="T77" fmla="*/ 6 h 465"/>
                  <a:gd name="T78" fmla="*/ 1198 w 1216"/>
                  <a:gd name="T79" fmla="*/ 7 h 465"/>
                  <a:gd name="T80" fmla="*/ 1195 w 1216"/>
                  <a:gd name="T81" fmla="*/ 7 h 465"/>
                  <a:gd name="T82" fmla="*/ 1191 w 1216"/>
                  <a:gd name="T83" fmla="*/ 10 h 465"/>
                  <a:gd name="T84" fmla="*/ 1193 w 1216"/>
                  <a:gd name="T85" fmla="*/ 2 h 465"/>
                  <a:gd name="T86" fmla="*/ 1197 w 1216"/>
                  <a:gd name="T87" fmla="*/ 1 h 465"/>
                  <a:gd name="T88" fmla="*/ 1199 w 1216"/>
                  <a:gd name="T89" fmla="*/ 0 h 465"/>
                  <a:gd name="T90" fmla="*/ 1202 w 1216"/>
                  <a:gd name="T91" fmla="*/ 0 h 465"/>
                  <a:gd name="T92" fmla="*/ 1206 w 1216"/>
                  <a:gd name="T93" fmla="*/ 0 h 465"/>
                  <a:gd name="T94" fmla="*/ 1214 w 1216"/>
                  <a:gd name="T95" fmla="*/ 2 h 465"/>
                  <a:gd name="T96" fmla="*/ 1210 w 1216"/>
                  <a:gd name="T97" fmla="*/ 21 h 465"/>
                  <a:gd name="T98" fmla="*/ 1207 w 1216"/>
                  <a:gd name="T99" fmla="*/ 4 h 465"/>
                  <a:gd name="T100" fmla="*/ 1201 w 1216"/>
                  <a:gd name="T101" fmla="*/ 2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16" h="465">
                    <a:moveTo>
                      <a:pt x="40" y="465"/>
                    </a:moveTo>
                    <a:cubicBezTo>
                      <a:pt x="38" y="464"/>
                      <a:pt x="38" y="464"/>
                      <a:pt x="38" y="464"/>
                    </a:cubicBezTo>
                    <a:cubicBezTo>
                      <a:pt x="33" y="464"/>
                      <a:pt x="33" y="464"/>
                      <a:pt x="33" y="464"/>
                    </a:cubicBezTo>
                    <a:cubicBezTo>
                      <a:pt x="32" y="464"/>
                      <a:pt x="32" y="464"/>
                      <a:pt x="32" y="464"/>
                    </a:cubicBezTo>
                    <a:cubicBezTo>
                      <a:pt x="32" y="459"/>
                      <a:pt x="32" y="459"/>
                      <a:pt x="32" y="459"/>
                    </a:cubicBezTo>
                    <a:cubicBezTo>
                      <a:pt x="33" y="459"/>
                      <a:pt x="33" y="459"/>
                      <a:pt x="33" y="459"/>
                    </a:cubicBezTo>
                    <a:cubicBezTo>
                      <a:pt x="39" y="459"/>
                      <a:pt x="39" y="459"/>
                      <a:pt x="39" y="459"/>
                    </a:cubicBezTo>
                    <a:cubicBezTo>
                      <a:pt x="40" y="460"/>
                      <a:pt x="40" y="460"/>
                      <a:pt x="40" y="460"/>
                    </a:cubicBezTo>
                    <a:cubicBezTo>
                      <a:pt x="43" y="459"/>
                      <a:pt x="43" y="459"/>
                      <a:pt x="43" y="459"/>
                    </a:cubicBezTo>
                    <a:cubicBezTo>
                      <a:pt x="60" y="459"/>
                      <a:pt x="60" y="459"/>
                      <a:pt x="60" y="459"/>
                    </a:cubicBezTo>
                    <a:cubicBezTo>
                      <a:pt x="60" y="464"/>
                      <a:pt x="60" y="464"/>
                      <a:pt x="60" y="464"/>
                    </a:cubicBezTo>
                    <a:cubicBezTo>
                      <a:pt x="43" y="464"/>
                      <a:pt x="43" y="464"/>
                      <a:pt x="43" y="464"/>
                    </a:cubicBezTo>
                    <a:lnTo>
                      <a:pt x="40" y="465"/>
                    </a:lnTo>
                    <a:close/>
                    <a:moveTo>
                      <a:pt x="11" y="465"/>
                    </a:moveTo>
                    <a:cubicBezTo>
                      <a:pt x="11" y="465"/>
                      <a:pt x="9" y="464"/>
                      <a:pt x="8" y="464"/>
                    </a:cubicBezTo>
                    <a:cubicBezTo>
                      <a:pt x="8" y="464"/>
                      <a:pt x="8" y="464"/>
                      <a:pt x="8" y="464"/>
                    </a:cubicBezTo>
                    <a:cubicBezTo>
                      <a:pt x="9" y="462"/>
                      <a:pt x="9" y="462"/>
                      <a:pt x="9" y="462"/>
                    </a:cubicBezTo>
                    <a:cubicBezTo>
                      <a:pt x="10" y="460"/>
                      <a:pt x="10" y="460"/>
                      <a:pt x="10" y="460"/>
                    </a:cubicBezTo>
                    <a:cubicBezTo>
                      <a:pt x="10" y="460"/>
                      <a:pt x="10" y="460"/>
                      <a:pt x="11" y="460"/>
                    </a:cubicBezTo>
                    <a:cubicBezTo>
                      <a:pt x="11" y="460"/>
                      <a:pt x="11" y="459"/>
                      <a:pt x="11" y="459"/>
                    </a:cubicBezTo>
                    <a:cubicBezTo>
                      <a:pt x="12" y="459"/>
                      <a:pt x="12" y="459"/>
                      <a:pt x="12" y="459"/>
                    </a:cubicBezTo>
                    <a:cubicBezTo>
                      <a:pt x="22" y="459"/>
                      <a:pt x="22" y="459"/>
                      <a:pt x="22" y="459"/>
                    </a:cubicBezTo>
                    <a:cubicBezTo>
                      <a:pt x="23" y="464"/>
                      <a:pt x="23" y="464"/>
                      <a:pt x="23" y="464"/>
                    </a:cubicBezTo>
                    <a:cubicBezTo>
                      <a:pt x="14" y="464"/>
                      <a:pt x="14" y="464"/>
                      <a:pt x="14" y="464"/>
                    </a:cubicBezTo>
                    <a:cubicBezTo>
                      <a:pt x="13" y="464"/>
                      <a:pt x="12" y="465"/>
                      <a:pt x="11" y="465"/>
                    </a:cubicBezTo>
                    <a:close/>
                    <a:moveTo>
                      <a:pt x="0" y="456"/>
                    </a:moveTo>
                    <a:cubicBezTo>
                      <a:pt x="0" y="455"/>
                      <a:pt x="0" y="455"/>
                      <a:pt x="0" y="455"/>
                    </a:cubicBezTo>
                    <a:cubicBezTo>
                      <a:pt x="1" y="451"/>
                      <a:pt x="1" y="451"/>
                      <a:pt x="1" y="451"/>
                    </a:cubicBezTo>
                    <a:cubicBezTo>
                      <a:pt x="1" y="450"/>
                      <a:pt x="2" y="450"/>
                      <a:pt x="2" y="449"/>
                    </a:cubicBezTo>
                    <a:cubicBezTo>
                      <a:pt x="2" y="449"/>
                      <a:pt x="2" y="449"/>
                      <a:pt x="3" y="448"/>
                    </a:cubicBezTo>
                    <a:cubicBezTo>
                      <a:pt x="4" y="444"/>
                      <a:pt x="4" y="444"/>
                      <a:pt x="4" y="444"/>
                    </a:cubicBezTo>
                    <a:cubicBezTo>
                      <a:pt x="4" y="435"/>
                      <a:pt x="4" y="435"/>
                      <a:pt x="4" y="435"/>
                    </a:cubicBezTo>
                    <a:cubicBezTo>
                      <a:pt x="4" y="434"/>
                      <a:pt x="5" y="433"/>
                      <a:pt x="7" y="433"/>
                    </a:cubicBezTo>
                    <a:cubicBezTo>
                      <a:pt x="8" y="432"/>
                      <a:pt x="9" y="431"/>
                      <a:pt x="10" y="431"/>
                    </a:cubicBezTo>
                    <a:cubicBezTo>
                      <a:pt x="10" y="431"/>
                      <a:pt x="10" y="431"/>
                      <a:pt x="10" y="431"/>
                    </a:cubicBezTo>
                    <a:cubicBezTo>
                      <a:pt x="10" y="431"/>
                      <a:pt x="11" y="430"/>
                      <a:pt x="11" y="430"/>
                    </a:cubicBezTo>
                    <a:cubicBezTo>
                      <a:pt x="14" y="434"/>
                      <a:pt x="14" y="434"/>
                      <a:pt x="14" y="434"/>
                    </a:cubicBezTo>
                    <a:cubicBezTo>
                      <a:pt x="13" y="434"/>
                      <a:pt x="13" y="434"/>
                      <a:pt x="12" y="435"/>
                    </a:cubicBezTo>
                    <a:cubicBezTo>
                      <a:pt x="12" y="435"/>
                      <a:pt x="12" y="435"/>
                      <a:pt x="9" y="437"/>
                    </a:cubicBezTo>
                    <a:cubicBezTo>
                      <a:pt x="9" y="445"/>
                      <a:pt x="9" y="445"/>
                      <a:pt x="9" y="445"/>
                    </a:cubicBezTo>
                    <a:cubicBezTo>
                      <a:pt x="7" y="451"/>
                      <a:pt x="7" y="451"/>
                      <a:pt x="7" y="451"/>
                    </a:cubicBezTo>
                    <a:cubicBezTo>
                      <a:pt x="6" y="452"/>
                      <a:pt x="6" y="452"/>
                      <a:pt x="6" y="452"/>
                    </a:cubicBezTo>
                    <a:cubicBezTo>
                      <a:pt x="6" y="452"/>
                      <a:pt x="6" y="452"/>
                      <a:pt x="6" y="452"/>
                    </a:cubicBezTo>
                    <a:cubicBezTo>
                      <a:pt x="6" y="452"/>
                      <a:pt x="6" y="452"/>
                      <a:pt x="6" y="452"/>
                    </a:cubicBezTo>
                    <a:cubicBezTo>
                      <a:pt x="4" y="456"/>
                      <a:pt x="4" y="456"/>
                      <a:pt x="4" y="456"/>
                    </a:cubicBezTo>
                    <a:cubicBezTo>
                      <a:pt x="3" y="455"/>
                      <a:pt x="3" y="455"/>
                      <a:pt x="3" y="455"/>
                    </a:cubicBezTo>
                    <a:lnTo>
                      <a:pt x="0" y="456"/>
                    </a:lnTo>
                    <a:close/>
                    <a:moveTo>
                      <a:pt x="59" y="454"/>
                    </a:moveTo>
                    <a:cubicBezTo>
                      <a:pt x="59" y="441"/>
                      <a:pt x="59" y="441"/>
                      <a:pt x="59" y="441"/>
                    </a:cubicBezTo>
                    <a:cubicBezTo>
                      <a:pt x="59" y="441"/>
                      <a:pt x="59" y="441"/>
                      <a:pt x="59" y="441"/>
                    </a:cubicBezTo>
                    <a:cubicBezTo>
                      <a:pt x="63" y="439"/>
                      <a:pt x="63" y="439"/>
                      <a:pt x="63" y="439"/>
                    </a:cubicBezTo>
                    <a:cubicBezTo>
                      <a:pt x="64" y="440"/>
                      <a:pt x="64" y="440"/>
                      <a:pt x="64" y="440"/>
                    </a:cubicBezTo>
                    <a:cubicBezTo>
                      <a:pt x="64" y="454"/>
                      <a:pt x="64" y="454"/>
                      <a:pt x="64" y="454"/>
                    </a:cubicBezTo>
                    <a:lnTo>
                      <a:pt x="59" y="454"/>
                    </a:lnTo>
                    <a:close/>
                    <a:moveTo>
                      <a:pt x="60" y="431"/>
                    </a:moveTo>
                    <a:cubicBezTo>
                      <a:pt x="55" y="431"/>
                      <a:pt x="55" y="431"/>
                      <a:pt x="55" y="431"/>
                    </a:cubicBezTo>
                    <a:cubicBezTo>
                      <a:pt x="55" y="425"/>
                      <a:pt x="55" y="425"/>
                      <a:pt x="55" y="425"/>
                    </a:cubicBezTo>
                    <a:cubicBezTo>
                      <a:pt x="54" y="425"/>
                      <a:pt x="54" y="425"/>
                      <a:pt x="54" y="425"/>
                    </a:cubicBezTo>
                    <a:cubicBezTo>
                      <a:pt x="48" y="425"/>
                      <a:pt x="48" y="425"/>
                      <a:pt x="48" y="425"/>
                    </a:cubicBezTo>
                    <a:cubicBezTo>
                      <a:pt x="48" y="425"/>
                      <a:pt x="47" y="425"/>
                      <a:pt x="47" y="425"/>
                    </a:cubicBezTo>
                    <a:cubicBezTo>
                      <a:pt x="46" y="425"/>
                      <a:pt x="43" y="425"/>
                      <a:pt x="43" y="425"/>
                    </a:cubicBezTo>
                    <a:cubicBezTo>
                      <a:pt x="43" y="425"/>
                      <a:pt x="42" y="425"/>
                      <a:pt x="42" y="425"/>
                    </a:cubicBezTo>
                    <a:cubicBezTo>
                      <a:pt x="42" y="425"/>
                      <a:pt x="41" y="425"/>
                      <a:pt x="41" y="425"/>
                    </a:cubicBezTo>
                    <a:cubicBezTo>
                      <a:pt x="40" y="426"/>
                      <a:pt x="40" y="426"/>
                      <a:pt x="40" y="426"/>
                    </a:cubicBezTo>
                    <a:cubicBezTo>
                      <a:pt x="39" y="427"/>
                      <a:pt x="39" y="427"/>
                      <a:pt x="39" y="427"/>
                    </a:cubicBezTo>
                    <a:cubicBezTo>
                      <a:pt x="38" y="427"/>
                      <a:pt x="38" y="427"/>
                      <a:pt x="38" y="427"/>
                    </a:cubicBezTo>
                    <a:cubicBezTo>
                      <a:pt x="37" y="424"/>
                      <a:pt x="37" y="424"/>
                      <a:pt x="37" y="424"/>
                    </a:cubicBezTo>
                    <a:cubicBezTo>
                      <a:pt x="36" y="423"/>
                      <a:pt x="36" y="423"/>
                      <a:pt x="36" y="423"/>
                    </a:cubicBezTo>
                    <a:cubicBezTo>
                      <a:pt x="37" y="422"/>
                      <a:pt x="37" y="422"/>
                      <a:pt x="37" y="422"/>
                    </a:cubicBezTo>
                    <a:cubicBezTo>
                      <a:pt x="39" y="421"/>
                      <a:pt x="39" y="421"/>
                      <a:pt x="39" y="421"/>
                    </a:cubicBezTo>
                    <a:cubicBezTo>
                      <a:pt x="39" y="421"/>
                      <a:pt x="41" y="420"/>
                      <a:pt x="41" y="420"/>
                    </a:cubicBezTo>
                    <a:cubicBezTo>
                      <a:pt x="41" y="420"/>
                      <a:pt x="41" y="420"/>
                      <a:pt x="41" y="420"/>
                    </a:cubicBezTo>
                    <a:cubicBezTo>
                      <a:pt x="41" y="420"/>
                      <a:pt x="42" y="420"/>
                      <a:pt x="43" y="420"/>
                    </a:cubicBezTo>
                    <a:cubicBezTo>
                      <a:pt x="43" y="420"/>
                      <a:pt x="45" y="420"/>
                      <a:pt x="46" y="420"/>
                    </a:cubicBezTo>
                    <a:cubicBezTo>
                      <a:pt x="47" y="420"/>
                      <a:pt x="48" y="420"/>
                      <a:pt x="48" y="420"/>
                    </a:cubicBezTo>
                    <a:cubicBezTo>
                      <a:pt x="56" y="421"/>
                      <a:pt x="56" y="421"/>
                      <a:pt x="56" y="421"/>
                    </a:cubicBezTo>
                    <a:cubicBezTo>
                      <a:pt x="60" y="423"/>
                      <a:pt x="60" y="423"/>
                      <a:pt x="60" y="423"/>
                    </a:cubicBezTo>
                    <a:lnTo>
                      <a:pt x="60" y="431"/>
                    </a:lnTo>
                    <a:close/>
                    <a:moveTo>
                      <a:pt x="22" y="431"/>
                    </a:moveTo>
                    <a:cubicBezTo>
                      <a:pt x="22" y="431"/>
                      <a:pt x="21" y="430"/>
                      <a:pt x="21" y="430"/>
                    </a:cubicBezTo>
                    <a:cubicBezTo>
                      <a:pt x="21" y="430"/>
                      <a:pt x="21" y="430"/>
                      <a:pt x="21" y="430"/>
                    </a:cubicBezTo>
                    <a:cubicBezTo>
                      <a:pt x="21" y="429"/>
                      <a:pt x="21" y="429"/>
                      <a:pt x="21" y="429"/>
                    </a:cubicBezTo>
                    <a:cubicBezTo>
                      <a:pt x="19" y="426"/>
                      <a:pt x="19" y="426"/>
                      <a:pt x="19" y="426"/>
                    </a:cubicBezTo>
                    <a:cubicBezTo>
                      <a:pt x="19" y="426"/>
                      <a:pt x="19" y="426"/>
                      <a:pt x="19" y="426"/>
                    </a:cubicBezTo>
                    <a:cubicBezTo>
                      <a:pt x="19" y="426"/>
                      <a:pt x="20" y="426"/>
                      <a:pt x="20" y="426"/>
                    </a:cubicBezTo>
                    <a:cubicBezTo>
                      <a:pt x="21" y="426"/>
                      <a:pt x="21" y="426"/>
                      <a:pt x="21" y="426"/>
                    </a:cubicBezTo>
                    <a:cubicBezTo>
                      <a:pt x="21" y="426"/>
                      <a:pt x="21" y="426"/>
                      <a:pt x="21" y="426"/>
                    </a:cubicBezTo>
                    <a:cubicBezTo>
                      <a:pt x="22" y="425"/>
                      <a:pt x="22" y="425"/>
                      <a:pt x="22" y="425"/>
                    </a:cubicBezTo>
                    <a:cubicBezTo>
                      <a:pt x="22" y="425"/>
                      <a:pt x="22" y="425"/>
                      <a:pt x="22" y="425"/>
                    </a:cubicBezTo>
                    <a:cubicBezTo>
                      <a:pt x="23" y="424"/>
                      <a:pt x="23" y="424"/>
                      <a:pt x="23" y="424"/>
                    </a:cubicBezTo>
                    <a:cubicBezTo>
                      <a:pt x="24" y="424"/>
                      <a:pt x="24" y="424"/>
                      <a:pt x="25" y="423"/>
                    </a:cubicBezTo>
                    <a:cubicBezTo>
                      <a:pt x="26" y="423"/>
                      <a:pt x="26" y="423"/>
                      <a:pt x="26" y="423"/>
                    </a:cubicBezTo>
                    <a:cubicBezTo>
                      <a:pt x="26" y="423"/>
                      <a:pt x="26" y="423"/>
                      <a:pt x="27" y="423"/>
                    </a:cubicBezTo>
                    <a:cubicBezTo>
                      <a:pt x="27" y="423"/>
                      <a:pt x="27" y="423"/>
                      <a:pt x="27" y="423"/>
                    </a:cubicBezTo>
                    <a:cubicBezTo>
                      <a:pt x="27" y="423"/>
                      <a:pt x="27" y="423"/>
                      <a:pt x="28" y="423"/>
                    </a:cubicBezTo>
                    <a:cubicBezTo>
                      <a:pt x="28" y="423"/>
                      <a:pt x="28" y="423"/>
                      <a:pt x="28" y="423"/>
                    </a:cubicBezTo>
                    <a:cubicBezTo>
                      <a:pt x="28" y="423"/>
                      <a:pt x="29" y="422"/>
                      <a:pt x="30" y="422"/>
                    </a:cubicBezTo>
                    <a:cubicBezTo>
                      <a:pt x="31" y="422"/>
                      <a:pt x="31" y="422"/>
                      <a:pt x="31" y="422"/>
                    </a:cubicBezTo>
                    <a:cubicBezTo>
                      <a:pt x="31" y="422"/>
                      <a:pt x="31" y="422"/>
                      <a:pt x="31" y="423"/>
                    </a:cubicBezTo>
                    <a:cubicBezTo>
                      <a:pt x="30" y="427"/>
                      <a:pt x="30" y="427"/>
                      <a:pt x="30" y="427"/>
                    </a:cubicBezTo>
                    <a:cubicBezTo>
                      <a:pt x="30" y="427"/>
                      <a:pt x="31" y="427"/>
                      <a:pt x="31" y="427"/>
                    </a:cubicBezTo>
                    <a:cubicBezTo>
                      <a:pt x="30" y="427"/>
                      <a:pt x="30" y="427"/>
                      <a:pt x="30" y="427"/>
                    </a:cubicBezTo>
                    <a:cubicBezTo>
                      <a:pt x="30" y="427"/>
                      <a:pt x="30" y="427"/>
                      <a:pt x="30" y="427"/>
                    </a:cubicBezTo>
                    <a:cubicBezTo>
                      <a:pt x="30" y="427"/>
                      <a:pt x="30" y="427"/>
                      <a:pt x="30" y="427"/>
                    </a:cubicBezTo>
                    <a:cubicBezTo>
                      <a:pt x="30" y="427"/>
                      <a:pt x="30" y="427"/>
                      <a:pt x="30" y="427"/>
                    </a:cubicBezTo>
                    <a:cubicBezTo>
                      <a:pt x="29" y="428"/>
                      <a:pt x="29" y="428"/>
                      <a:pt x="28" y="428"/>
                    </a:cubicBezTo>
                    <a:cubicBezTo>
                      <a:pt x="27" y="428"/>
                      <a:pt x="27" y="428"/>
                      <a:pt x="27" y="428"/>
                    </a:cubicBezTo>
                    <a:cubicBezTo>
                      <a:pt x="26" y="429"/>
                      <a:pt x="26" y="429"/>
                      <a:pt x="25" y="429"/>
                    </a:cubicBezTo>
                    <a:cubicBezTo>
                      <a:pt x="24" y="430"/>
                      <a:pt x="24" y="430"/>
                      <a:pt x="24" y="430"/>
                    </a:cubicBezTo>
                    <a:cubicBezTo>
                      <a:pt x="23" y="431"/>
                      <a:pt x="23" y="431"/>
                      <a:pt x="23" y="431"/>
                    </a:cubicBezTo>
                    <a:lnTo>
                      <a:pt x="22" y="431"/>
                    </a:lnTo>
                    <a:close/>
                    <a:moveTo>
                      <a:pt x="30" y="427"/>
                    </a:moveTo>
                    <a:cubicBezTo>
                      <a:pt x="30" y="427"/>
                      <a:pt x="30" y="427"/>
                      <a:pt x="30" y="427"/>
                    </a:cubicBezTo>
                    <a:close/>
                    <a:moveTo>
                      <a:pt x="25" y="426"/>
                    </a:moveTo>
                    <a:cubicBezTo>
                      <a:pt x="25" y="426"/>
                      <a:pt x="25" y="426"/>
                      <a:pt x="25" y="426"/>
                    </a:cubicBezTo>
                    <a:cubicBezTo>
                      <a:pt x="25" y="426"/>
                      <a:pt x="25" y="426"/>
                      <a:pt x="25" y="426"/>
                    </a:cubicBezTo>
                    <a:close/>
                    <a:moveTo>
                      <a:pt x="25" y="425"/>
                    </a:moveTo>
                    <a:cubicBezTo>
                      <a:pt x="25" y="425"/>
                      <a:pt x="25" y="425"/>
                      <a:pt x="25" y="425"/>
                    </a:cubicBezTo>
                    <a:cubicBezTo>
                      <a:pt x="25" y="425"/>
                      <a:pt x="25" y="425"/>
                      <a:pt x="25" y="425"/>
                    </a:cubicBezTo>
                    <a:close/>
                    <a:moveTo>
                      <a:pt x="26" y="424"/>
                    </a:moveTo>
                    <a:cubicBezTo>
                      <a:pt x="26" y="424"/>
                      <a:pt x="26" y="424"/>
                      <a:pt x="26" y="424"/>
                    </a:cubicBezTo>
                    <a:cubicBezTo>
                      <a:pt x="26" y="424"/>
                      <a:pt x="26" y="424"/>
                      <a:pt x="26" y="424"/>
                    </a:cubicBezTo>
                    <a:close/>
                    <a:moveTo>
                      <a:pt x="1193" y="22"/>
                    </a:moveTo>
                    <a:cubicBezTo>
                      <a:pt x="1192" y="22"/>
                      <a:pt x="1192" y="22"/>
                      <a:pt x="1192" y="22"/>
                    </a:cubicBezTo>
                    <a:cubicBezTo>
                      <a:pt x="1192" y="22"/>
                      <a:pt x="1190" y="21"/>
                      <a:pt x="1190" y="21"/>
                    </a:cubicBezTo>
                    <a:cubicBezTo>
                      <a:pt x="1190" y="21"/>
                      <a:pt x="1190" y="21"/>
                      <a:pt x="1187" y="19"/>
                    </a:cubicBezTo>
                    <a:cubicBezTo>
                      <a:pt x="1187" y="19"/>
                      <a:pt x="1187" y="19"/>
                      <a:pt x="1187" y="19"/>
                    </a:cubicBezTo>
                    <a:cubicBezTo>
                      <a:pt x="1186" y="17"/>
                      <a:pt x="1186" y="17"/>
                      <a:pt x="1186" y="17"/>
                    </a:cubicBezTo>
                    <a:cubicBezTo>
                      <a:pt x="1190" y="16"/>
                      <a:pt x="1190" y="16"/>
                      <a:pt x="1190" y="16"/>
                    </a:cubicBezTo>
                    <a:cubicBezTo>
                      <a:pt x="1190" y="15"/>
                      <a:pt x="1190" y="15"/>
                      <a:pt x="1190" y="15"/>
                    </a:cubicBezTo>
                    <a:cubicBezTo>
                      <a:pt x="1190" y="15"/>
                      <a:pt x="1190" y="16"/>
                      <a:pt x="1190" y="16"/>
                    </a:cubicBezTo>
                    <a:cubicBezTo>
                      <a:pt x="1190" y="16"/>
                      <a:pt x="1190" y="16"/>
                      <a:pt x="1190" y="16"/>
                    </a:cubicBezTo>
                    <a:cubicBezTo>
                      <a:pt x="1190" y="16"/>
                      <a:pt x="1190" y="16"/>
                      <a:pt x="1190" y="16"/>
                    </a:cubicBezTo>
                    <a:cubicBezTo>
                      <a:pt x="1191" y="16"/>
                      <a:pt x="1191" y="16"/>
                      <a:pt x="1191" y="17"/>
                    </a:cubicBezTo>
                    <a:cubicBezTo>
                      <a:pt x="1192" y="16"/>
                      <a:pt x="1192" y="16"/>
                      <a:pt x="1192" y="16"/>
                    </a:cubicBezTo>
                    <a:cubicBezTo>
                      <a:pt x="1201" y="16"/>
                      <a:pt x="1201" y="16"/>
                      <a:pt x="1201" y="16"/>
                    </a:cubicBezTo>
                    <a:cubicBezTo>
                      <a:pt x="1201" y="21"/>
                      <a:pt x="1201" y="21"/>
                      <a:pt x="1201" y="21"/>
                    </a:cubicBezTo>
                    <a:cubicBezTo>
                      <a:pt x="1193" y="21"/>
                      <a:pt x="1193" y="21"/>
                      <a:pt x="1193" y="21"/>
                    </a:cubicBezTo>
                    <a:lnTo>
                      <a:pt x="1193" y="22"/>
                    </a:lnTo>
                    <a:close/>
                    <a:moveTo>
                      <a:pt x="1210" y="21"/>
                    </a:moveTo>
                    <a:cubicBezTo>
                      <a:pt x="1210" y="16"/>
                      <a:pt x="1210" y="16"/>
                      <a:pt x="1210" y="16"/>
                    </a:cubicBezTo>
                    <a:cubicBezTo>
                      <a:pt x="1211" y="16"/>
                      <a:pt x="1211" y="16"/>
                      <a:pt x="1211" y="16"/>
                    </a:cubicBezTo>
                    <a:cubicBezTo>
                      <a:pt x="1211" y="11"/>
                      <a:pt x="1211" y="11"/>
                      <a:pt x="1211" y="11"/>
                    </a:cubicBezTo>
                    <a:cubicBezTo>
                      <a:pt x="1209" y="7"/>
                      <a:pt x="1209" y="7"/>
                      <a:pt x="1209" y="7"/>
                    </a:cubicBezTo>
                    <a:cubicBezTo>
                      <a:pt x="1209" y="5"/>
                      <a:pt x="1209" y="5"/>
                      <a:pt x="1209" y="5"/>
                    </a:cubicBezTo>
                    <a:cubicBezTo>
                      <a:pt x="1207" y="4"/>
                      <a:pt x="1207" y="4"/>
                      <a:pt x="1207" y="4"/>
                    </a:cubicBezTo>
                    <a:cubicBezTo>
                      <a:pt x="1207" y="4"/>
                      <a:pt x="1207" y="4"/>
                      <a:pt x="1207" y="4"/>
                    </a:cubicBezTo>
                    <a:cubicBezTo>
                      <a:pt x="1207" y="4"/>
                      <a:pt x="1207" y="4"/>
                      <a:pt x="1207" y="4"/>
                    </a:cubicBezTo>
                    <a:cubicBezTo>
                      <a:pt x="1207" y="4"/>
                      <a:pt x="1207" y="4"/>
                      <a:pt x="1207" y="4"/>
                    </a:cubicBezTo>
                    <a:cubicBezTo>
                      <a:pt x="1206" y="4"/>
                      <a:pt x="1206" y="5"/>
                      <a:pt x="1205" y="5"/>
                    </a:cubicBezTo>
                    <a:cubicBezTo>
                      <a:pt x="1205" y="5"/>
                      <a:pt x="1205" y="5"/>
                      <a:pt x="1205" y="5"/>
                    </a:cubicBezTo>
                    <a:cubicBezTo>
                      <a:pt x="1205" y="5"/>
                      <a:pt x="1205" y="5"/>
                      <a:pt x="1205" y="5"/>
                    </a:cubicBezTo>
                    <a:cubicBezTo>
                      <a:pt x="1203" y="5"/>
                      <a:pt x="1203" y="5"/>
                      <a:pt x="1203" y="5"/>
                    </a:cubicBezTo>
                    <a:cubicBezTo>
                      <a:pt x="1202" y="5"/>
                      <a:pt x="1202" y="5"/>
                      <a:pt x="1202" y="5"/>
                    </a:cubicBezTo>
                    <a:cubicBezTo>
                      <a:pt x="1202" y="5"/>
                      <a:pt x="1202" y="5"/>
                      <a:pt x="1202" y="5"/>
                    </a:cubicBezTo>
                    <a:cubicBezTo>
                      <a:pt x="1200" y="6"/>
                      <a:pt x="1200" y="6"/>
                      <a:pt x="1200" y="6"/>
                    </a:cubicBezTo>
                    <a:cubicBezTo>
                      <a:pt x="1200" y="6"/>
                      <a:pt x="1200" y="6"/>
                      <a:pt x="1200" y="6"/>
                    </a:cubicBezTo>
                    <a:cubicBezTo>
                      <a:pt x="1199" y="6"/>
                      <a:pt x="1199" y="6"/>
                      <a:pt x="1199" y="6"/>
                    </a:cubicBezTo>
                    <a:cubicBezTo>
                      <a:pt x="1198" y="6"/>
                      <a:pt x="1198" y="6"/>
                      <a:pt x="1198" y="6"/>
                    </a:cubicBezTo>
                    <a:cubicBezTo>
                      <a:pt x="1198" y="7"/>
                      <a:pt x="1198" y="7"/>
                      <a:pt x="1198" y="7"/>
                    </a:cubicBezTo>
                    <a:cubicBezTo>
                      <a:pt x="1197" y="7"/>
                      <a:pt x="1197" y="7"/>
                      <a:pt x="1197" y="7"/>
                    </a:cubicBezTo>
                    <a:cubicBezTo>
                      <a:pt x="1197" y="7"/>
                      <a:pt x="1197" y="7"/>
                      <a:pt x="1197" y="7"/>
                    </a:cubicBezTo>
                    <a:cubicBezTo>
                      <a:pt x="1196" y="7"/>
                      <a:pt x="1196" y="7"/>
                      <a:pt x="1196" y="7"/>
                    </a:cubicBezTo>
                    <a:cubicBezTo>
                      <a:pt x="1196" y="7"/>
                      <a:pt x="1195" y="7"/>
                      <a:pt x="1195" y="7"/>
                    </a:cubicBezTo>
                    <a:cubicBezTo>
                      <a:pt x="1195" y="7"/>
                      <a:pt x="1195" y="7"/>
                      <a:pt x="1195" y="7"/>
                    </a:cubicBezTo>
                    <a:cubicBezTo>
                      <a:pt x="1194" y="8"/>
                      <a:pt x="1194" y="8"/>
                      <a:pt x="1194" y="8"/>
                    </a:cubicBezTo>
                    <a:cubicBezTo>
                      <a:pt x="1194" y="8"/>
                      <a:pt x="1194" y="8"/>
                      <a:pt x="1193" y="8"/>
                    </a:cubicBezTo>
                    <a:cubicBezTo>
                      <a:pt x="1193" y="8"/>
                      <a:pt x="1192" y="9"/>
                      <a:pt x="1191" y="10"/>
                    </a:cubicBezTo>
                    <a:cubicBezTo>
                      <a:pt x="1189" y="6"/>
                      <a:pt x="1189" y="6"/>
                      <a:pt x="1189" y="6"/>
                    </a:cubicBezTo>
                    <a:cubicBezTo>
                      <a:pt x="1189" y="5"/>
                      <a:pt x="1189" y="5"/>
                      <a:pt x="1189" y="5"/>
                    </a:cubicBezTo>
                    <a:cubicBezTo>
                      <a:pt x="1189" y="5"/>
                      <a:pt x="1190" y="5"/>
                      <a:pt x="1190" y="5"/>
                    </a:cubicBezTo>
                    <a:cubicBezTo>
                      <a:pt x="1193" y="2"/>
                      <a:pt x="1193" y="2"/>
                      <a:pt x="1193" y="2"/>
                    </a:cubicBezTo>
                    <a:cubicBezTo>
                      <a:pt x="1195" y="2"/>
                      <a:pt x="1195" y="2"/>
                      <a:pt x="1195" y="2"/>
                    </a:cubicBezTo>
                    <a:cubicBezTo>
                      <a:pt x="1195" y="2"/>
                      <a:pt x="1195" y="2"/>
                      <a:pt x="1195" y="2"/>
                    </a:cubicBezTo>
                    <a:cubicBezTo>
                      <a:pt x="1196" y="2"/>
                      <a:pt x="1196" y="2"/>
                      <a:pt x="1196" y="2"/>
                    </a:cubicBezTo>
                    <a:cubicBezTo>
                      <a:pt x="1197" y="2"/>
                      <a:pt x="1197" y="1"/>
                      <a:pt x="1197" y="1"/>
                    </a:cubicBezTo>
                    <a:cubicBezTo>
                      <a:pt x="1198" y="1"/>
                      <a:pt x="1198" y="1"/>
                      <a:pt x="1198" y="1"/>
                    </a:cubicBezTo>
                    <a:cubicBezTo>
                      <a:pt x="1198" y="1"/>
                      <a:pt x="1198" y="1"/>
                      <a:pt x="1198" y="1"/>
                    </a:cubicBezTo>
                    <a:cubicBezTo>
                      <a:pt x="1199" y="1"/>
                      <a:pt x="1199" y="1"/>
                      <a:pt x="1199" y="1"/>
                    </a:cubicBezTo>
                    <a:cubicBezTo>
                      <a:pt x="1199" y="0"/>
                      <a:pt x="1199" y="0"/>
                      <a:pt x="1199" y="0"/>
                    </a:cubicBezTo>
                    <a:cubicBezTo>
                      <a:pt x="1201" y="0"/>
                      <a:pt x="1201" y="0"/>
                      <a:pt x="1201" y="0"/>
                    </a:cubicBezTo>
                    <a:cubicBezTo>
                      <a:pt x="1201" y="0"/>
                      <a:pt x="1201" y="0"/>
                      <a:pt x="1201" y="0"/>
                    </a:cubicBezTo>
                    <a:cubicBezTo>
                      <a:pt x="1201" y="0"/>
                      <a:pt x="1202" y="0"/>
                      <a:pt x="1202" y="0"/>
                    </a:cubicBezTo>
                    <a:cubicBezTo>
                      <a:pt x="1202" y="0"/>
                      <a:pt x="1202" y="0"/>
                      <a:pt x="1202" y="0"/>
                    </a:cubicBezTo>
                    <a:cubicBezTo>
                      <a:pt x="1203" y="0"/>
                      <a:pt x="1203" y="0"/>
                      <a:pt x="1203" y="0"/>
                    </a:cubicBezTo>
                    <a:cubicBezTo>
                      <a:pt x="1203" y="0"/>
                      <a:pt x="1204" y="0"/>
                      <a:pt x="1204" y="0"/>
                    </a:cubicBezTo>
                    <a:cubicBezTo>
                      <a:pt x="1205" y="0"/>
                      <a:pt x="1205" y="0"/>
                      <a:pt x="1205" y="0"/>
                    </a:cubicBezTo>
                    <a:cubicBezTo>
                      <a:pt x="1205" y="0"/>
                      <a:pt x="1206" y="0"/>
                      <a:pt x="1206" y="0"/>
                    </a:cubicBezTo>
                    <a:cubicBezTo>
                      <a:pt x="1207" y="0"/>
                      <a:pt x="1207" y="0"/>
                      <a:pt x="1207" y="0"/>
                    </a:cubicBezTo>
                    <a:cubicBezTo>
                      <a:pt x="1207" y="0"/>
                      <a:pt x="1208" y="0"/>
                      <a:pt x="1208" y="0"/>
                    </a:cubicBezTo>
                    <a:cubicBezTo>
                      <a:pt x="1212" y="0"/>
                      <a:pt x="1212" y="0"/>
                      <a:pt x="1212" y="0"/>
                    </a:cubicBezTo>
                    <a:cubicBezTo>
                      <a:pt x="1214" y="2"/>
                      <a:pt x="1214" y="2"/>
                      <a:pt x="1214" y="2"/>
                    </a:cubicBezTo>
                    <a:cubicBezTo>
                      <a:pt x="1214" y="6"/>
                      <a:pt x="1214" y="6"/>
                      <a:pt x="1214" y="6"/>
                    </a:cubicBezTo>
                    <a:cubicBezTo>
                      <a:pt x="1216" y="10"/>
                      <a:pt x="1216" y="10"/>
                      <a:pt x="1216" y="10"/>
                    </a:cubicBezTo>
                    <a:cubicBezTo>
                      <a:pt x="1216" y="21"/>
                      <a:pt x="1216" y="21"/>
                      <a:pt x="1216" y="21"/>
                    </a:cubicBezTo>
                    <a:lnTo>
                      <a:pt x="1210" y="21"/>
                    </a:lnTo>
                    <a:close/>
                    <a:moveTo>
                      <a:pt x="1193" y="6"/>
                    </a:moveTo>
                    <a:cubicBezTo>
                      <a:pt x="1193" y="6"/>
                      <a:pt x="1193" y="6"/>
                      <a:pt x="1193" y="6"/>
                    </a:cubicBezTo>
                    <a:close/>
                    <a:moveTo>
                      <a:pt x="1207" y="2"/>
                    </a:moveTo>
                    <a:cubicBezTo>
                      <a:pt x="1207" y="4"/>
                      <a:pt x="1207" y="4"/>
                      <a:pt x="1207" y="4"/>
                    </a:cubicBezTo>
                    <a:cubicBezTo>
                      <a:pt x="1207" y="2"/>
                      <a:pt x="1207" y="2"/>
                      <a:pt x="1207" y="2"/>
                    </a:cubicBezTo>
                    <a:close/>
                    <a:moveTo>
                      <a:pt x="1201" y="2"/>
                    </a:moveTo>
                    <a:cubicBezTo>
                      <a:pt x="1201" y="3"/>
                      <a:pt x="1201" y="3"/>
                      <a:pt x="1201" y="3"/>
                    </a:cubicBezTo>
                    <a:cubicBezTo>
                      <a:pt x="1201" y="3"/>
                      <a:pt x="1201" y="3"/>
                      <a:pt x="1201" y="2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9" name="îS1idé"/>
              <p:cNvSpPr/>
              <p:nvPr/>
            </p:nvSpPr>
            <p:spPr bwMode="auto">
              <a:xfrm>
                <a:off x="2052638" y="2909888"/>
                <a:ext cx="2771775" cy="1241425"/>
              </a:xfrm>
              <a:custGeom>
                <a:avLst/>
                <a:gdLst>
                  <a:gd name="T0" fmla="*/ 1204 w 1292"/>
                  <a:gd name="T1" fmla="*/ 570 h 580"/>
                  <a:gd name="T2" fmla="*/ 1159 w 1292"/>
                  <a:gd name="T3" fmla="*/ 566 h 580"/>
                  <a:gd name="T4" fmla="*/ 1148 w 1292"/>
                  <a:gd name="T5" fmla="*/ 566 h 580"/>
                  <a:gd name="T6" fmla="*/ 1221 w 1292"/>
                  <a:gd name="T7" fmla="*/ 551 h 580"/>
                  <a:gd name="T8" fmla="*/ 1173 w 1292"/>
                  <a:gd name="T9" fmla="*/ 548 h 580"/>
                  <a:gd name="T10" fmla="*/ 1249 w 1292"/>
                  <a:gd name="T11" fmla="*/ 543 h 580"/>
                  <a:gd name="T12" fmla="*/ 1218 w 1292"/>
                  <a:gd name="T13" fmla="*/ 546 h 580"/>
                  <a:gd name="T14" fmla="*/ 1258 w 1292"/>
                  <a:gd name="T15" fmla="*/ 540 h 580"/>
                  <a:gd name="T16" fmla="*/ 1263 w 1292"/>
                  <a:gd name="T17" fmla="*/ 527 h 580"/>
                  <a:gd name="T18" fmla="*/ 1275 w 1292"/>
                  <a:gd name="T19" fmla="*/ 514 h 580"/>
                  <a:gd name="T20" fmla="*/ 1108 w 1292"/>
                  <a:gd name="T21" fmla="*/ 504 h 580"/>
                  <a:gd name="T22" fmla="*/ 1274 w 1292"/>
                  <a:gd name="T23" fmla="*/ 500 h 580"/>
                  <a:gd name="T24" fmla="*/ 1084 w 1292"/>
                  <a:gd name="T25" fmla="*/ 482 h 580"/>
                  <a:gd name="T26" fmla="*/ 1046 w 1292"/>
                  <a:gd name="T27" fmla="*/ 470 h 580"/>
                  <a:gd name="T28" fmla="*/ 1076 w 1292"/>
                  <a:gd name="T29" fmla="*/ 473 h 580"/>
                  <a:gd name="T30" fmla="*/ 988 w 1292"/>
                  <a:gd name="T31" fmla="*/ 463 h 580"/>
                  <a:gd name="T32" fmla="*/ 970 w 1292"/>
                  <a:gd name="T33" fmla="*/ 457 h 580"/>
                  <a:gd name="T34" fmla="*/ 961 w 1292"/>
                  <a:gd name="T35" fmla="*/ 453 h 580"/>
                  <a:gd name="T36" fmla="*/ 936 w 1292"/>
                  <a:gd name="T37" fmla="*/ 440 h 580"/>
                  <a:gd name="T38" fmla="*/ 903 w 1292"/>
                  <a:gd name="T39" fmla="*/ 435 h 580"/>
                  <a:gd name="T40" fmla="*/ 902 w 1292"/>
                  <a:gd name="T41" fmla="*/ 417 h 580"/>
                  <a:gd name="T42" fmla="*/ 837 w 1292"/>
                  <a:gd name="T43" fmla="*/ 394 h 580"/>
                  <a:gd name="T44" fmla="*/ 788 w 1292"/>
                  <a:gd name="T45" fmla="*/ 375 h 580"/>
                  <a:gd name="T46" fmla="*/ 765 w 1292"/>
                  <a:gd name="T47" fmla="*/ 350 h 580"/>
                  <a:gd name="T48" fmla="*/ 756 w 1292"/>
                  <a:gd name="T49" fmla="*/ 322 h 580"/>
                  <a:gd name="T50" fmla="*/ 751 w 1292"/>
                  <a:gd name="T51" fmla="*/ 313 h 580"/>
                  <a:gd name="T52" fmla="*/ 738 w 1292"/>
                  <a:gd name="T53" fmla="*/ 284 h 580"/>
                  <a:gd name="T54" fmla="*/ 759 w 1292"/>
                  <a:gd name="T55" fmla="*/ 261 h 580"/>
                  <a:gd name="T56" fmla="*/ 759 w 1292"/>
                  <a:gd name="T57" fmla="*/ 219 h 580"/>
                  <a:gd name="T58" fmla="*/ 748 w 1292"/>
                  <a:gd name="T59" fmla="*/ 200 h 580"/>
                  <a:gd name="T60" fmla="*/ 744 w 1292"/>
                  <a:gd name="T61" fmla="*/ 167 h 580"/>
                  <a:gd name="T62" fmla="*/ 770 w 1292"/>
                  <a:gd name="T63" fmla="*/ 145 h 580"/>
                  <a:gd name="T64" fmla="*/ 756 w 1292"/>
                  <a:gd name="T65" fmla="*/ 126 h 580"/>
                  <a:gd name="T66" fmla="*/ 766 w 1292"/>
                  <a:gd name="T67" fmla="*/ 105 h 580"/>
                  <a:gd name="T68" fmla="*/ 735 w 1292"/>
                  <a:gd name="T69" fmla="*/ 85 h 580"/>
                  <a:gd name="T70" fmla="*/ 483 w 1292"/>
                  <a:gd name="T71" fmla="*/ 84 h 580"/>
                  <a:gd name="T72" fmla="*/ 499 w 1292"/>
                  <a:gd name="T73" fmla="*/ 78 h 580"/>
                  <a:gd name="T74" fmla="*/ 721 w 1292"/>
                  <a:gd name="T75" fmla="*/ 74 h 580"/>
                  <a:gd name="T76" fmla="*/ 712 w 1292"/>
                  <a:gd name="T77" fmla="*/ 77 h 580"/>
                  <a:gd name="T78" fmla="*/ 51 w 1292"/>
                  <a:gd name="T79" fmla="*/ 70 h 580"/>
                  <a:gd name="T80" fmla="*/ 422 w 1292"/>
                  <a:gd name="T81" fmla="*/ 73 h 580"/>
                  <a:gd name="T82" fmla="*/ 16 w 1292"/>
                  <a:gd name="T83" fmla="*/ 70 h 580"/>
                  <a:gd name="T84" fmla="*/ 5 w 1292"/>
                  <a:gd name="T85" fmla="*/ 62 h 580"/>
                  <a:gd name="T86" fmla="*/ 444 w 1292"/>
                  <a:gd name="T87" fmla="*/ 68 h 580"/>
                  <a:gd name="T88" fmla="*/ 316 w 1292"/>
                  <a:gd name="T89" fmla="*/ 63 h 580"/>
                  <a:gd name="T90" fmla="*/ 651 w 1292"/>
                  <a:gd name="T91" fmla="*/ 57 h 580"/>
                  <a:gd name="T92" fmla="*/ 306 w 1292"/>
                  <a:gd name="T93" fmla="*/ 53 h 580"/>
                  <a:gd name="T94" fmla="*/ 670 w 1292"/>
                  <a:gd name="T95" fmla="*/ 55 h 580"/>
                  <a:gd name="T96" fmla="*/ 541 w 1292"/>
                  <a:gd name="T97" fmla="*/ 50 h 580"/>
                  <a:gd name="T98" fmla="*/ 621 w 1292"/>
                  <a:gd name="T99" fmla="*/ 50 h 580"/>
                  <a:gd name="T100" fmla="*/ 218 w 1292"/>
                  <a:gd name="T101" fmla="*/ 44 h 580"/>
                  <a:gd name="T102" fmla="*/ 603 w 1292"/>
                  <a:gd name="T103" fmla="*/ 43 h 580"/>
                  <a:gd name="T104" fmla="*/ 229 w 1292"/>
                  <a:gd name="T105" fmla="*/ 39 h 580"/>
                  <a:gd name="T106" fmla="*/ 298 w 1292"/>
                  <a:gd name="T107" fmla="*/ 34 h 580"/>
                  <a:gd name="T108" fmla="*/ 291 w 1292"/>
                  <a:gd name="T109" fmla="*/ 32 h 580"/>
                  <a:gd name="T110" fmla="*/ 158 w 1292"/>
                  <a:gd name="T111" fmla="*/ 30 h 580"/>
                  <a:gd name="T112" fmla="*/ 262 w 1292"/>
                  <a:gd name="T113" fmla="*/ 25 h 580"/>
                  <a:gd name="T114" fmla="*/ 149 w 1292"/>
                  <a:gd name="T115" fmla="*/ 23 h 580"/>
                  <a:gd name="T116" fmla="*/ 112 w 1292"/>
                  <a:gd name="T117" fmla="*/ 18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92" h="580">
                    <a:moveTo>
                      <a:pt x="1174" y="580"/>
                    </a:moveTo>
                    <a:cubicBezTo>
                      <a:pt x="1171" y="579"/>
                      <a:pt x="1170" y="576"/>
                      <a:pt x="1169" y="574"/>
                    </a:cubicBezTo>
                    <a:cubicBezTo>
                      <a:pt x="1174" y="572"/>
                      <a:pt x="1174" y="572"/>
                      <a:pt x="1174" y="572"/>
                    </a:cubicBezTo>
                    <a:cubicBezTo>
                      <a:pt x="1175" y="574"/>
                      <a:pt x="1175" y="574"/>
                      <a:pt x="1176" y="575"/>
                    </a:cubicBezTo>
                    <a:lnTo>
                      <a:pt x="1174" y="580"/>
                    </a:lnTo>
                    <a:close/>
                    <a:moveTo>
                      <a:pt x="1222" y="576"/>
                    </a:moveTo>
                    <a:cubicBezTo>
                      <a:pt x="1218" y="571"/>
                      <a:pt x="1218" y="571"/>
                      <a:pt x="1218" y="571"/>
                    </a:cubicBezTo>
                    <a:cubicBezTo>
                      <a:pt x="1219" y="571"/>
                      <a:pt x="1219" y="570"/>
                      <a:pt x="1219" y="569"/>
                    </a:cubicBezTo>
                    <a:cubicBezTo>
                      <a:pt x="1225" y="567"/>
                      <a:pt x="1225" y="567"/>
                      <a:pt x="1225" y="567"/>
                    </a:cubicBezTo>
                    <a:cubicBezTo>
                      <a:pt x="1225" y="568"/>
                      <a:pt x="1225" y="569"/>
                      <a:pt x="1225" y="569"/>
                    </a:cubicBezTo>
                    <a:cubicBezTo>
                      <a:pt x="1225" y="572"/>
                      <a:pt x="1224" y="574"/>
                      <a:pt x="1222" y="576"/>
                    </a:cubicBezTo>
                    <a:close/>
                    <a:moveTo>
                      <a:pt x="1210" y="572"/>
                    </a:moveTo>
                    <a:cubicBezTo>
                      <a:pt x="1209" y="571"/>
                      <a:pt x="1209" y="571"/>
                      <a:pt x="1209" y="571"/>
                    </a:cubicBezTo>
                    <a:cubicBezTo>
                      <a:pt x="1207" y="571"/>
                      <a:pt x="1206" y="571"/>
                      <a:pt x="1204" y="570"/>
                    </a:cubicBezTo>
                    <a:cubicBezTo>
                      <a:pt x="1207" y="565"/>
                      <a:pt x="1207" y="565"/>
                      <a:pt x="1207" y="565"/>
                    </a:cubicBezTo>
                    <a:cubicBezTo>
                      <a:pt x="1208" y="565"/>
                      <a:pt x="1209" y="566"/>
                      <a:pt x="1210" y="566"/>
                    </a:cubicBezTo>
                    <a:cubicBezTo>
                      <a:pt x="1212" y="566"/>
                      <a:pt x="1212" y="566"/>
                      <a:pt x="1212" y="566"/>
                    </a:cubicBezTo>
                    <a:lnTo>
                      <a:pt x="1210" y="572"/>
                    </a:lnTo>
                    <a:close/>
                    <a:moveTo>
                      <a:pt x="1179" y="571"/>
                    </a:moveTo>
                    <a:cubicBezTo>
                      <a:pt x="1174" y="568"/>
                      <a:pt x="1174" y="568"/>
                      <a:pt x="1174" y="568"/>
                    </a:cubicBezTo>
                    <a:cubicBezTo>
                      <a:pt x="1174" y="568"/>
                      <a:pt x="1174" y="567"/>
                      <a:pt x="1174" y="567"/>
                    </a:cubicBezTo>
                    <a:cubicBezTo>
                      <a:pt x="1174" y="567"/>
                      <a:pt x="1174" y="566"/>
                      <a:pt x="1174" y="566"/>
                    </a:cubicBezTo>
                    <a:cubicBezTo>
                      <a:pt x="1173" y="565"/>
                      <a:pt x="1173" y="565"/>
                      <a:pt x="1173" y="565"/>
                    </a:cubicBezTo>
                    <a:cubicBezTo>
                      <a:pt x="1178" y="562"/>
                      <a:pt x="1178" y="562"/>
                      <a:pt x="1178" y="562"/>
                    </a:cubicBezTo>
                    <a:cubicBezTo>
                      <a:pt x="1179" y="563"/>
                      <a:pt x="1180" y="565"/>
                      <a:pt x="1180" y="567"/>
                    </a:cubicBezTo>
                    <a:cubicBezTo>
                      <a:pt x="1180" y="568"/>
                      <a:pt x="1180" y="569"/>
                      <a:pt x="1179" y="571"/>
                    </a:cubicBezTo>
                    <a:close/>
                    <a:moveTo>
                      <a:pt x="1164" y="567"/>
                    </a:moveTo>
                    <a:cubicBezTo>
                      <a:pt x="1163" y="566"/>
                      <a:pt x="1161" y="566"/>
                      <a:pt x="1159" y="566"/>
                    </a:cubicBezTo>
                    <a:cubicBezTo>
                      <a:pt x="1159" y="564"/>
                      <a:pt x="1159" y="564"/>
                      <a:pt x="1159" y="564"/>
                    </a:cubicBezTo>
                    <a:cubicBezTo>
                      <a:pt x="1159" y="561"/>
                      <a:pt x="1159" y="561"/>
                      <a:pt x="1159" y="561"/>
                    </a:cubicBezTo>
                    <a:cubicBezTo>
                      <a:pt x="1161" y="561"/>
                      <a:pt x="1163" y="560"/>
                      <a:pt x="1166" y="561"/>
                    </a:cubicBezTo>
                    <a:lnTo>
                      <a:pt x="1164" y="567"/>
                    </a:lnTo>
                    <a:close/>
                    <a:moveTo>
                      <a:pt x="1148" y="566"/>
                    </a:moveTo>
                    <a:cubicBezTo>
                      <a:pt x="1146" y="566"/>
                      <a:pt x="1145" y="564"/>
                      <a:pt x="1142" y="562"/>
                    </a:cubicBezTo>
                    <a:cubicBezTo>
                      <a:pt x="1142" y="562"/>
                      <a:pt x="1142" y="562"/>
                      <a:pt x="1142" y="562"/>
                    </a:cubicBezTo>
                    <a:cubicBezTo>
                      <a:pt x="1146" y="557"/>
                      <a:pt x="1146" y="557"/>
                      <a:pt x="1146" y="557"/>
                    </a:cubicBezTo>
                    <a:cubicBezTo>
                      <a:pt x="1146" y="558"/>
                      <a:pt x="1146" y="558"/>
                      <a:pt x="1146" y="558"/>
                    </a:cubicBezTo>
                    <a:cubicBezTo>
                      <a:pt x="1147" y="559"/>
                      <a:pt x="1148" y="560"/>
                      <a:pt x="1149" y="560"/>
                    </a:cubicBezTo>
                    <a:cubicBezTo>
                      <a:pt x="1149" y="560"/>
                      <a:pt x="1149" y="560"/>
                      <a:pt x="1148" y="560"/>
                    </a:cubicBezTo>
                    <a:cubicBezTo>
                      <a:pt x="1148" y="562"/>
                      <a:pt x="1148" y="562"/>
                      <a:pt x="1148" y="562"/>
                    </a:cubicBezTo>
                    <a:cubicBezTo>
                      <a:pt x="1150" y="565"/>
                      <a:pt x="1150" y="565"/>
                      <a:pt x="1150" y="565"/>
                    </a:cubicBezTo>
                    <a:lnTo>
                      <a:pt x="1148" y="566"/>
                    </a:lnTo>
                    <a:close/>
                    <a:moveTo>
                      <a:pt x="1193" y="564"/>
                    </a:moveTo>
                    <a:cubicBezTo>
                      <a:pt x="1191" y="563"/>
                      <a:pt x="1189" y="561"/>
                      <a:pt x="1189" y="559"/>
                    </a:cubicBezTo>
                    <a:cubicBezTo>
                      <a:pt x="1189" y="558"/>
                      <a:pt x="1189" y="558"/>
                      <a:pt x="1189" y="558"/>
                    </a:cubicBezTo>
                    <a:cubicBezTo>
                      <a:pt x="1195" y="557"/>
                      <a:pt x="1195" y="557"/>
                      <a:pt x="1195" y="557"/>
                    </a:cubicBezTo>
                    <a:cubicBezTo>
                      <a:pt x="1195" y="557"/>
                      <a:pt x="1195" y="558"/>
                      <a:pt x="1195" y="558"/>
                    </a:cubicBezTo>
                    <a:cubicBezTo>
                      <a:pt x="1195" y="558"/>
                      <a:pt x="1196" y="559"/>
                      <a:pt x="1196" y="559"/>
                    </a:cubicBezTo>
                    <a:lnTo>
                      <a:pt x="1193" y="564"/>
                    </a:lnTo>
                    <a:close/>
                    <a:moveTo>
                      <a:pt x="1221" y="559"/>
                    </a:moveTo>
                    <a:cubicBezTo>
                      <a:pt x="1215" y="557"/>
                      <a:pt x="1215" y="557"/>
                      <a:pt x="1215" y="557"/>
                    </a:cubicBezTo>
                    <a:cubicBezTo>
                      <a:pt x="1215" y="557"/>
                      <a:pt x="1215" y="557"/>
                      <a:pt x="1215" y="557"/>
                    </a:cubicBezTo>
                    <a:cubicBezTo>
                      <a:pt x="1216" y="556"/>
                      <a:pt x="1216" y="556"/>
                      <a:pt x="1216" y="556"/>
                    </a:cubicBezTo>
                    <a:cubicBezTo>
                      <a:pt x="1216" y="556"/>
                      <a:pt x="1216" y="555"/>
                      <a:pt x="1215" y="554"/>
                    </a:cubicBezTo>
                    <a:cubicBezTo>
                      <a:pt x="1215" y="553"/>
                      <a:pt x="1215" y="553"/>
                      <a:pt x="1215" y="553"/>
                    </a:cubicBezTo>
                    <a:cubicBezTo>
                      <a:pt x="1221" y="551"/>
                      <a:pt x="1221" y="551"/>
                      <a:pt x="1221" y="551"/>
                    </a:cubicBezTo>
                    <a:cubicBezTo>
                      <a:pt x="1221" y="552"/>
                      <a:pt x="1221" y="552"/>
                      <a:pt x="1221" y="552"/>
                    </a:cubicBezTo>
                    <a:cubicBezTo>
                      <a:pt x="1221" y="554"/>
                      <a:pt x="1222" y="555"/>
                      <a:pt x="1222" y="556"/>
                    </a:cubicBezTo>
                    <a:cubicBezTo>
                      <a:pt x="1222" y="557"/>
                      <a:pt x="1221" y="558"/>
                      <a:pt x="1221" y="559"/>
                    </a:cubicBezTo>
                    <a:close/>
                    <a:moveTo>
                      <a:pt x="1132" y="559"/>
                    </a:moveTo>
                    <a:cubicBezTo>
                      <a:pt x="1129" y="557"/>
                      <a:pt x="1129" y="557"/>
                      <a:pt x="1129" y="557"/>
                    </a:cubicBezTo>
                    <a:cubicBezTo>
                      <a:pt x="1128" y="554"/>
                      <a:pt x="1128" y="554"/>
                      <a:pt x="1128" y="554"/>
                    </a:cubicBezTo>
                    <a:cubicBezTo>
                      <a:pt x="1129" y="553"/>
                      <a:pt x="1131" y="551"/>
                      <a:pt x="1134" y="551"/>
                    </a:cubicBezTo>
                    <a:cubicBezTo>
                      <a:pt x="1135" y="557"/>
                      <a:pt x="1135" y="557"/>
                      <a:pt x="1135" y="557"/>
                    </a:cubicBezTo>
                    <a:cubicBezTo>
                      <a:pt x="1134" y="557"/>
                      <a:pt x="1133" y="558"/>
                      <a:pt x="1132" y="559"/>
                    </a:cubicBezTo>
                    <a:close/>
                    <a:moveTo>
                      <a:pt x="1174" y="554"/>
                    </a:moveTo>
                    <a:cubicBezTo>
                      <a:pt x="1174" y="554"/>
                      <a:pt x="1174" y="553"/>
                      <a:pt x="1174" y="553"/>
                    </a:cubicBezTo>
                    <a:cubicBezTo>
                      <a:pt x="1169" y="553"/>
                      <a:pt x="1169" y="553"/>
                      <a:pt x="1169" y="553"/>
                    </a:cubicBezTo>
                    <a:cubicBezTo>
                      <a:pt x="1169" y="552"/>
                      <a:pt x="1169" y="551"/>
                      <a:pt x="1170" y="550"/>
                    </a:cubicBezTo>
                    <a:cubicBezTo>
                      <a:pt x="1171" y="549"/>
                      <a:pt x="1172" y="548"/>
                      <a:pt x="1173" y="548"/>
                    </a:cubicBezTo>
                    <a:cubicBezTo>
                      <a:pt x="1174" y="548"/>
                      <a:pt x="1174" y="548"/>
                      <a:pt x="1175" y="547"/>
                    </a:cubicBezTo>
                    <a:cubicBezTo>
                      <a:pt x="1178" y="552"/>
                      <a:pt x="1178" y="552"/>
                      <a:pt x="1178" y="552"/>
                    </a:cubicBezTo>
                    <a:cubicBezTo>
                      <a:pt x="1177" y="553"/>
                      <a:pt x="1176" y="553"/>
                      <a:pt x="1175" y="553"/>
                    </a:cubicBezTo>
                    <a:cubicBezTo>
                      <a:pt x="1175" y="554"/>
                      <a:pt x="1174" y="554"/>
                      <a:pt x="1174" y="554"/>
                    </a:cubicBezTo>
                    <a:close/>
                    <a:moveTo>
                      <a:pt x="1119" y="552"/>
                    </a:moveTo>
                    <a:cubicBezTo>
                      <a:pt x="1118" y="550"/>
                      <a:pt x="1117" y="548"/>
                      <a:pt x="1117" y="547"/>
                    </a:cubicBezTo>
                    <a:cubicBezTo>
                      <a:pt x="1122" y="544"/>
                      <a:pt x="1122" y="544"/>
                      <a:pt x="1122" y="544"/>
                    </a:cubicBezTo>
                    <a:cubicBezTo>
                      <a:pt x="1123" y="546"/>
                      <a:pt x="1124" y="548"/>
                      <a:pt x="1124" y="549"/>
                    </a:cubicBezTo>
                    <a:lnTo>
                      <a:pt x="1119" y="552"/>
                    </a:lnTo>
                    <a:close/>
                    <a:moveTo>
                      <a:pt x="1250" y="548"/>
                    </a:moveTo>
                    <a:cubicBezTo>
                      <a:pt x="1249" y="548"/>
                      <a:pt x="1248" y="548"/>
                      <a:pt x="1246" y="547"/>
                    </a:cubicBezTo>
                    <a:cubicBezTo>
                      <a:pt x="1248" y="542"/>
                      <a:pt x="1248" y="542"/>
                      <a:pt x="1248" y="542"/>
                    </a:cubicBezTo>
                    <a:cubicBezTo>
                      <a:pt x="1249" y="542"/>
                      <a:pt x="1250" y="542"/>
                      <a:pt x="1250" y="542"/>
                    </a:cubicBezTo>
                    <a:cubicBezTo>
                      <a:pt x="1250" y="542"/>
                      <a:pt x="1250" y="543"/>
                      <a:pt x="1249" y="543"/>
                    </a:cubicBezTo>
                    <a:cubicBezTo>
                      <a:pt x="1255" y="545"/>
                      <a:pt x="1255" y="545"/>
                      <a:pt x="1255" y="545"/>
                    </a:cubicBezTo>
                    <a:cubicBezTo>
                      <a:pt x="1254" y="547"/>
                      <a:pt x="1253" y="548"/>
                      <a:pt x="1250" y="548"/>
                    </a:cubicBezTo>
                    <a:close/>
                    <a:moveTo>
                      <a:pt x="1184" y="548"/>
                    </a:moveTo>
                    <a:cubicBezTo>
                      <a:pt x="1184" y="548"/>
                      <a:pt x="1184" y="547"/>
                      <a:pt x="1184" y="547"/>
                    </a:cubicBezTo>
                    <a:cubicBezTo>
                      <a:pt x="1184" y="547"/>
                      <a:pt x="1183" y="546"/>
                      <a:pt x="1182" y="546"/>
                    </a:cubicBezTo>
                    <a:cubicBezTo>
                      <a:pt x="1184" y="541"/>
                      <a:pt x="1184" y="541"/>
                      <a:pt x="1184" y="541"/>
                    </a:cubicBezTo>
                    <a:cubicBezTo>
                      <a:pt x="1186" y="541"/>
                      <a:pt x="1189" y="543"/>
                      <a:pt x="1189" y="545"/>
                    </a:cubicBezTo>
                    <a:cubicBezTo>
                      <a:pt x="1190" y="546"/>
                      <a:pt x="1190" y="546"/>
                      <a:pt x="1190" y="547"/>
                    </a:cubicBezTo>
                    <a:lnTo>
                      <a:pt x="1184" y="548"/>
                    </a:lnTo>
                    <a:close/>
                    <a:moveTo>
                      <a:pt x="1184" y="547"/>
                    </a:moveTo>
                    <a:cubicBezTo>
                      <a:pt x="1184" y="547"/>
                      <a:pt x="1184" y="547"/>
                      <a:pt x="1184" y="547"/>
                    </a:cubicBezTo>
                    <a:cubicBezTo>
                      <a:pt x="1184" y="547"/>
                      <a:pt x="1184" y="547"/>
                      <a:pt x="1184" y="547"/>
                    </a:cubicBezTo>
                    <a:close/>
                    <a:moveTo>
                      <a:pt x="1223" y="548"/>
                    </a:moveTo>
                    <a:cubicBezTo>
                      <a:pt x="1221" y="547"/>
                      <a:pt x="1220" y="546"/>
                      <a:pt x="1218" y="546"/>
                    </a:cubicBezTo>
                    <a:cubicBezTo>
                      <a:pt x="1219" y="540"/>
                      <a:pt x="1219" y="540"/>
                      <a:pt x="1219" y="540"/>
                    </a:cubicBezTo>
                    <a:cubicBezTo>
                      <a:pt x="1221" y="541"/>
                      <a:pt x="1223" y="542"/>
                      <a:pt x="1225" y="543"/>
                    </a:cubicBezTo>
                    <a:lnTo>
                      <a:pt x="1223" y="548"/>
                    </a:lnTo>
                    <a:close/>
                    <a:moveTo>
                      <a:pt x="1236" y="547"/>
                    </a:moveTo>
                    <a:cubicBezTo>
                      <a:pt x="1230" y="546"/>
                      <a:pt x="1230" y="546"/>
                      <a:pt x="1230" y="546"/>
                    </a:cubicBezTo>
                    <a:cubicBezTo>
                      <a:pt x="1230" y="544"/>
                      <a:pt x="1231" y="539"/>
                      <a:pt x="1236" y="539"/>
                    </a:cubicBezTo>
                    <a:cubicBezTo>
                      <a:pt x="1236" y="545"/>
                      <a:pt x="1236" y="545"/>
                      <a:pt x="1236" y="545"/>
                    </a:cubicBezTo>
                    <a:cubicBezTo>
                      <a:pt x="1236" y="545"/>
                      <a:pt x="1236" y="545"/>
                      <a:pt x="1236" y="545"/>
                    </a:cubicBezTo>
                    <a:cubicBezTo>
                      <a:pt x="1236" y="545"/>
                      <a:pt x="1236" y="545"/>
                      <a:pt x="1236" y="547"/>
                    </a:cubicBezTo>
                    <a:close/>
                    <a:moveTo>
                      <a:pt x="1260" y="544"/>
                    </a:moveTo>
                    <a:cubicBezTo>
                      <a:pt x="1260" y="544"/>
                      <a:pt x="1259" y="544"/>
                      <a:pt x="1258" y="544"/>
                    </a:cubicBezTo>
                    <a:cubicBezTo>
                      <a:pt x="1261" y="538"/>
                      <a:pt x="1261" y="538"/>
                      <a:pt x="1261" y="538"/>
                    </a:cubicBezTo>
                    <a:cubicBezTo>
                      <a:pt x="1261" y="538"/>
                      <a:pt x="1261" y="538"/>
                      <a:pt x="1260" y="538"/>
                    </a:cubicBezTo>
                    <a:cubicBezTo>
                      <a:pt x="1259" y="538"/>
                      <a:pt x="1258" y="539"/>
                      <a:pt x="1258" y="540"/>
                    </a:cubicBezTo>
                    <a:cubicBezTo>
                      <a:pt x="1258" y="539"/>
                      <a:pt x="1258" y="538"/>
                      <a:pt x="1258" y="537"/>
                    </a:cubicBezTo>
                    <a:cubicBezTo>
                      <a:pt x="1264" y="536"/>
                      <a:pt x="1264" y="536"/>
                      <a:pt x="1264" y="536"/>
                    </a:cubicBezTo>
                    <a:cubicBezTo>
                      <a:pt x="1264" y="538"/>
                      <a:pt x="1264" y="539"/>
                      <a:pt x="1264" y="540"/>
                    </a:cubicBezTo>
                    <a:cubicBezTo>
                      <a:pt x="1264" y="543"/>
                      <a:pt x="1262" y="544"/>
                      <a:pt x="1260" y="544"/>
                    </a:cubicBezTo>
                    <a:close/>
                    <a:moveTo>
                      <a:pt x="1119" y="535"/>
                    </a:moveTo>
                    <a:cubicBezTo>
                      <a:pt x="1113" y="533"/>
                      <a:pt x="1113" y="533"/>
                      <a:pt x="1113" y="533"/>
                    </a:cubicBezTo>
                    <a:cubicBezTo>
                      <a:pt x="1114" y="532"/>
                      <a:pt x="1115" y="531"/>
                      <a:pt x="1116" y="530"/>
                    </a:cubicBezTo>
                    <a:cubicBezTo>
                      <a:pt x="1117" y="529"/>
                      <a:pt x="1117" y="529"/>
                      <a:pt x="1117" y="529"/>
                    </a:cubicBezTo>
                    <a:cubicBezTo>
                      <a:pt x="1118" y="528"/>
                      <a:pt x="1118" y="528"/>
                      <a:pt x="1118" y="528"/>
                    </a:cubicBezTo>
                    <a:cubicBezTo>
                      <a:pt x="1122" y="532"/>
                      <a:pt x="1122" y="532"/>
                      <a:pt x="1122" y="532"/>
                    </a:cubicBezTo>
                    <a:cubicBezTo>
                      <a:pt x="1122" y="532"/>
                      <a:pt x="1122" y="532"/>
                      <a:pt x="1122" y="532"/>
                    </a:cubicBezTo>
                    <a:cubicBezTo>
                      <a:pt x="1121" y="533"/>
                      <a:pt x="1121" y="534"/>
                      <a:pt x="1120" y="534"/>
                    </a:cubicBezTo>
                    <a:cubicBezTo>
                      <a:pt x="1119" y="535"/>
                      <a:pt x="1119" y="535"/>
                      <a:pt x="1119" y="535"/>
                    </a:cubicBezTo>
                    <a:close/>
                    <a:moveTo>
                      <a:pt x="1263" y="527"/>
                    </a:moveTo>
                    <a:cubicBezTo>
                      <a:pt x="1263" y="527"/>
                      <a:pt x="1261" y="526"/>
                      <a:pt x="1261" y="526"/>
                    </a:cubicBezTo>
                    <a:cubicBezTo>
                      <a:pt x="1262" y="526"/>
                      <a:pt x="1263" y="525"/>
                      <a:pt x="1263" y="525"/>
                    </a:cubicBezTo>
                    <a:cubicBezTo>
                      <a:pt x="1257" y="524"/>
                      <a:pt x="1257" y="524"/>
                      <a:pt x="1257" y="524"/>
                    </a:cubicBezTo>
                    <a:cubicBezTo>
                      <a:pt x="1258" y="521"/>
                      <a:pt x="1260" y="520"/>
                      <a:pt x="1261" y="520"/>
                    </a:cubicBezTo>
                    <a:cubicBezTo>
                      <a:pt x="1263" y="520"/>
                      <a:pt x="1264" y="521"/>
                      <a:pt x="1266" y="521"/>
                    </a:cubicBezTo>
                    <a:lnTo>
                      <a:pt x="1263" y="527"/>
                    </a:lnTo>
                    <a:close/>
                    <a:moveTo>
                      <a:pt x="1271" y="519"/>
                    </a:moveTo>
                    <a:cubicBezTo>
                      <a:pt x="1266" y="517"/>
                      <a:pt x="1266" y="517"/>
                      <a:pt x="1266" y="517"/>
                    </a:cubicBezTo>
                    <a:cubicBezTo>
                      <a:pt x="1266" y="516"/>
                      <a:pt x="1267" y="516"/>
                      <a:pt x="1268" y="515"/>
                    </a:cubicBezTo>
                    <a:cubicBezTo>
                      <a:pt x="1269" y="514"/>
                      <a:pt x="1269" y="514"/>
                      <a:pt x="1269" y="514"/>
                    </a:cubicBezTo>
                    <a:cubicBezTo>
                      <a:pt x="1269" y="514"/>
                      <a:pt x="1269" y="514"/>
                      <a:pt x="1269" y="514"/>
                    </a:cubicBezTo>
                    <a:cubicBezTo>
                      <a:pt x="1269" y="515"/>
                      <a:pt x="1269" y="515"/>
                      <a:pt x="1269" y="515"/>
                    </a:cubicBezTo>
                    <a:cubicBezTo>
                      <a:pt x="1274" y="512"/>
                      <a:pt x="1274" y="512"/>
                      <a:pt x="1274" y="512"/>
                    </a:cubicBezTo>
                    <a:cubicBezTo>
                      <a:pt x="1274" y="513"/>
                      <a:pt x="1275" y="513"/>
                      <a:pt x="1275" y="514"/>
                    </a:cubicBezTo>
                    <a:cubicBezTo>
                      <a:pt x="1275" y="517"/>
                      <a:pt x="1273" y="518"/>
                      <a:pt x="1272" y="519"/>
                    </a:cubicBezTo>
                    <a:cubicBezTo>
                      <a:pt x="1271" y="519"/>
                      <a:pt x="1271" y="519"/>
                      <a:pt x="1271" y="519"/>
                    </a:cubicBezTo>
                    <a:close/>
                    <a:moveTo>
                      <a:pt x="1119" y="519"/>
                    </a:moveTo>
                    <a:cubicBezTo>
                      <a:pt x="1119" y="517"/>
                      <a:pt x="1119" y="517"/>
                      <a:pt x="1119" y="517"/>
                    </a:cubicBezTo>
                    <a:cubicBezTo>
                      <a:pt x="1119" y="517"/>
                      <a:pt x="1119" y="517"/>
                      <a:pt x="1119" y="517"/>
                    </a:cubicBezTo>
                    <a:cubicBezTo>
                      <a:pt x="1120" y="511"/>
                      <a:pt x="1120" y="511"/>
                      <a:pt x="1120" y="511"/>
                    </a:cubicBezTo>
                    <a:cubicBezTo>
                      <a:pt x="1120" y="514"/>
                      <a:pt x="1120" y="514"/>
                      <a:pt x="1120" y="514"/>
                    </a:cubicBezTo>
                    <a:cubicBezTo>
                      <a:pt x="1120" y="511"/>
                      <a:pt x="1120" y="511"/>
                      <a:pt x="1120" y="511"/>
                    </a:cubicBezTo>
                    <a:cubicBezTo>
                      <a:pt x="1120" y="511"/>
                      <a:pt x="1120" y="511"/>
                      <a:pt x="1120" y="511"/>
                    </a:cubicBezTo>
                    <a:cubicBezTo>
                      <a:pt x="1125" y="511"/>
                      <a:pt x="1125" y="517"/>
                      <a:pt x="1125" y="519"/>
                    </a:cubicBezTo>
                    <a:lnTo>
                      <a:pt x="1119" y="519"/>
                    </a:lnTo>
                    <a:close/>
                    <a:moveTo>
                      <a:pt x="1106" y="510"/>
                    </a:moveTo>
                    <a:cubicBezTo>
                      <a:pt x="1106" y="504"/>
                      <a:pt x="1106" y="504"/>
                      <a:pt x="1106" y="504"/>
                    </a:cubicBezTo>
                    <a:cubicBezTo>
                      <a:pt x="1107" y="504"/>
                      <a:pt x="1107" y="504"/>
                      <a:pt x="1108" y="504"/>
                    </a:cubicBezTo>
                    <a:cubicBezTo>
                      <a:pt x="1110" y="503"/>
                      <a:pt x="1111" y="503"/>
                      <a:pt x="1112" y="503"/>
                    </a:cubicBezTo>
                    <a:cubicBezTo>
                      <a:pt x="1112" y="509"/>
                      <a:pt x="1112" y="509"/>
                      <a:pt x="1112" y="509"/>
                    </a:cubicBezTo>
                    <a:cubicBezTo>
                      <a:pt x="1111" y="509"/>
                      <a:pt x="1110" y="509"/>
                      <a:pt x="1108" y="509"/>
                    </a:cubicBezTo>
                    <a:cubicBezTo>
                      <a:pt x="1108" y="509"/>
                      <a:pt x="1107" y="510"/>
                      <a:pt x="1106" y="510"/>
                    </a:cubicBezTo>
                    <a:close/>
                    <a:moveTo>
                      <a:pt x="1288" y="509"/>
                    </a:moveTo>
                    <a:cubicBezTo>
                      <a:pt x="1287" y="509"/>
                      <a:pt x="1286" y="509"/>
                      <a:pt x="1285" y="509"/>
                    </a:cubicBezTo>
                    <a:cubicBezTo>
                      <a:pt x="1286" y="503"/>
                      <a:pt x="1286" y="503"/>
                      <a:pt x="1286" y="503"/>
                    </a:cubicBezTo>
                    <a:cubicBezTo>
                      <a:pt x="1287" y="503"/>
                      <a:pt x="1288" y="503"/>
                      <a:pt x="1289" y="503"/>
                    </a:cubicBezTo>
                    <a:cubicBezTo>
                      <a:pt x="1289" y="503"/>
                      <a:pt x="1290" y="503"/>
                      <a:pt x="1292" y="503"/>
                    </a:cubicBezTo>
                    <a:cubicBezTo>
                      <a:pt x="1292" y="509"/>
                      <a:pt x="1292" y="509"/>
                      <a:pt x="1292" y="509"/>
                    </a:cubicBezTo>
                    <a:cubicBezTo>
                      <a:pt x="1291" y="509"/>
                      <a:pt x="1289" y="509"/>
                      <a:pt x="1288" y="509"/>
                    </a:cubicBezTo>
                    <a:close/>
                    <a:moveTo>
                      <a:pt x="1271" y="507"/>
                    </a:moveTo>
                    <a:cubicBezTo>
                      <a:pt x="1267" y="503"/>
                      <a:pt x="1267" y="503"/>
                      <a:pt x="1267" y="503"/>
                    </a:cubicBezTo>
                    <a:cubicBezTo>
                      <a:pt x="1270" y="501"/>
                      <a:pt x="1272" y="500"/>
                      <a:pt x="1274" y="500"/>
                    </a:cubicBezTo>
                    <a:cubicBezTo>
                      <a:pt x="1275" y="506"/>
                      <a:pt x="1275" y="506"/>
                      <a:pt x="1275" y="506"/>
                    </a:cubicBezTo>
                    <a:cubicBezTo>
                      <a:pt x="1274" y="506"/>
                      <a:pt x="1272" y="506"/>
                      <a:pt x="1271" y="507"/>
                    </a:cubicBezTo>
                    <a:close/>
                    <a:moveTo>
                      <a:pt x="1094" y="504"/>
                    </a:moveTo>
                    <a:cubicBezTo>
                      <a:pt x="1093" y="502"/>
                      <a:pt x="1092" y="500"/>
                      <a:pt x="1091" y="499"/>
                    </a:cubicBezTo>
                    <a:cubicBezTo>
                      <a:pt x="1090" y="499"/>
                      <a:pt x="1090" y="499"/>
                      <a:pt x="1090" y="499"/>
                    </a:cubicBezTo>
                    <a:cubicBezTo>
                      <a:pt x="1095" y="495"/>
                      <a:pt x="1095" y="495"/>
                      <a:pt x="1095" y="495"/>
                    </a:cubicBezTo>
                    <a:cubicBezTo>
                      <a:pt x="1096" y="496"/>
                      <a:pt x="1096" y="496"/>
                      <a:pt x="1096" y="496"/>
                    </a:cubicBezTo>
                    <a:cubicBezTo>
                      <a:pt x="1096" y="497"/>
                      <a:pt x="1097" y="499"/>
                      <a:pt x="1098" y="500"/>
                    </a:cubicBezTo>
                    <a:lnTo>
                      <a:pt x="1094" y="504"/>
                    </a:lnTo>
                    <a:close/>
                    <a:moveTo>
                      <a:pt x="1085" y="488"/>
                    </a:moveTo>
                    <a:cubicBezTo>
                      <a:pt x="1084" y="486"/>
                      <a:pt x="1084" y="485"/>
                      <a:pt x="1083" y="485"/>
                    </a:cubicBezTo>
                    <a:cubicBezTo>
                      <a:pt x="1083" y="485"/>
                      <a:pt x="1083" y="485"/>
                      <a:pt x="1083" y="485"/>
                    </a:cubicBezTo>
                    <a:cubicBezTo>
                      <a:pt x="1085" y="479"/>
                      <a:pt x="1085" y="479"/>
                      <a:pt x="1085" y="479"/>
                    </a:cubicBezTo>
                    <a:cubicBezTo>
                      <a:pt x="1084" y="482"/>
                      <a:pt x="1084" y="482"/>
                      <a:pt x="1084" y="482"/>
                    </a:cubicBezTo>
                    <a:cubicBezTo>
                      <a:pt x="1085" y="480"/>
                      <a:pt x="1085" y="480"/>
                      <a:pt x="1085" y="480"/>
                    </a:cubicBezTo>
                    <a:cubicBezTo>
                      <a:pt x="1088" y="481"/>
                      <a:pt x="1090" y="483"/>
                      <a:pt x="1091" y="485"/>
                    </a:cubicBezTo>
                    <a:lnTo>
                      <a:pt x="1085" y="488"/>
                    </a:lnTo>
                    <a:close/>
                    <a:moveTo>
                      <a:pt x="1031" y="479"/>
                    </a:moveTo>
                    <a:cubicBezTo>
                      <a:pt x="1030" y="479"/>
                      <a:pt x="1029" y="479"/>
                      <a:pt x="1029" y="479"/>
                    </a:cubicBezTo>
                    <a:cubicBezTo>
                      <a:pt x="1029" y="473"/>
                      <a:pt x="1029" y="473"/>
                      <a:pt x="1029" y="473"/>
                    </a:cubicBezTo>
                    <a:cubicBezTo>
                      <a:pt x="1030" y="473"/>
                      <a:pt x="1030" y="473"/>
                      <a:pt x="1031" y="473"/>
                    </a:cubicBezTo>
                    <a:cubicBezTo>
                      <a:pt x="1032" y="473"/>
                      <a:pt x="1032" y="473"/>
                      <a:pt x="1032" y="473"/>
                    </a:cubicBezTo>
                    <a:cubicBezTo>
                      <a:pt x="1033" y="473"/>
                      <a:pt x="1033" y="473"/>
                      <a:pt x="1033" y="473"/>
                    </a:cubicBezTo>
                    <a:cubicBezTo>
                      <a:pt x="1036" y="477"/>
                      <a:pt x="1036" y="477"/>
                      <a:pt x="1036" y="477"/>
                    </a:cubicBezTo>
                    <a:cubicBezTo>
                      <a:pt x="1035" y="479"/>
                      <a:pt x="1033" y="479"/>
                      <a:pt x="1031" y="479"/>
                    </a:cubicBezTo>
                    <a:close/>
                    <a:moveTo>
                      <a:pt x="1046" y="476"/>
                    </a:moveTo>
                    <a:cubicBezTo>
                      <a:pt x="1045" y="476"/>
                      <a:pt x="1045" y="476"/>
                      <a:pt x="1045" y="476"/>
                    </a:cubicBezTo>
                    <a:cubicBezTo>
                      <a:pt x="1046" y="470"/>
                      <a:pt x="1046" y="470"/>
                      <a:pt x="1046" y="470"/>
                    </a:cubicBezTo>
                    <a:cubicBezTo>
                      <a:pt x="1046" y="470"/>
                      <a:pt x="1046" y="470"/>
                      <a:pt x="1046" y="470"/>
                    </a:cubicBezTo>
                    <a:cubicBezTo>
                      <a:pt x="1047" y="470"/>
                      <a:pt x="1047" y="470"/>
                      <a:pt x="1047" y="469"/>
                    </a:cubicBezTo>
                    <a:cubicBezTo>
                      <a:pt x="1047" y="469"/>
                      <a:pt x="1047" y="468"/>
                      <a:pt x="1048" y="468"/>
                    </a:cubicBezTo>
                    <a:cubicBezTo>
                      <a:pt x="1052" y="472"/>
                      <a:pt x="1052" y="472"/>
                      <a:pt x="1052" y="472"/>
                    </a:cubicBezTo>
                    <a:cubicBezTo>
                      <a:pt x="1052" y="472"/>
                      <a:pt x="1052" y="472"/>
                      <a:pt x="1052" y="472"/>
                    </a:cubicBezTo>
                    <a:cubicBezTo>
                      <a:pt x="1051" y="474"/>
                      <a:pt x="1049" y="476"/>
                      <a:pt x="1046" y="476"/>
                    </a:cubicBezTo>
                    <a:close/>
                    <a:moveTo>
                      <a:pt x="1017" y="474"/>
                    </a:moveTo>
                    <a:cubicBezTo>
                      <a:pt x="1017" y="474"/>
                      <a:pt x="1016" y="474"/>
                      <a:pt x="1016" y="474"/>
                    </a:cubicBezTo>
                    <a:cubicBezTo>
                      <a:pt x="1014" y="474"/>
                      <a:pt x="1013" y="473"/>
                      <a:pt x="1011" y="473"/>
                    </a:cubicBezTo>
                    <a:cubicBezTo>
                      <a:pt x="1015" y="468"/>
                      <a:pt x="1015" y="468"/>
                      <a:pt x="1015" y="468"/>
                    </a:cubicBezTo>
                    <a:cubicBezTo>
                      <a:pt x="1015" y="468"/>
                      <a:pt x="1015" y="468"/>
                      <a:pt x="1016" y="468"/>
                    </a:cubicBezTo>
                    <a:cubicBezTo>
                      <a:pt x="1017" y="468"/>
                      <a:pt x="1019" y="468"/>
                      <a:pt x="1020" y="469"/>
                    </a:cubicBezTo>
                    <a:lnTo>
                      <a:pt x="1017" y="474"/>
                    </a:lnTo>
                    <a:close/>
                    <a:moveTo>
                      <a:pt x="1076" y="473"/>
                    </a:moveTo>
                    <a:cubicBezTo>
                      <a:pt x="1076" y="472"/>
                      <a:pt x="1074" y="471"/>
                      <a:pt x="1073" y="470"/>
                    </a:cubicBezTo>
                    <a:cubicBezTo>
                      <a:pt x="1077" y="466"/>
                      <a:pt x="1077" y="466"/>
                      <a:pt x="1077" y="466"/>
                    </a:cubicBezTo>
                    <a:cubicBezTo>
                      <a:pt x="1079" y="467"/>
                      <a:pt x="1080" y="469"/>
                      <a:pt x="1081" y="471"/>
                    </a:cubicBezTo>
                    <a:lnTo>
                      <a:pt x="1076" y="473"/>
                    </a:lnTo>
                    <a:close/>
                    <a:moveTo>
                      <a:pt x="1061" y="471"/>
                    </a:moveTo>
                    <a:cubicBezTo>
                      <a:pt x="1061" y="465"/>
                      <a:pt x="1061" y="465"/>
                      <a:pt x="1061" y="465"/>
                    </a:cubicBezTo>
                    <a:cubicBezTo>
                      <a:pt x="1062" y="465"/>
                      <a:pt x="1063" y="465"/>
                      <a:pt x="1063" y="465"/>
                    </a:cubicBezTo>
                    <a:cubicBezTo>
                      <a:pt x="1063" y="464"/>
                      <a:pt x="1063" y="464"/>
                      <a:pt x="1064" y="463"/>
                    </a:cubicBezTo>
                    <a:cubicBezTo>
                      <a:pt x="1068" y="467"/>
                      <a:pt x="1068" y="467"/>
                      <a:pt x="1068" y="467"/>
                    </a:cubicBezTo>
                    <a:cubicBezTo>
                      <a:pt x="1068" y="467"/>
                      <a:pt x="1068" y="467"/>
                      <a:pt x="1068" y="468"/>
                    </a:cubicBezTo>
                    <a:cubicBezTo>
                      <a:pt x="1067" y="469"/>
                      <a:pt x="1065" y="471"/>
                      <a:pt x="1061" y="471"/>
                    </a:cubicBezTo>
                    <a:close/>
                    <a:moveTo>
                      <a:pt x="990" y="470"/>
                    </a:moveTo>
                    <a:cubicBezTo>
                      <a:pt x="987" y="470"/>
                      <a:pt x="985" y="468"/>
                      <a:pt x="983" y="467"/>
                    </a:cubicBezTo>
                    <a:cubicBezTo>
                      <a:pt x="988" y="463"/>
                      <a:pt x="988" y="463"/>
                      <a:pt x="988" y="463"/>
                    </a:cubicBezTo>
                    <a:cubicBezTo>
                      <a:pt x="988" y="463"/>
                      <a:pt x="989" y="464"/>
                      <a:pt x="990" y="464"/>
                    </a:cubicBezTo>
                    <a:cubicBezTo>
                      <a:pt x="991" y="469"/>
                      <a:pt x="991" y="469"/>
                      <a:pt x="991" y="469"/>
                    </a:cubicBezTo>
                    <a:cubicBezTo>
                      <a:pt x="991" y="469"/>
                      <a:pt x="990" y="470"/>
                      <a:pt x="990" y="470"/>
                    </a:cubicBezTo>
                    <a:close/>
                    <a:moveTo>
                      <a:pt x="1006" y="464"/>
                    </a:moveTo>
                    <a:cubicBezTo>
                      <a:pt x="1005" y="464"/>
                      <a:pt x="1004" y="464"/>
                      <a:pt x="1004" y="464"/>
                    </a:cubicBezTo>
                    <a:cubicBezTo>
                      <a:pt x="1003" y="464"/>
                      <a:pt x="1003" y="464"/>
                      <a:pt x="1003" y="464"/>
                    </a:cubicBezTo>
                    <a:cubicBezTo>
                      <a:pt x="1002" y="464"/>
                      <a:pt x="1002" y="464"/>
                      <a:pt x="1001" y="464"/>
                    </a:cubicBezTo>
                    <a:cubicBezTo>
                      <a:pt x="1000" y="458"/>
                      <a:pt x="1000" y="458"/>
                      <a:pt x="1000" y="458"/>
                    </a:cubicBezTo>
                    <a:cubicBezTo>
                      <a:pt x="1001" y="458"/>
                      <a:pt x="1002" y="458"/>
                      <a:pt x="1003" y="458"/>
                    </a:cubicBezTo>
                    <a:cubicBezTo>
                      <a:pt x="1004" y="458"/>
                      <a:pt x="1004" y="458"/>
                      <a:pt x="1004" y="458"/>
                    </a:cubicBezTo>
                    <a:cubicBezTo>
                      <a:pt x="1005" y="458"/>
                      <a:pt x="1006" y="458"/>
                      <a:pt x="1007" y="458"/>
                    </a:cubicBezTo>
                    <a:lnTo>
                      <a:pt x="1006" y="464"/>
                    </a:lnTo>
                    <a:close/>
                    <a:moveTo>
                      <a:pt x="975" y="462"/>
                    </a:moveTo>
                    <a:cubicBezTo>
                      <a:pt x="973" y="461"/>
                      <a:pt x="971" y="459"/>
                      <a:pt x="970" y="457"/>
                    </a:cubicBezTo>
                    <a:cubicBezTo>
                      <a:pt x="974" y="454"/>
                      <a:pt x="974" y="454"/>
                      <a:pt x="974" y="454"/>
                    </a:cubicBezTo>
                    <a:cubicBezTo>
                      <a:pt x="975" y="455"/>
                      <a:pt x="976" y="456"/>
                      <a:pt x="978" y="457"/>
                    </a:cubicBezTo>
                    <a:lnTo>
                      <a:pt x="975" y="462"/>
                    </a:lnTo>
                    <a:close/>
                    <a:moveTo>
                      <a:pt x="961" y="453"/>
                    </a:moveTo>
                    <a:cubicBezTo>
                      <a:pt x="959" y="453"/>
                      <a:pt x="958" y="453"/>
                      <a:pt x="957" y="452"/>
                    </a:cubicBezTo>
                    <a:cubicBezTo>
                      <a:pt x="960" y="447"/>
                      <a:pt x="960" y="447"/>
                      <a:pt x="960" y="447"/>
                    </a:cubicBezTo>
                    <a:cubicBezTo>
                      <a:pt x="961" y="450"/>
                      <a:pt x="961" y="450"/>
                      <a:pt x="961" y="450"/>
                    </a:cubicBezTo>
                    <a:cubicBezTo>
                      <a:pt x="961" y="447"/>
                      <a:pt x="961" y="447"/>
                      <a:pt x="961" y="447"/>
                    </a:cubicBezTo>
                    <a:cubicBezTo>
                      <a:pt x="961" y="447"/>
                      <a:pt x="962" y="447"/>
                      <a:pt x="963" y="446"/>
                    </a:cubicBezTo>
                    <a:cubicBezTo>
                      <a:pt x="963" y="446"/>
                      <a:pt x="963" y="446"/>
                      <a:pt x="963" y="446"/>
                    </a:cubicBezTo>
                    <a:cubicBezTo>
                      <a:pt x="965" y="452"/>
                      <a:pt x="965" y="452"/>
                      <a:pt x="965" y="452"/>
                    </a:cubicBezTo>
                    <a:cubicBezTo>
                      <a:pt x="965" y="452"/>
                      <a:pt x="965" y="452"/>
                      <a:pt x="965" y="452"/>
                    </a:cubicBezTo>
                    <a:cubicBezTo>
                      <a:pt x="964" y="452"/>
                      <a:pt x="963" y="453"/>
                      <a:pt x="962" y="453"/>
                    </a:cubicBezTo>
                    <a:cubicBezTo>
                      <a:pt x="961" y="453"/>
                      <a:pt x="961" y="453"/>
                      <a:pt x="961" y="453"/>
                    </a:cubicBezTo>
                    <a:close/>
                    <a:moveTo>
                      <a:pt x="948" y="446"/>
                    </a:moveTo>
                    <a:cubicBezTo>
                      <a:pt x="948" y="446"/>
                      <a:pt x="948" y="446"/>
                      <a:pt x="947" y="446"/>
                    </a:cubicBezTo>
                    <a:cubicBezTo>
                      <a:pt x="948" y="440"/>
                      <a:pt x="948" y="440"/>
                      <a:pt x="948" y="440"/>
                    </a:cubicBezTo>
                    <a:cubicBezTo>
                      <a:pt x="948" y="440"/>
                      <a:pt x="948" y="440"/>
                      <a:pt x="948" y="440"/>
                    </a:cubicBezTo>
                    <a:cubicBezTo>
                      <a:pt x="949" y="440"/>
                      <a:pt x="950" y="440"/>
                      <a:pt x="951" y="440"/>
                    </a:cubicBezTo>
                    <a:cubicBezTo>
                      <a:pt x="953" y="439"/>
                      <a:pt x="953" y="439"/>
                      <a:pt x="953" y="439"/>
                    </a:cubicBezTo>
                    <a:cubicBezTo>
                      <a:pt x="954" y="445"/>
                      <a:pt x="954" y="445"/>
                      <a:pt x="954" y="445"/>
                    </a:cubicBezTo>
                    <a:cubicBezTo>
                      <a:pt x="952" y="446"/>
                      <a:pt x="952" y="446"/>
                      <a:pt x="952" y="446"/>
                    </a:cubicBezTo>
                    <a:cubicBezTo>
                      <a:pt x="950" y="446"/>
                      <a:pt x="949" y="446"/>
                      <a:pt x="948" y="446"/>
                    </a:cubicBezTo>
                    <a:close/>
                    <a:moveTo>
                      <a:pt x="936" y="440"/>
                    </a:moveTo>
                    <a:cubicBezTo>
                      <a:pt x="934" y="439"/>
                      <a:pt x="933" y="439"/>
                      <a:pt x="933" y="439"/>
                    </a:cubicBezTo>
                    <a:cubicBezTo>
                      <a:pt x="931" y="434"/>
                      <a:pt x="931" y="434"/>
                      <a:pt x="931" y="434"/>
                    </a:cubicBezTo>
                    <a:cubicBezTo>
                      <a:pt x="933" y="433"/>
                      <a:pt x="936" y="434"/>
                      <a:pt x="939" y="435"/>
                    </a:cubicBezTo>
                    <a:lnTo>
                      <a:pt x="936" y="440"/>
                    </a:lnTo>
                    <a:close/>
                    <a:moveTo>
                      <a:pt x="919" y="438"/>
                    </a:moveTo>
                    <a:cubicBezTo>
                      <a:pt x="918" y="437"/>
                      <a:pt x="917" y="436"/>
                      <a:pt x="916" y="436"/>
                    </a:cubicBezTo>
                    <a:cubicBezTo>
                      <a:pt x="915" y="436"/>
                      <a:pt x="915" y="435"/>
                      <a:pt x="914" y="435"/>
                    </a:cubicBezTo>
                    <a:cubicBezTo>
                      <a:pt x="916" y="430"/>
                      <a:pt x="916" y="430"/>
                      <a:pt x="916" y="430"/>
                    </a:cubicBezTo>
                    <a:cubicBezTo>
                      <a:pt x="917" y="430"/>
                      <a:pt x="918" y="430"/>
                      <a:pt x="918" y="431"/>
                    </a:cubicBezTo>
                    <a:cubicBezTo>
                      <a:pt x="919" y="431"/>
                      <a:pt x="921" y="432"/>
                      <a:pt x="922" y="432"/>
                    </a:cubicBezTo>
                    <a:lnTo>
                      <a:pt x="919" y="438"/>
                    </a:lnTo>
                    <a:close/>
                    <a:moveTo>
                      <a:pt x="903" y="435"/>
                    </a:moveTo>
                    <a:cubicBezTo>
                      <a:pt x="902" y="435"/>
                      <a:pt x="900" y="434"/>
                      <a:pt x="899" y="433"/>
                    </a:cubicBezTo>
                    <a:cubicBezTo>
                      <a:pt x="898" y="433"/>
                      <a:pt x="897" y="432"/>
                      <a:pt x="896" y="431"/>
                    </a:cubicBezTo>
                    <a:cubicBezTo>
                      <a:pt x="901" y="428"/>
                      <a:pt x="901" y="428"/>
                      <a:pt x="901" y="428"/>
                    </a:cubicBezTo>
                    <a:cubicBezTo>
                      <a:pt x="901" y="428"/>
                      <a:pt x="901" y="428"/>
                      <a:pt x="902" y="428"/>
                    </a:cubicBezTo>
                    <a:cubicBezTo>
                      <a:pt x="902" y="429"/>
                      <a:pt x="903" y="429"/>
                      <a:pt x="904" y="429"/>
                    </a:cubicBezTo>
                    <a:lnTo>
                      <a:pt x="903" y="435"/>
                    </a:lnTo>
                    <a:close/>
                    <a:moveTo>
                      <a:pt x="881" y="425"/>
                    </a:moveTo>
                    <a:cubicBezTo>
                      <a:pt x="879" y="425"/>
                      <a:pt x="877" y="424"/>
                      <a:pt x="877" y="421"/>
                    </a:cubicBezTo>
                    <a:cubicBezTo>
                      <a:pt x="877" y="421"/>
                      <a:pt x="877" y="421"/>
                      <a:pt x="877" y="421"/>
                    </a:cubicBezTo>
                    <a:cubicBezTo>
                      <a:pt x="882" y="420"/>
                      <a:pt x="882" y="420"/>
                      <a:pt x="882" y="420"/>
                    </a:cubicBezTo>
                    <a:cubicBezTo>
                      <a:pt x="882" y="420"/>
                      <a:pt x="881" y="419"/>
                      <a:pt x="881" y="419"/>
                    </a:cubicBezTo>
                    <a:cubicBezTo>
                      <a:pt x="881" y="419"/>
                      <a:pt x="882" y="419"/>
                      <a:pt x="882" y="419"/>
                    </a:cubicBezTo>
                    <a:cubicBezTo>
                      <a:pt x="883" y="418"/>
                      <a:pt x="883" y="418"/>
                      <a:pt x="883" y="418"/>
                    </a:cubicBezTo>
                    <a:cubicBezTo>
                      <a:pt x="885" y="424"/>
                      <a:pt x="885" y="424"/>
                      <a:pt x="885" y="424"/>
                    </a:cubicBezTo>
                    <a:cubicBezTo>
                      <a:pt x="885" y="424"/>
                      <a:pt x="885" y="424"/>
                      <a:pt x="885" y="424"/>
                    </a:cubicBezTo>
                    <a:cubicBezTo>
                      <a:pt x="883" y="425"/>
                      <a:pt x="882" y="425"/>
                      <a:pt x="881" y="425"/>
                    </a:cubicBezTo>
                    <a:close/>
                    <a:moveTo>
                      <a:pt x="900" y="422"/>
                    </a:moveTo>
                    <a:cubicBezTo>
                      <a:pt x="899" y="422"/>
                      <a:pt x="898" y="422"/>
                      <a:pt x="895" y="422"/>
                    </a:cubicBezTo>
                    <a:cubicBezTo>
                      <a:pt x="895" y="416"/>
                      <a:pt x="895" y="416"/>
                      <a:pt x="895" y="416"/>
                    </a:cubicBezTo>
                    <a:cubicBezTo>
                      <a:pt x="897" y="416"/>
                      <a:pt x="900" y="416"/>
                      <a:pt x="902" y="417"/>
                    </a:cubicBezTo>
                    <a:lnTo>
                      <a:pt x="900" y="422"/>
                    </a:lnTo>
                    <a:close/>
                    <a:moveTo>
                      <a:pt x="874" y="413"/>
                    </a:moveTo>
                    <a:cubicBezTo>
                      <a:pt x="872" y="412"/>
                      <a:pt x="871" y="412"/>
                      <a:pt x="868" y="411"/>
                    </a:cubicBezTo>
                    <a:cubicBezTo>
                      <a:pt x="870" y="405"/>
                      <a:pt x="870" y="405"/>
                      <a:pt x="870" y="405"/>
                    </a:cubicBezTo>
                    <a:cubicBezTo>
                      <a:pt x="873" y="406"/>
                      <a:pt x="875" y="407"/>
                      <a:pt x="876" y="408"/>
                    </a:cubicBezTo>
                    <a:lnTo>
                      <a:pt x="874" y="413"/>
                    </a:lnTo>
                    <a:close/>
                    <a:moveTo>
                      <a:pt x="857" y="407"/>
                    </a:moveTo>
                    <a:cubicBezTo>
                      <a:pt x="852" y="405"/>
                      <a:pt x="852" y="405"/>
                      <a:pt x="852" y="405"/>
                    </a:cubicBezTo>
                    <a:cubicBezTo>
                      <a:pt x="854" y="400"/>
                      <a:pt x="854" y="400"/>
                      <a:pt x="854" y="400"/>
                    </a:cubicBezTo>
                    <a:cubicBezTo>
                      <a:pt x="859" y="401"/>
                      <a:pt x="859" y="401"/>
                      <a:pt x="859" y="401"/>
                    </a:cubicBezTo>
                    <a:lnTo>
                      <a:pt x="857" y="407"/>
                    </a:lnTo>
                    <a:close/>
                    <a:moveTo>
                      <a:pt x="841" y="401"/>
                    </a:moveTo>
                    <a:cubicBezTo>
                      <a:pt x="835" y="399"/>
                      <a:pt x="835" y="399"/>
                      <a:pt x="835" y="399"/>
                    </a:cubicBezTo>
                    <a:cubicBezTo>
                      <a:pt x="837" y="394"/>
                      <a:pt x="837" y="394"/>
                      <a:pt x="837" y="394"/>
                    </a:cubicBezTo>
                    <a:cubicBezTo>
                      <a:pt x="843" y="396"/>
                      <a:pt x="843" y="396"/>
                      <a:pt x="843" y="396"/>
                    </a:cubicBezTo>
                    <a:lnTo>
                      <a:pt x="841" y="401"/>
                    </a:lnTo>
                    <a:close/>
                    <a:moveTo>
                      <a:pt x="824" y="395"/>
                    </a:moveTo>
                    <a:cubicBezTo>
                      <a:pt x="822" y="395"/>
                      <a:pt x="820" y="394"/>
                      <a:pt x="819" y="393"/>
                    </a:cubicBezTo>
                    <a:cubicBezTo>
                      <a:pt x="821" y="388"/>
                      <a:pt x="821" y="388"/>
                      <a:pt x="821" y="388"/>
                    </a:cubicBezTo>
                    <a:cubicBezTo>
                      <a:pt x="822" y="388"/>
                      <a:pt x="824" y="389"/>
                      <a:pt x="826" y="390"/>
                    </a:cubicBezTo>
                    <a:lnTo>
                      <a:pt x="824" y="395"/>
                    </a:lnTo>
                    <a:close/>
                    <a:moveTo>
                      <a:pt x="808" y="389"/>
                    </a:moveTo>
                    <a:cubicBezTo>
                      <a:pt x="806" y="388"/>
                      <a:pt x="804" y="387"/>
                      <a:pt x="802" y="386"/>
                    </a:cubicBezTo>
                    <a:cubicBezTo>
                      <a:pt x="805" y="381"/>
                      <a:pt x="805" y="381"/>
                      <a:pt x="805" y="381"/>
                    </a:cubicBezTo>
                    <a:cubicBezTo>
                      <a:pt x="806" y="382"/>
                      <a:pt x="808" y="383"/>
                      <a:pt x="810" y="383"/>
                    </a:cubicBezTo>
                    <a:lnTo>
                      <a:pt x="808" y="389"/>
                    </a:lnTo>
                    <a:close/>
                    <a:moveTo>
                      <a:pt x="791" y="379"/>
                    </a:moveTo>
                    <a:cubicBezTo>
                      <a:pt x="790" y="378"/>
                      <a:pt x="789" y="377"/>
                      <a:pt x="788" y="375"/>
                    </a:cubicBezTo>
                    <a:cubicBezTo>
                      <a:pt x="792" y="371"/>
                      <a:pt x="792" y="371"/>
                      <a:pt x="792" y="371"/>
                    </a:cubicBezTo>
                    <a:cubicBezTo>
                      <a:pt x="794" y="373"/>
                      <a:pt x="795" y="375"/>
                      <a:pt x="796" y="375"/>
                    </a:cubicBezTo>
                    <a:lnTo>
                      <a:pt x="791" y="379"/>
                    </a:lnTo>
                    <a:close/>
                    <a:moveTo>
                      <a:pt x="782" y="368"/>
                    </a:moveTo>
                    <a:cubicBezTo>
                      <a:pt x="781" y="367"/>
                      <a:pt x="780" y="367"/>
                      <a:pt x="779" y="367"/>
                    </a:cubicBezTo>
                    <a:cubicBezTo>
                      <a:pt x="778" y="367"/>
                      <a:pt x="777" y="367"/>
                      <a:pt x="777" y="367"/>
                    </a:cubicBezTo>
                    <a:cubicBezTo>
                      <a:pt x="776" y="366"/>
                      <a:pt x="776" y="366"/>
                      <a:pt x="776" y="366"/>
                    </a:cubicBezTo>
                    <a:cubicBezTo>
                      <a:pt x="777" y="361"/>
                      <a:pt x="777" y="361"/>
                      <a:pt x="777" y="361"/>
                    </a:cubicBezTo>
                    <a:cubicBezTo>
                      <a:pt x="778" y="361"/>
                      <a:pt x="778" y="361"/>
                      <a:pt x="778" y="361"/>
                    </a:cubicBezTo>
                    <a:cubicBezTo>
                      <a:pt x="779" y="361"/>
                      <a:pt x="779" y="361"/>
                      <a:pt x="780" y="361"/>
                    </a:cubicBezTo>
                    <a:cubicBezTo>
                      <a:pt x="781" y="361"/>
                      <a:pt x="782" y="362"/>
                      <a:pt x="783" y="362"/>
                    </a:cubicBezTo>
                    <a:lnTo>
                      <a:pt x="782" y="368"/>
                    </a:lnTo>
                    <a:close/>
                    <a:moveTo>
                      <a:pt x="767" y="356"/>
                    </a:moveTo>
                    <a:cubicBezTo>
                      <a:pt x="766" y="354"/>
                      <a:pt x="766" y="352"/>
                      <a:pt x="765" y="350"/>
                    </a:cubicBezTo>
                    <a:cubicBezTo>
                      <a:pt x="771" y="348"/>
                      <a:pt x="771" y="348"/>
                      <a:pt x="771" y="348"/>
                    </a:cubicBezTo>
                    <a:cubicBezTo>
                      <a:pt x="771" y="350"/>
                      <a:pt x="772" y="352"/>
                      <a:pt x="772" y="354"/>
                    </a:cubicBezTo>
                    <a:lnTo>
                      <a:pt x="767" y="356"/>
                    </a:lnTo>
                    <a:close/>
                    <a:moveTo>
                      <a:pt x="763" y="339"/>
                    </a:moveTo>
                    <a:cubicBezTo>
                      <a:pt x="763" y="338"/>
                      <a:pt x="762" y="337"/>
                      <a:pt x="761" y="337"/>
                    </a:cubicBezTo>
                    <a:cubicBezTo>
                      <a:pt x="763" y="331"/>
                      <a:pt x="763" y="331"/>
                      <a:pt x="763" y="331"/>
                    </a:cubicBezTo>
                    <a:cubicBezTo>
                      <a:pt x="766" y="332"/>
                      <a:pt x="768" y="334"/>
                      <a:pt x="769" y="337"/>
                    </a:cubicBezTo>
                    <a:lnTo>
                      <a:pt x="763" y="339"/>
                    </a:lnTo>
                    <a:close/>
                    <a:moveTo>
                      <a:pt x="750" y="329"/>
                    </a:moveTo>
                    <a:cubicBezTo>
                      <a:pt x="750" y="328"/>
                      <a:pt x="750" y="328"/>
                      <a:pt x="750" y="327"/>
                    </a:cubicBezTo>
                    <a:cubicBezTo>
                      <a:pt x="750" y="326"/>
                      <a:pt x="750" y="326"/>
                      <a:pt x="750" y="325"/>
                    </a:cubicBezTo>
                    <a:cubicBezTo>
                      <a:pt x="750" y="324"/>
                      <a:pt x="750" y="324"/>
                      <a:pt x="750" y="324"/>
                    </a:cubicBezTo>
                    <a:cubicBezTo>
                      <a:pt x="750" y="323"/>
                      <a:pt x="750" y="323"/>
                      <a:pt x="750" y="323"/>
                    </a:cubicBezTo>
                    <a:cubicBezTo>
                      <a:pt x="756" y="322"/>
                      <a:pt x="756" y="322"/>
                      <a:pt x="756" y="322"/>
                    </a:cubicBezTo>
                    <a:cubicBezTo>
                      <a:pt x="756" y="323"/>
                      <a:pt x="756" y="323"/>
                      <a:pt x="756" y="324"/>
                    </a:cubicBezTo>
                    <a:cubicBezTo>
                      <a:pt x="756" y="324"/>
                      <a:pt x="756" y="325"/>
                      <a:pt x="756" y="325"/>
                    </a:cubicBezTo>
                    <a:cubicBezTo>
                      <a:pt x="756" y="326"/>
                      <a:pt x="756" y="327"/>
                      <a:pt x="756" y="327"/>
                    </a:cubicBezTo>
                    <a:cubicBezTo>
                      <a:pt x="756" y="328"/>
                      <a:pt x="756" y="328"/>
                      <a:pt x="756" y="328"/>
                    </a:cubicBezTo>
                    <a:lnTo>
                      <a:pt x="750" y="329"/>
                    </a:lnTo>
                    <a:close/>
                    <a:moveTo>
                      <a:pt x="750" y="313"/>
                    </a:moveTo>
                    <a:cubicBezTo>
                      <a:pt x="750" y="313"/>
                      <a:pt x="751" y="313"/>
                      <a:pt x="751" y="312"/>
                    </a:cubicBezTo>
                    <a:cubicBezTo>
                      <a:pt x="745" y="313"/>
                      <a:pt x="745" y="313"/>
                      <a:pt x="745" y="313"/>
                    </a:cubicBezTo>
                    <a:cubicBezTo>
                      <a:pt x="745" y="312"/>
                      <a:pt x="745" y="312"/>
                      <a:pt x="745" y="312"/>
                    </a:cubicBezTo>
                    <a:cubicBezTo>
                      <a:pt x="745" y="310"/>
                      <a:pt x="746" y="309"/>
                      <a:pt x="747" y="308"/>
                    </a:cubicBezTo>
                    <a:cubicBezTo>
                      <a:pt x="747" y="308"/>
                      <a:pt x="748" y="308"/>
                      <a:pt x="749" y="307"/>
                    </a:cubicBezTo>
                    <a:cubicBezTo>
                      <a:pt x="754" y="309"/>
                      <a:pt x="754" y="309"/>
                      <a:pt x="754" y="309"/>
                    </a:cubicBezTo>
                    <a:cubicBezTo>
                      <a:pt x="754" y="310"/>
                      <a:pt x="753" y="310"/>
                      <a:pt x="753" y="311"/>
                    </a:cubicBezTo>
                    <a:cubicBezTo>
                      <a:pt x="752" y="312"/>
                      <a:pt x="751" y="312"/>
                      <a:pt x="751" y="313"/>
                    </a:cubicBezTo>
                    <a:cubicBezTo>
                      <a:pt x="750" y="313"/>
                      <a:pt x="750" y="313"/>
                      <a:pt x="750" y="313"/>
                    </a:cubicBezTo>
                    <a:close/>
                    <a:moveTo>
                      <a:pt x="742" y="305"/>
                    </a:moveTo>
                    <a:cubicBezTo>
                      <a:pt x="738" y="304"/>
                      <a:pt x="737" y="301"/>
                      <a:pt x="737" y="298"/>
                    </a:cubicBezTo>
                    <a:cubicBezTo>
                      <a:pt x="743" y="297"/>
                      <a:pt x="743" y="297"/>
                      <a:pt x="743" y="297"/>
                    </a:cubicBezTo>
                    <a:cubicBezTo>
                      <a:pt x="743" y="298"/>
                      <a:pt x="743" y="299"/>
                      <a:pt x="743" y="300"/>
                    </a:cubicBezTo>
                    <a:cubicBezTo>
                      <a:pt x="743" y="299"/>
                      <a:pt x="743" y="299"/>
                      <a:pt x="743" y="299"/>
                    </a:cubicBezTo>
                    <a:lnTo>
                      <a:pt x="742" y="305"/>
                    </a:lnTo>
                    <a:close/>
                    <a:moveTo>
                      <a:pt x="733" y="288"/>
                    </a:moveTo>
                    <a:cubicBezTo>
                      <a:pt x="732" y="287"/>
                      <a:pt x="732" y="286"/>
                      <a:pt x="732" y="285"/>
                    </a:cubicBezTo>
                    <a:cubicBezTo>
                      <a:pt x="732" y="284"/>
                      <a:pt x="732" y="283"/>
                      <a:pt x="732" y="283"/>
                    </a:cubicBezTo>
                    <a:cubicBezTo>
                      <a:pt x="732" y="282"/>
                      <a:pt x="732" y="281"/>
                      <a:pt x="732" y="280"/>
                    </a:cubicBezTo>
                    <a:cubicBezTo>
                      <a:pt x="738" y="282"/>
                      <a:pt x="738" y="282"/>
                      <a:pt x="738" y="282"/>
                    </a:cubicBezTo>
                    <a:cubicBezTo>
                      <a:pt x="738" y="282"/>
                      <a:pt x="738" y="282"/>
                      <a:pt x="738" y="283"/>
                    </a:cubicBezTo>
                    <a:cubicBezTo>
                      <a:pt x="738" y="283"/>
                      <a:pt x="738" y="283"/>
                      <a:pt x="738" y="284"/>
                    </a:cubicBezTo>
                    <a:cubicBezTo>
                      <a:pt x="738" y="284"/>
                      <a:pt x="738" y="285"/>
                      <a:pt x="738" y="286"/>
                    </a:cubicBezTo>
                    <a:lnTo>
                      <a:pt x="733" y="288"/>
                    </a:lnTo>
                    <a:close/>
                    <a:moveTo>
                      <a:pt x="746" y="280"/>
                    </a:moveTo>
                    <a:cubicBezTo>
                      <a:pt x="744" y="275"/>
                      <a:pt x="744" y="275"/>
                      <a:pt x="744" y="275"/>
                    </a:cubicBezTo>
                    <a:cubicBezTo>
                      <a:pt x="746" y="274"/>
                      <a:pt x="747" y="274"/>
                      <a:pt x="747" y="273"/>
                    </a:cubicBezTo>
                    <a:cubicBezTo>
                      <a:pt x="752" y="275"/>
                      <a:pt x="752" y="275"/>
                      <a:pt x="752" y="275"/>
                    </a:cubicBezTo>
                    <a:cubicBezTo>
                      <a:pt x="752" y="277"/>
                      <a:pt x="749" y="279"/>
                      <a:pt x="746" y="280"/>
                    </a:cubicBezTo>
                    <a:close/>
                    <a:moveTo>
                      <a:pt x="757" y="265"/>
                    </a:moveTo>
                    <a:cubicBezTo>
                      <a:pt x="752" y="262"/>
                      <a:pt x="752" y="262"/>
                      <a:pt x="752" y="262"/>
                    </a:cubicBezTo>
                    <a:cubicBezTo>
                      <a:pt x="753" y="262"/>
                      <a:pt x="753" y="261"/>
                      <a:pt x="753" y="261"/>
                    </a:cubicBezTo>
                    <a:cubicBezTo>
                      <a:pt x="752" y="261"/>
                      <a:pt x="752" y="261"/>
                      <a:pt x="752" y="261"/>
                    </a:cubicBezTo>
                    <a:cubicBezTo>
                      <a:pt x="756" y="256"/>
                      <a:pt x="756" y="256"/>
                      <a:pt x="756" y="256"/>
                    </a:cubicBezTo>
                    <a:cubicBezTo>
                      <a:pt x="756" y="257"/>
                      <a:pt x="756" y="257"/>
                      <a:pt x="756" y="257"/>
                    </a:cubicBezTo>
                    <a:cubicBezTo>
                      <a:pt x="758" y="258"/>
                      <a:pt x="759" y="260"/>
                      <a:pt x="759" y="261"/>
                    </a:cubicBezTo>
                    <a:cubicBezTo>
                      <a:pt x="759" y="263"/>
                      <a:pt x="758" y="264"/>
                      <a:pt x="757" y="265"/>
                    </a:cubicBezTo>
                    <a:close/>
                    <a:moveTo>
                      <a:pt x="756" y="248"/>
                    </a:moveTo>
                    <a:cubicBezTo>
                      <a:pt x="750" y="247"/>
                      <a:pt x="750" y="247"/>
                      <a:pt x="750" y="247"/>
                    </a:cubicBezTo>
                    <a:cubicBezTo>
                      <a:pt x="751" y="245"/>
                      <a:pt x="751" y="244"/>
                      <a:pt x="751" y="242"/>
                    </a:cubicBezTo>
                    <a:cubicBezTo>
                      <a:pt x="757" y="242"/>
                      <a:pt x="757" y="242"/>
                      <a:pt x="757" y="242"/>
                    </a:cubicBezTo>
                    <a:cubicBezTo>
                      <a:pt x="757" y="244"/>
                      <a:pt x="756" y="246"/>
                      <a:pt x="756" y="248"/>
                    </a:cubicBezTo>
                    <a:close/>
                    <a:moveTo>
                      <a:pt x="747" y="232"/>
                    </a:moveTo>
                    <a:cubicBezTo>
                      <a:pt x="747" y="231"/>
                      <a:pt x="747" y="230"/>
                      <a:pt x="747" y="230"/>
                    </a:cubicBezTo>
                    <a:cubicBezTo>
                      <a:pt x="747" y="226"/>
                      <a:pt x="750" y="225"/>
                      <a:pt x="751" y="224"/>
                    </a:cubicBezTo>
                    <a:cubicBezTo>
                      <a:pt x="754" y="229"/>
                      <a:pt x="754" y="229"/>
                      <a:pt x="754" y="229"/>
                    </a:cubicBezTo>
                    <a:cubicBezTo>
                      <a:pt x="753" y="229"/>
                      <a:pt x="752" y="230"/>
                      <a:pt x="752" y="230"/>
                    </a:cubicBezTo>
                    <a:lnTo>
                      <a:pt x="747" y="232"/>
                    </a:lnTo>
                    <a:close/>
                    <a:moveTo>
                      <a:pt x="764" y="221"/>
                    </a:moveTo>
                    <a:cubicBezTo>
                      <a:pt x="759" y="219"/>
                      <a:pt x="759" y="219"/>
                      <a:pt x="759" y="219"/>
                    </a:cubicBezTo>
                    <a:cubicBezTo>
                      <a:pt x="759" y="218"/>
                      <a:pt x="759" y="218"/>
                      <a:pt x="758" y="217"/>
                    </a:cubicBezTo>
                    <a:cubicBezTo>
                      <a:pt x="758" y="216"/>
                      <a:pt x="758" y="216"/>
                      <a:pt x="758" y="215"/>
                    </a:cubicBezTo>
                    <a:cubicBezTo>
                      <a:pt x="763" y="213"/>
                      <a:pt x="763" y="213"/>
                      <a:pt x="763" y="213"/>
                    </a:cubicBezTo>
                    <a:cubicBezTo>
                      <a:pt x="763" y="213"/>
                      <a:pt x="764" y="214"/>
                      <a:pt x="764" y="215"/>
                    </a:cubicBezTo>
                    <a:cubicBezTo>
                      <a:pt x="764" y="216"/>
                      <a:pt x="765" y="217"/>
                      <a:pt x="765" y="219"/>
                    </a:cubicBezTo>
                    <a:cubicBezTo>
                      <a:pt x="765" y="219"/>
                      <a:pt x="765" y="220"/>
                      <a:pt x="764" y="221"/>
                    </a:cubicBezTo>
                    <a:close/>
                    <a:moveTo>
                      <a:pt x="748" y="214"/>
                    </a:moveTo>
                    <a:cubicBezTo>
                      <a:pt x="746" y="214"/>
                      <a:pt x="744" y="214"/>
                      <a:pt x="743" y="213"/>
                    </a:cubicBezTo>
                    <a:cubicBezTo>
                      <a:pt x="746" y="208"/>
                      <a:pt x="746" y="208"/>
                      <a:pt x="746" y="208"/>
                    </a:cubicBezTo>
                    <a:cubicBezTo>
                      <a:pt x="747" y="208"/>
                      <a:pt x="747" y="208"/>
                      <a:pt x="748" y="208"/>
                    </a:cubicBezTo>
                    <a:cubicBezTo>
                      <a:pt x="749" y="208"/>
                      <a:pt x="749" y="208"/>
                      <a:pt x="750" y="208"/>
                    </a:cubicBezTo>
                    <a:cubicBezTo>
                      <a:pt x="751" y="214"/>
                      <a:pt x="751" y="214"/>
                      <a:pt x="751" y="214"/>
                    </a:cubicBezTo>
                    <a:cubicBezTo>
                      <a:pt x="750" y="214"/>
                      <a:pt x="749" y="214"/>
                      <a:pt x="748" y="214"/>
                    </a:cubicBezTo>
                    <a:close/>
                    <a:moveTo>
                      <a:pt x="748" y="200"/>
                    </a:moveTo>
                    <a:cubicBezTo>
                      <a:pt x="742" y="198"/>
                      <a:pt x="742" y="198"/>
                      <a:pt x="742" y="198"/>
                    </a:cubicBezTo>
                    <a:cubicBezTo>
                      <a:pt x="743" y="196"/>
                      <a:pt x="744" y="194"/>
                      <a:pt x="744" y="193"/>
                    </a:cubicBezTo>
                    <a:cubicBezTo>
                      <a:pt x="750" y="195"/>
                      <a:pt x="750" y="195"/>
                      <a:pt x="750" y="195"/>
                    </a:cubicBezTo>
                    <a:cubicBezTo>
                      <a:pt x="750" y="195"/>
                      <a:pt x="750" y="195"/>
                      <a:pt x="750" y="195"/>
                    </a:cubicBezTo>
                    <a:cubicBezTo>
                      <a:pt x="749" y="196"/>
                      <a:pt x="748" y="198"/>
                      <a:pt x="748" y="200"/>
                    </a:cubicBezTo>
                    <a:close/>
                    <a:moveTo>
                      <a:pt x="740" y="186"/>
                    </a:moveTo>
                    <a:cubicBezTo>
                      <a:pt x="739" y="184"/>
                      <a:pt x="738" y="182"/>
                      <a:pt x="738" y="180"/>
                    </a:cubicBezTo>
                    <a:cubicBezTo>
                      <a:pt x="738" y="179"/>
                      <a:pt x="738" y="178"/>
                      <a:pt x="739" y="177"/>
                    </a:cubicBezTo>
                    <a:cubicBezTo>
                      <a:pt x="744" y="180"/>
                      <a:pt x="744" y="180"/>
                      <a:pt x="744" y="180"/>
                    </a:cubicBezTo>
                    <a:cubicBezTo>
                      <a:pt x="744" y="180"/>
                      <a:pt x="744" y="180"/>
                      <a:pt x="744" y="180"/>
                    </a:cubicBezTo>
                    <a:cubicBezTo>
                      <a:pt x="744" y="181"/>
                      <a:pt x="744" y="181"/>
                      <a:pt x="745" y="182"/>
                    </a:cubicBezTo>
                    <a:lnTo>
                      <a:pt x="740" y="186"/>
                    </a:lnTo>
                    <a:close/>
                    <a:moveTo>
                      <a:pt x="749" y="170"/>
                    </a:moveTo>
                    <a:cubicBezTo>
                      <a:pt x="744" y="167"/>
                      <a:pt x="744" y="167"/>
                      <a:pt x="744" y="167"/>
                    </a:cubicBezTo>
                    <a:cubicBezTo>
                      <a:pt x="745" y="165"/>
                      <a:pt x="747" y="163"/>
                      <a:pt x="751" y="163"/>
                    </a:cubicBezTo>
                    <a:cubicBezTo>
                      <a:pt x="752" y="168"/>
                      <a:pt x="752" y="168"/>
                      <a:pt x="752" y="168"/>
                    </a:cubicBezTo>
                    <a:cubicBezTo>
                      <a:pt x="751" y="169"/>
                      <a:pt x="750" y="169"/>
                      <a:pt x="749" y="170"/>
                    </a:cubicBezTo>
                    <a:close/>
                    <a:moveTo>
                      <a:pt x="765" y="166"/>
                    </a:moveTo>
                    <a:cubicBezTo>
                      <a:pt x="761" y="162"/>
                      <a:pt x="761" y="162"/>
                      <a:pt x="761" y="162"/>
                    </a:cubicBezTo>
                    <a:cubicBezTo>
                      <a:pt x="762" y="161"/>
                      <a:pt x="762" y="159"/>
                      <a:pt x="762" y="158"/>
                    </a:cubicBezTo>
                    <a:cubicBezTo>
                      <a:pt x="768" y="159"/>
                      <a:pt x="768" y="159"/>
                      <a:pt x="768" y="159"/>
                    </a:cubicBezTo>
                    <a:cubicBezTo>
                      <a:pt x="768" y="161"/>
                      <a:pt x="767" y="164"/>
                      <a:pt x="765" y="166"/>
                    </a:cubicBezTo>
                    <a:close/>
                    <a:moveTo>
                      <a:pt x="765" y="149"/>
                    </a:moveTo>
                    <a:cubicBezTo>
                      <a:pt x="765" y="148"/>
                      <a:pt x="765" y="147"/>
                      <a:pt x="765" y="147"/>
                    </a:cubicBezTo>
                    <a:cubicBezTo>
                      <a:pt x="765" y="146"/>
                      <a:pt x="764" y="146"/>
                      <a:pt x="764" y="145"/>
                    </a:cubicBezTo>
                    <a:cubicBezTo>
                      <a:pt x="764" y="144"/>
                      <a:pt x="765" y="143"/>
                      <a:pt x="766" y="141"/>
                    </a:cubicBezTo>
                    <a:cubicBezTo>
                      <a:pt x="771" y="144"/>
                      <a:pt x="771" y="144"/>
                      <a:pt x="771" y="144"/>
                    </a:cubicBezTo>
                    <a:cubicBezTo>
                      <a:pt x="770" y="144"/>
                      <a:pt x="770" y="145"/>
                      <a:pt x="770" y="145"/>
                    </a:cubicBezTo>
                    <a:cubicBezTo>
                      <a:pt x="770" y="145"/>
                      <a:pt x="770" y="146"/>
                      <a:pt x="770" y="146"/>
                    </a:cubicBezTo>
                    <a:cubicBezTo>
                      <a:pt x="771" y="147"/>
                      <a:pt x="771" y="147"/>
                      <a:pt x="771" y="147"/>
                    </a:cubicBezTo>
                    <a:cubicBezTo>
                      <a:pt x="768" y="148"/>
                      <a:pt x="768" y="148"/>
                      <a:pt x="768" y="148"/>
                    </a:cubicBezTo>
                    <a:lnTo>
                      <a:pt x="765" y="149"/>
                    </a:lnTo>
                    <a:close/>
                    <a:moveTo>
                      <a:pt x="777" y="133"/>
                    </a:moveTo>
                    <a:cubicBezTo>
                      <a:pt x="771" y="131"/>
                      <a:pt x="771" y="131"/>
                      <a:pt x="771" y="131"/>
                    </a:cubicBezTo>
                    <a:cubicBezTo>
                      <a:pt x="771" y="131"/>
                      <a:pt x="771" y="131"/>
                      <a:pt x="771" y="131"/>
                    </a:cubicBezTo>
                    <a:cubicBezTo>
                      <a:pt x="771" y="131"/>
                      <a:pt x="771" y="131"/>
                      <a:pt x="771" y="131"/>
                    </a:cubicBezTo>
                    <a:cubicBezTo>
                      <a:pt x="771" y="131"/>
                      <a:pt x="771" y="131"/>
                      <a:pt x="771" y="131"/>
                    </a:cubicBezTo>
                    <a:cubicBezTo>
                      <a:pt x="772" y="125"/>
                      <a:pt x="772" y="125"/>
                      <a:pt x="772" y="125"/>
                    </a:cubicBezTo>
                    <a:cubicBezTo>
                      <a:pt x="777" y="126"/>
                      <a:pt x="777" y="130"/>
                      <a:pt x="777" y="131"/>
                    </a:cubicBezTo>
                    <a:cubicBezTo>
                      <a:pt x="777" y="132"/>
                      <a:pt x="777" y="132"/>
                      <a:pt x="777" y="133"/>
                    </a:cubicBezTo>
                    <a:close/>
                    <a:moveTo>
                      <a:pt x="758" y="128"/>
                    </a:moveTo>
                    <a:cubicBezTo>
                      <a:pt x="758" y="128"/>
                      <a:pt x="757" y="127"/>
                      <a:pt x="756" y="126"/>
                    </a:cubicBezTo>
                    <a:cubicBezTo>
                      <a:pt x="756" y="126"/>
                      <a:pt x="755" y="125"/>
                      <a:pt x="755" y="124"/>
                    </a:cubicBezTo>
                    <a:cubicBezTo>
                      <a:pt x="754" y="123"/>
                      <a:pt x="754" y="123"/>
                      <a:pt x="754" y="123"/>
                    </a:cubicBezTo>
                    <a:cubicBezTo>
                      <a:pt x="759" y="120"/>
                      <a:pt x="759" y="120"/>
                      <a:pt x="759" y="120"/>
                    </a:cubicBezTo>
                    <a:cubicBezTo>
                      <a:pt x="759" y="120"/>
                      <a:pt x="759" y="120"/>
                      <a:pt x="759" y="120"/>
                    </a:cubicBezTo>
                    <a:cubicBezTo>
                      <a:pt x="760" y="121"/>
                      <a:pt x="761" y="122"/>
                      <a:pt x="762" y="123"/>
                    </a:cubicBezTo>
                    <a:cubicBezTo>
                      <a:pt x="762" y="123"/>
                      <a:pt x="762" y="123"/>
                      <a:pt x="762" y="124"/>
                    </a:cubicBezTo>
                    <a:lnTo>
                      <a:pt x="758" y="128"/>
                    </a:lnTo>
                    <a:close/>
                    <a:moveTo>
                      <a:pt x="757" y="113"/>
                    </a:moveTo>
                    <a:cubicBezTo>
                      <a:pt x="753" y="109"/>
                      <a:pt x="753" y="109"/>
                      <a:pt x="753" y="109"/>
                    </a:cubicBezTo>
                    <a:cubicBezTo>
                      <a:pt x="754" y="108"/>
                      <a:pt x="756" y="107"/>
                      <a:pt x="758" y="106"/>
                    </a:cubicBezTo>
                    <a:cubicBezTo>
                      <a:pt x="761" y="111"/>
                      <a:pt x="761" y="111"/>
                      <a:pt x="761" y="111"/>
                    </a:cubicBezTo>
                    <a:cubicBezTo>
                      <a:pt x="759" y="112"/>
                      <a:pt x="758" y="113"/>
                      <a:pt x="757" y="113"/>
                    </a:cubicBezTo>
                    <a:close/>
                    <a:moveTo>
                      <a:pt x="767" y="105"/>
                    </a:moveTo>
                    <a:cubicBezTo>
                      <a:pt x="767" y="105"/>
                      <a:pt x="767" y="105"/>
                      <a:pt x="766" y="105"/>
                    </a:cubicBezTo>
                    <a:cubicBezTo>
                      <a:pt x="765" y="104"/>
                      <a:pt x="764" y="104"/>
                      <a:pt x="762" y="103"/>
                    </a:cubicBezTo>
                    <a:cubicBezTo>
                      <a:pt x="766" y="98"/>
                      <a:pt x="766" y="98"/>
                      <a:pt x="766" y="98"/>
                    </a:cubicBezTo>
                    <a:cubicBezTo>
                      <a:pt x="767" y="99"/>
                      <a:pt x="768" y="99"/>
                      <a:pt x="769" y="100"/>
                    </a:cubicBezTo>
                    <a:cubicBezTo>
                      <a:pt x="770" y="100"/>
                      <a:pt x="770" y="101"/>
                      <a:pt x="771" y="101"/>
                    </a:cubicBezTo>
                    <a:cubicBezTo>
                      <a:pt x="767" y="105"/>
                      <a:pt x="767" y="105"/>
                      <a:pt x="767" y="105"/>
                    </a:cubicBezTo>
                    <a:close/>
                    <a:moveTo>
                      <a:pt x="754" y="95"/>
                    </a:moveTo>
                    <a:cubicBezTo>
                      <a:pt x="754" y="94"/>
                      <a:pt x="753" y="94"/>
                      <a:pt x="751" y="93"/>
                    </a:cubicBezTo>
                    <a:cubicBezTo>
                      <a:pt x="750" y="93"/>
                      <a:pt x="750" y="93"/>
                      <a:pt x="749" y="93"/>
                    </a:cubicBezTo>
                    <a:cubicBezTo>
                      <a:pt x="751" y="87"/>
                      <a:pt x="751" y="87"/>
                      <a:pt x="751" y="87"/>
                    </a:cubicBezTo>
                    <a:cubicBezTo>
                      <a:pt x="752" y="87"/>
                      <a:pt x="752" y="88"/>
                      <a:pt x="753" y="88"/>
                    </a:cubicBezTo>
                    <a:cubicBezTo>
                      <a:pt x="755" y="88"/>
                      <a:pt x="756" y="89"/>
                      <a:pt x="757" y="90"/>
                    </a:cubicBezTo>
                    <a:lnTo>
                      <a:pt x="754" y="95"/>
                    </a:lnTo>
                    <a:close/>
                    <a:moveTo>
                      <a:pt x="739" y="86"/>
                    </a:moveTo>
                    <a:cubicBezTo>
                      <a:pt x="738" y="86"/>
                      <a:pt x="736" y="86"/>
                      <a:pt x="735" y="85"/>
                    </a:cubicBezTo>
                    <a:cubicBezTo>
                      <a:pt x="737" y="80"/>
                      <a:pt x="737" y="80"/>
                      <a:pt x="737" y="80"/>
                    </a:cubicBezTo>
                    <a:cubicBezTo>
                      <a:pt x="738" y="80"/>
                      <a:pt x="739" y="80"/>
                      <a:pt x="741" y="80"/>
                    </a:cubicBezTo>
                    <a:cubicBezTo>
                      <a:pt x="742" y="80"/>
                      <a:pt x="742" y="80"/>
                      <a:pt x="742" y="80"/>
                    </a:cubicBezTo>
                    <a:cubicBezTo>
                      <a:pt x="742" y="86"/>
                      <a:pt x="742" y="86"/>
                      <a:pt x="742" y="86"/>
                    </a:cubicBezTo>
                    <a:cubicBezTo>
                      <a:pt x="741" y="86"/>
                      <a:pt x="741" y="86"/>
                      <a:pt x="741" y="86"/>
                    </a:cubicBezTo>
                    <a:cubicBezTo>
                      <a:pt x="740" y="86"/>
                      <a:pt x="740" y="86"/>
                      <a:pt x="739" y="86"/>
                    </a:cubicBezTo>
                    <a:close/>
                    <a:moveTo>
                      <a:pt x="483" y="84"/>
                    </a:moveTo>
                    <a:cubicBezTo>
                      <a:pt x="482" y="79"/>
                      <a:pt x="482" y="79"/>
                      <a:pt x="482" y="79"/>
                    </a:cubicBezTo>
                    <a:cubicBezTo>
                      <a:pt x="482" y="79"/>
                      <a:pt x="482" y="79"/>
                      <a:pt x="482" y="79"/>
                    </a:cubicBezTo>
                    <a:cubicBezTo>
                      <a:pt x="482" y="79"/>
                      <a:pt x="482" y="79"/>
                      <a:pt x="482" y="78"/>
                    </a:cubicBezTo>
                    <a:cubicBezTo>
                      <a:pt x="483" y="77"/>
                      <a:pt x="484" y="76"/>
                      <a:pt x="485" y="76"/>
                    </a:cubicBezTo>
                    <a:cubicBezTo>
                      <a:pt x="489" y="80"/>
                      <a:pt x="489" y="80"/>
                      <a:pt x="489" y="80"/>
                    </a:cubicBezTo>
                    <a:cubicBezTo>
                      <a:pt x="488" y="81"/>
                      <a:pt x="487" y="81"/>
                      <a:pt x="487" y="82"/>
                    </a:cubicBezTo>
                    <a:cubicBezTo>
                      <a:pt x="486" y="83"/>
                      <a:pt x="484" y="84"/>
                      <a:pt x="483" y="84"/>
                    </a:cubicBezTo>
                    <a:close/>
                    <a:moveTo>
                      <a:pt x="378" y="84"/>
                    </a:moveTo>
                    <a:cubicBezTo>
                      <a:pt x="376" y="84"/>
                      <a:pt x="374" y="84"/>
                      <a:pt x="373" y="83"/>
                    </a:cubicBezTo>
                    <a:cubicBezTo>
                      <a:pt x="374" y="78"/>
                      <a:pt x="374" y="78"/>
                      <a:pt x="374" y="78"/>
                    </a:cubicBezTo>
                    <a:cubicBezTo>
                      <a:pt x="375" y="78"/>
                      <a:pt x="377" y="78"/>
                      <a:pt x="378" y="78"/>
                    </a:cubicBezTo>
                    <a:cubicBezTo>
                      <a:pt x="378" y="78"/>
                      <a:pt x="379" y="78"/>
                      <a:pt x="379" y="78"/>
                    </a:cubicBezTo>
                    <a:cubicBezTo>
                      <a:pt x="380" y="84"/>
                      <a:pt x="380" y="84"/>
                      <a:pt x="380" y="84"/>
                    </a:cubicBezTo>
                    <a:cubicBezTo>
                      <a:pt x="379" y="84"/>
                      <a:pt x="378" y="84"/>
                      <a:pt x="378" y="84"/>
                    </a:cubicBezTo>
                    <a:close/>
                    <a:moveTo>
                      <a:pt x="392" y="81"/>
                    </a:moveTo>
                    <a:cubicBezTo>
                      <a:pt x="390" y="76"/>
                      <a:pt x="390" y="76"/>
                      <a:pt x="390" y="76"/>
                    </a:cubicBezTo>
                    <a:cubicBezTo>
                      <a:pt x="392" y="75"/>
                      <a:pt x="394" y="75"/>
                      <a:pt x="395" y="74"/>
                    </a:cubicBezTo>
                    <a:cubicBezTo>
                      <a:pt x="398" y="79"/>
                      <a:pt x="398" y="79"/>
                      <a:pt x="398" y="79"/>
                    </a:cubicBezTo>
                    <a:cubicBezTo>
                      <a:pt x="396" y="80"/>
                      <a:pt x="394" y="81"/>
                      <a:pt x="392" y="81"/>
                    </a:cubicBezTo>
                    <a:close/>
                    <a:moveTo>
                      <a:pt x="504" y="78"/>
                    </a:moveTo>
                    <a:cubicBezTo>
                      <a:pt x="502" y="78"/>
                      <a:pt x="501" y="78"/>
                      <a:pt x="499" y="78"/>
                    </a:cubicBezTo>
                    <a:cubicBezTo>
                      <a:pt x="498" y="78"/>
                      <a:pt x="498" y="78"/>
                      <a:pt x="498" y="78"/>
                    </a:cubicBezTo>
                    <a:cubicBezTo>
                      <a:pt x="498" y="72"/>
                      <a:pt x="498" y="72"/>
                      <a:pt x="498" y="72"/>
                    </a:cubicBezTo>
                    <a:cubicBezTo>
                      <a:pt x="499" y="72"/>
                      <a:pt x="499" y="72"/>
                      <a:pt x="499" y="72"/>
                    </a:cubicBezTo>
                    <a:cubicBezTo>
                      <a:pt x="501" y="72"/>
                      <a:pt x="502" y="72"/>
                      <a:pt x="504" y="72"/>
                    </a:cubicBezTo>
                    <a:lnTo>
                      <a:pt x="504" y="78"/>
                    </a:lnTo>
                    <a:close/>
                    <a:moveTo>
                      <a:pt x="475" y="77"/>
                    </a:moveTo>
                    <a:cubicBezTo>
                      <a:pt x="474" y="77"/>
                      <a:pt x="473" y="77"/>
                      <a:pt x="472" y="77"/>
                    </a:cubicBezTo>
                    <a:cubicBezTo>
                      <a:pt x="471" y="76"/>
                      <a:pt x="470" y="76"/>
                      <a:pt x="469" y="76"/>
                    </a:cubicBezTo>
                    <a:cubicBezTo>
                      <a:pt x="471" y="71"/>
                      <a:pt x="471" y="71"/>
                      <a:pt x="471" y="71"/>
                    </a:cubicBezTo>
                    <a:cubicBezTo>
                      <a:pt x="472" y="71"/>
                      <a:pt x="473" y="71"/>
                      <a:pt x="474" y="71"/>
                    </a:cubicBezTo>
                    <a:cubicBezTo>
                      <a:pt x="475" y="71"/>
                      <a:pt x="475" y="72"/>
                      <a:pt x="476" y="72"/>
                    </a:cubicBezTo>
                    <a:lnTo>
                      <a:pt x="475" y="77"/>
                    </a:lnTo>
                    <a:close/>
                    <a:moveTo>
                      <a:pt x="725" y="77"/>
                    </a:moveTo>
                    <a:cubicBezTo>
                      <a:pt x="724" y="76"/>
                      <a:pt x="722" y="75"/>
                      <a:pt x="721" y="74"/>
                    </a:cubicBezTo>
                    <a:cubicBezTo>
                      <a:pt x="725" y="69"/>
                      <a:pt x="725" y="69"/>
                      <a:pt x="725" y="69"/>
                    </a:cubicBezTo>
                    <a:cubicBezTo>
                      <a:pt x="726" y="70"/>
                      <a:pt x="728" y="72"/>
                      <a:pt x="729" y="73"/>
                    </a:cubicBezTo>
                    <a:lnTo>
                      <a:pt x="725" y="77"/>
                    </a:lnTo>
                    <a:close/>
                    <a:moveTo>
                      <a:pt x="360" y="77"/>
                    </a:moveTo>
                    <a:cubicBezTo>
                      <a:pt x="358" y="72"/>
                      <a:pt x="358" y="72"/>
                      <a:pt x="358" y="72"/>
                    </a:cubicBezTo>
                    <a:cubicBezTo>
                      <a:pt x="361" y="71"/>
                      <a:pt x="363" y="70"/>
                      <a:pt x="365" y="70"/>
                    </a:cubicBezTo>
                    <a:cubicBezTo>
                      <a:pt x="365" y="76"/>
                      <a:pt x="365" y="76"/>
                      <a:pt x="365" y="76"/>
                    </a:cubicBezTo>
                    <a:cubicBezTo>
                      <a:pt x="363" y="76"/>
                      <a:pt x="362" y="76"/>
                      <a:pt x="360" y="77"/>
                    </a:cubicBezTo>
                    <a:close/>
                    <a:moveTo>
                      <a:pt x="516" y="77"/>
                    </a:moveTo>
                    <a:cubicBezTo>
                      <a:pt x="514" y="71"/>
                      <a:pt x="514" y="71"/>
                      <a:pt x="514" y="71"/>
                    </a:cubicBezTo>
                    <a:cubicBezTo>
                      <a:pt x="516" y="71"/>
                      <a:pt x="517" y="70"/>
                      <a:pt x="518" y="69"/>
                    </a:cubicBezTo>
                    <a:cubicBezTo>
                      <a:pt x="522" y="73"/>
                      <a:pt x="522" y="73"/>
                      <a:pt x="522" y="73"/>
                    </a:cubicBezTo>
                    <a:cubicBezTo>
                      <a:pt x="521" y="75"/>
                      <a:pt x="519" y="76"/>
                      <a:pt x="516" y="77"/>
                    </a:cubicBezTo>
                    <a:close/>
                    <a:moveTo>
                      <a:pt x="712" y="77"/>
                    </a:moveTo>
                    <a:cubicBezTo>
                      <a:pt x="709" y="77"/>
                      <a:pt x="707" y="74"/>
                      <a:pt x="706" y="72"/>
                    </a:cubicBezTo>
                    <a:cubicBezTo>
                      <a:pt x="711" y="69"/>
                      <a:pt x="711" y="69"/>
                      <a:pt x="711" y="69"/>
                    </a:cubicBezTo>
                    <a:cubicBezTo>
                      <a:pt x="712" y="71"/>
                      <a:pt x="713" y="71"/>
                      <a:pt x="713" y="71"/>
                    </a:cubicBezTo>
                    <a:cubicBezTo>
                      <a:pt x="713" y="72"/>
                      <a:pt x="713" y="72"/>
                      <a:pt x="713" y="72"/>
                    </a:cubicBezTo>
                    <a:cubicBezTo>
                      <a:pt x="713" y="77"/>
                      <a:pt x="713" y="77"/>
                      <a:pt x="713" y="77"/>
                    </a:cubicBezTo>
                    <a:cubicBezTo>
                      <a:pt x="713" y="77"/>
                      <a:pt x="713" y="77"/>
                      <a:pt x="712" y="77"/>
                    </a:cubicBezTo>
                    <a:close/>
                    <a:moveTo>
                      <a:pt x="347" y="76"/>
                    </a:moveTo>
                    <a:cubicBezTo>
                      <a:pt x="346" y="76"/>
                      <a:pt x="346" y="76"/>
                      <a:pt x="346" y="76"/>
                    </a:cubicBezTo>
                    <a:cubicBezTo>
                      <a:pt x="346" y="76"/>
                      <a:pt x="345" y="75"/>
                      <a:pt x="343" y="75"/>
                    </a:cubicBezTo>
                    <a:cubicBezTo>
                      <a:pt x="343" y="70"/>
                      <a:pt x="343" y="70"/>
                      <a:pt x="343" y="70"/>
                    </a:cubicBezTo>
                    <a:cubicBezTo>
                      <a:pt x="346" y="70"/>
                      <a:pt x="348" y="70"/>
                      <a:pt x="350" y="71"/>
                    </a:cubicBezTo>
                    <a:lnTo>
                      <a:pt x="347" y="76"/>
                    </a:lnTo>
                    <a:close/>
                    <a:moveTo>
                      <a:pt x="51" y="76"/>
                    </a:moveTo>
                    <a:cubicBezTo>
                      <a:pt x="51" y="70"/>
                      <a:pt x="51" y="70"/>
                      <a:pt x="51" y="70"/>
                    </a:cubicBezTo>
                    <a:cubicBezTo>
                      <a:pt x="51" y="70"/>
                      <a:pt x="51" y="70"/>
                      <a:pt x="51" y="70"/>
                    </a:cubicBezTo>
                    <a:cubicBezTo>
                      <a:pt x="53" y="70"/>
                      <a:pt x="55" y="70"/>
                      <a:pt x="57" y="70"/>
                    </a:cubicBezTo>
                    <a:cubicBezTo>
                      <a:pt x="57" y="76"/>
                      <a:pt x="57" y="76"/>
                      <a:pt x="57" y="76"/>
                    </a:cubicBezTo>
                    <a:cubicBezTo>
                      <a:pt x="56" y="76"/>
                      <a:pt x="54" y="76"/>
                      <a:pt x="51" y="76"/>
                    </a:cubicBezTo>
                    <a:close/>
                    <a:moveTo>
                      <a:pt x="38" y="74"/>
                    </a:moveTo>
                    <a:cubicBezTo>
                      <a:pt x="37" y="74"/>
                      <a:pt x="37" y="74"/>
                      <a:pt x="37" y="74"/>
                    </a:cubicBezTo>
                    <a:cubicBezTo>
                      <a:pt x="36" y="73"/>
                      <a:pt x="35" y="72"/>
                      <a:pt x="35" y="72"/>
                    </a:cubicBezTo>
                    <a:cubicBezTo>
                      <a:pt x="34" y="66"/>
                      <a:pt x="34" y="66"/>
                      <a:pt x="34" y="66"/>
                    </a:cubicBezTo>
                    <a:cubicBezTo>
                      <a:pt x="35" y="66"/>
                      <a:pt x="35" y="66"/>
                      <a:pt x="35" y="66"/>
                    </a:cubicBezTo>
                    <a:cubicBezTo>
                      <a:pt x="37" y="66"/>
                      <a:pt x="39" y="68"/>
                      <a:pt x="41" y="69"/>
                    </a:cubicBezTo>
                    <a:cubicBezTo>
                      <a:pt x="41" y="69"/>
                      <a:pt x="41" y="69"/>
                      <a:pt x="41" y="69"/>
                    </a:cubicBezTo>
                    <a:lnTo>
                      <a:pt x="38" y="74"/>
                    </a:lnTo>
                    <a:close/>
                    <a:moveTo>
                      <a:pt x="423" y="73"/>
                    </a:moveTo>
                    <a:cubicBezTo>
                      <a:pt x="423" y="73"/>
                      <a:pt x="422" y="73"/>
                      <a:pt x="422" y="73"/>
                    </a:cubicBezTo>
                    <a:cubicBezTo>
                      <a:pt x="422" y="67"/>
                      <a:pt x="422" y="67"/>
                      <a:pt x="422" y="67"/>
                    </a:cubicBezTo>
                    <a:cubicBezTo>
                      <a:pt x="424" y="67"/>
                      <a:pt x="425" y="67"/>
                      <a:pt x="427" y="66"/>
                    </a:cubicBezTo>
                    <a:cubicBezTo>
                      <a:pt x="428" y="72"/>
                      <a:pt x="428" y="72"/>
                      <a:pt x="428" y="72"/>
                    </a:cubicBezTo>
                    <a:cubicBezTo>
                      <a:pt x="426" y="72"/>
                      <a:pt x="425" y="73"/>
                      <a:pt x="423" y="73"/>
                    </a:cubicBezTo>
                    <a:close/>
                    <a:moveTo>
                      <a:pt x="405" y="71"/>
                    </a:moveTo>
                    <a:cubicBezTo>
                      <a:pt x="403" y="66"/>
                      <a:pt x="403" y="66"/>
                      <a:pt x="403" y="66"/>
                    </a:cubicBezTo>
                    <a:cubicBezTo>
                      <a:pt x="405" y="65"/>
                      <a:pt x="406" y="65"/>
                      <a:pt x="409" y="65"/>
                    </a:cubicBezTo>
                    <a:cubicBezTo>
                      <a:pt x="409" y="65"/>
                      <a:pt x="410" y="65"/>
                      <a:pt x="411" y="65"/>
                    </a:cubicBezTo>
                    <a:cubicBezTo>
                      <a:pt x="410" y="71"/>
                      <a:pt x="410" y="71"/>
                      <a:pt x="410" y="71"/>
                    </a:cubicBezTo>
                    <a:cubicBezTo>
                      <a:pt x="409" y="71"/>
                      <a:pt x="409" y="71"/>
                      <a:pt x="408" y="71"/>
                    </a:cubicBezTo>
                    <a:cubicBezTo>
                      <a:pt x="407" y="71"/>
                      <a:pt x="406" y="71"/>
                      <a:pt x="405" y="71"/>
                    </a:cubicBezTo>
                    <a:close/>
                    <a:moveTo>
                      <a:pt x="22" y="71"/>
                    </a:moveTo>
                    <a:cubicBezTo>
                      <a:pt x="21" y="70"/>
                      <a:pt x="19" y="70"/>
                      <a:pt x="18" y="70"/>
                    </a:cubicBezTo>
                    <a:cubicBezTo>
                      <a:pt x="17" y="70"/>
                      <a:pt x="17" y="70"/>
                      <a:pt x="16" y="70"/>
                    </a:cubicBezTo>
                    <a:cubicBezTo>
                      <a:pt x="18" y="64"/>
                      <a:pt x="18" y="64"/>
                      <a:pt x="18" y="64"/>
                    </a:cubicBezTo>
                    <a:cubicBezTo>
                      <a:pt x="18" y="64"/>
                      <a:pt x="18" y="64"/>
                      <a:pt x="18" y="64"/>
                    </a:cubicBezTo>
                    <a:cubicBezTo>
                      <a:pt x="20" y="64"/>
                      <a:pt x="21" y="65"/>
                      <a:pt x="23" y="65"/>
                    </a:cubicBezTo>
                    <a:lnTo>
                      <a:pt x="22" y="71"/>
                    </a:lnTo>
                    <a:close/>
                    <a:moveTo>
                      <a:pt x="330" y="71"/>
                    </a:moveTo>
                    <a:cubicBezTo>
                      <a:pt x="330" y="70"/>
                      <a:pt x="329" y="70"/>
                      <a:pt x="329" y="70"/>
                    </a:cubicBezTo>
                    <a:cubicBezTo>
                      <a:pt x="329" y="70"/>
                      <a:pt x="328" y="70"/>
                      <a:pt x="327" y="70"/>
                    </a:cubicBezTo>
                    <a:cubicBezTo>
                      <a:pt x="327" y="64"/>
                      <a:pt x="327" y="64"/>
                      <a:pt x="327" y="64"/>
                    </a:cubicBezTo>
                    <a:cubicBezTo>
                      <a:pt x="327" y="64"/>
                      <a:pt x="327" y="64"/>
                      <a:pt x="327" y="64"/>
                    </a:cubicBezTo>
                    <a:cubicBezTo>
                      <a:pt x="331" y="64"/>
                      <a:pt x="332" y="64"/>
                      <a:pt x="335" y="67"/>
                    </a:cubicBezTo>
                    <a:lnTo>
                      <a:pt x="330" y="71"/>
                    </a:lnTo>
                    <a:close/>
                    <a:moveTo>
                      <a:pt x="2" y="69"/>
                    </a:moveTo>
                    <a:cubicBezTo>
                      <a:pt x="0" y="64"/>
                      <a:pt x="0" y="64"/>
                      <a:pt x="0" y="64"/>
                    </a:cubicBezTo>
                    <a:cubicBezTo>
                      <a:pt x="0" y="64"/>
                      <a:pt x="3" y="63"/>
                      <a:pt x="5" y="62"/>
                    </a:cubicBezTo>
                    <a:cubicBezTo>
                      <a:pt x="7" y="67"/>
                      <a:pt x="7" y="67"/>
                      <a:pt x="7" y="67"/>
                    </a:cubicBezTo>
                    <a:cubicBezTo>
                      <a:pt x="5" y="68"/>
                      <a:pt x="2" y="69"/>
                      <a:pt x="2" y="69"/>
                    </a:cubicBezTo>
                    <a:close/>
                    <a:moveTo>
                      <a:pt x="456" y="69"/>
                    </a:moveTo>
                    <a:cubicBezTo>
                      <a:pt x="456" y="63"/>
                      <a:pt x="456" y="63"/>
                      <a:pt x="456" y="63"/>
                    </a:cubicBezTo>
                    <a:cubicBezTo>
                      <a:pt x="457" y="63"/>
                      <a:pt x="458" y="63"/>
                      <a:pt x="458" y="62"/>
                    </a:cubicBezTo>
                    <a:cubicBezTo>
                      <a:pt x="460" y="62"/>
                      <a:pt x="461" y="62"/>
                      <a:pt x="462" y="62"/>
                    </a:cubicBezTo>
                    <a:cubicBezTo>
                      <a:pt x="461" y="68"/>
                      <a:pt x="461" y="68"/>
                      <a:pt x="461" y="68"/>
                    </a:cubicBezTo>
                    <a:cubicBezTo>
                      <a:pt x="461" y="68"/>
                      <a:pt x="460" y="68"/>
                      <a:pt x="460" y="68"/>
                    </a:cubicBezTo>
                    <a:cubicBezTo>
                      <a:pt x="459" y="68"/>
                      <a:pt x="458" y="69"/>
                      <a:pt x="456" y="69"/>
                    </a:cubicBezTo>
                    <a:close/>
                    <a:moveTo>
                      <a:pt x="439" y="68"/>
                    </a:moveTo>
                    <a:cubicBezTo>
                      <a:pt x="438" y="63"/>
                      <a:pt x="438" y="63"/>
                      <a:pt x="438" y="63"/>
                    </a:cubicBezTo>
                    <a:cubicBezTo>
                      <a:pt x="440" y="62"/>
                      <a:pt x="442" y="62"/>
                      <a:pt x="445" y="62"/>
                    </a:cubicBezTo>
                    <a:cubicBezTo>
                      <a:pt x="444" y="65"/>
                      <a:pt x="444" y="65"/>
                      <a:pt x="444" y="65"/>
                    </a:cubicBezTo>
                    <a:cubicBezTo>
                      <a:pt x="444" y="68"/>
                      <a:pt x="444" y="68"/>
                      <a:pt x="444" y="68"/>
                    </a:cubicBezTo>
                    <a:cubicBezTo>
                      <a:pt x="442" y="68"/>
                      <a:pt x="441" y="68"/>
                      <a:pt x="439" y="68"/>
                    </a:cubicBezTo>
                    <a:close/>
                    <a:moveTo>
                      <a:pt x="67" y="66"/>
                    </a:moveTo>
                    <a:cubicBezTo>
                      <a:pt x="62" y="64"/>
                      <a:pt x="62" y="64"/>
                      <a:pt x="62" y="64"/>
                    </a:cubicBezTo>
                    <a:cubicBezTo>
                      <a:pt x="63" y="63"/>
                      <a:pt x="63" y="62"/>
                      <a:pt x="64" y="60"/>
                    </a:cubicBezTo>
                    <a:cubicBezTo>
                      <a:pt x="64" y="60"/>
                      <a:pt x="65" y="59"/>
                      <a:pt x="65" y="59"/>
                    </a:cubicBezTo>
                    <a:cubicBezTo>
                      <a:pt x="70" y="62"/>
                      <a:pt x="70" y="62"/>
                      <a:pt x="70" y="62"/>
                    </a:cubicBezTo>
                    <a:cubicBezTo>
                      <a:pt x="70" y="63"/>
                      <a:pt x="69" y="63"/>
                      <a:pt x="69" y="64"/>
                    </a:cubicBezTo>
                    <a:cubicBezTo>
                      <a:pt x="68" y="64"/>
                      <a:pt x="68" y="65"/>
                      <a:pt x="67" y="66"/>
                    </a:cubicBezTo>
                    <a:close/>
                    <a:moveTo>
                      <a:pt x="314" y="63"/>
                    </a:moveTo>
                    <a:cubicBezTo>
                      <a:pt x="313" y="58"/>
                      <a:pt x="313" y="58"/>
                      <a:pt x="313" y="58"/>
                    </a:cubicBezTo>
                    <a:cubicBezTo>
                      <a:pt x="313" y="58"/>
                      <a:pt x="314" y="57"/>
                      <a:pt x="314" y="57"/>
                    </a:cubicBezTo>
                    <a:cubicBezTo>
                      <a:pt x="316" y="57"/>
                      <a:pt x="318" y="56"/>
                      <a:pt x="319" y="57"/>
                    </a:cubicBezTo>
                    <a:cubicBezTo>
                      <a:pt x="318" y="63"/>
                      <a:pt x="318" y="63"/>
                      <a:pt x="318" y="63"/>
                    </a:cubicBezTo>
                    <a:cubicBezTo>
                      <a:pt x="317" y="63"/>
                      <a:pt x="317" y="63"/>
                      <a:pt x="316" y="63"/>
                    </a:cubicBezTo>
                    <a:cubicBezTo>
                      <a:pt x="315" y="63"/>
                      <a:pt x="314" y="63"/>
                      <a:pt x="314" y="63"/>
                    </a:cubicBezTo>
                    <a:close/>
                    <a:moveTo>
                      <a:pt x="529" y="62"/>
                    </a:moveTo>
                    <a:cubicBezTo>
                      <a:pt x="524" y="60"/>
                      <a:pt x="524" y="60"/>
                      <a:pt x="524" y="60"/>
                    </a:cubicBezTo>
                    <a:cubicBezTo>
                      <a:pt x="526" y="55"/>
                      <a:pt x="526" y="55"/>
                      <a:pt x="526" y="55"/>
                    </a:cubicBezTo>
                    <a:cubicBezTo>
                      <a:pt x="531" y="57"/>
                      <a:pt x="531" y="57"/>
                      <a:pt x="531" y="57"/>
                    </a:cubicBezTo>
                    <a:lnTo>
                      <a:pt x="529" y="62"/>
                    </a:lnTo>
                    <a:close/>
                    <a:moveTo>
                      <a:pt x="700" y="62"/>
                    </a:moveTo>
                    <a:cubicBezTo>
                      <a:pt x="700" y="61"/>
                      <a:pt x="700" y="61"/>
                      <a:pt x="697" y="60"/>
                    </a:cubicBezTo>
                    <a:cubicBezTo>
                      <a:pt x="697" y="59"/>
                      <a:pt x="697" y="59"/>
                      <a:pt x="697" y="59"/>
                    </a:cubicBezTo>
                    <a:cubicBezTo>
                      <a:pt x="700" y="54"/>
                      <a:pt x="700" y="54"/>
                      <a:pt x="700" y="54"/>
                    </a:cubicBezTo>
                    <a:cubicBezTo>
                      <a:pt x="700" y="55"/>
                      <a:pt x="700" y="55"/>
                      <a:pt x="700" y="55"/>
                    </a:cubicBezTo>
                    <a:cubicBezTo>
                      <a:pt x="703" y="56"/>
                      <a:pt x="704" y="57"/>
                      <a:pt x="705" y="59"/>
                    </a:cubicBezTo>
                    <a:lnTo>
                      <a:pt x="700" y="62"/>
                    </a:lnTo>
                    <a:close/>
                    <a:moveTo>
                      <a:pt x="651" y="57"/>
                    </a:moveTo>
                    <a:cubicBezTo>
                      <a:pt x="651" y="51"/>
                      <a:pt x="651" y="51"/>
                      <a:pt x="651" y="51"/>
                    </a:cubicBezTo>
                    <a:cubicBezTo>
                      <a:pt x="652" y="51"/>
                      <a:pt x="652" y="51"/>
                      <a:pt x="653" y="51"/>
                    </a:cubicBezTo>
                    <a:cubicBezTo>
                      <a:pt x="653" y="50"/>
                      <a:pt x="654" y="50"/>
                      <a:pt x="654" y="49"/>
                    </a:cubicBezTo>
                    <a:cubicBezTo>
                      <a:pt x="658" y="54"/>
                      <a:pt x="658" y="54"/>
                      <a:pt x="658" y="54"/>
                    </a:cubicBezTo>
                    <a:cubicBezTo>
                      <a:pt x="658" y="54"/>
                      <a:pt x="657" y="55"/>
                      <a:pt x="657" y="55"/>
                    </a:cubicBezTo>
                    <a:cubicBezTo>
                      <a:pt x="655" y="56"/>
                      <a:pt x="653" y="57"/>
                      <a:pt x="651" y="57"/>
                    </a:cubicBezTo>
                    <a:close/>
                    <a:moveTo>
                      <a:pt x="301" y="56"/>
                    </a:moveTo>
                    <a:cubicBezTo>
                      <a:pt x="301" y="56"/>
                      <a:pt x="300" y="55"/>
                      <a:pt x="300" y="55"/>
                    </a:cubicBezTo>
                    <a:cubicBezTo>
                      <a:pt x="299" y="54"/>
                      <a:pt x="299" y="54"/>
                      <a:pt x="299" y="54"/>
                    </a:cubicBezTo>
                    <a:cubicBezTo>
                      <a:pt x="299" y="53"/>
                      <a:pt x="298" y="52"/>
                      <a:pt x="298" y="51"/>
                    </a:cubicBezTo>
                    <a:cubicBezTo>
                      <a:pt x="303" y="49"/>
                      <a:pt x="303" y="49"/>
                      <a:pt x="303" y="49"/>
                    </a:cubicBezTo>
                    <a:cubicBezTo>
                      <a:pt x="304" y="49"/>
                      <a:pt x="304" y="50"/>
                      <a:pt x="304" y="50"/>
                    </a:cubicBezTo>
                    <a:cubicBezTo>
                      <a:pt x="305" y="52"/>
                      <a:pt x="305" y="52"/>
                      <a:pt x="305" y="52"/>
                    </a:cubicBezTo>
                    <a:cubicBezTo>
                      <a:pt x="305" y="52"/>
                      <a:pt x="306" y="53"/>
                      <a:pt x="306" y="53"/>
                    </a:cubicBezTo>
                    <a:lnTo>
                      <a:pt x="301" y="56"/>
                    </a:lnTo>
                    <a:close/>
                    <a:moveTo>
                      <a:pt x="687" y="55"/>
                    </a:moveTo>
                    <a:cubicBezTo>
                      <a:pt x="686" y="55"/>
                      <a:pt x="684" y="55"/>
                      <a:pt x="682" y="55"/>
                    </a:cubicBezTo>
                    <a:cubicBezTo>
                      <a:pt x="682" y="49"/>
                      <a:pt x="682" y="49"/>
                      <a:pt x="682" y="49"/>
                    </a:cubicBezTo>
                    <a:cubicBezTo>
                      <a:pt x="684" y="49"/>
                      <a:pt x="686" y="49"/>
                      <a:pt x="688" y="49"/>
                    </a:cubicBezTo>
                    <a:lnTo>
                      <a:pt x="687" y="55"/>
                    </a:lnTo>
                    <a:close/>
                    <a:moveTo>
                      <a:pt x="670" y="55"/>
                    </a:moveTo>
                    <a:cubicBezTo>
                      <a:pt x="666" y="55"/>
                      <a:pt x="665" y="53"/>
                      <a:pt x="664" y="52"/>
                    </a:cubicBezTo>
                    <a:cubicBezTo>
                      <a:pt x="664" y="52"/>
                      <a:pt x="664" y="51"/>
                      <a:pt x="663" y="51"/>
                    </a:cubicBezTo>
                    <a:cubicBezTo>
                      <a:pt x="668" y="47"/>
                      <a:pt x="668" y="47"/>
                      <a:pt x="668" y="47"/>
                    </a:cubicBezTo>
                    <a:cubicBezTo>
                      <a:pt x="668" y="48"/>
                      <a:pt x="669" y="48"/>
                      <a:pt x="669" y="49"/>
                    </a:cubicBezTo>
                    <a:cubicBezTo>
                      <a:pt x="669" y="49"/>
                      <a:pt x="669" y="49"/>
                      <a:pt x="669" y="49"/>
                    </a:cubicBezTo>
                    <a:cubicBezTo>
                      <a:pt x="669" y="49"/>
                      <a:pt x="669" y="49"/>
                      <a:pt x="670" y="49"/>
                    </a:cubicBezTo>
                    <a:lnTo>
                      <a:pt x="670" y="55"/>
                    </a:lnTo>
                    <a:close/>
                    <a:moveTo>
                      <a:pt x="640" y="55"/>
                    </a:moveTo>
                    <a:cubicBezTo>
                      <a:pt x="639" y="55"/>
                      <a:pt x="639" y="55"/>
                      <a:pt x="639" y="55"/>
                    </a:cubicBezTo>
                    <a:cubicBezTo>
                      <a:pt x="637" y="55"/>
                      <a:pt x="635" y="55"/>
                      <a:pt x="634" y="55"/>
                    </a:cubicBezTo>
                    <a:cubicBezTo>
                      <a:pt x="634" y="49"/>
                      <a:pt x="634" y="49"/>
                      <a:pt x="634" y="49"/>
                    </a:cubicBezTo>
                    <a:cubicBezTo>
                      <a:pt x="636" y="49"/>
                      <a:pt x="637" y="49"/>
                      <a:pt x="639" y="49"/>
                    </a:cubicBezTo>
                    <a:cubicBezTo>
                      <a:pt x="640" y="49"/>
                      <a:pt x="640" y="49"/>
                      <a:pt x="640" y="49"/>
                    </a:cubicBezTo>
                    <a:lnTo>
                      <a:pt x="640" y="55"/>
                    </a:lnTo>
                    <a:close/>
                    <a:moveTo>
                      <a:pt x="592" y="51"/>
                    </a:moveTo>
                    <a:cubicBezTo>
                      <a:pt x="590" y="51"/>
                      <a:pt x="588" y="51"/>
                      <a:pt x="586" y="50"/>
                    </a:cubicBezTo>
                    <a:cubicBezTo>
                      <a:pt x="588" y="44"/>
                      <a:pt x="588" y="44"/>
                      <a:pt x="588" y="44"/>
                    </a:cubicBezTo>
                    <a:cubicBezTo>
                      <a:pt x="589" y="45"/>
                      <a:pt x="591" y="45"/>
                      <a:pt x="592" y="45"/>
                    </a:cubicBezTo>
                    <a:cubicBezTo>
                      <a:pt x="592" y="45"/>
                      <a:pt x="592" y="45"/>
                      <a:pt x="592" y="45"/>
                    </a:cubicBezTo>
                    <a:cubicBezTo>
                      <a:pt x="592" y="51"/>
                      <a:pt x="592" y="51"/>
                      <a:pt x="592" y="51"/>
                    </a:cubicBezTo>
                    <a:close/>
                    <a:moveTo>
                      <a:pt x="541" y="50"/>
                    </a:moveTo>
                    <a:cubicBezTo>
                      <a:pt x="540" y="50"/>
                      <a:pt x="540" y="50"/>
                      <a:pt x="539" y="50"/>
                    </a:cubicBezTo>
                    <a:cubicBezTo>
                      <a:pt x="538" y="50"/>
                      <a:pt x="537" y="50"/>
                      <a:pt x="536" y="50"/>
                    </a:cubicBezTo>
                    <a:cubicBezTo>
                      <a:pt x="535" y="44"/>
                      <a:pt x="535" y="44"/>
                      <a:pt x="535" y="44"/>
                    </a:cubicBezTo>
                    <a:cubicBezTo>
                      <a:pt x="537" y="44"/>
                      <a:pt x="539" y="44"/>
                      <a:pt x="540" y="44"/>
                    </a:cubicBezTo>
                    <a:cubicBezTo>
                      <a:pt x="540" y="44"/>
                      <a:pt x="541" y="44"/>
                      <a:pt x="542" y="44"/>
                    </a:cubicBezTo>
                    <a:lnTo>
                      <a:pt x="541" y="50"/>
                    </a:lnTo>
                    <a:close/>
                    <a:moveTo>
                      <a:pt x="73" y="50"/>
                    </a:moveTo>
                    <a:cubicBezTo>
                      <a:pt x="68" y="48"/>
                      <a:pt x="68" y="48"/>
                      <a:pt x="68" y="48"/>
                    </a:cubicBezTo>
                    <a:cubicBezTo>
                      <a:pt x="69" y="45"/>
                      <a:pt x="72" y="43"/>
                      <a:pt x="74" y="43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75" y="48"/>
                      <a:pt x="75" y="48"/>
                      <a:pt x="75" y="48"/>
                    </a:cubicBezTo>
                    <a:cubicBezTo>
                      <a:pt x="74" y="48"/>
                      <a:pt x="74" y="48"/>
                      <a:pt x="74" y="48"/>
                    </a:cubicBezTo>
                    <a:cubicBezTo>
                      <a:pt x="74" y="49"/>
                      <a:pt x="74" y="49"/>
                      <a:pt x="73" y="50"/>
                    </a:cubicBezTo>
                    <a:close/>
                    <a:moveTo>
                      <a:pt x="621" y="50"/>
                    </a:moveTo>
                    <a:cubicBezTo>
                      <a:pt x="620" y="48"/>
                      <a:pt x="619" y="47"/>
                      <a:pt x="619" y="45"/>
                    </a:cubicBezTo>
                    <a:cubicBezTo>
                      <a:pt x="619" y="45"/>
                      <a:pt x="619" y="45"/>
                      <a:pt x="619" y="45"/>
                    </a:cubicBezTo>
                    <a:cubicBezTo>
                      <a:pt x="619" y="45"/>
                      <a:pt x="619" y="45"/>
                      <a:pt x="619" y="45"/>
                    </a:cubicBezTo>
                    <a:cubicBezTo>
                      <a:pt x="622" y="40"/>
                      <a:pt x="622" y="40"/>
                      <a:pt x="622" y="40"/>
                    </a:cubicBezTo>
                    <a:cubicBezTo>
                      <a:pt x="623" y="41"/>
                      <a:pt x="624" y="42"/>
                      <a:pt x="624" y="42"/>
                    </a:cubicBezTo>
                    <a:cubicBezTo>
                      <a:pt x="624" y="43"/>
                      <a:pt x="624" y="43"/>
                      <a:pt x="624" y="43"/>
                    </a:cubicBezTo>
                    <a:cubicBezTo>
                      <a:pt x="625" y="44"/>
                      <a:pt x="625" y="45"/>
                      <a:pt x="626" y="46"/>
                    </a:cubicBezTo>
                    <a:lnTo>
                      <a:pt x="621" y="50"/>
                    </a:lnTo>
                    <a:close/>
                    <a:moveTo>
                      <a:pt x="218" y="49"/>
                    </a:moveTo>
                    <a:cubicBezTo>
                      <a:pt x="217" y="49"/>
                      <a:pt x="216" y="49"/>
                      <a:pt x="215" y="49"/>
                    </a:cubicBezTo>
                    <a:cubicBezTo>
                      <a:pt x="214" y="49"/>
                      <a:pt x="213" y="49"/>
                      <a:pt x="213" y="49"/>
                    </a:cubicBezTo>
                    <a:cubicBezTo>
                      <a:pt x="213" y="43"/>
                      <a:pt x="213" y="43"/>
                      <a:pt x="213" y="43"/>
                    </a:cubicBezTo>
                    <a:cubicBezTo>
                      <a:pt x="214" y="43"/>
                      <a:pt x="215" y="43"/>
                      <a:pt x="215" y="43"/>
                    </a:cubicBezTo>
                    <a:cubicBezTo>
                      <a:pt x="216" y="44"/>
                      <a:pt x="217" y="44"/>
                      <a:pt x="218" y="44"/>
                    </a:cubicBezTo>
                    <a:cubicBezTo>
                      <a:pt x="219" y="49"/>
                      <a:pt x="219" y="49"/>
                      <a:pt x="219" y="49"/>
                    </a:cubicBezTo>
                    <a:cubicBezTo>
                      <a:pt x="219" y="49"/>
                      <a:pt x="218" y="49"/>
                      <a:pt x="218" y="49"/>
                    </a:cubicBezTo>
                    <a:close/>
                    <a:moveTo>
                      <a:pt x="558" y="49"/>
                    </a:moveTo>
                    <a:cubicBezTo>
                      <a:pt x="556" y="49"/>
                      <a:pt x="555" y="49"/>
                      <a:pt x="553" y="49"/>
                    </a:cubicBezTo>
                    <a:cubicBezTo>
                      <a:pt x="553" y="43"/>
                      <a:pt x="553" y="43"/>
                      <a:pt x="553" y="43"/>
                    </a:cubicBezTo>
                    <a:cubicBezTo>
                      <a:pt x="555" y="43"/>
                      <a:pt x="557" y="43"/>
                      <a:pt x="559" y="43"/>
                    </a:cubicBezTo>
                    <a:lnTo>
                      <a:pt x="558" y="49"/>
                    </a:lnTo>
                    <a:close/>
                    <a:moveTo>
                      <a:pt x="571" y="49"/>
                    </a:moveTo>
                    <a:cubicBezTo>
                      <a:pt x="569" y="43"/>
                      <a:pt x="569" y="43"/>
                      <a:pt x="569" y="43"/>
                    </a:cubicBezTo>
                    <a:cubicBezTo>
                      <a:pt x="571" y="43"/>
                      <a:pt x="573" y="42"/>
                      <a:pt x="575" y="42"/>
                    </a:cubicBezTo>
                    <a:cubicBezTo>
                      <a:pt x="576" y="47"/>
                      <a:pt x="576" y="47"/>
                      <a:pt x="576" y="47"/>
                    </a:cubicBezTo>
                    <a:cubicBezTo>
                      <a:pt x="574" y="48"/>
                      <a:pt x="573" y="48"/>
                      <a:pt x="571" y="49"/>
                    </a:cubicBezTo>
                    <a:close/>
                    <a:moveTo>
                      <a:pt x="605" y="48"/>
                    </a:moveTo>
                    <a:cubicBezTo>
                      <a:pt x="603" y="43"/>
                      <a:pt x="603" y="43"/>
                      <a:pt x="603" y="43"/>
                    </a:cubicBezTo>
                    <a:cubicBezTo>
                      <a:pt x="604" y="42"/>
                      <a:pt x="604" y="42"/>
                      <a:pt x="604" y="42"/>
                    </a:cubicBezTo>
                    <a:cubicBezTo>
                      <a:pt x="605" y="42"/>
                      <a:pt x="607" y="41"/>
                      <a:pt x="609" y="41"/>
                    </a:cubicBezTo>
                    <a:cubicBezTo>
                      <a:pt x="610" y="47"/>
                      <a:pt x="610" y="47"/>
                      <a:pt x="610" y="47"/>
                    </a:cubicBezTo>
                    <a:cubicBezTo>
                      <a:pt x="609" y="47"/>
                      <a:pt x="607" y="47"/>
                      <a:pt x="606" y="48"/>
                    </a:cubicBezTo>
                    <a:lnTo>
                      <a:pt x="605" y="48"/>
                    </a:lnTo>
                    <a:close/>
                    <a:moveTo>
                      <a:pt x="200" y="47"/>
                    </a:moveTo>
                    <a:cubicBezTo>
                      <a:pt x="198" y="46"/>
                      <a:pt x="196" y="45"/>
                      <a:pt x="195" y="43"/>
                    </a:cubicBezTo>
                    <a:cubicBezTo>
                      <a:pt x="198" y="39"/>
                      <a:pt x="198" y="39"/>
                      <a:pt x="198" y="39"/>
                    </a:cubicBezTo>
                    <a:cubicBezTo>
                      <a:pt x="200" y="40"/>
                      <a:pt x="201" y="41"/>
                      <a:pt x="203" y="41"/>
                    </a:cubicBezTo>
                    <a:lnTo>
                      <a:pt x="200" y="47"/>
                    </a:lnTo>
                    <a:close/>
                    <a:moveTo>
                      <a:pt x="232" y="45"/>
                    </a:moveTo>
                    <a:cubicBezTo>
                      <a:pt x="231" y="45"/>
                      <a:pt x="230" y="45"/>
                      <a:pt x="229" y="45"/>
                    </a:cubicBezTo>
                    <a:cubicBezTo>
                      <a:pt x="229" y="45"/>
                      <a:pt x="229" y="45"/>
                      <a:pt x="229" y="45"/>
                    </a:cubicBezTo>
                    <a:cubicBezTo>
                      <a:pt x="229" y="39"/>
                      <a:pt x="229" y="39"/>
                      <a:pt x="229" y="39"/>
                    </a:cubicBezTo>
                    <a:cubicBezTo>
                      <a:pt x="231" y="39"/>
                      <a:pt x="231" y="39"/>
                      <a:pt x="231" y="39"/>
                    </a:cubicBezTo>
                    <a:cubicBezTo>
                      <a:pt x="231" y="39"/>
                      <a:pt x="232" y="39"/>
                      <a:pt x="232" y="39"/>
                    </a:cubicBezTo>
                    <a:cubicBezTo>
                      <a:pt x="232" y="39"/>
                      <a:pt x="232" y="39"/>
                      <a:pt x="232" y="39"/>
                    </a:cubicBezTo>
                    <a:cubicBezTo>
                      <a:pt x="237" y="42"/>
                      <a:pt x="237" y="42"/>
                      <a:pt x="237" y="42"/>
                    </a:cubicBezTo>
                    <a:cubicBezTo>
                      <a:pt x="236" y="44"/>
                      <a:pt x="234" y="45"/>
                      <a:pt x="232" y="45"/>
                    </a:cubicBezTo>
                    <a:close/>
                    <a:moveTo>
                      <a:pt x="86" y="40"/>
                    </a:moveTo>
                    <a:cubicBezTo>
                      <a:pt x="80" y="38"/>
                      <a:pt x="80" y="38"/>
                      <a:pt x="80" y="38"/>
                    </a:cubicBezTo>
                    <a:cubicBezTo>
                      <a:pt x="81" y="37"/>
                      <a:pt x="82" y="35"/>
                      <a:pt x="84" y="32"/>
                    </a:cubicBezTo>
                    <a:cubicBezTo>
                      <a:pt x="88" y="36"/>
                      <a:pt x="88" y="36"/>
                      <a:pt x="88" y="36"/>
                    </a:cubicBezTo>
                    <a:cubicBezTo>
                      <a:pt x="87" y="38"/>
                      <a:pt x="86" y="39"/>
                      <a:pt x="86" y="40"/>
                    </a:cubicBezTo>
                    <a:close/>
                    <a:moveTo>
                      <a:pt x="305" y="39"/>
                    </a:moveTo>
                    <a:cubicBezTo>
                      <a:pt x="299" y="38"/>
                      <a:pt x="299" y="38"/>
                      <a:pt x="299" y="38"/>
                    </a:cubicBezTo>
                    <a:cubicBezTo>
                      <a:pt x="299" y="38"/>
                      <a:pt x="299" y="37"/>
                      <a:pt x="299" y="37"/>
                    </a:cubicBezTo>
                    <a:cubicBezTo>
                      <a:pt x="299" y="35"/>
                      <a:pt x="298" y="35"/>
                      <a:pt x="298" y="34"/>
                    </a:cubicBezTo>
                    <a:cubicBezTo>
                      <a:pt x="303" y="31"/>
                      <a:pt x="303" y="31"/>
                      <a:pt x="303" y="31"/>
                    </a:cubicBezTo>
                    <a:cubicBezTo>
                      <a:pt x="304" y="33"/>
                      <a:pt x="305" y="35"/>
                      <a:pt x="305" y="37"/>
                    </a:cubicBezTo>
                    <a:cubicBezTo>
                      <a:pt x="305" y="37"/>
                      <a:pt x="305" y="38"/>
                      <a:pt x="305" y="39"/>
                    </a:cubicBezTo>
                    <a:close/>
                    <a:moveTo>
                      <a:pt x="241" y="34"/>
                    </a:moveTo>
                    <a:cubicBezTo>
                      <a:pt x="239" y="29"/>
                      <a:pt x="239" y="29"/>
                      <a:pt x="239" y="29"/>
                    </a:cubicBezTo>
                    <a:cubicBezTo>
                      <a:pt x="241" y="28"/>
                      <a:pt x="243" y="28"/>
                      <a:pt x="246" y="28"/>
                    </a:cubicBezTo>
                    <a:cubicBezTo>
                      <a:pt x="246" y="34"/>
                      <a:pt x="246" y="34"/>
                      <a:pt x="246" y="34"/>
                    </a:cubicBezTo>
                    <a:cubicBezTo>
                      <a:pt x="244" y="34"/>
                      <a:pt x="242" y="34"/>
                      <a:pt x="241" y="34"/>
                    </a:cubicBezTo>
                    <a:close/>
                    <a:moveTo>
                      <a:pt x="286" y="34"/>
                    </a:moveTo>
                    <a:cubicBezTo>
                      <a:pt x="285" y="34"/>
                      <a:pt x="284" y="33"/>
                      <a:pt x="283" y="33"/>
                    </a:cubicBezTo>
                    <a:cubicBezTo>
                      <a:pt x="286" y="28"/>
                      <a:pt x="286" y="28"/>
                      <a:pt x="286" y="28"/>
                    </a:cubicBezTo>
                    <a:cubicBezTo>
                      <a:pt x="286" y="28"/>
                      <a:pt x="286" y="28"/>
                      <a:pt x="286" y="28"/>
                    </a:cubicBezTo>
                    <a:cubicBezTo>
                      <a:pt x="287" y="27"/>
                      <a:pt x="288" y="27"/>
                      <a:pt x="289" y="27"/>
                    </a:cubicBezTo>
                    <a:cubicBezTo>
                      <a:pt x="291" y="32"/>
                      <a:pt x="291" y="32"/>
                      <a:pt x="291" y="32"/>
                    </a:cubicBezTo>
                    <a:cubicBezTo>
                      <a:pt x="290" y="32"/>
                      <a:pt x="289" y="33"/>
                      <a:pt x="289" y="33"/>
                    </a:cubicBezTo>
                    <a:cubicBezTo>
                      <a:pt x="288" y="33"/>
                      <a:pt x="287" y="34"/>
                      <a:pt x="286" y="34"/>
                    </a:cubicBezTo>
                    <a:close/>
                    <a:moveTo>
                      <a:pt x="187" y="33"/>
                    </a:moveTo>
                    <a:cubicBezTo>
                      <a:pt x="187" y="33"/>
                      <a:pt x="186" y="33"/>
                      <a:pt x="184" y="33"/>
                    </a:cubicBezTo>
                    <a:cubicBezTo>
                      <a:pt x="185" y="27"/>
                      <a:pt x="185" y="27"/>
                      <a:pt x="185" y="27"/>
                    </a:cubicBezTo>
                    <a:cubicBezTo>
                      <a:pt x="187" y="27"/>
                      <a:pt x="191" y="28"/>
                      <a:pt x="192" y="31"/>
                    </a:cubicBezTo>
                    <a:lnTo>
                      <a:pt x="187" y="33"/>
                    </a:lnTo>
                    <a:close/>
                    <a:moveTo>
                      <a:pt x="172" y="32"/>
                    </a:moveTo>
                    <a:cubicBezTo>
                      <a:pt x="170" y="31"/>
                      <a:pt x="168" y="29"/>
                      <a:pt x="166" y="26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72" y="25"/>
                      <a:pt x="173" y="26"/>
                      <a:pt x="174" y="26"/>
                    </a:cubicBezTo>
                    <a:lnTo>
                      <a:pt x="172" y="32"/>
                    </a:lnTo>
                    <a:close/>
                    <a:moveTo>
                      <a:pt x="161" y="31"/>
                    </a:moveTo>
                    <a:cubicBezTo>
                      <a:pt x="160" y="31"/>
                      <a:pt x="159" y="31"/>
                      <a:pt x="158" y="30"/>
                    </a:cubicBezTo>
                    <a:cubicBezTo>
                      <a:pt x="160" y="25"/>
                      <a:pt x="160" y="25"/>
                      <a:pt x="160" y="25"/>
                    </a:cubicBezTo>
                    <a:cubicBezTo>
                      <a:pt x="160" y="25"/>
                      <a:pt x="160" y="25"/>
                      <a:pt x="160" y="25"/>
                    </a:cubicBezTo>
                    <a:cubicBezTo>
                      <a:pt x="160" y="25"/>
                      <a:pt x="160" y="25"/>
                      <a:pt x="160" y="25"/>
                    </a:cubicBezTo>
                    <a:cubicBezTo>
                      <a:pt x="166" y="25"/>
                      <a:pt x="166" y="25"/>
                      <a:pt x="166" y="25"/>
                    </a:cubicBezTo>
                    <a:cubicBezTo>
                      <a:pt x="165" y="29"/>
                      <a:pt x="163" y="31"/>
                      <a:pt x="161" y="31"/>
                    </a:cubicBezTo>
                    <a:close/>
                    <a:moveTo>
                      <a:pt x="97" y="30"/>
                    </a:moveTo>
                    <a:cubicBezTo>
                      <a:pt x="94" y="25"/>
                      <a:pt x="94" y="25"/>
                      <a:pt x="94" y="25"/>
                    </a:cubicBezTo>
                    <a:cubicBezTo>
                      <a:pt x="99" y="22"/>
                      <a:pt x="99" y="22"/>
                      <a:pt x="99" y="22"/>
                    </a:cubicBezTo>
                    <a:cubicBezTo>
                      <a:pt x="102" y="27"/>
                      <a:pt x="102" y="27"/>
                      <a:pt x="102" y="27"/>
                    </a:cubicBezTo>
                    <a:lnTo>
                      <a:pt x="97" y="30"/>
                    </a:lnTo>
                    <a:close/>
                    <a:moveTo>
                      <a:pt x="259" y="30"/>
                    </a:moveTo>
                    <a:cubicBezTo>
                      <a:pt x="254" y="27"/>
                      <a:pt x="254" y="27"/>
                      <a:pt x="254" y="27"/>
                    </a:cubicBezTo>
                    <a:cubicBezTo>
                      <a:pt x="255" y="25"/>
                      <a:pt x="256" y="23"/>
                      <a:pt x="257" y="21"/>
                    </a:cubicBezTo>
                    <a:cubicBezTo>
                      <a:pt x="262" y="25"/>
                      <a:pt x="262" y="25"/>
                      <a:pt x="262" y="25"/>
                    </a:cubicBezTo>
                    <a:cubicBezTo>
                      <a:pt x="261" y="27"/>
                      <a:pt x="260" y="28"/>
                      <a:pt x="259" y="30"/>
                    </a:cubicBezTo>
                    <a:close/>
                    <a:moveTo>
                      <a:pt x="274" y="25"/>
                    </a:moveTo>
                    <a:cubicBezTo>
                      <a:pt x="273" y="24"/>
                      <a:pt x="271" y="24"/>
                      <a:pt x="270" y="23"/>
                    </a:cubicBezTo>
                    <a:cubicBezTo>
                      <a:pt x="269" y="23"/>
                      <a:pt x="269" y="23"/>
                      <a:pt x="269" y="23"/>
                    </a:cubicBezTo>
                    <a:cubicBezTo>
                      <a:pt x="271" y="18"/>
                      <a:pt x="271" y="18"/>
                      <a:pt x="271" y="18"/>
                    </a:cubicBezTo>
                    <a:cubicBezTo>
                      <a:pt x="272" y="18"/>
                      <a:pt x="272" y="18"/>
                      <a:pt x="272" y="18"/>
                    </a:cubicBezTo>
                    <a:cubicBezTo>
                      <a:pt x="274" y="18"/>
                      <a:pt x="275" y="19"/>
                      <a:pt x="277" y="20"/>
                    </a:cubicBezTo>
                    <a:lnTo>
                      <a:pt x="274" y="25"/>
                    </a:lnTo>
                    <a:close/>
                    <a:moveTo>
                      <a:pt x="146" y="24"/>
                    </a:moveTo>
                    <a:cubicBezTo>
                      <a:pt x="145" y="24"/>
                      <a:pt x="144" y="23"/>
                      <a:pt x="143" y="23"/>
                    </a:cubicBezTo>
                    <a:cubicBezTo>
                      <a:pt x="145" y="18"/>
                      <a:pt x="145" y="18"/>
                      <a:pt x="145" y="18"/>
                    </a:cubicBezTo>
                    <a:cubicBezTo>
                      <a:pt x="145" y="18"/>
                      <a:pt x="146" y="18"/>
                      <a:pt x="146" y="18"/>
                    </a:cubicBezTo>
                    <a:cubicBezTo>
                      <a:pt x="147" y="17"/>
                      <a:pt x="149" y="17"/>
                      <a:pt x="151" y="18"/>
                    </a:cubicBezTo>
                    <a:cubicBezTo>
                      <a:pt x="149" y="23"/>
                      <a:pt x="149" y="23"/>
                      <a:pt x="149" y="23"/>
                    </a:cubicBezTo>
                    <a:cubicBezTo>
                      <a:pt x="149" y="23"/>
                      <a:pt x="149" y="23"/>
                      <a:pt x="149" y="23"/>
                    </a:cubicBezTo>
                    <a:cubicBezTo>
                      <a:pt x="149" y="23"/>
                      <a:pt x="149" y="23"/>
                      <a:pt x="149" y="23"/>
                    </a:cubicBezTo>
                    <a:cubicBezTo>
                      <a:pt x="148" y="23"/>
                      <a:pt x="148" y="23"/>
                      <a:pt x="148" y="23"/>
                    </a:cubicBezTo>
                    <a:cubicBezTo>
                      <a:pt x="148" y="23"/>
                      <a:pt x="148" y="23"/>
                      <a:pt x="148" y="23"/>
                    </a:cubicBezTo>
                    <a:cubicBezTo>
                      <a:pt x="148" y="23"/>
                      <a:pt x="147" y="24"/>
                      <a:pt x="146" y="24"/>
                    </a:cubicBezTo>
                    <a:close/>
                    <a:moveTo>
                      <a:pt x="112" y="18"/>
                    </a:moveTo>
                    <a:cubicBezTo>
                      <a:pt x="106" y="16"/>
                      <a:pt x="106" y="16"/>
                      <a:pt x="106" y="16"/>
                    </a:cubicBezTo>
                    <a:cubicBezTo>
                      <a:pt x="106" y="16"/>
                      <a:pt x="106" y="15"/>
                      <a:pt x="106" y="15"/>
                    </a:cubicBezTo>
                    <a:cubicBezTo>
                      <a:pt x="106" y="14"/>
                      <a:pt x="106" y="14"/>
                      <a:pt x="106" y="14"/>
                    </a:cubicBezTo>
                    <a:cubicBezTo>
                      <a:pt x="106" y="12"/>
                      <a:pt x="106" y="11"/>
                      <a:pt x="107" y="10"/>
                    </a:cubicBezTo>
                    <a:cubicBezTo>
                      <a:pt x="112" y="13"/>
                      <a:pt x="112" y="13"/>
                      <a:pt x="112" y="13"/>
                    </a:cubicBezTo>
                    <a:cubicBezTo>
                      <a:pt x="112" y="13"/>
                      <a:pt x="112" y="14"/>
                      <a:pt x="112" y="14"/>
                    </a:cubicBezTo>
                    <a:cubicBezTo>
                      <a:pt x="112" y="15"/>
                      <a:pt x="112" y="15"/>
                      <a:pt x="112" y="15"/>
                    </a:cubicBezTo>
                    <a:cubicBezTo>
                      <a:pt x="112" y="16"/>
                      <a:pt x="112" y="17"/>
                      <a:pt x="112" y="18"/>
                    </a:cubicBezTo>
                    <a:close/>
                    <a:moveTo>
                      <a:pt x="135" y="15"/>
                    </a:moveTo>
                    <a:cubicBezTo>
                      <a:pt x="134" y="15"/>
                      <a:pt x="133" y="15"/>
                      <a:pt x="133" y="15"/>
                    </a:cubicBezTo>
                    <a:cubicBezTo>
                      <a:pt x="131" y="15"/>
                      <a:pt x="129" y="14"/>
                      <a:pt x="128" y="12"/>
                    </a:cubicBezTo>
                    <a:cubicBezTo>
                      <a:pt x="133" y="9"/>
                      <a:pt x="133" y="9"/>
                      <a:pt x="133" y="9"/>
                    </a:cubicBezTo>
                    <a:cubicBezTo>
                      <a:pt x="133" y="9"/>
                      <a:pt x="133" y="9"/>
                      <a:pt x="133" y="9"/>
                    </a:cubicBezTo>
                    <a:cubicBezTo>
                      <a:pt x="135" y="9"/>
                      <a:pt x="136" y="9"/>
                      <a:pt x="137" y="10"/>
                    </a:cubicBezTo>
                    <a:lnTo>
                      <a:pt x="135" y="15"/>
                    </a:lnTo>
                    <a:close/>
                    <a:moveTo>
                      <a:pt x="120" y="7"/>
                    </a:moveTo>
                    <a:cubicBezTo>
                      <a:pt x="118" y="2"/>
                      <a:pt x="118" y="2"/>
                      <a:pt x="118" y="2"/>
                    </a:cubicBezTo>
                    <a:cubicBezTo>
                      <a:pt x="120" y="1"/>
                      <a:pt x="122" y="0"/>
                      <a:pt x="124" y="0"/>
                    </a:cubicBezTo>
                    <a:cubicBezTo>
                      <a:pt x="125" y="6"/>
                      <a:pt x="125" y="6"/>
                      <a:pt x="125" y="6"/>
                    </a:cubicBezTo>
                    <a:cubicBezTo>
                      <a:pt x="123" y="6"/>
                      <a:pt x="122" y="6"/>
                      <a:pt x="120" y="7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0" name="îşḷíďê"/>
              <p:cNvSpPr/>
              <p:nvPr/>
            </p:nvSpPr>
            <p:spPr bwMode="auto">
              <a:xfrm>
                <a:off x="5499100" y="3890963"/>
                <a:ext cx="73025" cy="53975"/>
              </a:xfrm>
              <a:custGeom>
                <a:avLst/>
                <a:gdLst>
                  <a:gd name="T0" fmla="*/ 1 w 34"/>
                  <a:gd name="T1" fmla="*/ 25 h 25"/>
                  <a:gd name="T2" fmla="*/ 0 w 34"/>
                  <a:gd name="T3" fmla="*/ 22 h 25"/>
                  <a:gd name="T4" fmla="*/ 0 w 34"/>
                  <a:gd name="T5" fmla="*/ 17 h 25"/>
                  <a:gd name="T6" fmla="*/ 6 w 34"/>
                  <a:gd name="T7" fmla="*/ 18 h 25"/>
                  <a:gd name="T8" fmla="*/ 6 w 34"/>
                  <a:gd name="T9" fmla="*/ 22 h 25"/>
                  <a:gd name="T10" fmla="*/ 6 w 34"/>
                  <a:gd name="T11" fmla="*/ 22 h 25"/>
                  <a:gd name="T12" fmla="*/ 1 w 34"/>
                  <a:gd name="T13" fmla="*/ 25 h 25"/>
                  <a:gd name="T14" fmla="*/ 17 w 34"/>
                  <a:gd name="T15" fmla="*/ 22 h 25"/>
                  <a:gd name="T16" fmla="*/ 17 w 34"/>
                  <a:gd name="T17" fmla="*/ 22 h 25"/>
                  <a:gd name="T18" fmla="*/ 13 w 34"/>
                  <a:gd name="T19" fmla="*/ 21 h 25"/>
                  <a:gd name="T20" fmla="*/ 13 w 34"/>
                  <a:gd name="T21" fmla="*/ 21 h 25"/>
                  <a:gd name="T22" fmla="*/ 11 w 34"/>
                  <a:gd name="T23" fmla="*/ 15 h 25"/>
                  <a:gd name="T24" fmla="*/ 13 w 34"/>
                  <a:gd name="T25" fmla="*/ 15 h 25"/>
                  <a:gd name="T26" fmla="*/ 18 w 34"/>
                  <a:gd name="T27" fmla="*/ 16 h 25"/>
                  <a:gd name="T28" fmla="*/ 19 w 34"/>
                  <a:gd name="T29" fmla="*/ 16 h 25"/>
                  <a:gd name="T30" fmla="*/ 17 w 34"/>
                  <a:gd name="T31" fmla="*/ 22 h 25"/>
                  <a:gd name="T32" fmla="*/ 28 w 34"/>
                  <a:gd name="T33" fmla="*/ 19 h 25"/>
                  <a:gd name="T34" fmla="*/ 27 w 34"/>
                  <a:gd name="T35" fmla="*/ 13 h 25"/>
                  <a:gd name="T36" fmla="*/ 28 w 34"/>
                  <a:gd name="T37" fmla="*/ 12 h 25"/>
                  <a:gd name="T38" fmla="*/ 34 w 34"/>
                  <a:gd name="T39" fmla="*/ 12 h 25"/>
                  <a:gd name="T40" fmla="*/ 34 w 34"/>
                  <a:gd name="T41" fmla="*/ 12 h 25"/>
                  <a:gd name="T42" fmla="*/ 28 w 34"/>
                  <a:gd name="T43" fmla="*/ 19 h 25"/>
                  <a:gd name="T44" fmla="*/ 9 w 34"/>
                  <a:gd name="T45" fmla="*/ 8 h 25"/>
                  <a:gd name="T46" fmla="*/ 4 w 34"/>
                  <a:gd name="T47" fmla="*/ 5 h 25"/>
                  <a:gd name="T48" fmla="*/ 6 w 34"/>
                  <a:gd name="T49" fmla="*/ 0 h 25"/>
                  <a:gd name="T50" fmla="*/ 11 w 34"/>
                  <a:gd name="T51" fmla="*/ 2 h 25"/>
                  <a:gd name="T52" fmla="*/ 9 w 34"/>
                  <a:gd name="T53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4" h="25">
                    <a:moveTo>
                      <a:pt x="1" y="25"/>
                    </a:moveTo>
                    <a:cubicBezTo>
                      <a:pt x="0" y="24"/>
                      <a:pt x="0" y="23"/>
                      <a:pt x="0" y="22"/>
                    </a:cubicBezTo>
                    <a:cubicBezTo>
                      <a:pt x="0" y="20"/>
                      <a:pt x="0" y="19"/>
                      <a:pt x="0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9"/>
                      <a:pt x="6" y="20"/>
                      <a:pt x="6" y="22"/>
                    </a:cubicBezTo>
                    <a:cubicBezTo>
                      <a:pt x="6" y="22"/>
                      <a:pt x="6" y="22"/>
                      <a:pt x="6" y="22"/>
                    </a:cubicBezTo>
                    <a:lnTo>
                      <a:pt x="1" y="25"/>
                    </a:lnTo>
                    <a:close/>
                    <a:moveTo>
                      <a:pt x="1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5" y="21"/>
                      <a:pt x="14" y="21"/>
                      <a:pt x="13" y="21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12" y="15"/>
                      <a:pt x="13" y="15"/>
                      <a:pt x="13" y="15"/>
                    </a:cubicBezTo>
                    <a:cubicBezTo>
                      <a:pt x="15" y="15"/>
                      <a:pt x="16" y="15"/>
                      <a:pt x="18" y="16"/>
                    </a:cubicBezTo>
                    <a:cubicBezTo>
                      <a:pt x="19" y="16"/>
                      <a:pt x="19" y="16"/>
                      <a:pt x="19" y="16"/>
                    </a:cubicBezTo>
                    <a:lnTo>
                      <a:pt x="17" y="22"/>
                    </a:lnTo>
                    <a:close/>
                    <a:moveTo>
                      <a:pt x="28" y="19"/>
                    </a:moveTo>
                    <a:cubicBezTo>
                      <a:pt x="27" y="13"/>
                      <a:pt x="27" y="13"/>
                      <a:pt x="27" y="13"/>
                    </a:cubicBezTo>
                    <a:cubicBezTo>
                      <a:pt x="28" y="13"/>
                      <a:pt x="28" y="12"/>
                      <a:pt x="28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5"/>
                      <a:pt x="33" y="18"/>
                      <a:pt x="28" y="19"/>
                    </a:cubicBezTo>
                    <a:close/>
                    <a:moveTo>
                      <a:pt x="9" y="8"/>
                    </a:moveTo>
                    <a:cubicBezTo>
                      <a:pt x="4" y="5"/>
                      <a:pt x="4" y="5"/>
                      <a:pt x="4" y="5"/>
                    </a:cubicBezTo>
                    <a:cubicBezTo>
                      <a:pt x="5" y="3"/>
                      <a:pt x="5" y="1"/>
                      <a:pt x="6" y="0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4"/>
                      <a:pt x="10" y="6"/>
                      <a:pt x="9" y="8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1" name="iśļîḓè"/>
              <p:cNvSpPr/>
              <p:nvPr/>
            </p:nvSpPr>
            <p:spPr bwMode="auto">
              <a:xfrm>
                <a:off x="5467350" y="3832225"/>
                <a:ext cx="49213" cy="46038"/>
              </a:xfrm>
              <a:custGeom>
                <a:avLst/>
                <a:gdLst>
                  <a:gd name="T0" fmla="*/ 6 w 23"/>
                  <a:gd name="T1" fmla="*/ 21 h 21"/>
                  <a:gd name="T2" fmla="*/ 5 w 23"/>
                  <a:gd name="T3" fmla="*/ 21 h 21"/>
                  <a:gd name="T4" fmla="*/ 1 w 23"/>
                  <a:gd name="T5" fmla="*/ 17 h 21"/>
                  <a:gd name="T6" fmla="*/ 5 w 23"/>
                  <a:gd name="T7" fmla="*/ 13 h 21"/>
                  <a:gd name="T8" fmla="*/ 9 w 23"/>
                  <a:gd name="T9" fmla="*/ 16 h 21"/>
                  <a:gd name="T10" fmla="*/ 6 w 23"/>
                  <a:gd name="T11" fmla="*/ 21 h 21"/>
                  <a:gd name="T12" fmla="*/ 19 w 23"/>
                  <a:gd name="T13" fmla="*/ 15 h 21"/>
                  <a:gd name="T14" fmla="*/ 15 w 23"/>
                  <a:gd name="T15" fmla="*/ 11 h 21"/>
                  <a:gd name="T16" fmla="*/ 18 w 23"/>
                  <a:gd name="T17" fmla="*/ 7 h 21"/>
                  <a:gd name="T18" fmla="*/ 23 w 23"/>
                  <a:gd name="T19" fmla="*/ 10 h 21"/>
                  <a:gd name="T20" fmla="*/ 19 w 23"/>
                  <a:gd name="T21" fmla="*/ 15 h 21"/>
                  <a:gd name="T22" fmla="*/ 2 w 23"/>
                  <a:gd name="T23" fmla="*/ 7 h 21"/>
                  <a:gd name="T24" fmla="*/ 3 w 23"/>
                  <a:gd name="T25" fmla="*/ 0 h 21"/>
                  <a:gd name="T26" fmla="*/ 4 w 23"/>
                  <a:gd name="T27" fmla="*/ 3 h 21"/>
                  <a:gd name="T28" fmla="*/ 7 w 23"/>
                  <a:gd name="T29" fmla="*/ 3 h 21"/>
                  <a:gd name="T30" fmla="*/ 7 w 23"/>
                  <a:gd name="T31" fmla="*/ 5 h 21"/>
                  <a:gd name="T32" fmla="*/ 2 w 23"/>
                  <a:gd name="T33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1">
                    <a:moveTo>
                      <a:pt x="6" y="21"/>
                    </a:moveTo>
                    <a:cubicBezTo>
                      <a:pt x="5" y="21"/>
                      <a:pt x="5" y="21"/>
                      <a:pt x="5" y="21"/>
                    </a:cubicBezTo>
                    <a:cubicBezTo>
                      <a:pt x="4" y="20"/>
                      <a:pt x="2" y="18"/>
                      <a:pt x="1" y="17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6" y="14"/>
                      <a:pt x="8" y="16"/>
                      <a:pt x="9" y="16"/>
                    </a:cubicBezTo>
                    <a:lnTo>
                      <a:pt x="6" y="21"/>
                    </a:lnTo>
                    <a:close/>
                    <a:moveTo>
                      <a:pt x="19" y="15"/>
                    </a:moveTo>
                    <a:cubicBezTo>
                      <a:pt x="15" y="11"/>
                      <a:pt x="15" y="11"/>
                      <a:pt x="15" y="11"/>
                    </a:cubicBezTo>
                    <a:cubicBezTo>
                      <a:pt x="16" y="9"/>
                      <a:pt x="18" y="7"/>
                      <a:pt x="18" y="7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3" y="10"/>
                      <a:pt x="21" y="13"/>
                      <a:pt x="19" y="15"/>
                    </a:cubicBezTo>
                    <a:close/>
                    <a:moveTo>
                      <a:pt x="2" y="7"/>
                    </a:moveTo>
                    <a:cubicBezTo>
                      <a:pt x="0" y="1"/>
                      <a:pt x="2" y="0"/>
                      <a:pt x="3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4"/>
                      <a:pt x="7" y="5"/>
                    </a:cubicBezTo>
                    <a:lnTo>
                      <a:pt x="2" y="7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2" name="ïṧľíďe"/>
              <p:cNvSpPr/>
              <p:nvPr/>
            </p:nvSpPr>
            <p:spPr bwMode="auto">
              <a:xfrm>
                <a:off x="5407025" y="3813175"/>
                <a:ext cx="39688" cy="31750"/>
              </a:xfrm>
              <a:custGeom>
                <a:avLst/>
                <a:gdLst>
                  <a:gd name="T0" fmla="*/ 12 w 18"/>
                  <a:gd name="T1" fmla="*/ 15 h 15"/>
                  <a:gd name="T2" fmla="*/ 10 w 18"/>
                  <a:gd name="T3" fmla="*/ 15 h 15"/>
                  <a:gd name="T4" fmla="*/ 12 w 18"/>
                  <a:gd name="T5" fmla="*/ 10 h 15"/>
                  <a:gd name="T6" fmla="*/ 15 w 18"/>
                  <a:gd name="T7" fmla="*/ 8 h 15"/>
                  <a:gd name="T8" fmla="*/ 18 w 18"/>
                  <a:gd name="T9" fmla="*/ 13 h 15"/>
                  <a:gd name="T10" fmla="*/ 12 w 18"/>
                  <a:gd name="T11" fmla="*/ 15 h 15"/>
                  <a:gd name="T12" fmla="*/ 0 w 18"/>
                  <a:gd name="T13" fmla="*/ 6 h 15"/>
                  <a:gd name="T14" fmla="*/ 1 w 18"/>
                  <a:gd name="T15" fmla="*/ 0 h 15"/>
                  <a:gd name="T16" fmla="*/ 6 w 18"/>
                  <a:gd name="T17" fmla="*/ 1 h 15"/>
                  <a:gd name="T18" fmla="*/ 5 w 18"/>
                  <a:gd name="T19" fmla="*/ 6 h 15"/>
                  <a:gd name="T20" fmla="*/ 0 w 18"/>
                  <a:gd name="T21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15">
                    <a:moveTo>
                      <a:pt x="12" y="15"/>
                    </a:moveTo>
                    <a:cubicBezTo>
                      <a:pt x="12" y="15"/>
                      <a:pt x="11" y="15"/>
                      <a:pt x="10" y="15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10"/>
                      <a:pt x="15" y="9"/>
                      <a:pt x="15" y="8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8" y="14"/>
                      <a:pt x="15" y="15"/>
                      <a:pt x="12" y="15"/>
                    </a:cubicBezTo>
                    <a:close/>
                    <a:moveTo>
                      <a:pt x="0" y="6"/>
                    </a:moveTo>
                    <a:cubicBezTo>
                      <a:pt x="0" y="5"/>
                      <a:pt x="0" y="3"/>
                      <a:pt x="1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4"/>
                      <a:pt x="5" y="6"/>
                      <a:pt x="5" y="6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3" name="iṥ1ïḋê"/>
              <p:cNvSpPr/>
              <p:nvPr/>
            </p:nvSpPr>
            <p:spPr bwMode="auto">
              <a:xfrm>
                <a:off x="5349875" y="3687763"/>
                <a:ext cx="69850" cy="98425"/>
              </a:xfrm>
              <a:custGeom>
                <a:avLst/>
                <a:gdLst>
                  <a:gd name="T0" fmla="*/ 23 w 33"/>
                  <a:gd name="T1" fmla="*/ 46 h 46"/>
                  <a:gd name="T2" fmla="*/ 20 w 33"/>
                  <a:gd name="T3" fmla="*/ 45 h 46"/>
                  <a:gd name="T4" fmla="*/ 18 w 33"/>
                  <a:gd name="T5" fmla="*/ 43 h 46"/>
                  <a:gd name="T6" fmla="*/ 20 w 33"/>
                  <a:gd name="T7" fmla="*/ 45 h 46"/>
                  <a:gd name="T8" fmla="*/ 17 w 33"/>
                  <a:gd name="T9" fmla="*/ 46 h 46"/>
                  <a:gd name="T10" fmla="*/ 16 w 33"/>
                  <a:gd name="T11" fmla="*/ 44 h 46"/>
                  <a:gd name="T12" fmla="*/ 21 w 33"/>
                  <a:gd name="T13" fmla="*/ 41 h 46"/>
                  <a:gd name="T14" fmla="*/ 23 w 33"/>
                  <a:gd name="T15" fmla="*/ 46 h 46"/>
                  <a:gd name="T16" fmla="*/ 10 w 33"/>
                  <a:gd name="T17" fmla="*/ 34 h 46"/>
                  <a:gd name="T18" fmla="*/ 9 w 33"/>
                  <a:gd name="T19" fmla="*/ 30 h 46"/>
                  <a:gd name="T20" fmla="*/ 8 w 33"/>
                  <a:gd name="T21" fmla="*/ 28 h 46"/>
                  <a:gd name="T22" fmla="*/ 14 w 33"/>
                  <a:gd name="T23" fmla="*/ 26 h 46"/>
                  <a:gd name="T24" fmla="*/ 14 w 33"/>
                  <a:gd name="T25" fmla="*/ 28 h 46"/>
                  <a:gd name="T26" fmla="*/ 15 w 33"/>
                  <a:gd name="T27" fmla="*/ 32 h 46"/>
                  <a:gd name="T28" fmla="*/ 10 w 33"/>
                  <a:gd name="T29" fmla="*/ 34 h 46"/>
                  <a:gd name="T30" fmla="*/ 2 w 33"/>
                  <a:gd name="T31" fmla="*/ 19 h 46"/>
                  <a:gd name="T32" fmla="*/ 0 w 33"/>
                  <a:gd name="T33" fmla="*/ 12 h 46"/>
                  <a:gd name="T34" fmla="*/ 0 w 33"/>
                  <a:gd name="T35" fmla="*/ 12 h 46"/>
                  <a:gd name="T36" fmla="*/ 5 w 33"/>
                  <a:gd name="T37" fmla="*/ 12 h 46"/>
                  <a:gd name="T38" fmla="*/ 7 w 33"/>
                  <a:gd name="T39" fmla="*/ 16 h 46"/>
                  <a:gd name="T40" fmla="*/ 4 w 33"/>
                  <a:gd name="T41" fmla="*/ 18 h 46"/>
                  <a:gd name="T42" fmla="*/ 2 w 33"/>
                  <a:gd name="T43" fmla="*/ 19 h 46"/>
                  <a:gd name="T44" fmla="*/ 32 w 33"/>
                  <a:gd name="T45" fmla="*/ 11 h 46"/>
                  <a:gd name="T46" fmla="*/ 26 w 33"/>
                  <a:gd name="T47" fmla="*/ 10 h 46"/>
                  <a:gd name="T48" fmla="*/ 28 w 33"/>
                  <a:gd name="T49" fmla="*/ 4 h 46"/>
                  <a:gd name="T50" fmla="*/ 33 w 33"/>
                  <a:gd name="T51" fmla="*/ 6 h 46"/>
                  <a:gd name="T52" fmla="*/ 32 w 33"/>
                  <a:gd name="T53" fmla="*/ 11 h 46"/>
                  <a:gd name="T54" fmla="*/ 13 w 33"/>
                  <a:gd name="T55" fmla="*/ 8 h 46"/>
                  <a:gd name="T56" fmla="*/ 10 w 33"/>
                  <a:gd name="T57" fmla="*/ 3 h 46"/>
                  <a:gd name="T58" fmla="*/ 11 w 33"/>
                  <a:gd name="T59" fmla="*/ 3 h 46"/>
                  <a:gd name="T60" fmla="*/ 14 w 33"/>
                  <a:gd name="T61" fmla="*/ 1 h 46"/>
                  <a:gd name="T62" fmla="*/ 16 w 33"/>
                  <a:gd name="T63" fmla="*/ 0 h 46"/>
                  <a:gd name="T64" fmla="*/ 17 w 33"/>
                  <a:gd name="T65" fmla="*/ 6 h 46"/>
                  <a:gd name="T66" fmla="*/ 17 w 33"/>
                  <a:gd name="T67" fmla="*/ 6 h 46"/>
                  <a:gd name="T68" fmla="*/ 13 w 33"/>
                  <a:gd name="T69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3" h="46">
                    <a:moveTo>
                      <a:pt x="23" y="46"/>
                    </a:moveTo>
                    <a:cubicBezTo>
                      <a:pt x="20" y="45"/>
                      <a:pt x="20" y="45"/>
                      <a:pt x="20" y="45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20" y="45"/>
                      <a:pt x="20" y="45"/>
                      <a:pt x="20" y="45"/>
                    </a:cubicBezTo>
                    <a:cubicBezTo>
                      <a:pt x="17" y="46"/>
                      <a:pt x="17" y="46"/>
                      <a:pt x="17" y="46"/>
                    </a:cubicBezTo>
                    <a:cubicBezTo>
                      <a:pt x="17" y="46"/>
                      <a:pt x="17" y="45"/>
                      <a:pt x="16" y="44"/>
                    </a:cubicBezTo>
                    <a:cubicBezTo>
                      <a:pt x="21" y="41"/>
                      <a:pt x="21" y="41"/>
                      <a:pt x="21" y="41"/>
                    </a:cubicBezTo>
                    <a:cubicBezTo>
                      <a:pt x="24" y="45"/>
                      <a:pt x="23" y="46"/>
                      <a:pt x="23" y="46"/>
                    </a:cubicBezTo>
                    <a:close/>
                    <a:moveTo>
                      <a:pt x="10" y="34"/>
                    </a:moveTo>
                    <a:cubicBezTo>
                      <a:pt x="9" y="32"/>
                      <a:pt x="9" y="31"/>
                      <a:pt x="9" y="30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5" y="29"/>
                      <a:pt x="15" y="31"/>
                      <a:pt x="15" y="32"/>
                    </a:cubicBezTo>
                    <a:lnTo>
                      <a:pt x="10" y="34"/>
                    </a:lnTo>
                    <a:close/>
                    <a:moveTo>
                      <a:pt x="2" y="19"/>
                    </a:moveTo>
                    <a:cubicBezTo>
                      <a:pt x="0" y="17"/>
                      <a:pt x="0" y="14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3"/>
                      <a:pt x="6" y="14"/>
                      <a:pt x="7" y="16"/>
                    </a:cubicBezTo>
                    <a:cubicBezTo>
                      <a:pt x="4" y="18"/>
                      <a:pt x="4" y="18"/>
                      <a:pt x="4" y="18"/>
                    </a:cubicBezTo>
                    <a:lnTo>
                      <a:pt x="2" y="19"/>
                    </a:lnTo>
                    <a:close/>
                    <a:moveTo>
                      <a:pt x="32" y="11"/>
                    </a:moveTo>
                    <a:cubicBezTo>
                      <a:pt x="32" y="11"/>
                      <a:pt x="29" y="11"/>
                      <a:pt x="26" y="10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31" y="5"/>
                      <a:pt x="33" y="6"/>
                      <a:pt x="33" y="6"/>
                    </a:cubicBezTo>
                    <a:lnTo>
                      <a:pt x="32" y="11"/>
                    </a:lnTo>
                    <a:close/>
                    <a:moveTo>
                      <a:pt x="13" y="8"/>
                    </a:moveTo>
                    <a:cubicBezTo>
                      <a:pt x="10" y="3"/>
                      <a:pt x="10" y="3"/>
                      <a:pt x="10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2"/>
                      <a:pt x="13" y="1"/>
                      <a:pt x="14" y="1"/>
                    </a:cubicBezTo>
                    <a:cubicBezTo>
                      <a:pt x="15" y="0"/>
                      <a:pt x="15" y="0"/>
                      <a:pt x="16" y="0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6" y="6"/>
                      <a:pt x="15" y="7"/>
                      <a:pt x="13" y="8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4" name="îṧliḍe"/>
              <p:cNvSpPr/>
              <p:nvPr/>
            </p:nvSpPr>
            <p:spPr bwMode="auto">
              <a:xfrm>
                <a:off x="4818063" y="4652963"/>
                <a:ext cx="177800" cy="212725"/>
              </a:xfrm>
              <a:custGeom>
                <a:avLst/>
                <a:gdLst>
                  <a:gd name="T0" fmla="*/ 23 w 83"/>
                  <a:gd name="T1" fmla="*/ 99 h 99"/>
                  <a:gd name="T2" fmla="*/ 25 w 83"/>
                  <a:gd name="T3" fmla="*/ 93 h 99"/>
                  <a:gd name="T4" fmla="*/ 26 w 83"/>
                  <a:gd name="T5" fmla="*/ 93 h 99"/>
                  <a:gd name="T6" fmla="*/ 25 w 83"/>
                  <a:gd name="T7" fmla="*/ 99 h 99"/>
                  <a:gd name="T8" fmla="*/ 38 w 83"/>
                  <a:gd name="T9" fmla="*/ 90 h 99"/>
                  <a:gd name="T10" fmla="*/ 45 w 83"/>
                  <a:gd name="T11" fmla="*/ 94 h 99"/>
                  <a:gd name="T12" fmla="*/ 2 w 83"/>
                  <a:gd name="T13" fmla="*/ 92 h 99"/>
                  <a:gd name="T14" fmla="*/ 5 w 83"/>
                  <a:gd name="T15" fmla="*/ 84 h 99"/>
                  <a:gd name="T16" fmla="*/ 2 w 83"/>
                  <a:gd name="T17" fmla="*/ 92 h 99"/>
                  <a:gd name="T18" fmla="*/ 17 w 83"/>
                  <a:gd name="T19" fmla="*/ 79 h 99"/>
                  <a:gd name="T20" fmla="*/ 21 w 83"/>
                  <a:gd name="T21" fmla="*/ 76 h 99"/>
                  <a:gd name="T22" fmla="*/ 24 w 83"/>
                  <a:gd name="T23" fmla="*/ 82 h 99"/>
                  <a:gd name="T24" fmla="*/ 51 w 83"/>
                  <a:gd name="T25" fmla="*/ 82 h 99"/>
                  <a:gd name="T26" fmla="*/ 47 w 83"/>
                  <a:gd name="T27" fmla="*/ 75 h 99"/>
                  <a:gd name="T28" fmla="*/ 51 w 83"/>
                  <a:gd name="T29" fmla="*/ 82 h 99"/>
                  <a:gd name="T30" fmla="*/ 8 w 83"/>
                  <a:gd name="T31" fmla="*/ 77 h 99"/>
                  <a:gd name="T32" fmla="*/ 15 w 83"/>
                  <a:gd name="T33" fmla="*/ 73 h 99"/>
                  <a:gd name="T34" fmla="*/ 14 w 83"/>
                  <a:gd name="T35" fmla="*/ 78 h 99"/>
                  <a:gd name="T36" fmla="*/ 41 w 83"/>
                  <a:gd name="T37" fmla="*/ 66 h 99"/>
                  <a:gd name="T38" fmla="*/ 40 w 83"/>
                  <a:gd name="T39" fmla="*/ 60 h 99"/>
                  <a:gd name="T40" fmla="*/ 46 w 83"/>
                  <a:gd name="T41" fmla="*/ 61 h 99"/>
                  <a:gd name="T42" fmla="*/ 41 w 83"/>
                  <a:gd name="T43" fmla="*/ 66 h 99"/>
                  <a:gd name="T44" fmla="*/ 41 w 83"/>
                  <a:gd name="T45" fmla="*/ 47 h 99"/>
                  <a:gd name="T46" fmla="*/ 45 w 83"/>
                  <a:gd name="T47" fmla="*/ 43 h 99"/>
                  <a:gd name="T48" fmla="*/ 46 w 83"/>
                  <a:gd name="T49" fmla="*/ 49 h 99"/>
                  <a:gd name="T50" fmla="*/ 59 w 83"/>
                  <a:gd name="T51" fmla="*/ 36 h 99"/>
                  <a:gd name="T52" fmla="*/ 65 w 83"/>
                  <a:gd name="T53" fmla="*/ 35 h 99"/>
                  <a:gd name="T54" fmla="*/ 65 w 83"/>
                  <a:gd name="T55" fmla="*/ 37 h 99"/>
                  <a:gd name="T56" fmla="*/ 63 w 83"/>
                  <a:gd name="T57" fmla="*/ 42 h 99"/>
                  <a:gd name="T58" fmla="*/ 66 w 83"/>
                  <a:gd name="T59" fmla="*/ 28 h 99"/>
                  <a:gd name="T60" fmla="*/ 73 w 83"/>
                  <a:gd name="T61" fmla="*/ 30 h 99"/>
                  <a:gd name="T62" fmla="*/ 69 w 83"/>
                  <a:gd name="T63" fmla="*/ 34 h 99"/>
                  <a:gd name="T64" fmla="*/ 51 w 83"/>
                  <a:gd name="T65" fmla="*/ 32 h 99"/>
                  <a:gd name="T66" fmla="*/ 45 w 83"/>
                  <a:gd name="T67" fmla="*/ 31 h 99"/>
                  <a:gd name="T68" fmla="*/ 51 w 83"/>
                  <a:gd name="T69" fmla="*/ 26 h 99"/>
                  <a:gd name="T70" fmla="*/ 51 w 83"/>
                  <a:gd name="T71" fmla="*/ 32 h 99"/>
                  <a:gd name="T72" fmla="*/ 57 w 83"/>
                  <a:gd name="T73" fmla="*/ 24 h 99"/>
                  <a:gd name="T74" fmla="*/ 57 w 83"/>
                  <a:gd name="T75" fmla="*/ 18 h 99"/>
                  <a:gd name="T76" fmla="*/ 58 w 83"/>
                  <a:gd name="T77" fmla="*/ 23 h 99"/>
                  <a:gd name="T78" fmla="*/ 78 w 83"/>
                  <a:gd name="T79" fmla="*/ 22 h 99"/>
                  <a:gd name="T80" fmla="*/ 75 w 83"/>
                  <a:gd name="T81" fmla="*/ 16 h 99"/>
                  <a:gd name="T82" fmla="*/ 81 w 83"/>
                  <a:gd name="T83" fmla="*/ 16 h 99"/>
                  <a:gd name="T84" fmla="*/ 78 w 83"/>
                  <a:gd name="T85" fmla="*/ 8 h 99"/>
                  <a:gd name="T86" fmla="*/ 82 w 83"/>
                  <a:gd name="T87" fmla="*/ 0 h 99"/>
                  <a:gd name="T88" fmla="*/ 78 w 83"/>
                  <a:gd name="T89" fmla="*/ 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3" h="99">
                    <a:moveTo>
                      <a:pt x="25" y="99"/>
                    </a:moveTo>
                    <a:cubicBezTo>
                      <a:pt x="24" y="99"/>
                      <a:pt x="24" y="99"/>
                      <a:pt x="23" y="99"/>
                    </a:cubicBezTo>
                    <a:cubicBezTo>
                      <a:pt x="21" y="98"/>
                      <a:pt x="20" y="97"/>
                      <a:pt x="19" y="95"/>
                    </a:cubicBezTo>
                    <a:cubicBezTo>
                      <a:pt x="25" y="93"/>
                      <a:pt x="25" y="93"/>
                      <a:pt x="25" y="93"/>
                    </a:cubicBezTo>
                    <a:cubicBezTo>
                      <a:pt x="25" y="93"/>
                      <a:pt x="24" y="93"/>
                      <a:pt x="24" y="93"/>
                    </a:cubicBezTo>
                    <a:cubicBezTo>
                      <a:pt x="25" y="93"/>
                      <a:pt x="26" y="93"/>
                      <a:pt x="26" y="93"/>
                    </a:cubicBezTo>
                    <a:cubicBezTo>
                      <a:pt x="28" y="98"/>
                      <a:pt x="28" y="98"/>
                      <a:pt x="28" y="98"/>
                    </a:cubicBezTo>
                    <a:cubicBezTo>
                      <a:pt x="27" y="99"/>
                      <a:pt x="26" y="99"/>
                      <a:pt x="25" y="99"/>
                    </a:cubicBezTo>
                    <a:close/>
                    <a:moveTo>
                      <a:pt x="38" y="96"/>
                    </a:moveTo>
                    <a:cubicBezTo>
                      <a:pt x="38" y="90"/>
                      <a:pt x="38" y="90"/>
                      <a:pt x="38" y="90"/>
                    </a:cubicBezTo>
                    <a:cubicBezTo>
                      <a:pt x="40" y="90"/>
                      <a:pt x="41" y="89"/>
                      <a:pt x="42" y="89"/>
                    </a:cubicBezTo>
                    <a:cubicBezTo>
                      <a:pt x="45" y="94"/>
                      <a:pt x="45" y="94"/>
                      <a:pt x="45" y="94"/>
                    </a:cubicBezTo>
                    <a:cubicBezTo>
                      <a:pt x="44" y="95"/>
                      <a:pt x="41" y="96"/>
                      <a:pt x="38" y="96"/>
                    </a:cubicBezTo>
                    <a:close/>
                    <a:moveTo>
                      <a:pt x="2" y="92"/>
                    </a:moveTo>
                    <a:cubicBezTo>
                      <a:pt x="0" y="87"/>
                      <a:pt x="0" y="87"/>
                      <a:pt x="0" y="87"/>
                    </a:cubicBezTo>
                    <a:cubicBezTo>
                      <a:pt x="5" y="84"/>
                      <a:pt x="5" y="84"/>
                      <a:pt x="5" y="84"/>
                    </a:cubicBezTo>
                    <a:cubicBezTo>
                      <a:pt x="8" y="90"/>
                      <a:pt x="8" y="90"/>
                      <a:pt x="8" y="90"/>
                    </a:cubicBezTo>
                    <a:lnTo>
                      <a:pt x="2" y="92"/>
                    </a:lnTo>
                    <a:close/>
                    <a:moveTo>
                      <a:pt x="19" y="83"/>
                    </a:moveTo>
                    <a:cubicBezTo>
                      <a:pt x="18" y="81"/>
                      <a:pt x="18" y="81"/>
                      <a:pt x="17" y="79"/>
                    </a:cubicBezTo>
                    <a:cubicBezTo>
                      <a:pt x="16" y="79"/>
                      <a:pt x="16" y="79"/>
                      <a:pt x="16" y="79"/>
                    </a:cubicBezTo>
                    <a:cubicBezTo>
                      <a:pt x="21" y="76"/>
                      <a:pt x="21" y="76"/>
                      <a:pt x="21" y="76"/>
                    </a:cubicBezTo>
                    <a:cubicBezTo>
                      <a:pt x="22" y="76"/>
                      <a:pt x="22" y="76"/>
                      <a:pt x="22" y="76"/>
                    </a:cubicBezTo>
                    <a:cubicBezTo>
                      <a:pt x="23" y="78"/>
                      <a:pt x="24" y="79"/>
                      <a:pt x="24" y="82"/>
                    </a:cubicBezTo>
                    <a:lnTo>
                      <a:pt x="19" y="83"/>
                    </a:lnTo>
                    <a:close/>
                    <a:moveTo>
                      <a:pt x="51" y="82"/>
                    </a:moveTo>
                    <a:cubicBezTo>
                      <a:pt x="46" y="80"/>
                      <a:pt x="46" y="80"/>
                      <a:pt x="46" y="80"/>
                    </a:cubicBezTo>
                    <a:cubicBezTo>
                      <a:pt x="46" y="78"/>
                      <a:pt x="47" y="76"/>
                      <a:pt x="47" y="75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3" y="77"/>
                      <a:pt x="52" y="79"/>
                      <a:pt x="51" y="82"/>
                    </a:cubicBezTo>
                    <a:close/>
                    <a:moveTo>
                      <a:pt x="8" y="78"/>
                    </a:moveTo>
                    <a:cubicBezTo>
                      <a:pt x="8" y="77"/>
                      <a:pt x="8" y="77"/>
                      <a:pt x="8" y="77"/>
                    </a:cubicBezTo>
                    <a:cubicBezTo>
                      <a:pt x="8" y="75"/>
                      <a:pt x="9" y="73"/>
                      <a:pt x="9" y="71"/>
                    </a:cubicBezTo>
                    <a:cubicBezTo>
                      <a:pt x="15" y="73"/>
                      <a:pt x="15" y="73"/>
                      <a:pt x="15" y="73"/>
                    </a:cubicBezTo>
                    <a:cubicBezTo>
                      <a:pt x="14" y="74"/>
                      <a:pt x="14" y="75"/>
                      <a:pt x="14" y="77"/>
                    </a:cubicBezTo>
                    <a:cubicBezTo>
                      <a:pt x="14" y="78"/>
                      <a:pt x="14" y="78"/>
                      <a:pt x="14" y="78"/>
                    </a:cubicBezTo>
                    <a:lnTo>
                      <a:pt x="8" y="78"/>
                    </a:lnTo>
                    <a:close/>
                    <a:moveTo>
                      <a:pt x="41" y="66"/>
                    </a:moveTo>
                    <a:cubicBezTo>
                      <a:pt x="40" y="65"/>
                      <a:pt x="40" y="63"/>
                      <a:pt x="40" y="61"/>
                    </a:cubicBezTo>
                    <a:cubicBezTo>
                      <a:pt x="40" y="60"/>
                      <a:pt x="40" y="60"/>
                      <a:pt x="40" y="60"/>
                    </a:cubicBezTo>
                    <a:cubicBezTo>
                      <a:pt x="46" y="59"/>
                      <a:pt x="46" y="59"/>
                      <a:pt x="46" y="59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46" y="62"/>
                      <a:pt x="46" y="63"/>
                      <a:pt x="47" y="64"/>
                    </a:cubicBezTo>
                    <a:lnTo>
                      <a:pt x="41" y="66"/>
                    </a:lnTo>
                    <a:close/>
                    <a:moveTo>
                      <a:pt x="46" y="49"/>
                    </a:moveTo>
                    <a:cubicBezTo>
                      <a:pt x="41" y="47"/>
                      <a:pt x="41" y="47"/>
                      <a:pt x="41" y="47"/>
                    </a:cubicBezTo>
                    <a:cubicBezTo>
                      <a:pt x="42" y="46"/>
                      <a:pt x="42" y="45"/>
                      <a:pt x="43" y="44"/>
                    </a:cubicBezTo>
                    <a:cubicBezTo>
                      <a:pt x="45" y="44"/>
                      <a:pt x="45" y="43"/>
                      <a:pt x="45" y="43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49" y="47"/>
                      <a:pt x="48" y="48"/>
                      <a:pt x="46" y="49"/>
                    </a:cubicBezTo>
                    <a:close/>
                    <a:moveTo>
                      <a:pt x="63" y="42"/>
                    </a:moveTo>
                    <a:cubicBezTo>
                      <a:pt x="61" y="42"/>
                      <a:pt x="59" y="41"/>
                      <a:pt x="59" y="36"/>
                    </a:cubicBezTo>
                    <a:cubicBezTo>
                      <a:pt x="59" y="36"/>
                      <a:pt x="59" y="35"/>
                      <a:pt x="59" y="35"/>
                    </a:cubicBezTo>
                    <a:cubicBezTo>
                      <a:pt x="65" y="35"/>
                      <a:pt x="65" y="35"/>
                      <a:pt x="65" y="35"/>
                    </a:cubicBezTo>
                    <a:cubicBezTo>
                      <a:pt x="65" y="35"/>
                      <a:pt x="65" y="36"/>
                      <a:pt x="65" y="36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5" y="37"/>
                      <a:pt x="65" y="37"/>
                      <a:pt x="65" y="37"/>
                    </a:cubicBezTo>
                    <a:lnTo>
                      <a:pt x="63" y="42"/>
                    </a:lnTo>
                    <a:close/>
                    <a:moveTo>
                      <a:pt x="69" y="34"/>
                    </a:moveTo>
                    <a:cubicBezTo>
                      <a:pt x="67" y="32"/>
                      <a:pt x="66" y="30"/>
                      <a:pt x="66" y="28"/>
                    </a:cubicBezTo>
                    <a:cubicBezTo>
                      <a:pt x="71" y="28"/>
                      <a:pt x="71" y="28"/>
                      <a:pt x="71" y="28"/>
                    </a:cubicBezTo>
                    <a:cubicBezTo>
                      <a:pt x="71" y="28"/>
                      <a:pt x="72" y="29"/>
                      <a:pt x="73" y="30"/>
                    </a:cubicBezTo>
                    <a:cubicBezTo>
                      <a:pt x="74" y="31"/>
                      <a:pt x="74" y="31"/>
                      <a:pt x="74" y="32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4"/>
                      <a:pt x="69" y="34"/>
                      <a:pt x="69" y="34"/>
                    </a:cubicBezTo>
                    <a:close/>
                    <a:moveTo>
                      <a:pt x="51" y="32"/>
                    </a:move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31"/>
                      <a:pt x="45" y="31"/>
                      <a:pt x="45" y="31"/>
                    </a:cubicBezTo>
                    <a:cubicBezTo>
                      <a:pt x="45" y="29"/>
                      <a:pt x="45" y="28"/>
                      <a:pt x="45" y="27"/>
                    </a:cubicBezTo>
                    <a:cubicBezTo>
                      <a:pt x="51" y="26"/>
                      <a:pt x="51" y="26"/>
                      <a:pt x="51" y="26"/>
                    </a:cubicBezTo>
                    <a:cubicBezTo>
                      <a:pt x="51" y="28"/>
                      <a:pt x="51" y="29"/>
                      <a:pt x="51" y="31"/>
                    </a:cubicBezTo>
                    <a:lnTo>
                      <a:pt x="51" y="32"/>
                    </a:lnTo>
                    <a:close/>
                    <a:moveTo>
                      <a:pt x="58" y="24"/>
                    </a:moveTo>
                    <a:cubicBezTo>
                      <a:pt x="58" y="24"/>
                      <a:pt x="58" y="24"/>
                      <a:pt x="57" y="24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6" y="18"/>
                      <a:pt x="57" y="18"/>
                      <a:pt x="57" y="18"/>
                    </a:cubicBezTo>
                    <a:cubicBezTo>
                      <a:pt x="62" y="18"/>
                      <a:pt x="64" y="20"/>
                      <a:pt x="64" y="23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8" y="23"/>
                      <a:pt x="58" y="24"/>
                      <a:pt x="58" y="24"/>
                    </a:cubicBezTo>
                    <a:close/>
                    <a:moveTo>
                      <a:pt x="78" y="22"/>
                    </a:moveTo>
                    <a:cubicBezTo>
                      <a:pt x="74" y="17"/>
                      <a:pt x="74" y="17"/>
                      <a:pt x="74" y="17"/>
                    </a:cubicBezTo>
                    <a:cubicBezTo>
                      <a:pt x="75" y="16"/>
                      <a:pt x="75" y="16"/>
                      <a:pt x="75" y="16"/>
                    </a:cubicBezTo>
                    <a:cubicBezTo>
                      <a:pt x="80" y="13"/>
                      <a:pt x="80" y="13"/>
                      <a:pt x="80" y="13"/>
                    </a:cubicBezTo>
                    <a:cubicBezTo>
                      <a:pt x="81" y="14"/>
                      <a:pt x="81" y="15"/>
                      <a:pt x="81" y="16"/>
                    </a:cubicBezTo>
                    <a:cubicBezTo>
                      <a:pt x="81" y="19"/>
                      <a:pt x="79" y="21"/>
                      <a:pt x="78" y="22"/>
                    </a:cubicBezTo>
                    <a:close/>
                    <a:moveTo>
                      <a:pt x="78" y="8"/>
                    </a:moveTo>
                    <a:cubicBezTo>
                      <a:pt x="76" y="2"/>
                      <a:pt x="76" y="2"/>
                      <a:pt x="76" y="2"/>
                    </a:cubicBezTo>
                    <a:cubicBezTo>
                      <a:pt x="78" y="1"/>
                      <a:pt x="81" y="1"/>
                      <a:pt x="82" y="0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2" y="6"/>
                      <a:pt x="80" y="7"/>
                      <a:pt x="78" y="8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5" name="îsļîde"/>
              <p:cNvSpPr/>
              <p:nvPr/>
            </p:nvSpPr>
            <p:spPr bwMode="auto">
              <a:xfrm>
                <a:off x="5021263" y="4745038"/>
                <a:ext cx="153988" cy="220663"/>
              </a:xfrm>
              <a:custGeom>
                <a:avLst/>
                <a:gdLst>
                  <a:gd name="T0" fmla="*/ 66 w 72"/>
                  <a:gd name="T1" fmla="*/ 98 h 103"/>
                  <a:gd name="T2" fmla="*/ 72 w 72"/>
                  <a:gd name="T3" fmla="*/ 98 h 103"/>
                  <a:gd name="T4" fmla="*/ 67 w 72"/>
                  <a:gd name="T5" fmla="*/ 103 h 103"/>
                  <a:gd name="T6" fmla="*/ 60 w 72"/>
                  <a:gd name="T7" fmla="*/ 91 h 103"/>
                  <a:gd name="T8" fmla="*/ 62 w 72"/>
                  <a:gd name="T9" fmla="*/ 86 h 103"/>
                  <a:gd name="T10" fmla="*/ 66 w 72"/>
                  <a:gd name="T11" fmla="*/ 88 h 103"/>
                  <a:gd name="T12" fmla="*/ 60 w 72"/>
                  <a:gd name="T13" fmla="*/ 81 h 103"/>
                  <a:gd name="T14" fmla="*/ 56 w 72"/>
                  <a:gd name="T15" fmla="*/ 76 h 103"/>
                  <a:gd name="T16" fmla="*/ 61 w 72"/>
                  <a:gd name="T17" fmla="*/ 74 h 103"/>
                  <a:gd name="T18" fmla="*/ 60 w 72"/>
                  <a:gd name="T19" fmla="*/ 81 h 103"/>
                  <a:gd name="T20" fmla="*/ 47 w 72"/>
                  <a:gd name="T21" fmla="*/ 64 h 103"/>
                  <a:gd name="T22" fmla="*/ 55 w 72"/>
                  <a:gd name="T23" fmla="*/ 64 h 103"/>
                  <a:gd name="T24" fmla="*/ 53 w 72"/>
                  <a:gd name="T25" fmla="*/ 64 h 103"/>
                  <a:gd name="T26" fmla="*/ 49 w 72"/>
                  <a:gd name="T27" fmla="*/ 67 h 103"/>
                  <a:gd name="T28" fmla="*/ 60 w 72"/>
                  <a:gd name="T29" fmla="*/ 56 h 103"/>
                  <a:gd name="T30" fmla="*/ 61 w 72"/>
                  <a:gd name="T31" fmla="*/ 51 h 103"/>
                  <a:gd name="T32" fmla="*/ 66 w 72"/>
                  <a:gd name="T33" fmla="*/ 51 h 103"/>
                  <a:gd name="T34" fmla="*/ 7 w 72"/>
                  <a:gd name="T35" fmla="*/ 49 h 103"/>
                  <a:gd name="T36" fmla="*/ 3 w 72"/>
                  <a:gd name="T37" fmla="*/ 42 h 103"/>
                  <a:gd name="T38" fmla="*/ 7 w 72"/>
                  <a:gd name="T39" fmla="*/ 49 h 103"/>
                  <a:gd name="T40" fmla="*/ 54 w 72"/>
                  <a:gd name="T41" fmla="*/ 41 h 103"/>
                  <a:gd name="T42" fmla="*/ 58 w 72"/>
                  <a:gd name="T43" fmla="*/ 36 h 103"/>
                  <a:gd name="T44" fmla="*/ 60 w 72"/>
                  <a:gd name="T45" fmla="*/ 43 h 103"/>
                  <a:gd name="T46" fmla="*/ 2 w 72"/>
                  <a:gd name="T47" fmla="*/ 33 h 103"/>
                  <a:gd name="T48" fmla="*/ 0 w 72"/>
                  <a:gd name="T49" fmla="*/ 27 h 103"/>
                  <a:gd name="T50" fmla="*/ 6 w 72"/>
                  <a:gd name="T51" fmla="*/ 28 h 103"/>
                  <a:gd name="T52" fmla="*/ 6 w 72"/>
                  <a:gd name="T53" fmla="*/ 29 h 103"/>
                  <a:gd name="T54" fmla="*/ 2 w 72"/>
                  <a:gd name="T55" fmla="*/ 33 h 103"/>
                  <a:gd name="T56" fmla="*/ 47 w 72"/>
                  <a:gd name="T57" fmla="*/ 25 h 103"/>
                  <a:gd name="T58" fmla="*/ 49 w 72"/>
                  <a:gd name="T59" fmla="*/ 19 h 103"/>
                  <a:gd name="T60" fmla="*/ 53 w 72"/>
                  <a:gd name="T61" fmla="*/ 26 h 103"/>
                  <a:gd name="T62" fmla="*/ 15 w 72"/>
                  <a:gd name="T63" fmla="*/ 26 h 103"/>
                  <a:gd name="T64" fmla="*/ 15 w 72"/>
                  <a:gd name="T65" fmla="*/ 18 h 103"/>
                  <a:gd name="T66" fmla="*/ 21 w 72"/>
                  <a:gd name="T67" fmla="*/ 20 h 103"/>
                  <a:gd name="T68" fmla="*/ 18 w 72"/>
                  <a:gd name="T69" fmla="*/ 23 h 103"/>
                  <a:gd name="T70" fmla="*/ 44 w 72"/>
                  <a:gd name="T71" fmla="*/ 20 h 103"/>
                  <a:gd name="T72" fmla="*/ 38 w 72"/>
                  <a:gd name="T73" fmla="*/ 17 h 103"/>
                  <a:gd name="T74" fmla="*/ 44 w 72"/>
                  <a:gd name="T75" fmla="*/ 13 h 103"/>
                  <a:gd name="T76" fmla="*/ 44 w 72"/>
                  <a:gd name="T77" fmla="*/ 16 h 103"/>
                  <a:gd name="T78" fmla="*/ 44 w 72"/>
                  <a:gd name="T79" fmla="*/ 20 h 103"/>
                  <a:gd name="T80" fmla="*/ 21 w 72"/>
                  <a:gd name="T81" fmla="*/ 7 h 103"/>
                  <a:gd name="T82" fmla="*/ 24 w 72"/>
                  <a:gd name="T83" fmla="*/ 3 h 103"/>
                  <a:gd name="T84" fmla="*/ 29 w 72"/>
                  <a:gd name="T85" fmla="*/ 6 h 103"/>
                  <a:gd name="T86" fmla="*/ 37 w 72"/>
                  <a:gd name="T87" fmla="*/ 7 h 103"/>
                  <a:gd name="T88" fmla="*/ 32 w 72"/>
                  <a:gd name="T89" fmla="*/ 5 h 103"/>
                  <a:gd name="T90" fmla="*/ 32 w 72"/>
                  <a:gd name="T91" fmla="*/ 1 h 103"/>
                  <a:gd name="T92" fmla="*/ 38 w 72"/>
                  <a:gd name="T93" fmla="*/ 3 h 103"/>
                  <a:gd name="T94" fmla="*/ 37 w 72"/>
                  <a:gd name="T95" fmla="*/ 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2" h="103">
                    <a:moveTo>
                      <a:pt x="67" y="103"/>
                    </a:moveTo>
                    <a:cubicBezTo>
                      <a:pt x="66" y="101"/>
                      <a:pt x="66" y="99"/>
                      <a:pt x="66" y="98"/>
                    </a:cubicBezTo>
                    <a:cubicBezTo>
                      <a:pt x="66" y="97"/>
                      <a:pt x="66" y="96"/>
                      <a:pt x="67" y="95"/>
                    </a:cubicBezTo>
                    <a:cubicBezTo>
                      <a:pt x="72" y="98"/>
                      <a:pt x="72" y="98"/>
                      <a:pt x="72" y="98"/>
                    </a:cubicBezTo>
                    <a:cubicBezTo>
                      <a:pt x="71" y="98"/>
                      <a:pt x="72" y="99"/>
                      <a:pt x="72" y="101"/>
                    </a:cubicBezTo>
                    <a:lnTo>
                      <a:pt x="67" y="103"/>
                    </a:lnTo>
                    <a:close/>
                    <a:moveTo>
                      <a:pt x="65" y="93"/>
                    </a:moveTo>
                    <a:cubicBezTo>
                      <a:pt x="63" y="93"/>
                      <a:pt x="61" y="93"/>
                      <a:pt x="60" y="91"/>
                    </a:cubicBezTo>
                    <a:cubicBezTo>
                      <a:pt x="59" y="91"/>
                      <a:pt x="59" y="91"/>
                      <a:pt x="58" y="90"/>
                    </a:cubicBezTo>
                    <a:cubicBezTo>
                      <a:pt x="62" y="86"/>
                      <a:pt x="62" y="86"/>
                      <a:pt x="62" y="86"/>
                    </a:cubicBezTo>
                    <a:cubicBezTo>
                      <a:pt x="62" y="86"/>
                      <a:pt x="62" y="86"/>
                      <a:pt x="63" y="87"/>
                    </a:cubicBezTo>
                    <a:cubicBezTo>
                      <a:pt x="64" y="87"/>
                      <a:pt x="65" y="88"/>
                      <a:pt x="66" y="88"/>
                    </a:cubicBezTo>
                    <a:lnTo>
                      <a:pt x="65" y="93"/>
                    </a:lnTo>
                    <a:close/>
                    <a:moveTo>
                      <a:pt x="60" y="81"/>
                    </a:moveTo>
                    <a:cubicBezTo>
                      <a:pt x="59" y="80"/>
                      <a:pt x="57" y="79"/>
                      <a:pt x="56" y="77"/>
                    </a:cubicBezTo>
                    <a:cubicBezTo>
                      <a:pt x="56" y="76"/>
                      <a:pt x="56" y="76"/>
                      <a:pt x="56" y="76"/>
                    </a:cubicBezTo>
                    <a:cubicBezTo>
                      <a:pt x="61" y="73"/>
                      <a:pt x="61" y="73"/>
                      <a:pt x="61" y="73"/>
                    </a:cubicBezTo>
                    <a:cubicBezTo>
                      <a:pt x="61" y="74"/>
                      <a:pt x="61" y="74"/>
                      <a:pt x="61" y="74"/>
                    </a:cubicBezTo>
                    <a:cubicBezTo>
                      <a:pt x="62" y="75"/>
                      <a:pt x="63" y="76"/>
                      <a:pt x="64" y="77"/>
                    </a:cubicBezTo>
                    <a:lnTo>
                      <a:pt x="60" y="81"/>
                    </a:lnTo>
                    <a:close/>
                    <a:moveTo>
                      <a:pt x="49" y="67"/>
                    </a:moveTo>
                    <a:cubicBezTo>
                      <a:pt x="48" y="66"/>
                      <a:pt x="47" y="65"/>
                      <a:pt x="47" y="64"/>
                    </a:cubicBezTo>
                    <a:cubicBezTo>
                      <a:pt x="47" y="63"/>
                      <a:pt x="48" y="60"/>
                      <a:pt x="53" y="59"/>
                    </a:cubicBezTo>
                    <a:cubicBezTo>
                      <a:pt x="55" y="64"/>
                      <a:pt x="55" y="64"/>
                      <a:pt x="55" y="64"/>
                    </a:cubicBezTo>
                    <a:cubicBezTo>
                      <a:pt x="53" y="65"/>
                      <a:pt x="53" y="65"/>
                      <a:pt x="53" y="65"/>
                    </a:cubicBezTo>
                    <a:cubicBezTo>
                      <a:pt x="53" y="65"/>
                      <a:pt x="53" y="65"/>
                      <a:pt x="53" y="64"/>
                    </a:cubicBezTo>
                    <a:cubicBezTo>
                      <a:pt x="53" y="64"/>
                      <a:pt x="53" y="64"/>
                      <a:pt x="53" y="64"/>
                    </a:cubicBezTo>
                    <a:lnTo>
                      <a:pt x="49" y="67"/>
                    </a:lnTo>
                    <a:close/>
                    <a:moveTo>
                      <a:pt x="66" y="57"/>
                    </a:moveTo>
                    <a:cubicBezTo>
                      <a:pt x="60" y="56"/>
                      <a:pt x="60" y="56"/>
                      <a:pt x="60" y="56"/>
                    </a:cubicBezTo>
                    <a:cubicBezTo>
                      <a:pt x="61" y="55"/>
                      <a:pt x="61" y="53"/>
                      <a:pt x="61" y="51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6" y="51"/>
                      <a:pt x="66" y="51"/>
                      <a:pt x="66" y="51"/>
                    </a:cubicBezTo>
                    <a:cubicBezTo>
                      <a:pt x="66" y="51"/>
                      <a:pt x="66" y="51"/>
                      <a:pt x="66" y="51"/>
                    </a:cubicBezTo>
                    <a:cubicBezTo>
                      <a:pt x="66" y="53"/>
                      <a:pt x="66" y="55"/>
                      <a:pt x="66" y="57"/>
                    </a:cubicBezTo>
                    <a:close/>
                    <a:moveTo>
                      <a:pt x="7" y="49"/>
                    </a:moveTo>
                    <a:cubicBezTo>
                      <a:pt x="2" y="47"/>
                      <a:pt x="2" y="47"/>
                      <a:pt x="2" y="47"/>
                    </a:cubicBezTo>
                    <a:cubicBezTo>
                      <a:pt x="2" y="45"/>
                      <a:pt x="3" y="44"/>
                      <a:pt x="3" y="42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9" y="44"/>
                      <a:pt x="8" y="47"/>
                      <a:pt x="7" y="49"/>
                    </a:cubicBezTo>
                    <a:close/>
                    <a:moveTo>
                      <a:pt x="54" y="43"/>
                    </a:moveTo>
                    <a:cubicBezTo>
                      <a:pt x="54" y="43"/>
                      <a:pt x="54" y="42"/>
                      <a:pt x="54" y="41"/>
                    </a:cubicBezTo>
                    <a:cubicBezTo>
                      <a:pt x="54" y="40"/>
                      <a:pt x="54" y="40"/>
                      <a:pt x="54" y="39"/>
                    </a:cubicBezTo>
                    <a:cubicBezTo>
                      <a:pt x="58" y="36"/>
                      <a:pt x="58" y="36"/>
                      <a:pt x="58" y="36"/>
                    </a:cubicBezTo>
                    <a:cubicBezTo>
                      <a:pt x="59" y="37"/>
                      <a:pt x="60" y="38"/>
                      <a:pt x="60" y="41"/>
                    </a:cubicBezTo>
                    <a:cubicBezTo>
                      <a:pt x="60" y="42"/>
                      <a:pt x="60" y="42"/>
                      <a:pt x="60" y="43"/>
                    </a:cubicBezTo>
                    <a:lnTo>
                      <a:pt x="54" y="43"/>
                    </a:lnTo>
                    <a:close/>
                    <a:moveTo>
                      <a:pt x="2" y="33"/>
                    </a:moveTo>
                    <a:cubicBezTo>
                      <a:pt x="1" y="32"/>
                      <a:pt x="0" y="31"/>
                      <a:pt x="0" y="29"/>
                    </a:cubicBezTo>
                    <a:cubicBezTo>
                      <a:pt x="0" y="28"/>
                      <a:pt x="0" y="27"/>
                      <a:pt x="0" y="27"/>
                    </a:cubicBezTo>
                    <a:cubicBezTo>
                      <a:pt x="0" y="26"/>
                      <a:pt x="1" y="25"/>
                      <a:pt x="1" y="25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6" y="28"/>
                      <a:pt x="6" y="28"/>
                      <a:pt x="6" y="29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4" y="31"/>
                      <a:pt x="4" y="31"/>
                      <a:pt x="4" y="31"/>
                    </a:cubicBezTo>
                    <a:lnTo>
                      <a:pt x="2" y="33"/>
                    </a:lnTo>
                    <a:close/>
                    <a:moveTo>
                      <a:pt x="48" y="29"/>
                    </a:moveTo>
                    <a:cubicBezTo>
                      <a:pt x="48" y="28"/>
                      <a:pt x="47" y="26"/>
                      <a:pt x="47" y="25"/>
                    </a:cubicBezTo>
                    <a:cubicBezTo>
                      <a:pt x="46" y="25"/>
                      <a:pt x="47" y="25"/>
                      <a:pt x="47" y="25"/>
                    </a:cubicBezTo>
                    <a:cubicBezTo>
                      <a:pt x="49" y="19"/>
                      <a:pt x="49" y="19"/>
                      <a:pt x="49" y="19"/>
                    </a:cubicBezTo>
                    <a:cubicBezTo>
                      <a:pt x="50" y="20"/>
                      <a:pt x="51" y="21"/>
                      <a:pt x="52" y="23"/>
                    </a:cubicBezTo>
                    <a:cubicBezTo>
                      <a:pt x="52" y="24"/>
                      <a:pt x="53" y="25"/>
                      <a:pt x="53" y="26"/>
                    </a:cubicBezTo>
                    <a:lnTo>
                      <a:pt x="48" y="29"/>
                    </a:lnTo>
                    <a:close/>
                    <a:moveTo>
                      <a:pt x="15" y="26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4" y="19"/>
                      <a:pt x="14" y="19"/>
                      <a:pt x="15" y="18"/>
                    </a:cubicBezTo>
                    <a:cubicBezTo>
                      <a:pt x="15" y="18"/>
                      <a:pt x="15" y="18"/>
                      <a:pt x="16" y="17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21"/>
                      <a:pt x="19" y="22"/>
                      <a:pt x="19" y="22"/>
                    </a:cubicBezTo>
                    <a:cubicBezTo>
                      <a:pt x="19" y="23"/>
                      <a:pt x="18" y="23"/>
                      <a:pt x="18" y="23"/>
                    </a:cubicBezTo>
                    <a:cubicBezTo>
                      <a:pt x="17" y="24"/>
                      <a:pt x="16" y="25"/>
                      <a:pt x="15" y="26"/>
                    </a:cubicBezTo>
                    <a:close/>
                    <a:moveTo>
                      <a:pt x="44" y="20"/>
                    </a:moveTo>
                    <a:cubicBezTo>
                      <a:pt x="38" y="20"/>
                      <a:pt x="38" y="20"/>
                      <a:pt x="38" y="20"/>
                    </a:cubicBezTo>
                    <a:cubicBezTo>
                      <a:pt x="38" y="19"/>
                      <a:pt x="38" y="18"/>
                      <a:pt x="38" y="17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4" y="13"/>
                      <a:pt x="44" y="13"/>
                      <a:pt x="44" y="13"/>
                    </a:cubicBezTo>
                    <a:cubicBezTo>
                      <a:pt x="44" y="14"/>
                      <a:pt x="44" y="15"/>
                      <a:pt x="44" y="16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4" y="17"/>
                      <a:pt x="44" y="17"/>
                      <a:pt x="44" y="18"/>
                    </a:cubicBezTo>
                    <a:cubicBezTo>
                      <a:pt x="44" y="19"/>
                      <a:pt x="44" y="19"/>
                      <a:pt x="44" y="20"/>
                    </a:cubicBezTo>
                    <a:close/>
                    <a:moveTo>
                      <a:pt x="25" y="11"/>
                    </a:moveTo>
                    <a:cubicBezTo>
                      <a:pt x="21" y="7"/>
                      <a:pt x="21" y="7"/>
                      <a:pt x="21" y="7"/>
                    </a:cubicBezTo>
                    <a:cubicBezTo>
                      <a:pt x="22" y="6"/>
                      <a:pt x="23" y="5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8" y="8"/>
                      <a:pt x="27" y="10"/>
                      <a:pt x="25" y="11"/>
                    </a:cubicBezTo>
                    <a:close/>
                    <a:moveTo>
                      <a:pt x="37" y="7"/>
                    </a:moveTo>
                    <a:cubicBezTo>
                      <a:pt x="32" y="5"/>
                      <a:pt x="32" y="5"/>
                      <a:pt x="32" y="5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2" y="4"/>
                      <a:pt x="32" y="3"/>
                      <a:pt x="32" y="3"/>
                    </a:cubicBezTo>
                    <a:cubicBezTo>
                      <a:pt x="32" y="2"/>
                      <a:pt x="32" y="1"/>
                      <a:pt x="32" y="1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"/>
                      <a:pt x="38" y="2"/>
                      <a:pt x="38" y="3"/>
                    </a:cubicBezTo>
                    <a:cubicBezTo>
                      <a:pt x="38" y="4"/>
                      <a:pt x="38" y="5"/>
                      <a:pt x="38" y="6"/>
                    </a:cubicBezTo>
                    <a:cubicBezTo>
                      <a:pt x="38" y="6"/>
                      <a:pt x="38" y="7"/>
                      <a:pt x="37" y="7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6" name="îşḻîďé"/>
              <p:cNvSpPr/>
              <p:nvPr/>
            </p:nvSpPr>
            <p:spPr bwMode="auto">
              <a:xfrm>
                <a:off x="5181600" y="4926013"/>
                <a:ext cx="273050" cy="385763"/>
              </a:xfrm>
              <a:custGeom>
                <a:avLst/>
                <a:gdLst>
                  <a:gd name="T0" fmla="*/ 123 w 127"/>
                  <a:gd name="T1" fmla="*/ 179 h 180"/>
                  <a:gd name="T2" fmla="*/ 127 w 127"/>
                  <a:gd name="T3" fmla="*/ 175 h 180"/>
                  <a:gd name="T4" fmla="*/ 112 w 127"/>
                  <a:gd name="T5" fmla="*/ 178 h 180"/>
                  <a:gd name="T6" fmla="*/ 107 w 127"/>
                  <a:gd name="T7" fmla="*/ 171 h 180"/>
                  <a:gd name="T8" fmla="*/ 112 w 127"/>
                  <a:gd name="T9" fmla="*/ 178 h 180"/>
                  <a:gd name="T10" fmla="*/ 95 w 127"/>
                  <a:gd name="T11" fmla="*/ 165 h 180"/>
                  <a:gd name="T12" fmla="*/ 102 w 127"/>
                  <a:gd name="T13" fmla="*/ 166 h 180"/>
                  <a:gd name="T14" fmla="*/ 89 w 127"/>
                  <a:gd name="T15" fmla="*/ 160 h 180"/>
                  <a:gd name="T16" fmla="*/ 87 w 127"/>
                  <a:gd name="T17" fmla="*/ 152 h 180"/>
                  <a:gd name="T18" fmla="*/ 89 w 127"/>
                  <a:gd name="T19" fmla="*/ 160 h 180"/>
                  <a:gd name="T20" fmla="*/ 82 w 127"/>
                  <a:gd name="T21" fmla="*/ 142 h 180"/>
                  <a:gd name="T22" fmla="*/ 90 w 127"/>
                  <a:gd name="T23" fmla="*/ 143 h 180"/>
                  <a:gd name="T24" fmla="*/ 74 w 127"/>
                  <a:gd name="T25" fmla="*/ 134 h 180"/>
                  <a:gd name="T26" fmla="*/ 70 w 127"/>
                  <a:gd name="T27" fmla="*/ 130 h 180"/>
                  <a:gd name="T28" fmla="*/ 76 w 127"/>
                  <a:gd name="T29" fmla="*/ 130 h 180"/>
                  <a:gd name="T30" fmla="*/ 75 w 127"/>
                  <a:gd name="T31" fmla="*/ 128 h 180"/>
                  <a:gd name="T32" fmla="*/ 74 w 127"/>
                  <a:gd name="T33" fmla="*/ 134 h 180"/>
                  <a:gd name="T34" fmla="*/ 79 w 127"/>
                  <a:gd name="T35" fmla="*/ 118 h 180"/>
                  <a:gd name="T36" fmla="*/ 71 w 127"/>
                  <a:gd name="T37" fmla="*/ 118 h 180"/>
                  <a:gd name="T38" fmla="*/ 75 w 127"/>
                  <a:gd name="T39" fmla="*/ 114 h 180"/>
                  <a:gd name="T40" fmla="*/ 79 w 127"/>
                  <a:gd name="T41" fmla="*/ 115 h 180"/>
                  <a:gd name="T42" fmla="*/ 80 w 127"/>
                  <a:gd name="T43" fmla="*/ 113 h 180"/>
                  <a:gd name="T44" fmla="*/ 83 w 127"/>
                  <a:gd name="T45" fmla="*/ 119 h 180"/>
                  <a:gd name="T46" fmla="*/ 71 w 127"/>
                  <a:gd name="T47" fmla="*/ 105 h 180"/>
                  <a:gd name="T48" fmla="*/ 72 w 127"/>
                  <a:gd name="T49" fmla="*/ 98 h 180"/>
                  <a:gd name="T50" fmla="*/ 71 w 127"/>
                  <a:gd name="T51" fmla="*/ 105 h 180"/>
                  <a:gd name="T52" fmla="*/ 60 w 127"/>
                  <a:gd name="T53" fmla="*/ 94 h 180"/>
                  <a:gd name="T54" fmla="*/ 61 w 127"/>
                  <a:gd name="T55" fmla="*/ 87 h 180"/>
                  <a:gd name="T56" fmla="*/ 66 w 127"/>
                  <a:gd name="T57" fmla="*/ 91 h 180"/>
                  <a:gd name="T58" fmla="*/ 60 w 127"/>
                  <a:gd name="T59" fmla="*/ 82 h 180"/>
                  <a:gd name="T60" fmla="*/ 57 w 127"/>
                  <a:gd name="T61" fmla="*/ 77 h 180"/>
                  <a:gd name="T62" fmla="*/ 63 w 127"/>
                  <a:gd name="T63" fmla="*/ 77 h 180"/>
                  <a:gd name="T64" fmla="*/ 60 w 127"/>
                  <a:gd name="T65" fmla="*/ 82 h 180"/>
                  <a:gd name="T66" fmla="*/ 47 w 127"/>
                  <a:gd name="T67" fmla="*/ 66 h 180"/>
                  <a:gd name="T68" fmla="*/ 52 w 127"/>
                  <a:gd name="T69" fmla="*/ 62 h 180"/>
                  <a:gd name="T70" fmla="*/ 54 w 127"/>
                  <a:gd name="T71" fmla="*/ 68 h 180"/>
                  <a:gd name="T72" fmla="*/ 42 w 127"/>
                  <a:gd name="T73" fmla="*/ 54 h 180"/>
                  <a:gd name="T74" fmla="*/ 43 w 127"/>
                  <a:gd name="T75" fmla="*/ 45 h 180"/>
                  <a:gd name="T76" fmla="*/ 42 w 127"/>
                  <a:gd name="T77" fmla="*/ 54 h 180"/>
                  <a:gd name="T78" fmla="*/ 35 w 127"/>
                  <a:gd name="T79" fmla="*/ 38 h 180"/>
                  <a:gd name="T80" fmla="*/ 35 w 127"/>
                  <a:gd name="T81" fmla="*/ 34 h 180"/>
                  <a:gd name="T82" fmla="*/ 40 w 127"/>
                  <a:gd name="T83" fmla="*/ 31 h 180"/>
                  <a:gd name="T84" fmla="*/ 41 w 127"/>
                  <a:gd name="T85" fmla="*/ 35 h 180"/>
                  <a:gd name="T86" fmla="*/ 41 w 127"/>
                  <a:gd name="T87" fmla="*/ 38 h 180"/>
                  <a:gd name="T88" fmla="*/ 28 w 127"/>
                  <a:gd name="T89" fmla="*/ 22 h 180"/>
                  <a:gd name="T90" fmla="*/ 32 w 127"/>
                  <a:gd name="T91" fmla="*/ 16 h 180"/>
                  <a:gd name="T92" fmla="*/ 34 w 127"/>
                  <a:gd name="T93" fmla="*/ 22 h 180"/>
                  <a:gd name="T94" fmla="*/ 5 w 127"/>
                  <a:gd name="T95" fmla="*/ 17 h 180"/>
                  <a:gd name="T96" fmla="*/ 2 w 127"/>
                  <a:gd name="T97" fmla="*/ 10 h 180"/>
                  <a:gd name="T98" fmla="*/ 5 w 127"/>
                  <a:gd name="T99" fmla="*/ 17 h 180"/>
                  <a:gd name="T100" fmla="*/ 8 w 127"/>
                  <a:gd name="T101" fmla="*/ 10 h 180"/>
                  <a:gd name="T102" fmla="*/ 14 w 127"/>
                  <a:gd name="T103" fmla="*/ 10 h 180"/>
                  <a:gd name="T104" fmla="*/ 15 w 127"/>
                  <a:gd name="T105" fmla="*/ 16 h 180"/>
                  <a:gd name="T106" fmla="*/ 23 w 127"/>
                  <a:gd name="T107" fmla="*/ 6 h 180"/>
                  <a:gd name="T108" fmla="*/ 23 w 127"/>
                  <a:gd name="T109" fmla="*/ 5 h 180"/>
                  <a:gd name="T110" fmla="*/ 23 w 127"/>
                  <a:gd name="T111" fmla="*/ 0 h 180"/>
                  <a:gd name="T112" fmla="*/ 28 w 127"/>
                  <a:gd name="T113" fmla="*/ 5 h 180"/>
                  <a:gd name="T114" fmla="*/ 23 w 127"/>
                  <a:gd name="T115" fmla="*/ 5 h 180"/>
                  <a:gd name="T116" fmla="*/ 23 w 127"/>
                  <a:gd name="T117" fmla="*/ 6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7" h="180">
                    <a:moveTo>
                      <a:pt x="125" y="180"/>
                    </a:moveTo>
                    <a:cubicBezTo>
                      <a:pt x="124" y="180"/>
                      <a:pt x="124" y="180"/>
                      <a:pt x="123" y="179"/>
                    </a:cubicBezTo>
                    <a:cubicBezTo>
                      <a:pt x="125" y="174"/>
                      <a:pt x="125" y="174"/>
                      <a:pt x="125" y="174"/>
                    </a:cubicBezTo>
                    <a:cubicBezTo>
                      <a:pt x="126" y="174"/>
                      <a:pt x="127" y="174"/>
                      <a:pt x="127" y="175"/>
                    </a:cubicBezTo>
                    <a:lnTo>
                      <a:pt x="125" y="180"/>
                    </a:lnTo>
                    <a:close/>
                    <a:moveTo>
                      <a:pt x="112" y="178"/>
                    </a:moveTo>
                    <a:cubicBezTo>
                      <a:pt x="110" y="178"/>
                      <a:pt x="108" y="177"/>
                      <a:pt x="106" y="177"/>
                    </a:cubicBezTo>
                    <a:cubicBezTo>
                      <a:pt x="107" y="171"/>
                      <a:pt x="107" y="171"/>
                      <a:pt x="107" y="171"/>
                    </a:cubicBezTo>
                    <a:cubicBezTo>
                      <a:pt x="109" y="172"/>
                      <a:pt x="111" y="172"/>
                      <a:pt x="112" y="172"/>
                    </a:cubicBezTo>
                    <a:lnTo>
                      <a:pt x="112" y="178"/>
                    </a:lnTo>
                    <a:close/>
                    <a:moveTo>
                      <a:pt x="96" y="167"/>
                    </a:moveTo>
                    <a:cubicBezTo>
                      <a:pt x="96" y="165"/>
                      <a:pt x="95" y="165"/>
                      <a:pt x="95" y="165"/>
                    </a:cubicBezTo>
                    <a:cubicBezTo>
                      <a:pt x="96" y="159"/>
                      <a:pt x="96" y="159"/>
                      <a:pt x="96" y="159"/>
                    </a:cubicBezTo>
                    <a:cubicBezTo>
                      <a:pt x="100" y="160"/>
                      <a:pt x="101" y="164"/>
                      <a:pt x="102" y="166"/>
                    </a:cubicBezTo>
                    <a:lnTo>
                      <a:pt x="96" y="167"/>
                    </a:lnTo>
                    <a:close/>
                    <a:moveTo>
                      <a:pt x="89" y="160"/>
                    </a:moveTo>
                    <a:cubicBezTo>
                      <a:pt x="83" y="160"/>
                      <a:pt x="83" y="160"/>
                      <a:pt x="83" y="160"/>
                    </a:cubicBezTo>
                    <a:cubicBezTo>
                      <a:pt x="83" y="156"/>
                      <a:pt x="84" y="154"/>
                      <a:pt x="87" y="152"/>
                    </a:cubicBezTo>
                    <a:cubicBezTo>
                      <a:pt x="90" y="157"/>
                      <a:pt x="90" y="157"/>
                      <a:pt x="90" y="157"/>
                    </a:cubicBezTo>
                    <a:cubicBezTo>
                      <a:pt x="89" y="158"/>
                      <a:pt x="89" y="158"/>
                      <a:pt x="89" y="160"/>
                    </a:cubicBezTo>
                    <a:close/>
                    <a:moveTo>
                      <a:pt x="85" y="147"/>
                    </a:moveTo>
                    <a:cubicBezTo>
                      <a:pt x="84" y="145"/>
                      <a:pt x="83" y="143"/>
                      <a:pt x="82" y="142"/>
                    </a:cubicBezTo>
                    <a:cubicBezTo>
                      <a:pt x="87" y="138"/>
                      <a:pt x="87" y="138"/>
                      <a:pt x="87" y="138"/>
                    </a:cubicBezTo>
                    <a:cubicBezTo>
                      <a:pt x="88" y="140"/>
                      <a:pt x="89" y="142"/>
                      <a:pt x="90" y="143"/>
                    </a:cubicBezTo>
                    <a:lnTo>
                      <a:pt x="85" y="147"/>
                    </a:lnTo>
                    <a:close/>
                    <a:moveTo>
                      <a:pt x="74" y="134"/>
                    </a:moveTo>
                    <a:cubicBezTo>
                      <a:pt x="73" y="134"/>
                      <a:pt x="73" y="133"/>
                      <a:pt x="72" y="133"/>
                    </a:cubicBezTo>
                    <a:cubicBezTo>
                      <a:pt x="71" y="133"/>
                      <a:pt x="70" y="131"/>
                      <a:pt x="70" y="130"/>
                    </a:cubicBezTo>
                    <a:cubicBezTo>
                      <a:pt x="70" y="128"/>
                      <a:pt x="71" y="127"/>
                      <a:pt x="72" y="126"/>
                    </a:cubicBezTo>
                    <a:cubicBezTo>
                      <a:pt x="76" y="130"/>
                      <a:pt x="76" y="130"/>
                      <a:pt x="76" y="130"/>
                    </a:cubicBezTo>
                    <a:cubicBezTo>
                      <a:pt x="76" y="130"/>
                      <a:pt x="76" y="130"/>
                      <a:pt x="76" y="130"/>
                    </a:cubicBezTo>
                    <a:cubicBezTo>
                      <a:pt x="76" y="129"/>
                      <a:pt x="75" y="128"/>
                      <a:pt x="75" y="128"/>
                    </a:cubicBezTo>
                    <a:cubicBezTo>
                      <a:pt x="75" y="128"/>
                      <a:pt x="76" y="129"/>
                      <a:pt x="78" y="130"/>
                    </a:cubicBezTo>
                    <a:lnTo>
                      <a:pt x="74" y="134"/>
                    </a:lnTo>
                    <a:close/>
                    <a:moveTo>
                      <a:pt x="82" y="120"/>
                    </a:moveTo>
                    <a:cubicBezTo>
                      <a:pt x="79" y="118"/>
                      <a:pt x="79" y="118"/>
                      <a:pt x="79" y="118"/>
                    </a:cubicBezTo>
                    <a:cubicBezTo>
                      <a:pt x="77" y="120"/>
                      <a:pt x="74" y="120"/>
                      <a:pt x="72" y="119"/>
                    </a:cubicBezTo>
                    <a:cubicBezTo>
                      <a:pt x="71" y="119"/>
                      <a:pt x="71" y="118"/>
                      <a:pt x="71" y="118"/>
                    </a:cubicBezTo>
                    <a:cubicBezTo>
                      <a:pt x="75" y="114"/>
                      <a:pt x="75" y="114"/>
                      <a:pt x="75" y="114"/>
                    </a:cubicBezTo>
                    <a:cubicBezTo>
                      <a:pt x="75" y="114"/>
                      <a:pt x="75" y="114"/>
                      <a:pt x="75" y="114"/>
                    </a:cubicBezTo>
                    <a:cubicBezTo>
                      <a:pt x="75" y="114"/>
                      <a:pt x="75" y="114"/>
                      <a:pt x="75" y="114"/>
                    </a:cubicBezTo>
                    <a:cubicBezTo>
                      <a:pt x="79" y="115"/>
                      <a:pt x="79" y="115"/>
                      <a:pt x="79" y="115"/>
                    </a:cubicBezTo>
                    <a:cubicBezTo>
                      <a:pt x="79" y="115"/>
                      <a:pt x="79" y="115"/>
                      <a:pt x="79" y="115"/>
                    </a:cubicBezTo>
                    <a:cubicBezTo>
                      <a:pt x="79" y="115"/>
                      <a:pt x="80" y="114"/>
                      <a:pt x="80" y="113"/>
                    </a:cubicBezTo>
                    <a:cubicBezTo>
                      <a:pt x="85" y="114"/>
                      <a:pt x="85" y="114"/>
                      <a:pt x="85" y="114"/>
                    </a:cubicBezTo>
                    <a:cubicBezTo>
                      <a:pt x="85" y="116"/>
                      <a:pt x="84" y="118"/>
                      <a:pt x="83" y="119"/>
                    </a:cubicBezTo>
                    <a:cubicBezTo>
                      <a:pt x="83" y="119"/>
                      <a:pt x="83" y="120"/>
                      <a:pt x="82" y="120"/>
                    </a:cubicBezTo>
                    <a:close/>
                    <a:moveTo>
                      <a:pt x="71" y="105"/>
                    </a:moveTo>
                    <a:cubicBezTo>
                      <a:pt x="71" y="104"/>
                      <a:pt x="71" y="104"/>
                      <a:pt x="70" y="103"/>
                    </a:cubicBezTo>
                    <a:cubicBezTo>
                      <a:pt x="72" y="98"/>
                      <a:pt x="72" y="98"/>
                      <a:pt x="72" y="98"/>
                    </a:cubicBezTo>
                    <a:cubicBezTo>
                      <a:pt x="76" y="99"/>
                      <a:pt x="77" y="103"/>
                      <a:pt x="77" y="104"/>
                    </a:cubicBezTo>
                    <a:lnTo>
                      <a:pt x="71" y="105"/>
                    </a:lnTo>
                    <a:close/>
                    <a:moveTo>
                      <a:pt x="61" y="95"/>
                    </a:moveTo>
                    <a:cubicBezTo>
                      <a:pt x="61" y="95"/>
                      <a:pt x="60" y="94"/>
                      <a:pt x="60" y="94"/>
                    </a:cubicBezTo>
                    <a:cubicBezTo>
                      <a:pt x="59" y="93"/>
                      <a:pt x="58" y="92"/>
                      <a:pt x="57" y="91"/>
                    </a:cubicBezTo>
                    <a:cubicBezTo>
                      <a:pt x="61" y="87"/>
                      <a:pt x="61" y="87"/>
                      <a:pt x="61" y="87"/>
                    </a:cubicBezTo>
                    <a:cubicBezTo>
                      <a:pt x="62" y="88"/>
                      <a:pt x="63" y="89"/>
                      <a:pt x="64" y="89"/>
                    </a:cubicBezTo>
                    <a:cubicBezTo>
                      <a:pt x="64" y="90"/>
                      <a:pt x="65" y="91"/>
                      <a:pt x="66" y="91"/>
                    </a:cubicBezTo>
                    <a:lnTo>
                      <a:pt x="61" y="95"/>
                    </a:lnTo>
                    <a:close/>
                    <a:moveTo>
                      <a:pt x="60" y="82"/>
                    </a:moveTo>
                    <a:cubicBezTo>
                      <a:pt x="56" y="78"/>
                      <a:pt x="56" y="78"/>
                      <a:pt x="56" y="78"/>
                    </a:cubicBezTo>
                    <a:cubicBezTo>
                      <a:pt x="56" y="77"/>
                      <a:pt x="57" y="77"/>
                      <a:pt x="57" y="77"/>
                    </a:cubicBezTo>
                    <a:cubicBezTo>
                      <a:pt x="62" y="73"/>
                      <a:pt x="62" y="73"/>
                      <a:pt x="62" y="73"/>
                    </a:cubicBezTo>
                    <a:cubicBezTo>
                      <a:pt x="63" y="74"/>
                      <a:pt x="63" y="75"/>
                      <a:pt x="63" y="77"/>
                    </a:cubicBezTo>
                    <a:cubicBezTo>
                      <a:pt x="63" y="78"/>
                      <a:pt x="63" y="79"/>
                      <a:pt x="61" y="81"/>
                    </a:cubicBezTo>
                    <a:cubicBezTo>
                      <a:pt x="61" y="81"/>
                      <a:pt x="61" y="81"/>
                      <a:pt x="60" y="82"/>
                    </a:cubicBezTo>
                    <a:close/>
                    <a:moveTo>
                      <a:pt x="48" y="69"/>
                    </a:moveTo>
                    <a:cubicBezTo>
                      <a:pt x="48" y="68"/>
                      <a:pt x="47" y="68"/>
                      <a:pt x="47" y="66"/>
                    </a:cubicBezTo>
                    <a:cubicBezTo>
                      <a:pt x="47" y="66"/>
                      <a:pt x="47" y="65"/>
                      <a:pt x="47" y="64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3" y="63"/>
                      <a:pt x="53" y="64"/>
                      <a:pt x="53" y="66"/>
                    </a:cubicBezTo>
                    <a:cubicBezTo>
                      <a:pt x="53" y="67"/>
                      <a:pt x="53" y="67"/>
                      <a:pt x="54" y="68"/>
                    </a:cubicBezTo>
                    <a:lnTo>
                      <a:pt x="48" y="69"/>
                    </a:lnTo>
                    <a:close/>
                    <a:moveTo>
                      <a:pt x="42" y="54"/>
                    </a:moveTo>
                    <a:cubicBezTo>
                      <a:pt x="41" y="52"/>
                      <a:pt x="40" y="51"/>
                      <a:pt x="39" y="50"/>
                    </a:cubicBezTo>
                    <a:cubicBezTo>
                      <a:pt x="43" y="45"/>
                      <a:pt x="43" y="45"/>
                      <a:pt x="43" y="45"/>
                    </a:cubicBezTo>
                    <a:cubicBezTo>
                      <a:pt x="45" y="47"/>
                      <a:pt x="47" y="50"/>
                      <a:pt x="47" y="51"/>
                    </a:cubicBezTo>
                    <a:lnTo>
                      <a:pt x="42" y="54"/>
                    </a:lnTo>
                    <a:close/>
                    <a:moveTo>
                      <a:pt x="41" y="38"/>
                    </a:moveTo>
                    <a:cubicBezTo>
                      <a:pt x="35" y="38"/>
                      <a:pt x="35" y="38"/>
                      <a:pt x="35" y="38"/>
                    </a:cubicBezTo>
                    <a:cubicBezTo>
                      <a:pt x="35" y="36"/>
                      <a:pt x="35" y="36"/>
                      <a:pt x="35" y="35"/>
                    </a:cubicBezTo>
                    <a:cubicBezTo>
                      <a:pt x="35" y="35"/>
                      <a:pt x="35" y="34"/>
                      <a:pt x="35" y="34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1" y="32"/>
                      <a:pt x="41" y="33"/>
                      <a:pt x="41" y="34"/>
                    </a:cubicBezTo>
                    <a:cubicBezTo>
                      <a:pt x="41" y="34"/>
                      <a:pt x="41" y="35"/>
                      <a:pt x="41" y="35"/>
                    </a:cubicBezTo>
                    <a:cubicBezTo>
                      <a:pt x="41" y="36"/>
                      <a:pt x="41" y="37"/>
                      <a:pt x="41" y="37"/>
                    </a:cubicBezTo>
                    <a:lnTo>
                      <a:pt x="41" y="38"/>
                    </a:lnTo>
                    <a:close/>
                    <a:moveTo>
                      <a:pt x="28" y="23"/>
                    </a:moveTo>
                    <a:cubicBezTo>
                      <a:pt x="28" y="22"/>
                      <a:pt x="28" y="22"/>
                      <a:pt x="28" y="22"/>
                    </a:cubicBezTo>
                    <a:cubicBezTo>
                      <a:pt x="27" y="21"/>
                      <a:pt x="27" y="19"/>
                      <a:pt x="26" y="18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3" y="17"/>
                      <a:pt x="33" y="19"/>
                      <a:pt x="33" y="20"/>
                    </a:cubicBezTo>
                    <a:cubicBezTo>
                      <a:pt x="34" y="22"/>
                      <a:pt x="34" y="22"/>
                      <a:pt x="34" y="22"/>
                    </a:cubicBezTo>
                    <a:lnTo>
                      <a:pt x="28" y="23"/>
                    </a:lnTo>
                    <a:close/>
                    <a:moveTo>
                      <a:pt x="5" y="17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1" y="13"/>
                      <a:pt x="2" y="10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6" y="15"/>
                      <a:pt x="5" y="17"/>
                      <a:pt x="5" y="17"/>
                    </a:cubicBezTo>
                    <a:close/>
                    <a:moveTo>
                      <a:pt x="14" y="16"/>
                    </a:moveTo>
                    <a:cubicBezTo>
                      <a:pt x="12" y="16"/>
                      <a:pt x="9" y="15"/>
                      <a:pt x="8" y="10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4" y="16"/>
                      <a:pt x="14" y="16"/>
                      <a:pt x="14" y="16"/>
                    </a:cubicBezTo>
                    <a:close/>
                    <a:moveTo>
                      <a:pt x="23" y="6"/>
                    </a:moveTo>
                    <a:cubicBezTo>
                      <a:pt x="22" y="6"/>
                      <a:pt x="22" y="6"/>
                      <a:pt x="22" y="5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7" y="1"/>
                      <a:pt x="28" y="4"/>
                      <a:pt x="28" y="5"/>
                    </a:cubicBezTo>
                    <a:lnTo>
                      <a:pt x="23" y="6"/>
                    </a:lnTo>
                    <a:close/>
                    <a:moveTo>
                      <a:pt x="23" y="5"/>
                    </a:moveTo>
                    <a:cubicBezTo>
                      <a:pt x="23" y="6"/>
                      <a:pt x="23" y="6"/>
                      <a:pt x="23" y="6"/>
                    </a:cubicBezTo>
                    <a:cubicBezTo>
                      <a:pt x="23" y="6"/>
                      <a:pt x="23" y="6"/>
                      <a:pt x="23" y="6"/>
                    </a:cubicBezTo>
                    <a:lnTo>
                      <a:pt x="23" y="5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7" name="íṡḷîḋê"/>
              <p:cNvSpPr/>
              <p:nvPr/>
            </p:nvSpPr>
            <p:spPr bwMode="auto">
              <a:xfrm>
                <a:off x="5724525" y="5033963"/>
                <a:ext cx="425450" cy="863600"/>
              </a:xfrm>
              <a:custGeom>
                <a:avLst/>
                <a:gdLst>
                  <a:gd name="T0" fmla="*/ 148 w 198"/>
                  <a:gd name="T1" fmla="*/ 388 h 403"/>
                  <a:gd name="T2" fmla="*/ 159 w 198"/>
                  <a:gd name="T3" fmla="*/ 383 h 403"/>
                  <a:gd name="T4" fmla="*/ 174 w 198"/>
                  <a:gd name="T5" fmla="*/ 372 h 403"/>
                  <a:gd name="T6" fmla="*/ 188 w 198"/>
                  <a:gd name="T7" fmla="*/ 377 h 403"/>
                  <a:gd name="T8" fmla="*/ 194 w 198"/>
                  <a:gd name="T9" fmla="*/ 354 h 403"/>
                  <a:gd name="T10" fmla="*/ 192 w 198"/>
                  <a:gd name="T11" fmla="*/ 342 h 403"/>
                  <a:gd name="T12" fmla="*/ 192 w 198"/>
                  <a:gd name="T13" fmla="*/ 343 h 403"/>
                  <a:gd name="T14" fmla="*/ 172 w 198"/>
                  <a:gd name="T15" fmla="*/ 330 h 403"/>
                  <a:gd name="T16" fmla="*/ 183 w 198"/>
                  <a:gd name="T17" fmla="*/ 329 h 403"/>
                  <a:gd name="T18" fmla="*/ 157 w 198"/>
                  <a:gd name="T19" fmla="*/ 327 h 403"/>
                  <a:gd name="T20" fmla="*/ 161 w 198"/>
                  <a:gd name="T21" fmla="*/ 323 h 403"/>
                  <a:gd name="T22" fmla="*/ 120 w 198"/>
                  <a:gd name="T23" fmla="*/ 320 h 403"/>
                  <a:gd name="T24" fmla="*/ 144 w 198"/>
                  <a:gd name="T25" fmla="*/ 323 h 403"/>
                  <a:gd name="T26" fmla="*/ 116 w 198"/>
                  <a:gd name="T27" fmla="*/ 313 h 403"/>
                  <a:gd name="T28" fmla="*/ 121 w 198"/>
                  <a:gd name="T29" fmla="*/ 315 h 403"/>
                  <a:gd name="T30" fmla="*/ 67 w 198"/>
                  <a:gd name="T31" fmla="*/ 300 h 403"/>
                  <a:gd name="T32" fmla="*/ 91 w 198"/>
                  <a:gd name="T33" fmla="*/ 294 h 403"/>
                  <a:gd name="T34" fmla="*/ 80 w 198"/>
                  <a:gd name="T35" fmla="*/ 286 h 403"/>
                  <a:gd name="T36" fmla="*/ 62 w 198"/>
                  <a:gd name="T37" fmla="*/ 279 h 403"/>
                  <a:gd name="T38" fmla="*/ 64 w 198"/>
                  <a:gd name="T39" fmla="*/ 265 h 403"/>
                  <a:gd name="T40" fmla="*/ 69 w 198"/>
                  <a:gd name="T41" fmla="*/ 250 h 403"/>
                  <a:gd name="T42" fmla="*/ 69 w 198"/>
                  <a:gd name="T43" fmla="*/ 232 h 403"/>
                  <a:gd name="T44" fmla="*/ 80 w 198"/>
                  <a:gd name="T45" fmla="*/ 220 h 403"/>
                  <a:gd name="T46" fmla="*/ 75 w 198"/>
                  <a:gd name="T47" fmla="*/ 209 h 403"/>
                  <a:gd name="T48" fmla="*/ 86 w 198"/>
                  <a:gd name="T49" fmla="*/ 215 h 403"/>
                  <a:gd name="T50" fmla="*/ 86 w 198"/>
                  <a:gd name="T51" fmla="*/ 216 h 403"/>
                  <a:gd name="T52" fmla="*/ 72 w 198"/>
                  <a:gd name="T53" fmla="*/ 198 h 403"/>
                  <a:gd name="T54" fmla="*/ 61 w 198"/>
                  <a:gd name="T55" fmla="*/ 194 h 403"/>
                  <a:gd name="T56" fmla="*/ 54 w 198"/>
                  <a:gd name="T57" fmla="*/ 177 h 403"/>
                  <a:gd name="T58" fmla="*/ 56 w 198"/>
                  <a:gd name="T59" fmla="*/ 161 h 403"/>
                  <a:gd name="T60" fmla="*/ 62 w 198"/>
                  <a:gd name="T61" fmla="*/ 144 h 403"/>
                  <a:gd name="T62" fmla="*/ 69 w 198"/>
                  <a:gd name="T63" fmla="*/ 134 h 403"/>
                  <a:gd name="T64" fmla="*/ 76 w 198"/>
                  <a:gd name="T65" fmla="*/ 120 h 403"/>
                  <a:gd name="T66" fmla="*/ 72 w 198"/>
                  <a:gd name="T67" fmla="*/ 104 h 403"/>
                  <a:gd name="T68" fmla="*/ 74 w 198"/>
                  <a:gd name="T69" fmla="*/ 108 h 403"/>
                  <a:gd name="T70" fmla="*/ 30 w 198"/>
                  <a:gd name="T71" fmla="*/ 100 h 403"/>
                  <a:gd name="T72" fmla="*/ 47 w 198"/>
                  <a:gd name="T73" fmla="*/ 98 h 403"/>
                  <a:gd name="T74" fmla="*/ 60 w 198"/>
                  <a:gd name="T75" fmla="*/ 91 h 403"/>
                  <a:gd name="T76" fmla="*/ 8 w 198"/>
                  <a:gd name="T77" fmla="*/ 90 h 403"/>
                  <a:gd name="T78" fmla="*/ 4 w 198"/>
                  <a:gd name="T79" fmla="*/ 77 h 403"/>
                  <a:gd name="T80" fmla="*/ 9 w 198"/>
                  <a:gd name="T81" fmla="*/ 62 h 403"/>
                  <a:gd name="T82" fmla="*/ 1 w 198"/>
                  <a:gd name="T83" fmla="*/ 53 h 403"/>
                  <a:gd name="T84" fmla="*/ 7 w 198"/>
                  <a:gd name="T85" fmla="*/ 53 h 403"/>
                  <a:gd name="T86" fmla="*/ 44 w 198"/>
                  <a:gd name="T87" fmla="*/ 41 h 403"/>
                  <a:gd name="T88" fmla="*/ 44 w 198"/>
                  <a:gd name="T89" fmla="*/ 41 h 403"/>
                  <a:gd name="T90" fmla="*/ 96 w 198"/>
                  <a:gd name="T91" fmla="*/ 39 h 403"/>
                  <a:gd name="T92" fmla="*/ 109 w 198"/>
                  <a:gd name="T93" fmla="*/ 37 h 403"/>
                  <a:gd name="T94" fmla="*/ 124 w 198"/>
                  <a:gd name="T95" fmla="*/ 29 h 403"/>
                  <a:gd name="T96" fmla="*/ 55 w 198"/>
                  <a:gd name="T97" fmla="*/ 26 h 403"/>
                  <a:gd name="T98" fmla="*/ 29 w 198"/>
                  <a:gd name="T99" fmla="*/ 25 h 403"/>
                  <a:gd name="T100" fmla="*/ 69 w 198"/>
                  <a:gd name="T101" fmla="*/ 29 h 403"/>
                  <a:gd name="T102" fmla="*/ 36 w 198"/>
                  <a:gd name="T103" fmla="*/ 24 h 403"/>
                  <a:gd name="T104" fmla="*/ 135 w 198"/>
                  <a:gd name="T105" fmla="*/ 22 h 403"/>
                  <a:gd name="T106" fmla="*/ 141 w 198"/>
                  <a:gd name="T107" fmla="*/ 5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8" h="403">
                    <a:moveTo>
                      <a:pt x="138" y="403"/>
                    </a:moveTo>
                    <a:cubicBezTo>
                      <a:pt x="133" y="400"/>
                      <a:pt x="133" y="400"/>
                      <a:pt x="133" y="400"/>
                    </a:cubicBezTo>
                    <a:cubicBezTo>
                      <a:pt x="133" y="400"/>
                      <a:pt x="135" y="398"/>
                      <a:pt x="137" y="395"/>
                    </a:cubicBezTo>
                    <a:cubicBezTo>
                      <a:pt x="142" y="398"/>
                      <a:pt x="142" y="398"/>
                      <a:pt x="142" y="398"/>
                    </a:cubicBezTo>
                    <a:cubicBezTo>
                      <a:pt x="140" y="401"/>
                      <a:pt x="138" y="403"/>
                      <a:pt x="138" y="403"/>
                    </a:cubicBezTo>
                    <a:close/>
                    <a:moveTo>
                      <a:pt x="149" y="393"/>
                    </a:moveTo>
                    <a:cubicBezTo>
                      <a:pt x="148" y="388"/>
                      <a:pt x="148" y="388"/>
                      <a:pt x="148" y="388"/>
                    </a:cubicBezTo>
                    <a:cubicBezTo>
                      <a:pt x="148" y="388"/>
                      <a:pt x="148" y="389"/>
                      <a:pt x="148" y="389"/>
                    </a:cubicBezTo>
                    <a:cubicBezTo>
                      <a:pt x="148" y="387"/>
                      <a:pt x="148" y="387"/>
                      <a:pt x="148" y="387"/>
                    </a:cubicBezTo>
                    <a:cubicBezTo>
                      <a:pt x="153" y="385"/>
                      <a:pt x="153" y="385"/>
                      <a:pt x="153" y="385"/>
                    </a:cubicBezTo>
                    <a:cubicBezTo>
                      <a:pt x="153" y="386"/>
                      <a:pt x="153" y="386"/>
                      <a:pt x="153" y="386"/>
                    </a:cubicBezTo>
                    <a:cubicBezTo>
                      <a:pt x="154" y="387"/>
                      <a:pt x="154" y="388"/>
                      <a:pt x="154" y="389"/>
                    </a:cubicBezTo>
                    <a:cubicBezTo>
                      <a:pt x="154" y="391"/>
                      <a:pt x="152" y="393"/>
                      <a:pt x="149" y="393"/>
                    </a:cubicBezTo>
                    <a:close/>
                    <a:moveTo>
                      <a:pt x="159" y="383"/>
                    </a:moveTo>
                    <a:cubicBezTo>
                      <a:pt x="157" y="377"/>
                      <a:pt x="157" y="377"/>
                      <a:pt x="157" y="377"/>
                    </a:cubicBezTo>
                    <a:cubicBezTo>
                      <a:pt x="158" y="377"/>
                      <a:pt x="160" y="376"/>
                      <a:pt x="161" y="375"/>
                    </a:cubicBezTo>
                    <a:cubicBezTo>
                      <a:pt x="165" y="379"/>
                      <a:pt x="165" y="379"/>
                      <a:pt x="165" y="379"/>
                    </a:cubicBezTo>
                    <a:cubicBezTo>
                      <a:pt x="163" y="381"/>
                      <a:pt x="161" y="382"/>
                      <a:pt x="159" y="383"/>
                    </a:cubicBezTo>
                    <a:close/>
                    <a:moveTo>
                      <a:pt x="174" y="380"/>
                    </a:moveTo>
                    <a:cubicBezTo>
                      <a:pt x="174" y="379"/>
                      <a:pt x="172" y="378"/>
                      <a:pt x="171" y="377"/>
                    </a:cubicBezTo>
                    <a:cubicBezTo>
                      <a:pt x="174" y="372"/>
                      <a:pt x="174" y="372"/>
                      <a:pt x="174" y="372"/>
                    </a:cubicBezTo>
                    <a:cubicBezTo>
                      <a:pt x="176" y="373"/>
                      <a:pt x="178" y="375"/>
                      <a:pt x="179" y="377"/>
                    </a:cubicBezTo>
                    <a:lnTo>
                      <a:pt x="174" y="380"/>
                    </a:lnTo>
                    <a:close/>
                    <a:moveTo>
                      <a:pt x="188" y="377"/>
                    </a:moveTo>
                    <a:cubicBezTo>
                      <a:pt x="183" y="374"/>
                      <a:pt x="183" y="374"/>
                      <a:pt x="183" y="374"/>
                    </a:cubicBezTo>
                    <a:cubicBezTo>
                      <a:pt x="184" y="372"/>
                      <a:pt x="185" y="371"/>
                      <a:pt x="185" y="370"/>
                    </a:cubicBezTo>
                    <a:cubicBezTo>
                      <a:pt x="191" y="371"/>
                      <a:pt x="191" y="371"/>
                      <a:pt x="191" y="371"/>
                    </a:cubicBezTo>
                    <a:cubicBezTo>
                      <a:pt x="191" y="373"/>
                      <a:pt x="190" y="375"/>
                      <a:pt x="188" y="377"/>
                    </a:cubicBezTo>
                    <a:close/>
                    <a:moveTo>
                      <a:pt x="194" y="360"/>
                    </a:moveTo>
                    <a:cubicBezTo>
                      <a:pt x="189" y="359"/>
                      <a:pt x="189" y="359"/>
                      <a:pt x="189" y="359"/>
                    </a:cubicBezTo>
                    <a:cubicBezTo>
                      <a:pt x="189" y="359"/>
                      <a:pt x="189" y="359"/>
                      <a:pt x="189" y="359"/>
                    </a:cubicBezTo>
                    <a:cubicBezTo>
                      <a:pt x="189" y="358"/>
                      <a:pt x="189" y="358"/>
                      <a:pt x="188" y="357"/>
                    </a:cubicBezTo>
                    <a:cubicBezTo>
                      <a:pt x="188" y="356"/>
                      <a:pt x="188" y="355"/>
                      <a:pt x="188" y="354"/>
                    </a:cubicBezTo>
                    <a:cubicBezTo>
                      <a:pt x="191" y="353"/>
                      <a:pt x="191" y="353"/>
                      <a:pt x="191" y="353"/>
                    </a:cubicBezTo>
                    <a:cubicBezTo>
                      <a:pt x="194" y="354"/>
                      <a:pt x="194" y="354"/>
                      <a:pt x="194" y="354"/>
                    </a:cubicBezTo>
                    <a:cubicBezTo>
                      <a:pt x="194" y="354"/>
                      <a:pt x="194" y="355"/>
                      <a:pt x="194" y="356"/>
                    </a:cubicBezTo>
                    <a:cubicBezTo>
                      <a:pt x="194" y="357"/>
                      <a:pt x="195" y="358"/>
                      <a:pt x="195" y="359"/>
                    </a:cubicBezTo>
                    <a:cubicBezTo>
                      <a:pt x="195" y="359"/>
                      <a:pt x="194" y="359"/>
                      <a:pt x="194" y="360"/>
                    </a:cubicBezTo>
                    <a:close/>
                    <a:moveTo>
                      <a:pt x="192" y="343"/>
                    </a:moveTo>
                    <a:cubicBezTo>
                      <a:pt x="195" y="343"/>
                      <a:pt x="195" y="343"/>
                      <a:pt x="195" y="343"/>
                    </a:cubicBezTo>
                    <a:cubicBezTo>
                      <a:pt x="192" y="343"/>
                      <a:pt x="192" y="343"/>
                      <a:pt x="192" y="343"/>
                    </a:cubicBezTo>
                    <a:cubicBezTo>
                      <a:pt x="192" y="343"/>
                      <a:pt x="192" y="342"/>
                      <a:pt x="192" y="342"/>
                    </a:cubicBezTo>
                    <a:cubicBezTo>
                      <a:pt x="192" y="342"/>
                      <a:pt x="191" y="340"/>
                      <a:pt x="191" y="339"/>
                    </a:cubicBezTo>
                    <a:cubicBezTo>
                      <a:pt x="190" y="339"/>
                      <a:pt x="190" y="339"/>
                      <a:pt x="190" y="339"/>
                    </a:cubicBezTo>
                    <a:cubicBezTo>
                      <a:pt x="195" y="336"/>
                      <a:pt x="195" y="336"/>
                      <a:pt x="195" y="336"/>
                    </a:cubicBezTo>
                    <a:cubicBezTo>
                      <a:pt x="196" y="337"/>
                      <a:pt x="196" y="337"/>
                      <a:pt x="196" y="337"/>
                    </a:cubicBezTo>
                    <a:cubicBezTo>
                      <a:pt x="197" y="339"/>
                      <a:pt x="198" y="340"/>
                      <a:pt x="198" y="342"/>
                    </a:cubicBezTo>
                    <a:cubicBezTo>
                      <a:pt x="198" y="343"/>
                      <a:pt x="198" y="343"/>
                      <a:pt x="198" y="343"/>
                    </a:cubicBezTo>
                    <a:lnTo>
                      <a:pt x="192" y="343"/>
                    </a:lnTo>
                    <a:close/>
                    <a:moveTo>
                      <a:pt x="131" y="331"/>
                    </a:moveTo>
                    <a:cubicBezTo>
                      <a:pt x="130" y="330"/>
                      <a:pt x="128" y="329"/>
                      <a:pt x="128" y="326"/>
                    </a:cubicBezTo>
                    <a:cubicBezTo>
                      <a:pt x="128" y="326"/>
                      <a:pt x="128" y="325"/>
                      <a:pt x="127" y="325"/>
                    </a:cubicBezTo>
                    <a:cubicBezTo>
                      <a:pt x="132" y="321"/>
                      <a:pt x="132" y="321"/>
                      <a:pt x="132" y="321"/>
                    </a:cubicBezTo>
                    <a:cubicBezTo>
                      <a:pt x="133" y="322"/>
                      <a:pt x="133" y="324"/>
                      <a:pt x="134" y="325"/>
                    </a:cubicBezTo>
                    <a:lnTo>
                      <a:pt x="131" y="331"/>
                    </a:lnTo>
                    <a:close/>
                    <a:moveTo>
                      <a:pt x="172" y="330"/>
                    </a:moveTo>
                    <a:cubicBezTo>
                      <a:pt x="168" y="326"/>
                      <a:pt x="168" y="326"/>
                      <a:pt x="168" y="326"/>
                    </a:cubicBezTo>
                    <a:cubicBezTo>
                      <a:pt x="168" y="325"/>
                      <a:pt x="169" y="325"/>
                      <a:pt x="169" y="323"/>
                    </a:cubicBezTo>
                    <a:cubicBezTo>
                      <a:pt x="170" y="322"/>
                      <a:pt x="170" y="321"/>
                      <a:pt x="171" y="321"/>
                    </a:cubicBezTo>
                    <a:cubicBezTo>
                      <a:pt x="174" y="326"/>
                      <a:pt x="174" y="326"/>
                      <a:pt x="174" y="326"/>
                    </a:cubicBezTo>
                    <a:cubicBezTo>
                      <a:pt x="175" y="326"/>
                      <a:pt x="175" y="325"/>
                      <a:pt x="175" y="325"/>
                    </a:cubicBezTo>
                    <a:cubicBezTo>
                      <a:pt x="174" y="327"/>
                      <a:pt x="173" y="329"/>
                      <a:pt x="172" y="330"/>
                    </a:cubicBezTo>
                    <a:close/>
                    <a:moveTo>
                      <a:pt x="183" y="329"/>
                    </a:moveTo>
                    <a:cubicBezTo>
                      <a:pt x="182" y="329"/>
                      <a:pt x="182" y="328"/>
                      <a:pt x="182" y="327"/>
                    </a:cubicBezTo>
                    <a:cubicBezTo>
                      <a:pt x="182" y="326"/>
                      <a:pt x="182" y="325"/>
                      <a:pt x="181" y="324"/>
                    </a:cubicBezTo>
                    <a:cubicBezTo>
                      <a:pt x="187" y="322"/>
                      <a:pt x="187" y="322"/>
                      <a:pt x="187" y="322"/>
                    </a:cubicBezTo>
                    <a:cubicBezTo>
                      <a:pt x="187" y="323"/>
                      <a:pt x="187" y="324"/>
                      <a:pt x="188" y="326"/>
                    </a:cubicBezTo>
                    <a:cubicBezTo>
                      <a:pt x="188" y="327"/>
                      <a:pt x="188" y="327"/>
                      <a:pt x="188" y="328"/>
                    </a:cubicBezTo>
                    <a:lnTo>
                      <a:pt x="183" y="329"/>
                    </a:lnTo>
                    <a:close/>
                    <a:moveTo>
                      <a:pt x="157" y="327"/>
                    </a:moveTo>
                    <a:cubicBezTo>
                      <a:pt x="157" y="327"/>
                      <a:pt x="157" y="327"/>
                      <a:pt x="157" y="327"/>
                    </a:cubicBezTo>
                    <a:cubicBezTo>
                      <a:pt x="156" y="326"/>
                      <a:pt x="155" y="325"/>
                      <a:pt x="155" y="325"/>
                    </a:cubicBezTo>
                    <a:cubicBezTo>
                      <a:pt x="155" y="325"/>
                      <a:pt x="154" y="325"/>
                      <a:pt x="154" y="325"/>
                    </a:cubicBezTo>
                    <a:cubicBezTo>
                      <a:pt x="155" y="320"/>
                      <a:pt x="155" y="320"/>
                      <a:pt x="155" y="320"/>
                    </a:cubicBezTo>
                    <a:cubicBezTo>
                      <a:pt x="155" y="320"/>
                      <a:pt x="155" y="320"/>
                      <a:pt x="155" y="320"/>
                    </a:cubicBezTo>
                    <a:cubicBezTo>
                      <a:pt x="158" y="320"/>
                      <a:pt x="159" y="321"/>
                      <a:pt x="161" y="323"/>
                    </a:cubicBezTo>
                    <a:cubicBezTo>
                      <a:pt x="161" y="323"/>
                      <a:pt x="161" y="323"/>
                      <a:pt x="161" y="323"/>
                    </a:cubicBezTo>
                    <a:lnTo>
                      <a:pt x="157" y="327"/>
                    </a:lnTo>
                    <a:close/>
                    <a:moveTo>
                      <a:pt x="118" y="326"/>
                    </a:moveTo>
                    <a:cubicBezTo>
                      <a:pt x="117" y="325"/>
                      <a:pt x="116" y="325"/>
                      <a:pt x="115" y="325"/>
                    </a:cubicBezTo>
                    <a:cubicBezTo>
                      <a:pt x="114" y="324"/>
                      <a:pt x="113" y="324"/>
                      <a:pt x="112" y="323"/>
                    </a:cubicBezTo>
                    <a:cubicBezTo>
                      <a:pt x="115" y="318"/>
                      <a:pt x="115" y="318"/>
                      <a:pt x="115" y="318"/>
                    </a:cubicBezTo>
                    <a:cubicBezTo>
                      <a:pt x="116" y="318"/>
                      <a:pt x="117" y="319"/>
                      <a:pt x="118" y="319"/>
                    </a:cubicBezTo>
                    <a:cubicBezTo>
                      <a:pt x="119" y="320"/>
                      <a:pt x="119" y="320"/>
                      <a:pt x="120" y="320"/>
                    </a:cubicBezTo>
                    <a:lnTo>
                      <a:pt x="118" y="326"/>
                    </a:lnTo>
                    <a:close/>
                    <a:moveTo>
                      <a:pt x="138" y="325"/>
                    </a:moveTo>
                    <a:cubicBezTo>
                      <a:pt x="138" y="325"/>
                      <a:pt x="138" y="324"/>
                      <a:pt x="138" y="324"/>
                    </a:cubicBezTo>
                    <a:cubicBezTo>
                      <a:pt x="138" y="324"/>
                      <a:pt x="138" y="324"/>
                      <a:pt x="138" y="323"/>
                    </a:cubicBezTo>
                    <a:cubicBezTo>
                      <a:pt x="138" y="322"/>
                      <a:pt x="139" y="321"/>
                      <a:pt x="139" y="320"/>
                    </a:cubicBezTo>
                    <a:cubicBezTo>
                      <a:pt x="140" y="319"/>
                      <a:pt x="141" y="318"/>
                      <a:pt x="142" y="317"/>
                    </a:cubicBezTo>
                    <a:cubicBezTo>
                      <a:pt x="144" y="323"/>
                      <a:pt x="144" y="323"/>
                      <a:pt x="144" y="323"/>
                    </a:cubicBezTo>
                    <a:cubicBezTo>
                      <a:pt x="144" y="323"/>
                      <a:pt x="144" y="323"/>
                      <a:pt x="144" y="323"/>
                    </a:cubicBezTo>
                    <a:cubicBezTo>
                      <a:pt x="144" y="323"/>
                      <a:pt x="144" y="323"/>
                      <a:pt x="144" y="323"/>
                    </a:cubicBezTo>
                    <a:cubicBezTo>
                      <a:pt x="144" y="324"/>
                      <a:pt x="144" y="324"/>
                      <a:pt x="144" y="325"/>
                    </a:cubicBezTo>
                    <a:lnTo>
                      <a:pt x="138" y="325"/>
                    </a:lnTo>
                    <a:close/>
                    <a:moveTo>
                      <a:pt x="121" y="315"/>
                    </a:moveTo>
                    <a:cubicBezTo>
                      <a:pt x="116" y="312"/>
                      <a:pt x="116" y="312"/>
                      <a:pt x="116" y="312"/>
                    </a:cubicBezTo>
                    <a:cubicBezTo>
                      <a:pt x="116" y="312"/>
                      <a:pt x="116" y="312"/>
                      <a:pt x="116" y="313"/>
                    </a:cubicBezTo>
                    <a:cubicBezTo>
                      <a:pt x="116" y="313"/>
                      <a:pt x="116" y="313"/>
                      <a:pt x="116" y="313"/>
                    </a:cubicBezTo>
                    <a:cubicBezTo>
                      <a:pt x="116" y="313"/>
                      <a:pt x="116" y="313"/>
                      <a:pt x="116" y="313"/>
                    </a:cubicBezTo>
                    <a:cubicBezTo>
                      <a:pt x="114" y="310"/>
                      <a:pt x="114" y="310"/>
                      <a:pt x="114" y="310"/>
                    </a:cubicBezTo>
                    <a:cubicBezTo>
                      <a:pt x="118" y="307"/>
                      <a:pt x="118" y="307"/>
                      <a:pt x="118" y="307"/>
                    </a:cubicBezTo>
                    <a:cubicBezTo>
                      <a:pt x="120" y="309"/>
                      <a:pt x="120" y="309"/>
                      <a:pt x="120" y="309"/>
                    </a:cubicBezTo>
                    <a:cubicBezTo>
                      <a:pt x="121" y="310"/>
                      <a:pt x="122" y="311"/>
                      <a:pt x="122" y="313"/>
                    </a:cubicBezTo>
                    <a:cubicBezTo>
                      <a:pt x="122" y="313"/>
                      <a:pt x="121" y="314"/>
                      <a:pt x="121" y="315"/>
                    </a:cubicBezTo>
                    <a:close/>
                    <a:moveTo>
                      <a:pt x="67" y="300"/>
                    </a:moveTo>
                    <a:cubicBezTo>
                      <a:pt x="67" y="299"/>
                      <a:pt x="66" y="299"/>
                      <a:pt x="66" y="298"/>
                    </a:cubicBezTo>
                    <a:cubicBezTo>
                      <a:pt x="64" y="294"/>
                      <a:pt x="64" y="294"/>
                      <a:pt x="64" y="294"/>
                    </a:cubicBezTo>
                    <a:cubicBezTo>
                      <a:pt x="69" y="291"/>
                      <a:pt x="69" y="291"/>
                      <a:pt x="69" y="291"/>
                    </a:cubicBezTo>
                    <a:cubicBezTo>
                      <a:pt x="71" y="295"/>
                      <a:pt x="71" y="295"/>
                      <a:pt x="71" y="295"/>
                    </a:cubicBezTo>
                    <a:cubicBezTo>
                      <a:pt x="71" y="295"/>
                      <a:pt x="71" y="296"/>
                      <a:pt x="71" y="296"/>
                    </a:cubicBezTo>
                    <a:lnTo>
                      <a:pt x="67" y="300"/>
                    </a:lnTo>
                    <a:close/>
                    <a:moveTo>
                      <a:pt x="110" y="299"/>
                    </a:moveTo>
                    <a:cubicBezTo>
                      <a:pt x="109" y="298"/>
                      <a:pt x="108" y="297"/>
                      <a:pt x="106" y="296"/>
                    </a:cubicBezTo>
                    <a:cubicBezTo>
                      <a:pt x="110" y="291"/>
                      <a:pt x="110" y="291"/>
                      <a:pt x="110" y="291"/>
                    </a:cubicBezTo>
                    <a:cubicBezTo>
                      <a:pt x="112" y="293"/>
                      <a:pt x="114" y="294"/>
                      <a:pt x="115" y="296"/>
                    </a:cubicBezTo>
                    <a:lnTo>
                      <a:pt x="110" y="299"/>
                    </a:lnTo>
                    <a:close/>
                    <a:moveTo>
                      <a:pt x="96" y="295"/>
                    </a:moveTo>
                    <a:cubicBezTo>
                      <a:pt x="94" y="295"/>
                      <a:pt x="93" y="295"/>
                      <a:pt x="91" y="294"/>
                    </a:cubicBezTo>
                    <a:cubicBezTo>
                      <a:pt x="92" y="289"/>
                      <a:pt x="92" y="289"/>
                      <a:pt x="92" y="289"/>
                    </a:cubicBezTo>
                    <a:cubicBezTo>
                      <a:pt x="94" y="289"/>
                      <a:pt x="96" y="290"/>
                      <a:pt x="97" y="289"/>
                    </a:cubicBezTo>
                    <a:cubicBezTo>
                      <a:pt x="97" y="295"/>
                      <a:pt x="97" y="295"/>
                      <a:pt x="97" y="295"/>
                    </a:cubicBezTo>
                    <a:cubicBezTo>
                      <a:pt x="97" y="295"/>
                      <a:pt x="97" y="295"/>
                      <a:pt x="96" y="295"/>
                    </a:cubicBezTo>
                    <a:close/>
                    <a:moveTo>
                      <a:pt x="77" y="293"/>
                    </a:moveTo>
                    <a:cubicBezTo>
                      <a:pt x="72" y="289"/>
                      <a:pt x="72" y="289"/>
                      <a:pt x="72" y="289"/>
                    </a:cubicBezTo>
                    <a:cubicBezTo>
                      <a:pt x="74" y="287"/>
                      <a:pt x="77" y="286"/>
                      <a:pt x="80" y="286"/>
                    </a:cubicBezTo>
                    <a:cubicBezTo>
                      <a:pt x="80" y="292"/>
                      <a:pt x="80" y="292"/>
                      <a:pt x="80" y="292"/>
                    </a:cubicBezTo>
                    <a:cubicBezTo>
                      <a:pt x="78" y="292"/>
                      <a:pt x="77" y="293"/>
                      <a:pt x="77" y="293"/>
                    </a:cubicBezTo>
                    <a:close/>
                    <a:moveTo>
                      <a:pt x="58" y="284"/>
                    </a:moveTo>
                    <a:cubicBezTo>
                      <a:pt x="57" y="283"/>
                      <a:pt x="57" y="282"/>
                      <a:pt x="56" y="281"/>
                    </a:cubicBezTo>
                    <a:cubicBezTo>
                      <a:pt x="56" y="280"/>
                      <a:pt x="56" y="279"/>
                      <a:pt x="55" y="279"/>
                    </a:cubicBezTo>
                    <a:cubicBezTo>
                      <a:pt x="60" y="276"/>
                      <a:pt x="60" y="276"/>
                      <a:pt x="60" y="276"/>
                    </a:cubicBezTo>
                    <a:cubicBezTo>
                      <a:pt x="61" y="277"/>
                      <a:pt x="61" y="278"/>
                      <a:pt x="62" y="279"/>
                    </a:cubicBezTo>
                    <a:cubicBezTo>
                      <a:pt x="62" y="280"/>
                      <a:pt x="63" y="281"/>
                      <a:pt x="63" y="282"/>
                    </a:cubicBezTo>
                    <a:lnTo>
                      <a:pt x="58" y="284"/>
                    </a:lnTo>
                    <a:close/>
                    <a:moveTo>
                      <a:pt x="59" y="270"/>
                    </a:moveTo>
                    <a:cubicBezTo>
                      <a:pt x="55" y="265"/>
                      <a:pt x="55" y="265"/>
                      <a:pt x="55" y="265"/>
                    </a:cubicBezTo>
                    <a:cubicBezTo>
                      <a:pt x="56" y="264"/>
                      <a:pt x="57" y="264"/>
                      <a:pt x="58" y="263"/>
                    </a:cubicBezTo>
                    <a:cubicBezTo>
                      <a:pt x="58" y="263"/>
                      <a:pt x="59" y="263"/>
                      <a:pt x="59" y="262"/>
                    </a:cubicBezTo>
                    <a:cubicBezTo>
                      <a:pt x="64" y="265"/>
                      <a:pt x="64" y="265"/>
                      <a:pt x="64" y="265"/>
                    </a:cubicBezTo>
                    <a:cubicBezTo>
                      <a:pt x="63" y="267"/>
                      <a:pt x="62" y="268"/>
                      <a:pt x="61" y="268"/>
                    </a:cubicBezTo>
                    <a:cubicBezTo>
                      <a:pt x="60" y="269"/>
                      <a:pt x="59" y="269"/>
                      <a:pt x="59" y="270"/>
                    </a:cubicBezTo>
                    <a:close/>
                    <a:moveTo>
                      <a:pt x="66" y="253"/>
                    </a:moveTo>
                    <a:cubicBezTo>
                      <a:pt x="61" y="251"/>
                      <a:pt x="61" y="251"/>
                      <a:pt x="61" y="251"/>
                    </a:cubicBezTo>
                    <a:cubicBezTo>
                      <a:pt x="61" y="250"/>
                      <a:pt x="62" y="248"/>
                      <a:pt x="63" y="248"/>
                    </a:cubicBezTo>
                    <a:cubicBezTo>
                      <a:pt x="64" y="247"/>
                      <a:pt x="65" y="247"/>
                      <a:pt x="66" y="246"/>
                    </a:cubicBezTo>
                    <a:cubicBezTo>
                      <a:pt x="69" y="250"/>
                      <a:pt x="69" y="250"/>
                      <a:pt x="69" y="250"/>
                    </a:cubicBezTo>
                    <a:cubicBezTo>
                      <a:pt x="69" y="251"/>
                      <a:pt x="68" y="252"/>
                      <a:pt x="67" y="252"/>
                    </a:cubicBezTo>
                    <a:cubicBezTo>
                      <a:pt x="67" y="252"/>
                      <a:pt x="66" y="253"/>
                      <a:pt x="66" y="253"/>
                    </a:cubicBezTo>
                    <a:close/>
                    <a:moveTo>
                      <a:pt x="66" y="239"/>
                    </a:moveTo>
                    <a:cubicBezTo>
                      <a:pt x="66" y="238"/>
                      <a:pt x="66" y="237"/>
                      <a:pt x="66" y="237"/>
                    </a:cubicBezTo>
                    <a:cubicBezTo>
                      <a:pt x="66" y="235"/>
                      <a:pt x="67" y="234"/>
                      <a:pt x="68" y="233"/>
                    </a:cubicBezTo>
                    <a:cubicBezTo>
                      <a:pt x="68" y="233"/>
                      <a:pt x="68" y="233"/>
                      <a:pt x="69" y="232"/>
                    </a:cubicBezTo>
                    <a:cubicBezTo>
                      <a:pt x="69" y="232"/>
                      <a:pt x="69" y="232"/>
                      <a:pt x="69" y="232"/>
                    </a:cubicBezTo>
                    <a:cubicBezTo>
                      <a:pt x="74" y="235"/>
                      <a:pt x="74" y="235"/>
                      <a:pt x="74" y="235"/>
                    </a:cubicBezTo>
                    <a:cubicBezTo>
                      <a:pt x="73" y="237"/>
                      <a:pt x="72" y="237"/>
                      <a:pt x="71" y="238"/>
                    </a:cubicBezTo>
                    <a:cubicBezTo>
                      <a:pt x="71" y="238"/>
                      <a:pt x="71" y="237"/>
                      <a:pt x="71" y="237"/>
                    </a:cubicBezTo>
                    <a:lnTo>
                      <a:pt x="66" y="239"/>
                    </a:lnTo>
                    <a:close/>
                    <a:moveTo>
                      <a:pt x="80" y="226"/>
                    </a:moveTo>
                    <a:cubicBezTo>
                      <a:pt x="75" y="223"/>
                      <a:pt x="75" y="223"/>
                      <a:pt x="75" y="223"/>
                    </a:cubicBezTo>
                    <a:cubicBezTo>
                      <a:pt x="77" y="221"/>
                      <a:pt x="78" y="220"/>
                      <a:pt x="80" y="220"/>
                    </a:cubicBezTo>
                    <a:cubicBezTo>
                      <a:pt x="82" y="220"/>
                      <a:pt x="82" y="220"/>
                      <a:pt x="84" y="221"/>
                    </a:cubicBezTo>
                    <a:cubicBezTo>
                      <a:pt x="81" y="226"/>
                      <a:pt x="81" y="226"/>
                      <a:pt x="81" y="226"/>
                    </a:cubicBezTo>
                    <a:cubicBezTo>
                      <a:pt x="81" y="226"/>
                      <a:pt x="81" y="226"/>
                      <a:pt x="81" y="226"/>
                    </a:cubicBezTo>
                    <a:cubicBezTo>
                      <a:pt x="80" y="226"/>
                      <a:pt x="80" y="226"/>
                      <a:pt x="80" y="226"/>
                    </a:cubicBezTo>
                    <a:close/>
                    <a:moveTo>
                      <a:pt x="72" y="217"/>
                    </a:moveTo>
                    <a:cubicBezTo>
                      <a:pt x="71" y="216"/>
                      <a:pt x="70" y="214"/>
                      <a:pt x="69" y="211"/>
                    </a:cubicBezTo>
                    <a:cubicBezTo>
                      <a:pt x="75" y="209"/>
                      <a:pt x="75" y="209"/>
                      <a:pt x="75" y="209"/>
                    </a:cubicBezTo>
                    <a:cubicBezTo>
                      <a:pt x="75" y="211"/>
                      <a:pt x="76" y="212"/>
                      <a:pt x="77" y="213"/>
                    </a:cubicBezTo>
                    <a:lnTo>
                      <a:pt x="72" y="217"/>
                    </a:lnTo>
                    <a:close/>
                    <a:moveTo>
                      <a:pt x="86" y="216"/>
                    </a:moveTo>
                    <a:cubicBezTo>
                      <a:pt x="86" y="216"/>
                      <a:pt x="86" y="216"/>
                      <a:pt x="86" y="216"/>
                    </a:cubicBezTo>
                    <a:cubicBezTo>
                      <a:pt x="84" y="215"/>
                      <a:pt x="84" y="215"/>
                      <a:pt x="84" y="215"/>
                    </a:cubicBezTo>
                    <a:cubicBezTo>
                      <a:pt x="84" y="215"/>
                      <a:pt x="84" y="214"/>
                      <a:pt x="84" y="214"/>
                    </a:cubicBezTo>
                    <a:cubicBezTo>
                      <a:pt x="84" y="214"/>
                      <a:pt x="85" y="215"/>
                      <a:pt x="86" y="215"/>
                    </a:cubicBezTo>
                    <a:cubicBezTo>
                      <a:pt x="83" y="211"/>
                      <a:pt x="83" y="211"/>
                      <a:pt x="83" y="211"/>
                    </a:cubicBezTo>
                    <a:cubicBezTo>
                      <a:pt x="84" y="211"/>
                      <a:pt x="84" y="210"/>
                      <a:pt x="85" y="210"/>
                    </a:cubicBezTo>
                    <a:cubicBezTo>
                      <a:pt x="85" y="210"/>
                      <a:pt x="86" y="209"/>
                      <a:pt x="87" y="209"/>
                    </a:cubicBezTo>
                    <a:cubicBezTo>
                      <a:pt x="87" y="209"/>
                      <a:pt x="90" y="210"/>
                      <a:pt x="90" y="214"/>
                    </a:cubicBezTo>
                    <a:cubicBezTo>
                      <a:pt x="90" y="214"/>
                      <a:pt x="90" y="215"/>
                      <a:pt x="90" y="216"/>
                    </a:cubicBezTo>
                    <a:cubicBezTo>
                      <a:pt x="87" y="216"/>
                      <a:pt x="87" y="216"/>
                      <a:pt x="87" y="216"/>
                    </a:cubicBezTo>
                    <a:cubicBezTo>
                      <a:pt x="87" y="216"/>
                      <a:pt x="87" y="216"/>
                      <a:pt x="86" y="216"/>
                    </a:cubicBezTo>
                    <a:close/>
                    <a:moveTo>
                      <a:pt x="88" y="215"/>
                    </a:moveTo>
                    <a:cubicBezTo>
                      <a:pt x="88" y="215"/>
                      <a:pt x="88" y="215"/>
                      <a:pt x="88" y="215"/>
                    </a:cubicBezTo>
                    <a:cubicBezTo>
                      <a:pt x="88" y="215"/>
                      <a:pt x="88" y="215"/>
                      <a:pt x="88" y="215"/>
                    </a:cubicBezTo>
                    <a:close/>
                    <a:moveTo>
                      <a:pt x="66" y="200"/>
                    </a:moveTo>
                    <a:cubicBezTo>
                      <a:pt x="66" y="198"/>
                      <a:pt x="65" y="196"/>
                      <a:pt x="64" y="195"/>
                    </a:cubicBezTo>
                    <a:cubicBezTo>
                      <a:pt x="69" y="192"/>
                      <a:pt x="69" y="192"/>
                      <a:pt x="69" y="192"/>
                    </a:cubicBezTo>
                    <a:cubicBezTo>
                      <a:pt x="70" y="194"/>
                      <a:pt x="71" y="196"/>
                      <a:pt x="72" y="198"/>
                    </a:cubicBezTo>
                    <a:lnTo>
                      <a:pt x="66" y="200"/>
                    </a:lnTo>
                    <a:close/>
                    <a:moveTo>
                      <a:pt x="57" y="198"/>
                    </a:moveTo>
                    <a:cubicBezTo>
                      <a:pt x="55" y="198"/>
                      <a:pt x="55" y="196"/>
                      <a:pt x="55" y="195"/>
                    </a:cubicBezTo>
                    <a:cubicBezTo>
                      <a:pt x="54" y="194"/>
                      <a:pt x="54" y="193"/>
                      <a:pt x="54" y="192"/>
                    </a:cubicBezTo>
                    <a:cubicBezTo>
                      <a:pt x="59" y="189"/>
                      <a:pt x="59" y="189"/>
                      <a:pt x="59" y="189"/>
                    </a:cubicBezTo>
                    <a:cubicBezTo>
                      <a:pt x="59" y="190"/>
                      <a:pt x="60" y="192"/>
                      <a:pt x="60" y="193"/>
                    </a:cubicBezTo>
                    <a:cubicBezTo>
                      <a:pt x="60" y="194"/>
                      <a:pt x="61" y="194"/>
                      <a:pt x="61" y="194"/>
                    </a:cubicBezTo>
                    <a:cubicBezTo>
                      <a:pt x="60" y="194"/>
                      <a:pt x="60" y="194"/>
                      <a:pt x="60" y="193"/>
                    </a:cubicBezTo>
                    <a:lnTo>
                      <a:pt x="57" y="198"/>
                    </a:lnTo>
                    <a:close/>
                    <a:moveTo>
                      <a:pt x="47" y="181"/>
                    </a:moveTo>
                    <a:cubicBezTo>
                      <a:pt x="47" y="181"/>
                      <a:pt x="47" y="181"/>
                      <a:pt x="47" y="181"/>
                    </a:cubicBezTo>
                    <a:cubicBezTo>
                      <a:pt x="47" y="180"/>
                      <a:pt x="47" y="178"/>
                      <a:pt x="48" y="176"/>
                    </a:cubicBezTo>
                    <a:cubicBezTo>
                      <a:pt x="48" y="176"/>
                      <a:pt x="48" y="175"/>
                      <a:pt x="49" y="174"/>
                    </a:cubicBezTo>
                    <a:cubicBezTo>
                      <a:pt x="54" y="177"/>
                      <a:pt x="54" y="177"/>
                      <a:pt x="54" y="177"/>
                    </a:cubicBezTo>
                    <a:cubicBezTo>
                      <a:pt x="54" y="178"/>
                      <a:pt x="53" y="178"/>
                      <a:pt x="53" y="178"/>
                    </a:cubicBezTo>
                    <a:cubicBezTo>
                      <a:pt x="53" y="180"/>
                      <a:pt x="53" y="181"/>
                      <a:pt x="53" y="181"/>
                    </a:cubicBezTo>
                    <a:lnTo>
                      <a:pt x="47" y="181"/>
                    </a:lnTo>
                    <a:close/>
                    <a:moveTo>
                      <a:pt x="61" y="168"/>
                    </a:moveTo>
                    <a:cubicBezTo>
                      <a:pt x="55" y="166"/>
                      <a:pt x="55" y="166"/>
                      <a:pt x="55" y="166"/>
                    </a:cubicBezTo>
                    <a:cubicBezTo>
                      <a:pt x="56" y="165"/>
                      <a:pt x="56" y="164"/>
                      <a:pt x="56" y="164"/>
                    </a:cubicBezTo>
                    <a:cubicBezTo>
                      <a:pt x="56" y="163"/>
                      <a:pt x="56" y="162"/>
                      <a:pt x="56" y="161"/>
                    </a:cubicBezTo>
                    <a:cubicBezTo>
                      <a:pt x="62" y="161"/>
                      <a:pt x="62" y="161"/>
                      <a:pt x="62" y="161"/>
                    </a:cubicBezTo>
                    <a:cubicBezTo>
                      <a:pt x="62" y="162"/>
                      <a:pt x="62" y="163"/>
                      <a:pt x="62" y="164"/>
                    </a:cubicBezTo>
                    <a:cubicBezTo>
                      <a:pt x="62" y="165"/>
                      <a:pt x="61" y="166"/>
                      <a:pt x="61" y="168"/>
                    </a:cubicBezTo>
                    <a:close/>
                    <a:moveTo>
                      <a:pt x="64" y="151"/>
                    </a:moveTo>
                    <a:cubicBezTo>
                      <a:pt x="59" y="148"/>
                      <a:pt x="59" y="148"/>
                      <a:pt x="59" y="148"/>
                    </a:cubicBezTo>
                    <a:cubicBezTo>
                      <a:pt x="60" y="148"/>
                      <a:pt x="60" y="147"/>
                      <a:pt x="60" y="147"/>
                    </a:cubicBezTo>
                    <a:cubicBezTo>
                      <a:pt x="61" y="146"/>
                      <a:pt x="61" y="145"/>
                      <a:pt x="62" y="144"/>
                    </a:cubicBezTo>
                    <a:cubicBezTo>
                      <a:pt x="67" y="145"/>
                      <a:pt x="67" y="145"/>
                      <a:pt x="67" y="145"/>
                    </a:cubicBezTo>
                    <a:cubicBezTo>
                      <a:pt x="67" y="146"/>
                      <a:pt x="67" y="148"/>
                      <a:pt x="65" y="150"/>
                    </a:cubicBezTo>
                    <a:cubicBezTo>
                      <a:pt x="65" y="151"/>
                      <a:pt x="64" y="151"/>
                      <a:pt x="64" y="151"/>
                    </a:cubicBezTo>
                    <a:close/>
                    <a:moveTo>
                      <a:pt x="74" y="137"/>
                    </a:moveTo>
                    <a:cubicBezTo>
                      <a:pt x="69" y="135"/>
                      <a:pt x="69" y="135"/>
                      <a:pt x="69" y="135"/>
                    </a:cubicBezTo>
                    <a:cubicBezTo>
                      <a:pt x="69" y="135"/>
                      <a:pt x="69" y="135"/>
                      <a:pt x="69" y="135"/>
                    </a:cubicBezTo>
                    <a:cubicBezTo>
                      <a:pt x="69" y="134"/>
                      <a:pt x="69" y="134"/>
                      <a:pt x="69" y="134"/>
                    </a:cubicBezTo>
                    <a:cubicBezTo>
                      <a:pt x="68" y="133"/>
                      <a:pt x="68" y="132"/>
                      <a:pt x="68" y="131"/>
                    </a:cubicBezTo>
                    <a:cubicBezTo>
                      <a:pt x="73" y="130"/>
                      <a:pt x="73" y="130"/>
                      <a:pt x="73" y="130"/>
                    </a:cubicBezTo>
                    <a:cubicBezTo>
                      <a:pt x="73" y="130"/>
                      <a:pt x="73" y="130"/>
                      <a:pt x="74" y="131"/>
                    </a:cubicBezTo>
                    <a:cubicBezTo>
                      <a:pt x="74" y="132"/>
                      <a:pt x="75" y="134"/>
                      <a:pt x="75" y="135"/>
                    </a:cubicBezTo>
                    <a:cubicBezTo>
                      <a:pt x="75" y="135"/>
                      <a:pt x="75" y="136"/>
                      <a:pt x="74" y="137"/>
                    </a:cubicBezTo>
                    <a:close/>
                    <a:moveTo>
                      <a:pt x="79" y="124"/>
                    </a:moveTo>
                    <a:cubicBezTo>
                      <a:pt x="76" y="120"/>
                      <a:pt x="76" y="120"/>
                      <a:pt x="76" y="120"/>
                    </a:cubicBezTo>
                    <a:cubicBezTo>
                      <a:pt x="77" y="119"/>
                      <a:pt x="78" y="118"/>
                      <a:pt x="78" y="118"/>
                    </a:cubicBezTo>
                    <a:cubicBezTo>
                      <a:pt x="83" y="117"/>
                      <a:pt x="83" y="117"/>
                      <a:pt x="83" y="117"/>
                    </a:cubicBezTo>
                    <a:cubicBezTo>
                      <a:pt x="83" y="117"/>
                      <a:pt x="83" y="118"/>
                      <a:pt x="83" y="118"/>
                    </a:cubicBezTo>
                    <a:cubicBezTo>
                      <a:pt x="83" y="118"/>
                      <a:pt x="83" y="118"/>
                      <a:pt x="83" y="119"/>
                    </a:cubicBezTo>
                    <a:cubicBezTo>
                      <a:pt x="83" y="121"/>
                      <a:pt x="81" y="123"/>
                      <a:pt x="79" y="124"/>
                    </a:cubicBezTo>
                    <a:close/>
                    <a:moveTo>
                      <a:pt x="74" y="108"/>
                    </a:moveTo>
                    <a:cubicBezTo>
                      <a:pt x="73" y="106"/>
                      <a:pt x="72" y="105"/>
                      <a:pt x="72" y="104"/>
                    </a:cubicBezTo>
                    <a:cubicBezTo>
                      <a:pt x="71" y="103"/>
                      <a:pt x="71" y="103"/>
                      <a:pt x="71" y="103"/>
                    </a:cubicBezTo>
                    <a:cubicBezTo>
                      <a:pt x="71" y="103"/>
                      <a:pt x="71" y="103"/>
                      <a:pt x="71" y="103"/>
                    </a:cubicBezTo>
                    <a:cubicBezTo>
                      <a:pt x="76" y="99"/>
                      <a:pt x="76" y="99"/>
                      <a:pt x="76" y="99"/>
                    </a:cubicBezTo>
                    <a:cubicBezTo>
                      <a:pt x="76" y="100"/>
                      <a:pt x="76" y="100"/>
                      <a:pt x="77" y="101"/>
                    </a:cubicBezTo>
                    <a:cubicBezTo>
                      <a:pt x="77" y="101"/>
                      <a:pt x="77" y="101"/>
                      <a:pt x="77" y="101"/>
                    </a:cubicBezTo>
                    <a:cubicBezTo>
                      <a:pt x="77" y="102"/>
                      <a:pt x="78" y="104"/>
                      <a:pt x="79" y="105"/>
                    </a:cubicBezTo>
                    <a:lnTo>
                      <a:pt x="74" y="108"/>
                    </a:lnTo>
                    <a:close/>
                    <a:moveTo>
                      <a:pt x="20" y="105"/>
                    </a:moveTo>
                    <a:cubicBezTo>
                      <a:pt x="18" y="104"/>
                      <a:pt x="16" y="103"/>
                      <a:pt x="14" y="102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8" y="98"/>
                      <a:pt x="20" y="98"/>
                      <a:pt x="22" y="99"/>
                    </a:cubicBezTo>
                    <a:lnTo>
                      <a:pt x="20" y="105"/>
                    </a:lnTo>
                    <a:close/>
                    <a:moveTo>
                      <a:pt x="34" y="104"/>
                    </a:moveTo>
                    <a:cubicBezTo>
                      <a:pt x="30" y="100"/>
                      <a:pt x="30" y="100"/>
                      <a:pt x="30" y="100"/>
                    </a:cubicBezTo>
                    <a:cubicBezTo>
                      <a:pt x="31" y="99"/>
                      <a:pt x="32" y="98"/>
                      <a:pt x="33" y="97"/>
                    </a:cubicBezTo>
                    <a:cubicBezTo>
                      <a:pt x="34" y="96"/>
                      <a:pt x="34" y="96"/>
                      <a:pt x="34" y="96"/>
                    </a:cubicBezTo>
                    <a:cubicBezTo>
                      <a:pt x="38" y="100"/>
                      <a:pt x="38" y="100"/>
                      <a:pt x="38" y="100"/>
                    </a:cubicBezTo>
                    <a:cubicBezTo>
                      <a:pt x="38" y="101"/>
                      <a:pt x="38" y="101"/>
                      <a:pt x="38" y="101"/>
                    </a:cubicBezTo>
                    <a:cubicBezTo>
                      <a:pt x="36" y="102"/>
                      <a:pt x="35" y="103"/>
                      <a:pt x="34" y="104"/>
                    </a:cubicBezTo>
                    <a:close/>
                    <a:moveTo>
                      <a:pt x="48" y="98"/>
                    </a:moveTo>
                    <a:cubicBezTo>
                      <a:pt x="48" y="98"/>
                      <a:pt x="47" y="98"/>
                      <a:pt x="47" y="98"/>
                    </a:cubicBezTo>
                    <a:cubicBezTo>
                      <a:pt x="47" y="93"/>
                      <a:pt x="47" y="93"/>
                      <a:pt x="47" y="93"/>
                    </a:cubicBezTo>
                    <a:cubicBezTo>
                      <a:pt x="50" y="93"/>
                      <a:pt x="50" y="93"/>
                      <a:pt x="51" y="92"/>
                    </a:cubicBezTo>
                    <a:cubicBezTo>
                      <a:pt x="54" y="97"/>
                      <a:pt x="54" y="97"/>
                      <a:pt x="54" y="97"/>
                    </a:cubicBezTo>
                    <a:cubicBezTo>
                      <a:pt x="52" y="98"/>
                      <a:pt x="50" y="98"/>
                      <a:pt x="48" y="98"/>
                    </a:cubicBezTo>
                    <a:close/>
                    <a:moveTo>
                      <a:pt x="62" y="96"/>
                    </a:moveTo>
                    <a:cubicBezTo>
                      <a:pt x="61" y="95"/>
                      <a:pt x="61" y="93"/>
                      <a:pt x="61" y="92"/>
                    </a:cubicBezTo>
                    <a:cubicBezTo>
                      <a:pt x="61" y="92"/>
                      <a:pt x="60" y="91"/>
                      <a:pt x="60" y="91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5" y="88"/>
                      <a:pt x="67" y="90"/>
                      <a:pt x="67" y="92"/>
                    </a:cubicBezTo>
                    <a:cubicBezTo>
                      <a:pt x="67" y="92"/>
                      <a:pt x="66" y="92"/>
                      <a:pt x="66" y="92"/>
                    </a:cubicBezTo>
                    <a:lnTo>
                      <a:pt x="62" y="96"/>
                    </a:lnTo>
                    <a:close/>
                    <a:moveTo>
                      <a:pt x="12" y="95"/>
                    </a:moveTo>
                    <a:cubicBezTo>
                      <a:pt x="7" y="92"/>
                      <a:pt x="7" y="92"/>
                      <a:pt x="7" y="92"/>
                    </a:cubicBezTo>
                    <a:cubicBezTo>
                      <a:pt x="7" y="91"/>
                      <a:pt x="8" y="91"/>
                      <a:pt x="8" y="90"/>
                    </a:cubicBezTo>
                    <a:cubicBezTo>
                      <a:pt x="8" y="90"/>
                      <a:pt x="8" y="90"/>
                      <a:pt x="8" y="89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89"/>
                      <a:pt x="14" y="90"/>
                      <a:pt x="14" y="90"/>
                    </a:cubicBezTo>
                    <a:cubicBezTo>
                      <a:pt x="14" y="93"/>
                      <a:pt x="13" y="94"/>
                      <a:pt x="12" y="94"/>
                    </a:cubicBezTo>
                    <a:cubicBezTo>
                      <a:pt x="12" y="95"/>
                      <a:pt x="12" y="95"/>
                      <a:pt x="12" y="95"/>
                    </a:cubicBezTo>
                    <a:close/>
                    <a:moveTo>
                      <a:pt x="4" y="78"/>
                    </a:moveTo>
                    <a:cubicBezTo>
                      <a:pt x="4" y="78"/>
                      <a:pt x="4" y="78"/>
                      <a:pt x="4" y="77"/>
                    </a:cubicBezTo>
                    <a:cubicBezTo>
                      <a:pt x="4" y="76"/>
                      <a:pt x="4" y="75"/>
                      <a:pt x="5" y="73"/>
                    </a:cubicBezTo>
                    <a:cubicBezTo>
                      <a:pt x="6" y="72"/>
                      <a:pt x="6" y="72"/>
                      <a:pt x="7" y="71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1" y="75"/>
                      <a:pt x="11" y="76"/>
                      <a:pt x="10" y="76"/>
                    </a:cubicBezTo>
                    <a:cubicBezTo>
                      <a:pt x="10" y="77"/>
                      <a:pt x="10" y="77"/>
                      <a:pt x="10" y="77"/>
                    </a:cubicBezTo>
                    <a:lnTo>
                      <a:pt x="4" y="78"/>
                    </a:lnTo>
                    <a:close/>
                    <a:moveTo>
                      <a:pt x="9" y="62"/>
                    </a:moveTo>
                    <a:cubicBezTo>
                      <a:pt x="8" y="59"/>
                      <a:pt x="8" y="59"/>
                      <a:pt x="8" y="59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3" y="56"/>
                      <a:pt x="14" y="58"/>
                      <a:pt x="15" y="62"/>
                    </a:cubicBezTo>
                    <a:lnTo>
                      <a:pt x="9" y="62"/>
                    </a:lnTo>
                    <a:close/>
                    <a:moveTo>
                      <a:pt x="5" y="57"/>
                    </a:moveTo>
                    <a:cubicBezTo>
                      <a:pt x="1" y="52"/>
                      <a:pt x="1" y="52"/>
                      <a:pt x="1" y="52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0" y="53"/>
                      <a:pt x="0" y="52"/>
                      <a:pt x="0" y="50"/>
                    </a:cubicBezTo>
                    <a:cubicBezTo>
                      <a:pt x="0" y="50"/>
                      <a:pt x="0" y="49"/>
                      <a:pt x="1" y="48"/>
                    </a:cubicBezTo>
                    <a:cubicBezTo>
                      <a:pt x="5" y="51"/>
                      <a:pt x="5" y="51"/>
                      <a:pt x="5" y="51"/>
                    </a:cubicBezTo>
                    <a:cubicBezTo>
                      <a:pt x="5" y="51"/>
                      <a:pt x="6" y="51"/>
                      <a:pt x="6" y="50"/>
                    </a:cubicBezTo>
                    <a:cubicBezTo>
                      <a:pt x="6" y="50"/>
                      <a:pt x="6" y="50"/>
                      <a:pt x="6" y="50"/>
                    </a:cubicBezTo>
                    <a:cubicBezTo>
                      <a:pt x="6" y="50"/>
                      <a:pt x="6" y="50"/>
                      <a:pt x="6" y="51"/>
                    </a:cubicBezTo>
                    <a:cubicBezTo>
                      <a:pt x="6" y="52"/>
                      <a:pt x="7" y="53"/>
                      <a:pt x="7" y="53"/>
                    </a:cubicBezTo>
                    <a:cubicBezTo>
                      <a:pt x="7" y="55"/>
                      <a:pt x="5" y="57"/>
                      <a:pt x="5" y="57"/>
                    </a:cubicBezTo>
                    <a:close/>
                    <a:moveTo>
                      <a:pt x="15" y="46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13" y="40"/>
                      <a:pt x="14" y="39"/>
                      <a:pt x="16" y="38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18" y="44"/>
                      <a:pt x="16" y="45"/>
                      <a:pt x="15" y="46"/>
                    </a:cubicBezTo>
                    <a:close/>
                    <a:moveTo>
                      <a:pt x="44" y="41"/>
                    </a:moveTo>
                    <a:cubicBezTo>
                      <a:pt x="43" y="41"/>
                      <a:pt x="43" y="41"/>
                      <a:pt x="43" y="40"/>
                    </a:cubicBezTo>
                    <a:cubicBezTo>
                      <a:pt x="42" y="39"/>
                      <a:pt x="42" y="39"/>
                      <a:pt x="41" y="38"/>
                    </a:cubicBezTo>
                    <a:cubicBezTo>
                      <a:pt x="41" y="37"/>
                      <a:pt x="41" y="37"/>
                      <a:pt x="40" y="36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5" y="33"/>
                      <a:pt x="46" y="34"/>
                      <a:pt x="46" y="35"/>
                    </a:cubicBezTo>
                    <a:cubicBezTo>
                      <a:pt x="47" y="36"/>
                      <a:pt x="47" y="36"/>
                      <a:pt x="47" y="37"/>
                    </a:cubicBezTo>
                    <a:lnTo>
                      <a:pt x="44" y="41"/>
                    </a:lnTo>
                    <a:close/>
                    <a:moveTo>
                      <a:pt x="82" y="41"/>
                    </a:moveTo>
                    <a:cubicBezTo>
                      <a:pt x="82" y="41"/>
                      <a:pt x="81" y="41"/>
                      <a:pt x="81" y="41"/>
                    </a:cubicBezTo>
                    <a:cubicBezTo>
                      <a:pt x="79" y="41"/>
                      <a:pt x="77" y="41"/>
                      <a:pt x="76" y="40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79" y="35"/>
                      <a:pt x="81" y="35"/>
                      <a:pt x="83" y="35"/>
                    </a:cubicBezTo>
                    <a:lnTo>
                      <a:pt x="82" y="41"/>
                    </a:lnTo>
                    <a:close/>
                    <a:moveTo>
                      <a:pt x="96" y="39"/>
                    </a:moveTo>
                    <a:cubicBezTo>
                      <a:pt x="92" y="35"/>
                      <a:pt x="92" y="35"/>
                      <a:pt x="92" y="35"/>
                    </a:cubicBezTo>
                    <a:cubicBezTo>
                      <a:pt x="93" y="34"/>
                      <a:pt x="95" y="33"/>
                      <a:pt x="97" y="33"/>
                    </a:cubicBezTo>
                    <a:cubicBezTo>
                      <a:pt x="99" y="33"/>
                      <a:pt x="100" y="33"/>
                      <a:pt x="101" y="35"/>
                    </a:cubicBezTo>
                    <a:cubicBezTo>
                      <a:pt x="96" y="38"/>
                      <a:pt x="96" y="38"/>
                      <a:pt x="96" y="38"/>
                    </a:cubicBezTo>
                    <a:cubicBezTo>
                      <a:pt x="96" y="38"/>
                      <a:pt x="97" y="38"/>
                      <a:pt x="97" y="38"/>
                    </a:cubicBezTo>
                    <a:cubicBezTo>
                      <a:pt x="97" y="38"/>
                      <a:pt x="96" y="39"/>
                      <a:pt x="96" y="39"/>
                    </a:cubicBezTo>
                    <a:close/>
                    <a:moveTo>
                      <a:pt x="109" y="37"/>
                    </a:moveTo>
                    <a:cubicBezTo>
                      <a:pt x="105" y="32"/>
                      <a:pt x="105" y="32"/>
                      <a:pt x="105" y="32"/>
                    </a:cubicBezTo>
                    <a:cubicBezTo>
                      <a:pt x="107" y="31"/>
                      <a:pt x="109" y="30"/>
                      <a:pt x="111" y="29"/>
                    </a:cubicBezTo>
                    <a:cubicBezTo>
                      <a:pt x="114" y="34"/>
                      <a:pt x="114" y="34"/>
                      <a:pt x="114" y="34"/>
                    </a:cubicBezTo>
                    <a:cubicBezTo>
                      <a:pt x="112" y="35"/>
                      <a:pt x="110" y="36"/>
                      <a:pt x="109" y="37"/>
                    </a:cubicBezTo>
                    <a:close/>
                    <a:moveTo>
                      <a:pt x="127" y="35"/>
                    </a:moveTo>
                    <a:cubicBezTo>
                      <a:pt x="126" y="35"/>
                      <a:pt x="124" y="35"/>
                      <a:pt x="122" y="34"/>
                    </a:cubicBezTo>
                    <a:cubicBezTo>
                      <a:pt x="124" y="29"/>
                      <a:pt x="124" y="29"/>
                      <a:pt x="124" y="29"/>
                    </a:cubicBezTo>
                    <a:cubicBezTo>
                      <a:pt x="126" y="29"/>
                      <a:pt x="127" y="29"/>
                      <a:pt x="127" y="29"/>
                    </a:cubicBezTo>
                    <a:cubicBezTo>
                      <a:pt x="130" y="34"/>
                      <a:pt x="130" y="34"/>
                      <a:pt x="130" y="34"/>
                    </a:cubicBezTo>
                    <a:cubicBezTo>
                      <a:pt x="130" y="35"/>
                      <a:pt x="129" y="35"/>
                      <a:pt x="127" y="35"/>
                    </a:cubicBezTo>
                    <a:close/>
                    <a:moveTo>
                      <a:pt x="57" y="34"/>
                    </a:moveTo>
                    <a:cubicBezTo>
                      <a:pt x="52" y="31"/>
                      <a:pt x="52" y="31"/>
                      <a:pt x="52" y="31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53" y="29"/>
                      <a:pt x="54" y="28"/>
                      <a:pt x="55" y="26"/>
                    </a:cubicBezTo>
                    <a:cubicBezTo>
                      <a:pt x="60" y="30"/>
                      <a:pt x="60" y="30"/>
                      <a:pt x="60" y="30"/>
                    </a:cubicBezTo>
                    <a:cubicBezTo>
                      <a:pt x="59" y="31"/>
                      <a:pt x="58" y="32"/>
                      <a:pt x="57" y="34"/>
                    </a:cubicBezTo>
                    <a:close/>
                    <a:moveTo>
                      <a:pt x="27" y="32"/>
                    </a:move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8"/>
                      <a:pt x="23" y="27"/>
                      <a:pt x="23" y="27"/>
                    </a:cubicBezTo>
                    <a:cubicBezTo>
                      <a:pt x="23" y="26"/>
                      <a:pt x="23" y="25"/>
                      <a:pt x="23" y="25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9" y="26"/>
                      <a:pt x="29" y="27"/>
                      <a:pt x="28" y="28"/>
                    </a:cubicBezTo>
                    <a:cubicBezTo>
                      <a:pt x="28" y="29"/>
                      <a:pt x="28" y="31"/>
                      <a:pt x="27" y="32"/>
                    </a:cubicBezTo>
                    <a:close/>
                    <a:moveTo>
                      <a:pt x="69" y="29"/>
                    </a:moveTo>
                    <a:cubicBezTo>
                      <a:pt x="68" y="28"/>
                      <a:pt x="67" y="27"/>
                      <a:pt x="66" y="27"/>
                    </a:cubicBezTo>
                    <a:cubicBezTo>
                      <a:pt x="68" y="21"/>
                      <a:pt x="68" y="21"/>
                      <a:pt x="68" y="21"/>
                    </a:cubicBezTo>
                    <a:cubicBezTo>
                      <a:pt x="70" y="23"/>
                      <a:pt x="72" y="24"/>
                      <a:pt x="74" y="26"/>
                    </a:cubicBezTo>
                    <a:lnTo>
                      <a:pt x="69" y="29"/>
                    </a:lnTo>
                    <a:close/>
                    <a:moveTo>
                      <a:pt x="40" y="25"/>
                    </a:moveTo>
                    <a:cubicBezTo>
                      <a:pt x="36" y="25"/>
                      <a:pt x="36" y="25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5" y="24"/>
                      <a:pt x="35" y="24"/>
                      <a:pt x="35" y="23"/>
                    </a:cubicBezTo>
                    <a:cubicBezTo>
                      <a:pt x="35" y="24"/>
                      <a:pt x="35" y="24"/>
                      <a:pt x="36" y="24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4" y="19"/>
                      <a:pt x="34" y="19"/>
                      <a:pt x="34" y="19"/>
                    </a:cubicBezTo>
                    <a:cubicBezTo>
                      <a:pt x="34" y="19"/>
                      <a:pt x="34" y="19"/>
                      <a:pt x="34" y="19"/>
                    </a:cubicBezTo>
                    <a:cubicBezTo>
                      <a:pt x="35" y="19"/>
                      <a:pt x="36" y="19"/>
                      <a:pt x="37" y="19"/>
                    </a:cubicBezTo>
                    <a:cubicBezTo>
                      <a:pt x="39" y="19"/>
                      <a:pt x="41" y="20"/>
                      <a:pt x="41" y="23"/>
                    </a:cubicBezTo>
                    <a:cubicBezTo>
                      <a:pt x="41" y="24"/>
                      <a:pt x="40" y="24"/>
                      <a:pt x="40" y="25"/>
                    </a:cubicBezTo>
                    <a:close/>
                    <a:moveTo>
                      <a:pt x="135" y="22"/>
                    </a:moveTo>
                    <a:cubicBezTo>
                      <a:pt x="130" y="20"/>
                      <a:pt x="130" y="20"/>
                      <a:pt x="130" y="20"/>
                    </a:cubicBezTo>
                    <a:cubicBezTo>
                      <a:pt x="130" y="19"/>
                      <a:pt x="130" y="18"/>
                      <a:pt x="131" y="17"/>
                    </a:cubicBezTo>
                    <a:cubicBezTo>
                      <a:pt x="131" y="16"/>
                      <a:pt x="131" y="16"/>
                      <a:pt x="131" y="15"/>
                    </a:cubicBezTo>
                    <a:cubicBezTo>
                      <a:pt x="137" y="16"/>
                      <a:pt x="137" y="16"/>
                      <a:pt x="137" y="16"/>
                    </a:cubicBezTo>
                    <a:cubicBezTo>
                      <a:pt x="136" y="17"/>
                      <a:pt x="136" y="17"/>
                      <a:pt x="136" y="18"/>
                    </a:cubicBezTo>
                    <a:cubicBezTo>
                      <a:pt x="136" y="19"/>
                      <a:pt x="136" y="21"/>
                      <a:pt x="135" y="22"/>
                    </a:cubicBezTo>
                    <a:close/>
                    <a:moveTo>
                      <a:pt x="141" y="5"/>
                    </a:moveTo>
                    <a:cubicBezTo>
                      <a:pt x="135" y="4"/>
                      <a:pt x="135" y="4"/>
                      <a:pt x="135" y="4"/>
                    </a:cubicBezTo>
                    <a:cubicBezTo>
                      <a:pt x="135" y="4"/>
                      <a:pt x="135" y="4"/>
                      <a:pt x="135" y="3"/>
                    </a:cubicBezTo>
                    <a:cubicBezTo>
                      <a:pt x="135" y="3"/>
                      <a:pt x="135" y="2"/>
                      <a:pt x="135" y="1"/>
                    </a:cubicBezTo>
                    <a:cubicBezTo>
                      <a:pt x="141" y="0"/>
                      <a:pt x="141" y="0"/>
                      <a:pt x="141" y="0"/>
                    </a:cubicBezTo>
                    <a:cubicBezTo>
                      <a:pt x="141" y="1"/>
                      <a:pt x="141" y="2"/>
                      <a:pt x="141" y="3"/>
                    </a:cubicBezTo>
                    <a:cubicBezTo>
                      <a:pt x="141" y="4"/>
                      <a:pt x="141" y="4"/>
                      <a:pt x="141" y="5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8" name="îś1iďé"/>
              <p:cNvSpPr/>
              <p:nvPr/>
            </p:nvSpPr>
            <p:spPr bwMode="auto">
              <a:xfrm>
                <a:off x="5835650" y="4837113"/>
                <a:ext cx="368300" cy="214313"/>
              </a:xfrm>
              <a:custGeom>
                <a:avLst/>
                <a:gdLst>
                  <a:gd name="T0" fmla="*/ 111 w 171"/>
                  <a:gd name="T1" fmla="*/ 94 h 100"/>
                  <a:gd name="T2" fmla="*/ 110 w 171"/>
                  <a:gd name="T3" fmla="*/ 100 h 100"/>
                  <a:gd name="T4" fmla="*/ 128 w 171"/>
                  <a:gd name="T5" fmla="*/ 91 h 100"/>
                  <a:gd name="T6" fmla="*/ 124 w 171"/>
                  <a:gd name="T7" fmla="*/ 97 h 100"/>
                  <a:gd name="T8" fmla="*/ 82 w 171"/>
                  <a:gd name="T9" fmla="*/ 91 h 100"/>
                  <a:gd name="T10" fmla="*/ 141 w 171"/>
                  <a:gd name="T11" fmla="*/ 88 h 100"/>
                  <a:gd name="T12" fmla="*/ 141 w 171"/>
                  <a:gd name="T13" fmla="*/ 95 h 100"/>
                  <a:gd name="T14" fmla="*/ 159 w 171"/>
                  <a:gd name="T15" fmla="*/ 86 h 100"/>
                  <a:gd name="T16" fmla="*/ 94 w 171"/>
                  <a:gd name="T17" fmla="*/ 91 h 100"/>
                  <a:gd name="T18" fmla="*/ 97 w 171"/>
                  <a:gd name="T19" fmla="*/ 91 h 100"/>
                  <a:gd name="T20" fmla="*/ 31 w 171"/>
                  <a:gd name="T21" fmla="*/ 73 h 100"/>
                  <a:gd name="T22" fmla="*/ 19 w 171"/>
                  <a:gd name="T23" fmla="*/ 79 h 100"/>
                  <a:gd name="T24" fmla="*/ 22 w 171"/>
                  <a:gd name="T25" fmla="*/ 73 h 100"/>
                  <a:gd name="T26" fmla="*/ 76 w 171"/>
                  <a:gd name="T27" fmla="*/ 78 h 100"/>
                  <a:gd name="T28" fmla="*/ 82 w 171"/>
                  <a:gd name="T29" fmla="*/ 78 h 100"/>
                  <a:gd name="T30" fmla="*/ 164 w 171"/>
                  <a:gd name="T31" fmla="*/ 73 h 100"/>
                  <a:gd name="T32" fmla="*/ 51 w 171"/>
                  <a:gd name="T33" fmla="*/ 75 h 100"/>
                  <a:gd name="T34" fmla="*/ 53 w 171"/>
                  <a:gd name="T35" fmla="*/ 69 h 100"/>
                  <a:gd name="T36" fmla="*/ 153 w 171"/>
                  <a:gd name="T37" fmla="*/ 69 h 100"/>
                  <a:gd name="T38" fmla="*/ 158 w 171"/>
                  <a:gd name="T39" fmla="*/ 65 h 100"/>
                  <a:gd name="T40" fmla="*/ 157 w 171"/>
                  <a:gd name="T41" fmla="*/ 72 h 100"/>
                  <a:gd name="T42" fmla="*/ 76 w 171"/>
                  <a:gd name="T43" fmla="*/ 65 h 100"/>
                  <a:gd name="T44" fmla="*/ 77 w 171"/>
                  <a:gd name="T45" fmla="*/ 68 h 100"/>
                  <a:gd name="T46" fmla="*/ 2 w 171"/>
                  <a:gd name="T47" fmla="*/ 60 h 100"/>
                  <a:gd name="T48" fmla="*/ 10 w 171"/>
                  <a:gd name="T49" fmla="*/ 63 h 100"/>
                  <a:gd name="T50" fmla="*/ 58 w 171"/>
                  <a:gd name="T51" fmla="*/ 57 h 100"/>
                  <a:gd name="T52" fmla="*/ 60 w 171"/>
                  <a:gd name="T53" fmla="*/ 62 h 100"/>
                  <a:gd name="T54" fmla="*/ 132 w 171"/>
                  <a:gd name="T55" fmla="*/ 54 h 100"/>
                  <a:gd name="T56" fmla="*/ 133 w 171"/>
                  <a:gd name="T57" fmla="*/ 55 h 100"/>
                  <a:gd name="T58" fmla="*/ 150 w 171"/>
                  <a:gd name="T59" fmla="*/ 54 h 100"/>
                  <a:gd name="T60" fmla="*/ 12 w 171"/>
                  <a:gd name="T61" fmla="*/ 52 h 100"/>
                  <a:gd name="T62" fmla="*/ 124 w 171"/>
                  <a:gd name="T63" fmla="*/ 48 h 100"/>
                  <a:gd name="T64" fmla="*/ 127 w 171"/>
                  <a:gd name="T65" fmla="*/ 42 h 100"/>
                  <a:gd name="T66" fmla="*/ 110 w 171"/>
                  <a:gd name="T67" fmla="*/ 43 h 100"/>
                  <a:gd name="T68" fmla="*/ 115 w 171"/>
                  <a:gd name="T69" fmla="*/ 39 h 100"/>
                  <a:gd name="T70" fmla="*/ 7 w 171"/>
                  <a:gd name="T71" fmla="*/ 42 h 100"/>
                  <a:gd name="T72" fmla="*/ 9 w 171"/>
                  <a:gd name="T73" fmla="*/ 36 h 100"/>
                  <a:gd name="T74" fmla="*/ 165 w 171"/>
                  <a:gd name="T75" fmla="*/ 29 h 100"/>
                  <a:gd name="T76" fmla="*/ 165 w 171"/>
                  <a:gd name="T77" fmla="*/ 29 h 100"/>
                  <a:gd name="T78" fmla="*/ 0 w 171"/>
                  <a:gd name="T79" fmla="*/ 20 h 100"/>
                  <a:gd name="T80" fmla="*/ 7 w 171"/>
                  <a:gd name="T81" fmla="*/ 25 h 100"/>
                  <a:gd name="T82" fmla="*/ 106 w 171"/>
                  <a:gd name="T83" fmla="*/ 26 h 100"/>
                  <a:gd name="T84" fmla="*/ 112 w 171"/>
                  <a:gd name="T85" fmla="*/ 24 h 100"/>
                  <a:gd name="T86" fmla="*/ 153 w 171"/>
                  <a:gd name="T87" fmla="*/ 21 h 100"/>
                  <a:gd name="T88" fmla="*/ 157 w 171"/>
                  <a:gd name="T89" fmla="*/ 15 h 100"/>
                  <a:gd name="T90" fmla="*/ 9 w 171"/>
                  <a:gd name="T91" fmla="*/ 10 h 100"/>
                  <a:gd name="T92" fmla="*/ 119 w 171"/>
                  <a:gd name="T93" fmla="*/ 14 h 100"/>
                  <a:gd name="T94" fmla="*/ 123 w 171"/>
                  <a:gd name="T95" fmla="*/ 9 h 100"/>
                  <a:gd name="T96" fmla="*/ 130 w 171"/>
                  <a:gd name="T97" fmla="*/ 4 h 100"/>
                  <a:gd name="T98" fmla="*/ 139 w 171"/>
                  <a:gd name="T99" fmla="*/ 5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1" h="100">
                    <a:moveTo>
                      <a:pt x="110" y="100"/>
                    </a:moveTo>
                    <a:cubicBezTo>
                      <a:pt x="108" y="100"/>
                      <a:pt x="107" y="100"/>
                      <a:pt x="105" y="98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10" y="95"/>
                      <a:pt x="110" y="95"/>
                      <a:pt x="111" y="94"/>
                    </a:cubicBezTo>
                    <a:cubicBezTo>
                      <a:pt x="112" y="94"/>
                      <a:pt x="112" y="94"/>
                      <a:pt x="112" y="94"/>
                    </a:cubicBezTo>
                    <a:cubicBezTo>
                      <a:pt x="113" y="100"/>
                      <a:pt x="113" y="100"/>
                      <a:pt x="113" y="100"/>
                    </a:cubicBezTo>
                    <a:cubicBezTo>
                      <a:pt x="112" y="100"/>
                      <a:pt x="112" y="100"/>
                      <a:pt x="112" y="100"/>
                    </a:cubicBezTo>
                    <a:cubicBezTo>
                      <a:pt x="111" y="100"/>
                      <a:pt x="111" y="100"/>
                      <a:pt x="110" y="100"/>
                    </a:cubicBezTo>
                    <a:close/>
                    <a:moveTo>
                      <a:pt x="124" y="97"/>
                    </a:moveTo>
                    <a:cubicBezTo>
                      <a:pt x="123" y="91"/>
                      <a:pt x="123" y="91"/>
                      <a:pt x="123" y="91"/>
                    </a:cubicBezTo>
                    <a:cubicBezTo>
                      <a:pt x="125" y="91"/>
                      <a:pt x="126" y="91"/>
                      <a:pt x="127" y="91"/>
                    </a:cubicBezTo>
                    <a:cubicBezTo>
                      <a:pt x="128" y="91"/>
                      <a:pt x="128" y="91"/>
                      <a:pt x="128" y="91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29" y="96"/>
                      <a:pt x="129" y="96"/>
                      <a:pt x="129" y="96"/>
                    </a:cubicBezTo>
                    <a:cubicBezTo>
                      <a:pt x="128" y="97"/>
                      <a:pt x="126" y="97"/>
                      <a:pt x="124" y="97"/>
                    </a:cubicBezTo>
                    <a:cubicBezTo>
                      <a:pt x="124" y="97"/>
                      <a:pt x="124" y="97"/>
                      <a:pt x="124" y="97"/>
                    </a:cubicBezTo>
                    <a:close/>
                    <a:moveTo>
                      <a:pt x="82" y="97"/>
                    </a:moveTo>
                    <a:cubicBezTo>
                      <a:pt x="79" y="96"/>
                      <a:pt x="76" y="94"/>
                      <a:pt x="75" y="91"/>
                    </a:cubicBezTo>
                    <a:cubicBezTo>
                      <a:pt x="81" y="89"/>
                      <a:pt x="81" y="89"/>
                      <a:pt x="81" y="89"/>
                    </a:cubicBezTo>
                    <a:cubicBezTo>
                      <a:pt x="81" y="90"/>
                      <a:pt x="82" y="91"/>
                      <a:pt x="82" y="91"/>
                    </a:cubicBezTo>
                    <a:lnTo>
                      <a:pt x="82" y="97"/>
                    </a:lnTo>
                    <a:close/>
                    <a:moveTo>
                      <a:pt x="141" y="95"/>
                    </a:moveTo>
                    <a:cubicBezTo>
                      <a:pt x="140" y="89"/>
                      <a:pt x="140" y="89"/>
                      <a:pt x="140" y="89"/>
                    </a:cubicBezTo>
                    <a:cubicBezTo>
                      <a:pt x="140" y="89"/>
                      <a:pt x="141" y="89"/>
                      <a:pt x="141" y="88"/>
                    </a:cubicBezTo>
                    <a:cubicBezTo>
                      <a:pt x="142" y="87"/>
                      <a:pt x="143" y="87"/>
                      <a:pt x="144" y="86"/>
                    </a:cubicBezTo>
                    <a:cubicBezTo>
                      <a:pt x="147" y="92"/>
                      <a:pt x="147" y="92"/>
                      <a:pt x="147" y="92"/>
                    </a:cubicBezTo>
                    <a:cubicBezTo>
                      <a:pt x="146" y="92"/>
                      <a:pt x="146" y="92"/>
                      <a:pt x="145" y="93"/>
                    </a:cubicBezTo>
                    <a:cubicBezTo>
                      <a:pt x="144" y="94"/>
                      <a:pt x="143" y="95"/>
                      <a:pt x="141" y="95"/>
                    </a:cubicBezTo>
                    <a:close/>
                    <a:moveTo>
                      <a:pt x="157" y="94"/>
                    </a:moveTo>
                    <a:cubicBezTo>
                      <a:pt x="156" y="88"/>
                      <a:pt x="156" y="88"/>
                      <a:pt x="156" y="88"/>
                    </a:cubicBezTo>
                    <a:cubicBezTo>
                      <a:pt x="156" y="88"/>
                      <a:pt x="157" y="88"/>
                      <a:pt x="158" y="87"/>
                    </a:cubicBezTo>
                    <a:cubicBezTo>
                      <a:pt x="158" y="87"/>
                      <a:pt x="159" y="86"/>
                      <a:pt x="159" y="86"/>
                    </a:cubicBezTo>
                    <a:cubicBezTo>
                      <a:pt x="163" y="90"/>
                      <a:pt x="163" y="90"/>
                      <a:pt x="163" y="90"/>
                    </a:cubicBezTo>
                    <a:cubicBezTo>
                      <a:pt x="163" y="91"/>
                      <a:pt x="162" y="91"/>
                      <a:pt x="162" y="92"/>
                    </a:cubicBezTo>
                    <a:cubicBezTo>
                      <a:pt x="160" y="93"/>
                      <a:pt x="159" y="94"/>
                      <a:pt x="157" y="94"/>
                    </a:cubicBezTo>
                    <a:close/>
                    <a:moveTo>
                      <a:pt x="94" y="91"/>
                    </a:moveTo>
                    <a:cubicBezTo>
                      <a:pt x="91" y="86"/>
                      <a:pt x="91" y="86"/>
                      <a:pt x="91" y="86"/>
                    </a:cubicBezTo>
                    <a:cubicBezTo>
                      <a:pt x="93" y="85"/>
                      <a:pt x="94" y="85"/>
                      <a:pt x="96" y="85"/>
                    </a:cubicBezTo>
                    <a:cubicBezTo>
                      <a:pt x="97" y="84"/>
                      <a:pt x="98" y="85"/>
                      <a:pt x="99" y="85"/>
                    </a:cubicBezTo>
                    <a:cubicBezTo>
                      <a:pt x="97" y="91"/>
                      <a:pt x="97" y="91"/>
                      <a:pt x="97" y="91"/>
                    </a:cubicBezTo>
                    <a:cubicBezTo>
                      <a:pt x="97" y="91"/>
                      <a:pt x="96" y="91"/>
                      <a:pt x="96" y="90"/>
                    </a:cubicBezTo>
                    <a:cubicBezTo>
                      <a:pt x="95" y="90"/>
                      <a:pt x="95" y="91"/>
                      <a:pt x="94" y="91"/>
                    </a:cubicBezTo>
                    <a:close/>
                    <a:moveTo>
                      <a:pt x="33" y="79"/>
                    </a:moveTo>
                    <a:cubicBezTo>
                      <a:pt x="31" y="73"/>
                      <a:pt x="31" y="73"/>
                      <a:pt x="31" y="73"/>
                    </a:cubicBezTo>
                    <a:cubicBezTo>
                      <a:pt x="32" y="73"/>
                      <a:pt x="35" y="72"/>
                      <a:pt x="37" y="72"/>
                    </a:cubicBezTo>
                    <a:cubicBezTo>
                      <a:pt x="38" y="77"/>
                      <a:pt x="38" y="77"/>
                      <a:pt x="38" y="77"/>
                    </a:cubicBezTo>
                    <a:cubicBezTo>
                      <a:pt x="36" y="78"/>
                      <a:pt x="34" y="78"/>
                      <a:pt x="33" y="79"/>
                    </a:cubicBezTo>
                    <a:close/>
                    <a:moveTo>
                      <a:pt x="19" y="79"/>
                    </a:moveTo>
                    <a:cubicBezTo>
                      <a:pt x="19" y="78"/>
                      <a:pt x="18" y="78"/>
                      <a:pt x="18" y="77"/>
                    </a:cubicBezTo>
                    <a:cubicBezTo>
                      <a:pt x="17" y="76"/>
                      <a:pt x="16" y="75"/>
                      <a:pt x="15" y="7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20" y="71"/>
                      <a:pt x="21" y="72"/>
                      <a:pt x="22" y="73"/>
                    </a:cubicBezTo>
                    <a:cubicBezTo>
                      <a:pt x="22" y="73"/>
                      <a:pt x="23" y="74"/>
                      <a:pt x="23" y="74"/>
                    </a:cubicBezTo>
                    <a:lnTo>
                      <a:pt x="19" y="79"/>
                    </a:lnTo>
                    <a:close/>
                    <a:moveTo>
                      <a:pt x="82" y="78"/>
                    </a:moveTo>
                    <a:cubicBezTo>
                      <a:pt x="76" y="78"/>
                      <a:pt x="76" y="78"/>
                      <a:pt x="76" y="78"/>
                    </a:cubicBezTo>
                    <a:cubicBezTo>
                      <a:pt x="76" y="77"/>
                      <a:pt x="76" y="77"/>
                      <a:pt x="76" y="77"/>
                    </a:cubicBezTo>
                    <a:cubicBezTo>
                      <a:pt x="76" y="76"/>
                      <a:pt x="76" y="74"/>
                      <a:pt x="76" y="72"/>
                    </a:cubicBezTo>
                    <a:cubicBezTo>
                      <a:pt x="82" y="73"/>
                      <a:pt x="82" y="73"/>
                      <a:pt x="82" y="73"/>
                    </a:cubicBezTo>
                    <a:cubicBezTo>
                      <a:pt x="82" y="75"/>
                      <a:pt x="82" y="76"/>
                      <a:pt x="82" y="78"/>
                    </a:cubicBezTo>
                    <a:close/>
                    <a:moveTo>
                      <a:pt x="170" y="78"/>
                    </a:moveTo>
                    <a:cubicBezTo>
                      <a:pt x="164" y="78"/>
                      <a:pt x="164" y="78"/>
                      <a:pt x="164" y="78"/>
                    </a:cubicBezTo>
                    <a:cubicBezTo>
                      <a:pt x="164" y="78"/>
                      <a:pt x="164" y="78"/>
                      <a:pt x="164" y="78"/>
                    </a:cubicBezTo>
                    <a:cubicBezTo>
                      <a:pt x="164" y="76"/>
                      <a:pt x="164" y="74"/>
                      <a:pt x="164" y="73"/>
                    </a:cubicBezTo>
                    <a:cubicBezTo>
                      <a:pt x="169" y="72"/>
                      <a:pt x="169" y="72"/>
                      <a:pt x="169" y="72"/>
                    </a:cubicBezTo>
                    <a:cubicBezTo>
                      <a:pt x="170" y="73"/>
                      <a:pt x="170" y="75"/>
                      <a:pt x="170" y="78"/>
                    </a:cubicBezTo>
                    <a:cubicBezTo>
                      <a:pt x="170" y="78"/>
                      <a:pt x="170" y="78"/>
                      <a:pt x="170" y="78"/>
                    </a:cubicBezTo>
                    <a:close/>
                    <a:moveTo>
                      <a:pt x="51" y="75"/>
                    </a:moveTo>
                    <a:cubicBezTo>
                      <a:pt x="46" y="71"/>
                      <a:pt x="46" y="71"/>
                      <a:pt x="46" y="71"/>
                    </a:cubicBezTo>
                    <a:cubicBezTo>
                      <a:pt x="46" y="71"/>
                      <a:pt x="47" y="71"/>
                      <a:pt x="47" y="70"/>
                    </a:cubicBezTo>
                    <a:cubicBezTo>
                      <a:pt x="47" y="69"/>
                      <a:pt x="48" y="68"/>
                      <a:pt x="48" y="66"/>
                    </a:cubicBezTo>
                    <a:cubicBezTo>
                      <a:pt x="53" y="69"/>
                      <a:pt x="53" y="69"/>
                      <a:pt x="53" y="69"/>
                    </a:cubicBezTo>
                    <a:cubicBezTo>
                      <a:pt x="53" y="70"/>
                      <a:pt x="53" y="71"/>
                      <a:pt x="52" y="72"/>
                    </a:cubicBezTo>
                    <a:cubicBezTo>
                      <a:pt x="52" y="73"/>
                      <a:pt x="51" y="74"/>
                      <a:pt x="51" y="75"/>
                    </a:cubicBezTo>
                    <a:close/>
                    <a:moveTo>
                      <a:pt x="157" y="72"/>
                    </a:moveTo>
                    <a:cubicBezTo>
                      <a:pt x="157" y="72"/>
                      <a:pt x="154" y="72"/>
                      <a:pt x="153" y="69"/>
                    </a:cubicBezTo>
                    <a:cubicBezTo>
                      <a:pt x="153" y="68"/>
                      <a:pt x="153" y="67"/>
                      <a:pt x="153" y="67"/>
                    </a:cubicBezTo>
                    <a:cubicBezTo>
                      <a:pt x="153" y="66"/>
                      <a:pt x="152" y="66"/>
                      <a:pt x="152" y="65"/>
                    </a:cubicBezTo>
                    <a:cubicBezTo>
                      <a:pt x="158" y="64"/>
                      <a:pt x="158" y="64"/>
                      <a:pt x="158" y="64"/>
                    </a:cubicBezTo>
                    <a:cubicBezTo>
                      <a:pt x="158" y="64"/>
                      <a:pt x="158" y="64"/>
                      <a:pt x="158" y="65"/>
                    </a:cubicBezTo>
                    <a:cubicBezTo>
                      <a:pt x="159" y="65"/>
                      <a:pt x="159" y="66"/>
                      <a:pt x="159" y="67"/>
                    </a:cubicBezTo>
                    <a:cubicBezTo>
                      <a:pt x="159" y="67"/>
                      <a:pt x="158" y="66"/>
                      <a:pt x="157" y="66"/>
                    </a:cubicBezTo>
                    <a:cubicBezTo>
                      <a:pt x="158" y="72"/>
                      <a:pt x="158" y="72"/>
                      <a:pt x="158" y="72"/>
                    </a:cubicBezTo>
                    <a:lnTo>
                      <a:pt x="157" y="72"/>
                    </a:lnTo>
                    <a:close/>
                    <a:moveTo>
                      <a:pt x="74" y="70"/>
                    </a:moveTo>
                    <a:cubicBezTo>
                      <a:pt x="71" y="70"/>
                      <a:pt x="70" y="68"/>
                      <a:pt x="69" y="64"/>
                    </a:cubicBezTo>
                    <a:cubicBezTo>
                      <a:pt x="74" y="62"/>
                      <a:pt x="74" y="62"/>
                      <a:pt x="74" y="62"/>
                    </a:cubicBezTo>
                    <a:cubicBezTo>
                      <a:pt x="75" y="63"/>
                      <a:pt x="75" y="65"/>
                      <a:pt x="76" y="65"/>
                    </a:cubicBezTo>
                    <a:cubicBezTo>
                      <a:pt x="75" y="65"/>
                      <a:pt x="75" y="65"/>
                      <a:pt x="74" y="65"/>
                    </a:cubicBezTo>
                    <a:cubicBezTo>
                      <a:pt x="74" y="65"/>
                      <a:pt x="74" y="65"/>
                      <a:pt x="74" y="65"/>
                    </a:cubicBezTo>
                    <a:cubicBezTo>
                      <a:pt x="72" y="65"/>
                      <a:pt x="72" y="65"/>
                      <a:pt x="71" y="66"/>
                    </a:cubicBezTo>
                    <a:cubicBezTo>
                      <a:pt x="77" y="68"/>
                      <a:pt x="77" y="68"/>
                      <a:pt x="77" y="68"/>
                    </a:cubicBezTo>
                    <a:cubicBezTo>
                      <a:pt x="76" y="70"/>
                      <a:pt x="74" y="70"/>
                      <a:pt x="74" y="70"/>
                    </a:cubicBezTo>
                    <a:close/>
                    <a:moveTo>
                      <a:pt x="6" y="67"/>
                    </a:moveTo>
                    <a:cubicBezTo>
                      <a:pt x="5" y="66"/>
                      <a:pt x="5" y="66"/>
                      <a:pt x="4" y="65"/>
                    </a:cubicBezTo>
                    <a:cubicBezTo>
                      <a:pt x="3" y="64"/>
                      <a:pt x="2" y="62"/>
                      <a:pt x="2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8" y="60"/>
                      <a:pt x="8" y="60"/>
                      <a:pt x="8" y="61"/>
                    </a:cubicBezTo>
                    <a:cubicBezTo>
                      <a:pt x="9" y="62"/>
                      <a:pt x="9" y="62"/>
                      <a:pt x="10" y="63"/>
                    </a:cubicBezTo>
                    <a:lnTo>
                      <a:pt x="6" y="67"/>
                    </a:lnTo>
                    <a:close/>
                    <a:moveTo>
                      <a:pt x="60" y="62"/>
                    </a:moveTo>
                    <a:cubicBezTo>
                      <a:pt x="57" y="57"/>
                      <a:pt x="57" y="57"/>
                      <a:pt x="57" y="57"/>
                    </a:cubicBezTo>
                    <a:cubicBezTo>
                      <a:pt x="58" y="57"/>
                      <a:pt x="58" y="57"/>
                      <a:pt x="58" y="57"/>
                    </a:cubicBezTo>
                    <a:cubicBezTo>
                      <a:pt x="60" y="55"/>
                      <a:pt x="62" y="55"/>
                      <a:pt x="63" y="54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4" y="60"/>
                      <a:pt x="63" y="61"/>
                      <a:pt x="61" y="62"/>
                    </a:cubicBezTo>
                    <a:lnTo>
                      <a:pt x="60" y="62"/>
                    </a:lnTo>
                    <a:close/>
                    <a:moveTo>
                      <a:pt x="132" y="61"/>
                    </a:moveTo>
                    <a:cubicBezTo>
                      <a:pt x="128" y="60"/>
                      <a:pt x="127" y="58"/>
                      <a:pt x="127" y="54"/>
                    </a:cubicBezTo>
                    <a:cubicBezTo>
                      <a:pt x="127" y="54"/>
                      <a:pt x="127" y="53"/>
                      <a:pt x="127" y="53"/>
                    </a:cubicBezTo>
                    <a:cubicBezTo>
                      <a:pt x="132" y="54"/>
                      <a:pt x="132" y="54"/>
                      <a:pt x="132" y="54"/>
                    </a:cubicBezTo>
                    <a:cubicBezTo>
                      <a:pt x="132" y="54"/>
                      <a:pt x="132" y="54"/>
                      <a:pt x="132" y="54"/>
                    </a:cubicBezTo>
                    <a:cubicBezTo>
                      <a:pt x="132" y="55"/>
                      <a:pt x="132" y="55"/>
                      <a:pt x="132" y="55"/>
                    </a:cubicBezTo>
                    <a:cubicBezTo>
                      <a:pt x="132" y="55"/>
                      <a:pt x="132" y="55"/>
                      <a:pt x="132" y="55"/>
                    </a:cubicBezTo>
                    <a:cubicBezTo>
                      <a:pt x="132" y="55"/>
                      <a:pt x="133" y="55"/>
                      <a:pt x="133" y="55"/>
                    </a:cubicBezTo>
                    <a:lnTo>
                      <a:pt x="132" y="61"/>
                    </a:lnTo>
                    <a:close/>
                    <a:moveTo>
                      <a:pt x="144" y="60"/>
                    </a:moveTo>
                    <a:cubicBezTo>
                      <a:pt x="144" y="54"/>
                      <a:pt x="144" y="54"/>
                      <a:pt x="144" y="54"/>
                    </a:cubicBezTo>
                    <a:cubicBezTo>
                      <a:pt x="146" y="54"/>
                      <a:pt x="148" y="54"/>
                      <a:pt x="150" y="54"/>
                    </a:cubicBezTo>
                    <a:cubicBezTo>
                      <a:pt x="149" y="60"/>
                      <a:pt x="149" y="60"/>
                      <a:pt x="149" y="60"/>
                    </a:cubicBezTo>
                    <a:cubicBezTo>
                      <a:pt x="148" y="59"/>
                      <a:pt x="146" y="60"/>
                      <a:pt x="144" y="60"/>
                    </a:cubicBezTo>
                    <a:close/>
                    <a:moveTo>
                      <a:pt x="16" y="56"/>
                    </a:moveTo>
                    <a:cubicBezTo>
                      <a:pt x="12" y="52"/>
                      <a:pt x="12" y="52"/>
                      <a:pt x="12" y="52"/>
                    </a:cubicBezTo>
                    <a:cubicBezTo>
                      <a:pt x="12" y="52"/>
                      <a:pt x="13" y="51"/>
                      <a:pt x="13" y="48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8" y="52"/>
                      <a:pt x="18" y="54"/>
                      <a:pt x="16" y="56"/>
                    </a:cubicBezTo>
                    <a:close/>
                    <a:moveTo>
                      <a:pt x="124" y="48"/>
                    </a:moveTo>
                    <a:cubicBezTo>
                      <a:pt x="123" y="47"/>
                      <a:pt x="122" y="46"/>
                      <a:pt x="122" y="44"/>
                    </a:cubicBezTo>
                    <a:cubicBezTo>
                      <a:pt x="121" y="43"/>
                      <a:pt x="121" y="43"/>
                      <a:pt x="121" y="42"/>
                    </a:cubicBezTo>
                    <a:cubicBezTo>
                      <a:pt x="125" y="39"/>
                      <a:pt x="125" y="39"/>
                      <a:pt x="125" y="39"/>
                    </a:cubicBezTo>
                    <a:cubicBezTo>
                      <a:pt x="126" y="39"/>
                      <a:pt x="126" y="40"/>
                      <a:pt x="127" y="42"/>
                    </a:cubicBezTo>
                    <a:cubicBezTo>
                      <a:pt x="127" y="42"/>
                      <a:pt x="128" y="43"/>
                      <a:pt x="128" y="43"/>
                    </a:cubicBezTo>
                    <a:lnTo>
                      <a:pt x="124" y="48"/>
                    </a:lnTo>
                    <a:close/>
                    <a:moveTo>
                      <a:pt x="111" y="44"/>
                    </a:moveTo>
                    <a:cubicBezTo>
                      <a:pt x="111" y="44"/>
                      <a:pt x="110" y="43"/>
                      <a:pt x="110" y="43"/>
                    </a:cubicBezTo>
                    <a:cubicBezTo>
                      <a:pt x="108" y="41"/>
                      <a:pt x="108" y="40"/>
                      <a:pt x="107" y="38"/>
                    </a:cubicBezTo>
                    <a:cubicBezTo>
                      <a:pt x="112" y="36"/>
                      <a:pt x="112" y="36"/>
                      <a:pt x="112" y="36"/>
                    </a:cubicBezTo>
                    <a:cubicBezTo>
                      <a:pt x="113" y="37"/>
                      <a:pt x="113" y="38"/>
                      <a:pt x="114" y="39"/>
                    </a:cubicBezTo>
                    <a:cubicBezTo>
                      <a:pt x="114" y="39"/>
                      <a:pt x="115" y="39"/>
                      <a:pt x="115" y="39"/>
                    </a:cubicBezTo>
                    <a:lnTo>
                      <a:pt x="111" y="44"/>
                    </a:lnTo>
                    <a:close/>
                    <a:moveTo>
                      <a:pt x="11" y="43"/>
                    </a:moveTo>
                    <a:cubicBezTo>
                      <a:pt x="10" y="42"/>
                      <a:pt x="10" y="42"/>
                      <a:pt x="10" y="42"/>
                    </a:cubicBezTo>
                    <a:cubicBezTo>
                      <a:pt x="9" y="42"/>
                      <a:pt x="8" y="42"/>
                      <a:pt x="7" y="42"/>
                    </a:cubicBezTo>
                    <a:cubicBezTo>
                      <a:pt x="5" y="41"/>
                      <a:pt x="4" y="40"/>
                      <a:pt x="4" y="39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10" y="36"/>
                      <a:pt x="10" y="37"/>
                      <a:pt x="11" y="37"/>
                    </a:cubicBezTo>
                    <a:cubicBezTo>
                      <a:pt x="12" y="37"/>
                      <a:pt x="12" y="37"/>
                      <a:pt x="12" y="37"/>
                    </a:cubicBezTo>
                    <a:lnTo>
                      <a:pt x="11" y="43"/>
                    </a:lnTo>
                    <a:close/>
                    <a:moveTo>
                      <a:pt x="165" y="29"/>
                    </a:moveTo>
                    <a:cubicBezTo>
                      <a:pt x="165" y="23"/>
                      <a:pt x="165" y="23"/>
                      <a:pt x="165" y="23"/>
                    </a:cubicBezTo>
                    <a:cubicBezTo>
                      <a:pt x="165" y="23"/>
                      <a:pt x="166" y="22"/>
                      <a:pt x="166" y="21"/>
                    </a:cubicBezTo>
                    <a:cubicBezTo>
                      <a:pt x="171" y="22"/>
                      <a:pt x="171" y="22"/>
                      <a:pt x="171" y="22"/>
                    </a:cubicBezTo>
                    <a:cubicBezTo>
                      <a:pt x="171" y="27"/>
                      <a:pt x="168" y="29"/>
                      <a:pt x="165" y="29"/>
                    </a:cubicBezTo>
                    <a:close/>
                    <a:moveTo>
                      <a:pt x="2" y="28"/>
                    </a:moveTo>
                    <a:cubicBezTo>
                      <a:pt x="1" y="27"/>
                      <a:pt x="1" y="26"/>
                      <a:pt x="0" y="25"/>
                    </a:cubicBezTo>
                    <a:cubicBezTo>
                      <a:pt x="0" y="24"/>
                      <a:pt x="0" y="23"/>
                      <a:pt x="0" y="21"/>
                    </a:cubicBezTo>
                    <a:cubicBezTo>
                      <a:pt x="0" y="21"/>
                      <a:pt x="0" y="21"/>
                      <a:pt x="0" y="20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3"/>
                      <a:pt x="7" y="24"/>
                      <a:pt x="7" y="25"/>
                    </a:cubicBezTo>
                    <a:lnTo>
                      <a:pt x="2" y="28"/>
                    </a:lnTo>
                    <a:close/>
                    <a:moveTo>
                      <a:pt x="106" y="26"/>
                    </a:moveTo>
                    <a:cubicBezTo>
                      <a:pt x="109" y="25"/>
                      <a:pt x="109" y="25"/>
                      <a:pt x="109" y="25"/>
                    </a:cubicBezTo>
                    <a:cubicBezTo>
                      <a:pt x="106" y="26"/>
                      <a:pt x="106" y="26"/>
                      <a:pt x="106" y="26"/>
                    </a:cubicBezTo>
                    <a:cubicBezTo>
                      <a:pt x="106" y="25"/>
                      <a:pt x="105" y="25"/>
                      <a:pt x="105" y="24"/>
                    </a:cubicBezTo>
                    <a:cubicBezTo>
                      <a:pt x="105" y="22"/>
                      <a:pt x="107" y="20"/>
                      <a:pt x="108" y="20"/>
                    </a:cubicBezTo>
                    <a:cubicBezTo>
                      <a:pt x="109" y="19"/>
                      <a:pt x="110" y="19"/>
                      <a:pt x="111" y="19"/>
                    </a:cubicBezTo>
                    <a:cubicBezTo>
                      <a:pt x="112" y="24"/>
                      <a:pt x="112" y="24"/>
                      <a:pt x="112" y="24"/>
                    </a:cubicBezTo>
                    <a:cubicBezTo>
                      <a:pt x="112" y="24"/>
                      <a:pt x="112" y="25"/>
                      <a:pt x="111" y="25"/>
                    </a:cubicBezTo>
                    <a:cubicBezTo>
                      <a:pt x="111" y="25"/>
                      <a:pt x="111" y="25"/>
                      <a:pt x="111" y="25"/>
                    </a:cubicBezTo>
                    <a:lnTo>
                      <a:pt x="106" y="26"/>
                    </a:lnTo>
                    <a:close/>
                    <a:moveTo>
                      <a:pt x="153" y="21"/>
                    </a:moveTo>
                    <a:cubicBezTo>
                      <a:pt x="152" y="20"/>
                      <a:pt x="152" y="19"/>
                      <a:pt x="151" y="18"/>
                    </a:cubicBezTo>
                    <a:cubicBezTo>
                      <a:pt x="151" y="17"/>
                      <a:pt x="151" y="16"/>
                      <a:pt x="150" y="16"/>
                    </a:cubicBezTo>
                    <a:cubicBezTo>
                      <a:pt x="156" y="13"/>
                      <a:pt x="156" y="13"/>
                      <a:pt x="156" y="13"/>
                    </a:cubicBezTo>
                    <a:cubicBezTo>
                      <a:pt x="156" y="14"/>
                      <a:pt x="156" y="14"/>
                      <a:pt x="157" y="15"/>
                    </a:cubicBezTo>
                    <a:cubicBezTo>
                      <a:pt x="157" y="16"/>
                      <a:pt x="158" y="17"/>
                      <a:pt x="158" y="18"/>
                    </a:cubicBezTo>
                    <a:lnTo>
                      <a:pt x="153" y="21"/>
                    </a:lnTo>
                    <a:close/>
                    <a:moveTo>
                      <a:pt x="12" y="15"/>
                    </a:moveTo>
                    <a:cubicBezTo>
                      <a:pt x="9" y="10"/>
                      <a:pt x="9" y="10"/>
                      <a:pt x="9" y="10"/>
                    </a:cubicBezTo>
                    <a:cubicBezTo>
                      <a:pt x="11" y="8"/>
                      <a:pt x="13" y="6"/>
                      <a:pt x="13" y="6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7" y="11"/>
                      <a:pt x="15" y="13"/>
                      <a:pt x="12" y="15"/>
                    </a:cubicBezTo>
                    <a:close/>
                    <a:moveTo>
                      <a:pt x="119" y="14"/>
                    </a:moveTo>
                    <a:cubicBezTo>
                      <a:pt x="118" y="13"/>
                      <a:pt x="118" y="13"/>
                      <a:pt x="118" y="13"/>
                    </a:cubicBezTo>
                    <a:cubicBezTo>
                      <a:pt x="114" y="10"/>
                      <a:pt x="114" y="10"/>
                      <a:pt x="114" y="10"/>
                    </a:cubicBezTo>
                    <a:cubicBezTo>
                      <a:pt x="116" y="6"/>
                      <a:pt x="120" y="6"/>
                      <a:pt x="122" y="9"/>
                    </a:cubicBezTo>
                    <a:cubicBezTo>
                      <a:pt x="122" y="9"/>
                      <a:pt x="122" y="9"/>
                      <a:pt x="123" y="9"/>
                    </a:cubicBezTo>
                    <a:lnTo>
                      <a:pt x="119" y="14"/>
                    </a:lnTo>
                    <a:close/>
                    <a:moveTo>
                      <a:pt x="132" y="12"/>
                    </a:moveTo>
                    <a:cubicBezTo>
                      <a:pt x="127" y="9"/>
                      <a:pt x="127" y="9"/>
                      <a:pt x="127" y="9"/>
                    </a:cubicBezTo>
                    <a:cubicBezTo>
                      <a:pt x="128" y="7"/>
                      <a:pt x="129" y="5"/>
                      <a:pt x="130" y="4"/>
                    </a:cubicBezTo>
                    <a:cubicBezTo>
                      <a:pt x="135" y="7"/>
                      <a:pt x="135" y="7"/>
                      <a:pt x="135" y="7"/>
                    </a:cubicBezTo>
                    <a:cubicBezTo>
                      <a:pt x="134" y="8"/>
                      <a:pt x="133" y="10"/>
                      <a:pt x="132" y="12"/>
                    </a:cubicBezTo>
                    <a:close/>
                    <a:moveTo>
                      <a:pt x="142" y="8"/>
                    </a:moveTo>
                    <a:cubicBezTo>
                      <a:pt x="142" y="7"/>
                      <a:pt x="141" y="6"/>
                      <a:pt x="139" y="5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45" y="2"/>
                      <a:pt x="147" y="4"/>
                      <a:pt x="147" y="6"/>
                    </a:cubicBezTo>
                    <a:lnTo>
                      <a:pt x="142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9" name="îŝḷïḑe"/>
              <p:cNvSpPr/>
              <p:nvPr/>
            </p:nvSpPr>
            <p:spPr bwMode="auto">
              <a:xfrm>
                <a:off x="6035675" y="4181475"/>
                <a:ext cx="633413" cy="782638"/>
              </a:xfrm>
              <a:custGeom>
                <a:avLst/>
                <a:gdLst>
                  <a:gd name="T0" fmla="*/ 278 w 295"/>
                  <a:gd name="T1" fmla="*/ 365 h 365"/>
                  <a:gd name="T2" fmla="*/ 258 w 295"/>
                  <a:gd name="T3" fmla="*/ 363 h 365"/>
                  <a:gd name="T4" fmla="*/ 287 w 295"/>
                  <a:gd name="T5" fmla="*/ 354 h 365"/>
                  <a:gd name="T6" fmla="*/ 246 w 295"/>
                  <a:gd name="T7" fmla="*/ 348 h 365"/>
                  <a:gd name="T8" fmla="*/ 259 w 295"/>
                  <a:gd name="T9" fmla="*/ 343 h 365"/>
                  <a:gd name="T10" fmla="*/ 251 w 295"/>
                  <a:gd name="T11" fmla="*/ 339 h 365"/>
                  <a:gd name="T12" fmla="*/ 295 w 295"/>
                  <a:gd name="T13" fmla="*/ 340 h 365"/>
                  <a:gd name="T14" fmla="*/ 245 w 295"/>
                  <a:gd name="T15" fmla="*/ 335 h 365"/>
                  <a:gd name="T16" fmla="*/ 81 w 295"/>
                  <a:gd name="T17" fmla="*/ 320 h 365"/>
                  <a:gd name="T18" fmla="*/ 107 w 295"/>
                  <a:gd name="T19" fmla="*/ 320 h 365"/>
                  <a:gd name="T20" fmla="*/ 241 w 295"/>
                  <a:gd name="T21" fmla="*/ 324 h 365"/>
                  <a:gd name="T22" fmla="*/ 98 w 295"/>
                  <a:gd name="T23" fmla="*/ 314 h 365"/>
                  <a:gd name="T24" fmla="*/ 219 w 295"/>
                  <a:gd name="T25" fmla="*/ 316 h 365"/>
                  <a:gd name="T26" fmla="*/ 66 w 295"/>
                  <a:gd name="T27" fmla="*/ 313 h 365"/>
                  <a:gd name="T28" fmla="*/ 79 w 295"/>
                  <a:gd name="T29" fmla="*/ 309 h 365"/>
                  <a:gd name="T30" fmla="*/ 90 w 295"/>
                  <a:gd name="T31" fmla="*/ 304 h 365"/>
                  <a:gd name="T32" fmla="*/ 108 w 295"/>
                  <a:gd name="T33" fmla="*/ 310 h 365"/>
                  <a:gd name="T34" fmla="*/ 150 w 295"/>
                  <a:gd name="T35" fmla="*/ 300 h 365"/>
                  <a:gd name="T36" fmla="*/ 138 w 295"/>
                  <a:gd name="T37" fmla="*/ 301 h 365"/>
                  <a:gd name="T38" fmla="*/ 120 w 295"/>
                  <a:gd name="T39" fmla="*/ 297 h 365"/>
                  <a:gd name="T40" fmla="*/ 123 w 295"/>
                  <a:gd name="T41" fmla="*/ 305 h 365"/>
                  <a:gd name="T42" fmla="*/ 230 w 295"/>
                  <a:gd name="T43" fmla="*/ 303 h 365"/>
                  <a:gd name="T44" fmla="*/ 64 w 295"/>
                  <a:gd name="T45" fmla="*/ 297 h 365"/>
                  <a:gd name="T46" fmla="*/ 191 w 295"/>
                  <a:gd name="T47" fmla="*/ 293 h 365"/>
                  <a:gd name="T48" fmla="*/ 155 w 295"/>
                  <a:gd name="T49" fmla="*/ 290 h 365"/>
                  <a:gd name="T50" fmla="*/ 51 w 295"/>
                  <a:gd name="T51" fmla="*/ 296 h 365"/>
                  <a:gd name="T52" fmla="*/ 32 w 295"/>
                  <a:gd name="T53" fmla="*/ 291 h 365"/>
                  <a:gd name="T54" fmla="*/ 217 w 295"/>
                  <a:gd name="T55" fmla="*/ 290 h 365"/>
                  <a:gd name="T56" fmla="*/ 203 w 295"/>
                  <a:gd name="T57" fmla="*/ 288 h 365"/>
                  <a:gd name="T58" fmla="*/ 187 w 295"/>
                  <a:gd name="T59" fmla="*/ 283 h 365"/>
                  <a:gd name="T60" fmla="*/ 173 w 295"/>
                  <a:gd name="T61" fmla="*/ 279 h 365"/>
                  <a:gd name="T62" fmla="*/ 161 w 295"/>
                  <a:gd name="T63" fmla="*/ 277 h 365"/>
                  <a:gd name="T64" fmla="*/ 30 w 295"/>
                  <a:gd name="T65" fmla="*/ 272 h 365"/>
                  <a:gd name="T66" fmla="*/ 23 w 295"/>
                  <a:gd name="T67" fmla="*/ 262 h 365"/>
                  <a:gd name="T68" fmla="*/ 1 w 295"/>
                  <a:gd name="T69" fmla="*/ 235 h 365"/>
                  <a:gd name="T70" fmla="*/ 12 w 295"/>
                  <a:gd name="T71" fmla="*/ 223 h 365"/>
                  <a:gd name="T72" fmla="*/ 25 w 295"/>
                  <a:gd name="T73" fmla="*/ 211 h 365"/>
                  <a:gd name="T74" fmla="*/ 35 w 295"/>
                  <a:gd name="T75" fmla="*/ 196 h 365"/>
                  <a:gd name="T76" fmla="*/ 117 w 295"/>
                  <a:gd name="T77" fmla="*/ 191 h 365"/>
                  <a:gd name="T78" fmla="*/ 135 w 295"/>
                  <a:gd name="T79" fmla="*/ 194 h 365"/>
                  <a:gd name="T80" fmla="*/ 20 w 295"/>
                  <a:gd name="T81" fmla="*/ 184 h 365"/>
                  <a:gd name="T82" fmla="*/ 77 w 295"/>
                  <a:gd name="T83" fmla="*/ 175 h 365"/>
                  <a:gd name="T84" fmla="*/ 148 w 295"/>
                  <a:gd name="T85" fmla="*/ 173 h 365"/>
                  <a:gd name="T86" fmla="*/ 97 w 295"/>
                  <a:gd name="T87" fmla="*/ 175 h 365"/>
                  <a:gd name="T88" fmla="*/ 66 w 295"/>
                  <a:gd name="T89" fmla="*/ 175 h 365"/>
                  <a:gd name="T90" fmla="*/ 58 w 295"/>
                  <a:gd name="T91" fmla="*/ 166 h 365"/>
                  <a:gd name="T92" fmla="*/ 149 w 295"/>
                  <a:gd name="T93" fmla="*/ 160 h 365"/>
                  <a:gd name="T94" fmla="*/ 35 w 295"/>
                  <a:gd name="T95" fmla="*/ 158 h 365"/>
                  <a:gd name="T96" fmla="*/ 159 w 295"/>
                  <a:gd name="T97" fmla="*/ 145 h 365"/>
                  <a:gd name="T98" fmla="*/ 160 w 295"/>
                  <a:gd name="T99" fmla="*/ 129 h 365"/>
                  <a:gd name="T100" fmla="*/ 189 w 295"/>
                  <a:gd name="T101" fmla="*/ 121 h 365"/>
                  <a:gd name="T102" fmla="*/ 177 w 295"/>
                  <a:gd name="T103" fmla="*/ 122 h 365"/>
                  <a:gd name="T104" fmla="*/ 205 w 295"/>
                  <a:gd name="T105" fmla="*/ 111 h 365"/>
                  <a:gd name="T106" fmla="*/ 213 w 295"/>
                  <a:gd name="T107" fmla="*/ 97 h 365"/>
                  <a:gd name="T108" fmla="*/ 218 w 295"/>
                  <a:gd name="T109" fmla="*/ 83 h 365"/>
                  <a:gd name="T110" fmla="*/ 223 w 295"/>
                  <a:gd name="T111" fmla="*/ 73 h 365"/>
                  <a:gd name="T112" fmla="*/ 231 w 295"/>
                  <a:gd name="T113" fmla="*/ 42 h 365"/>
                  <a:gd name="T114" fmla="*/ 225 w 295"/>
                  <a:gd name="T115" fmla="*/ 28 h 365"/>
                  <a:gd name="T116" fmla="*/ 234 w 295"/>
                  <a:gd name="T117" fmla="*/ 16 h 365"/>
                  <a:gd name="T118" fmla="*/ 239 w 295"/>
                  <a:gd name="T119" fmla="*/ 2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5" h="365">
                    <a:moveTo>
                      <a:pt x="278" y="365"/>
                    </a:moveTo>
                    <a:cubicBezTo>
                      <a:pt x="277" y="365"/>
                      <a:pt x="276" y="365"/>
                      <a:pt x="275" y="365"/>
                    </a:cubicBezTo>
                    <a:cubicBezTo>
                      <a:pt x="274" y="365"/>
                      <a:pt x="273" y="365"/>
                      <a:pt x="272" y="364"/>
                    </a:cubicBezTo>
                    <a:cubicBezTo>
                      <a:pt x="273" y="359"/>
                      <a:pt x="273" y="359"/>
                      <a:pt x="273" y="359"/>
                    </a:cubicBezTo>
                    <a:cubicBezTo>
                      <a:pt x="274" y="359"/>
                      <a:pt x="274" y="359"/>
                      <a:pt x="275" y="359"/>
                    </a:cubicBezTo>
                    <a:cubicBezTo>
                      <a:pt x="276" y="359"/>
                      <a:pt x="277" y="359"/>
                      <a:pt x="279" y="359"/>
                    </a:cubicBezTo>
                    <a:lnTo>
                      <a:pt x="278" y="365"/>
                    </a:lnTo>
                    <a:close/>
                    <a:moveTo>
                      <a:pt x="258" y="363"/>
                    </a:moveTo>
                    <a:cubicBezTo>
                      <a:pt x="257" y="363"/>
                      <a:pt x="255" y="363"/>
                      <a:pt x="254" y="362"/>
                    </a:cubicBezTo>
                    <a:cubicBezTo>
                      <a:pt x="257" y="357"/>
                      <a:pt x="257" y="357"/>
                      <a:pt x="257" y="357"/>
                    </a:cubicBezTo>
                    <a:cubicBezTo>
                      <a:pt x="257" y="357"/>
                      <a:pt x="258" y="357"/>
                      <a:pt x="258" y="357"/>
                    </a:cubicBezTo>
                    <a:cubicBezTo>
                      <a:pt x="259" y="357"/>
                      <a:pt x="260" y="357"/>
                      <a:pt x="261" y="356"/>
                    </a:cubicBezTo>
                    <a:cubicBezTo>
                      <a:pt x="262" y="362"/>
                      <a:pt x="262" y="362"/>
                      <a:pt x="262" y="362"/>
                    </a:cubicBezTo>
                    <a:cubicBezTo>
                      <a:pt x="261" y="362"/>
                      <a:pt x="259" y="363"/>
                      <a:pt x="258" y="363"/>
                    </a:cubicBezTo>
                    <a:close/>
                    <a:moveTo>
                      <a:pt x="286" y="356"/>
                    </a:moveTo>
                    <a:cubicBezTo>
                      <a:pt x="281" y="354"/>
                      <a:pt x="281" y="354"/>
                      <a:pt x="281" y="354"/>
                    </a:cubicBezTo>
                    <a:cubicBezTo>
                      <a:pt x="281" y="353"/>
                      <a:pt x="281" y="352"/>
                      <a:pt x="282" y="351"/>
                    </a:cubicBezTo>
                    <a:cubicBezTo>
                      <a:pt x="282" y="351"/>
                      <a:pt x="282" y="350"/>
                      <a:pt x="282" y="349"/>
                    </a:cubicBezTo>
                    <a:cubicBezTo>
                      <a:pt x="285" y="349"/>
                      <a:pt x="285" y="349"/>
                      <a:pt x="285" y="349"/>
                    </a:cubicBezTo>
                    <a:cubicBezTo>
                      <a:pt x="288" y="350"/>
                      <a:pt x="288" y="350"/>
                      <a:pt x="288" y="350"/>
                    </a:cubicBezTo>
                    <a:cubicBezTo>
                      <a:pt x="288" y="352"/>
                      <a:pt x="287" y="353"/>
                      <a:pt x="287" y="354"/>
                    </a:cubicBezTo>
                    <a:cubicBezTo>
                      <a:pt x="287" y="354"/>
                      <a:pt x="287" y="354"/>
                      <a:pt x="287" y="354"/>
                    </a:cubicBezTo>
                    <a:cubicBezTo>
                      <a:pt x="287" y="354"/>
                      <a:pt x="287" y="355"/>
                      <a:pt x="286" y="356"/>
                    </a:cubicBezTo>
                    <a:close/>
                    <a:moveTo>
                      <a:pt x="245" y="353"/>
                    </a:moveTo>
                    <a:cubicBezTo>
                      <a:pt x="241" y="353"/>
                      <a:pt x="240" y="351"/>
                      <a:pt x="240" y="348"/>
                    </a:cubicBezTo>
                    <a:cubicBezTo>
                      <a:pt x="240" y="348"/>
                      <a:pt x="240" y="347"/>
                      <a:pt x="240" y="346"/>
                    </a:cubicBezTo>
                    <a:cubicBezTo>
                      <a:pt x="246" y="347"/>
                      <a:pt x="246" y="347"/>
                      <a:pt x="246" y="347"/>
                    </a:cubicBezTo>
                    <a:cubicBezTo>
                      <a:pt x="246" y="347"/>
                      <a:pt x="246" y="348"/>
                      <a:pt x="246" y="348"/>
                    </a:cubicBezTo>
                    <a:cubicBezTo>
                      <a:pt x="245" y="348"/>
                      <a:pt x="245" y="348"/>
                      <a:pt x="245" y="348"/>
                    </a:cubicBezTo>
                    <a:lnTo>
                      <a:pt x="245" y="353"/>
                    </a:lnTo>
                    <a:close/>
                    <a:moveTo>
                      <a:pt x="259" y="349"/>
                    </a:moveTo>
                    <a:cubicBezTo>
                      <a:pt x="253" y="348"/>
                      <a:pt x="253" y="348"/>
                      <a:pt x="253" y="348"/>
                    </a:cubicBezTo>
                    <a:cubicBezTo>
                      <a:pt x="253" y="346"/>
                      <a:pt x="254" y="344"/>
                      <a:pt x="254" y="343"/>
                    </a:cubicBezTo>
                    <a:cubicBezTo>
                      <a:pt x="259" y="342"/>
                      <a:pt x="259" y="342"/>
                      <a:pt x="259" y="342"/>
                    </a:cubicBezTo>
                    <a:cubicBezTo>
                      <a:pt x="259" y="342"/>
                      <a:pt x="259" y="343"/>
                      <a:pt x="259" y="343"/>
                    </a:cubicBezTo>
                    <a:cubicBezTo>
                      <a:pt x="259" y="344"/>
                      <a:pt x="259" y="347"/>
                      <a:pt x="259" y="349"/>
                    </a:cubicBezTo>
                    <a:close/>
                    <a:moveTo>
                      <a:pt x="246" y="343"/>
                    </a:moveTo>
                    <a:cubicBezTo>
                      <a:pt x="246" y="342"/>
                      <a:pt x="246" y="342"/>
                      <a:pt x="246" y="341"/>
                    </a:cubicBezTo>
                    <a:cubicBezTo>
                      <a:pt x="246" y="341"/>
                      <a:pt x="245" y="340"/>
                      <a:pt x="245" y="339"/>
                    </a:cubicBezTo>
                    <a:cubicBezTo>
                      <a:pt x="245" y="337"/>
                      <a:pt x="246" y="336"/>
                      <a:pt x="247" y="335"/>
                    </a:cubicBezTo>
                    <a:cubicBezTo>
                      <a:pt x="251" y="339"/>
                      <a:pt x="251" y="339"/>
                      <a:pt x="251" y="339"/>
                    </a:cubicBezTo>
                    <a:cubicBezTo>
                      <a:pt x="251" y="339"/>
                      <a:pt x="251" y="339"/>
                      <a:pt x="251" y="339"/>
                    </a:cubicBezTo>
                    <a:cubicBezTo>
                      <a:pt x="251" y="339"/>
                      <a:pt x="251" y="339"/>
                      <a:pt x="252" y="340"/>
                    </a:cubicBezTo>
                    <a:cubicBezTo>
                      <a:pt x="252" y="340"/>
                      <a:pt x="252" y="341"/>
                      <a:pt x="252" y="342"/>
                    </a:cubicBezTo>
                    <a:lnTo>
                      <a:pt x="246" y="343"/>
                    </a:lnTo>
                    <a:close/>
                    <a:moveTo>
                      <a:pt x="291" y="341"/>
                    </a:moveTo>
                    <a:cubicBezTo>
                      <a:pt x="288" y="336"/>
                      <a:pt x="288" y="336"/>
                      <a:pt x="288" y="336"/>
                    </a:cubicBezTo>
                    <a:cubicBezTo>
                      <a:pt x="291" y="334"/>
                      <a:pt x="294" y="334"/>
                      <a:pt x="295" y="334"/>
                    </a:cubicBezTo>
                    <a:cubicBezTo>
                      <a:pt x="295" y="340"/>
                      <a:pt x="295" y="340"/>
                      <a:pt x="295" y="340"/>
                    </a:cubicBezTo>
                    <a:cubicBezTo>
                      <a:pt x="295" y="340"/>
                      <a:pt x="293" y="340"/>
                      <a:pt x="291" y="341"/>
                    </a:cubicBezTo>
                    <a:close/>
                    <a:moveTo>
                      <a:pt x="98" y="337"/>
                    </a:moveTo>
                    <a:cubicBezTo>
                      <a:pt x="96" y="336"/>
                      <a:pt x="94" y="335"/>
                      <a:pt x="92" y="333"/>
                    </a:cubicBezTo>
                    <a:cubicBezTo>
                      <a:pt x="96" y="329"/>
                      <a:pt x="96" y="329"/>
                      <a:pt x="96" y="329"/>
                    </a:cubicBezTo>
                    <a:cubicBezTo>
                      <a:pt x="98" y="330"/>
                      <a:pt x="99" y="331"/>
                      <a:pt x="100" y="332"/>
                    </a:cubicBezTo>
                    <a:lnTo>
                      <a:pt x="98" y="337"/>
                    </a:lnTo>
                    <a:close/>
                    <a:moveTo>
                      <a:pt x="245" y="335"/>
                    </a:moveTo>
                    <a:cubicBezTo>
                      <a:pt x="239" y="334"/>
                      <a:pt x="239" y="334"/>
                      <a:pt x="239" y="334"/>
                    </a:cubicBezTo>
                    <a:cubicBezTo>
                      <a:pt x="239" y="333"/>
                      <a:pt x="240" y="330"/>
                      <a:pt x="240" y="328"/>
                    </a:cubicBezTo>
                    <a:cubicBezTo>
                      <a:pt x="246" y="330"/>
                      <a:pt x="246" y="330"/>
                      <a:pt x="246" y="330"/>
                    </a:cubicBezTo>
                    <a:cubicBezTo>
                      <a:pt x="246" y="332"/>
                      <a:pt x="245" y="334"/>
                      <a:pt x="245" y="335"/>
                    </a:cubicBezTo>
                    <a:close/>
                    <a:moveTo>
                      <a:pt x="80" y="328"/>
                    </a:moveTo>
                    <a:cubicBezTo>
                      <a:pt x="79" y="322"/>
                      <a:pt x="79" y="322"/>
                      <a:pt x="79" y="322"/>
                    </a:cubicBezTo>
                    <a:cubicBezTo>
                      <a:pt x="79" y="322"/>
                      <a:pt x="80" y="321"/>
                      <a:pt x="81" y="320"/>
                    </a:cubicBezTo>
                    <a:cubicBezTo>
                      <a:pt x="84" y="321"/>
                      <a:pt x="84" y="321"/>
                      <a:pt x="84" y="321"/>
                    </a:cubicBezTo>
                    <a:cubicBezTo>
                      <a:pt x="86" y="323"/>
                      <a:pt x="86" y="323"/>
                      <a:pt x="86" y="323"/>
                    </a:cubicBezTo>
                    <a:cubicBezTo>
                      <a:pt x="84" y="325"/>
                      <a:pt x="82" y="327"/>
                      <a:pt x="80" y="328"/>
                    </a:cubicBezTo>
                    <a:close/>
                    <a:moveTo>
                      <a:pt x="102" y="327"/>
                    </a:moveTo>
                    <a:cubicBezTo>
                      <a:pt x="102" y="325"/>
                      <a:pt x="102" y="325"/>
                      <a:pt x="102" y="325"/>
                    </a:cubicBezTo>
                    <a:cubicBezTo>
                      <a:pt x="102" y="324"/>
                      <a:pt x="101" y="322"/>
                      <a:pt x="101" y="321"/>
                    </a:cubicBezTo>
                    <a:cubicBezTo>
                      <a:pt x="107" y="320"/>
                      <a:pt x="107" y="320"/>
                      <a:pt x="107" y="320"/>
                    </a:cubicBezTo>
                    <a:cubicBezTo>
                      <a:pt x="107" y="322"/>
                      <a:pt x="107" y="323"/>
                      <a:pt x="108" y="324"/>
                    </a:cubicBezTo>
                    <a:cubicBezTo>
                      <a:pt x="108" y="326"/>
                      <a:pt x="108" y="326"/>
                      <a:pt x="108" y="326"/>
                    </a:cubicBezTo>
                    <a:lnTo>
                      <a:pt x="102" y="327"/>
                    </a:lnTo>
                    <a:close/>
                    <a:moveTo>
                      <a:pt x="236" y="325"/>
                    </a:moveTo>
                    <a:cubicBezTo>
                      <a:pt x="234" y="320"/>
                      <a:pt x="234" y="320"/>
                      <a:pt x="234" y="320"/>
                    </a:cubicBezTo>
                    <a:cubicBezTo>
                      <a:pt x="236" y="319"/>
                      <a:pt x="238" y="318"/>
                      <a:pt x="240" y="318"/>
                    </a:cubicBezTo>
                    <a:cubicBezTo>
                      <a:pt x="241" y="324"/>
                      <a:pt x="241" y="324"/>
                      <a:pt x="241" y="324"/>
                    </a:cubicBezTo>
                    <a:cubicBezTo>
                      <a:pt x="240" y="324"/>
                      <a:pt x="238" y="325"/>
                      <a:pt x="236" y="325"/>
                    </a:cubicBezTo>
                    <a:close/>
                    <a:moveTo>
                      <a:pt x="96" y="323"/>
                    </a:moveTo>
                    <a:cubicBezTo>
                      <a:pt x="92" y="319"/>
                      <a:pt x="92" y="319"/>
                      <a:pt x="92" y="319"/>
                    </a:cubicBezTo>
                    <a:cubicBezTo>
                      <a:pt x="92" y="318"/>
                      <a:pt x="92" y="318"/>
                      <a:pt x="92" y="318"/>
                    </a:cubicBezTo>
                    <a:cubicBezTo>
                      <a:pt x="93" y="318"/>
                      <a:pt x="93" y="318"/>
                      <a:pt x="93" y="317"/>
                    </a:cubicBezTo>
                    <a:cubicBezTo>
                      <a:pt x="93" y="317"/>
                      <a:pt x="93" y="317"/>
                      <a:pt x="93" y="317"/>
                    </a:cubicBezTo>
                    <a:cubicBezTo>
                      <a:pt x="98" y="314"/>
                      <a:pt x="98" y="314"/>
                      <a:pt x="98" y="314"/>
                    </a:cubicBezTo>
                    <a:cubicBezTo>
                      <a:pt x="99" y="316"/>
                      <a:pt x="99" y="317"/>
                      <a:pt x="99" y="318"/>
                    </a:cubicBezTo>
                    <a:cubicBezTo>
                      <a:pt x="99" y="319"/>
                      <a:pt x="99" y="320"/>
                      <a:pt x="98" y="320"/>
                    </a:cubicBezTo>
                    <a:cubicBezTo>
                      <a:pt x="98" y="321"/>
                      <a:pt x="97" y="322"/>
                      <a:pt x="97" y="322"/>
                    </a:cubicBezTo>
                    <a:lnTo>
                      <a:pt x="96" y="323"/>
                    </a:lnTo>
                    <a:close/>
                    <a:moveTo>
                      <a:pt x="223" y="322"/>
                    </a:moveTo>
                    <a:cubicBezTo>
                      <a:pt x="223" y="322"/>
                      <a:pt x="222" y="322"/>
                      <a:pt x="222" y="321"/>
                    </a:cubicBezTo>
                    <a:cubicBezTo>
                      <a:pt x="221" y="321"/>
                      <a:pt x="219" y="320"/>
                      <a:pt x="219" y="316"/>
                    </a:cubicBezTo>
                    <a:cubicBezTo>
                      <a:pt x="219" y="316"/>
                      <a:pt x="219" y="315"/>
                      <a:pt x="219" y="314"/>
                    </a:cubicBezTo>
                    <a:cubicBezTo>
                      <a:pt x="225" y="315"/>
                      <a:pt x="225" y="315"/>
                      <a:pt x="225" y="315"/>
                    </a:cubicBezTo>
                    <a:cubicBezTo>
                      <a:pt x="225" y="316"/>
                      <a:pt x="225" y="316"/>
                      <a:pt x="225" y="316"/>
                    </a:cubicBezTo>
                    <a:cubicBezTo>
                      <a:pt x="225" y="317"/>
                      <a:pt x="226" y="317"/>
                      <a:pt x="226" y="317"/>
                    </a:cubicBezTo>
                    <a:lnTo>
                      <a:pt x="223" y="322"/>
                    </a:lnTo>
                    <a:close/>
                    <a:moveTo>
                      <a:pt x="68" y="320"/>
                    </a:moveTo>
                    <a:cubicBezTo>
                      <a:pt x="66" y="318"/>
                      <a:pt x="66" y="315"/>
                      <a:pt x="66" y="313"/>
                    </a:cubicBezTo>
                    <a:cubicBezTo>
                      <a:pt x="66" y="313"/>
                      <a:pt x="66" y="313"/>
                      <a:pt x="66" y="313"/>
                    </a:cubicBezTo>
                    <a:cubicBezTo>
                      <a:pt x="71" y="313"/>
                      <a:pt x="71" y="313"/>
                      <a:pt x="71" y="313"/>
                    </a:cubicBezTo>
                    <a:cubicBezTo>
                      <a:pt x="71" y="313"/>
                      <a:pt x="71" y="313"/>
                      <a:pt x="71" y="313"/>
                    </a:cubicBezTo>
                    <a:cubicBezTo>
                      <a:pt x="71" y="315"/>
                      <a:pt x="72" y="315"/>
                      <a:pt x="72" y="316"/>
                    </a:cubicBezTo>
                    <a:lnTo>
                      <a:pt x="68" y="320"/>
                    </a:lnTo>
                    <a:close/>
                    <a:moveTo>
                      <a:pt x="83" y="314"/>
                    </a:moveTo>
                    <a:cubicBezTo>
                      <a:pt x="81" y="312"/>
                      <a:pt x="80" y="311"/>
                      <a:pt x="79" y="309"/>
                    </a:cubicBezTo>
                    <a:cubicBezTo>
                      <a:pt x="83" y="306"/>
                      <a:pt x="83" y="306"/>
                      <a:pt x="83" y="306"/>
                    </a:cubicBezTo>
                    <a:cubicBezTo>
                      <a:pt x="83" y="306"/>
                      <a:pt x="83" y="305"/>
                      <a:pt x="83" y="305"/>
                    </a:cubicBezTo>
                    <a:cubicBezTo>
                      <a:pt x="82" y="305"/>
                      <a:pt x="82" y="305"/>
                      <a:pt x="82" y="305"/>
                    </a:cubicBezTo>
                    <a:cubicBezTo>
                      <a:pt x="86" y="300"/>
                      <a:pt x="86" y="300"/>
                      <a:pt x="86" y="300"/>
                    </a:cubicBezTo>
                    <a:cubicBezTo>
                      <a:pt x="87" y="301"/>
                      <a:pt x="87" y="301"/>
                      <a:pt x="87" y="301"/>
                    </a:cubicBezTo>
                    <a:cubicBezTo>
                      <a:pt x="87" y="302"/>
                      <a:pt x="88" y="302"/>
                      <a:pt x="88" y="303"/>
                    </a:cubicBezTo>
                    <a:cubicBezTo>
                      <a:pt x="89" y="303"/>
                      <a:pt x="90" y="304"/>
                      <a:pt x="90" y="304"/>
                    </a:cubicBezTo>
                    <a:cubicBezTo>
                      <a:pt x="86" y="309"/>
                      <a:pt x="86" y="309"/>
                      <a:pt x="86" y="309"/>
                    </a:cubicBezTo>
                    <a:cubicBezTo>
                      <a:pt x="86" y="308"/>
                      <a:pt x="85" y="308"/>
                      <a:pt x="85" y="307"/>
                    </a:cubicBezTo>
                    <a:cubicBezTo>
                      <a:pt x="86" y="308"/>
                      <a:pt x="86" y="309"/>
                      <a:pt x="87" y="310"/>
                    </a:cubicBezTo>
                    <a:lnTo>
                      <a:pt x="83" y="314"/>
                    </a:lnTo>
                    <a:close/>
                    <a:moveTo>
                      <a:pt x="112" y="313"/>
                    </a:moveTo>
                    <a:cubicBezTo>
                      <a:pt x="107" y="311"/>
                      <a:pt x="107" y="311"/>
                      <a:pt x="107" y="311"/>
                    </a:cubicBezTo>
                    <a:cubicBezTo>
                      <a:pt x="107" y="310"/>
                      <a:pt x="108" y="310"/>
                      <a:pt x="108" y="310"/>
                    </a:cubicBezTo>
                    <a:cubicBezTo>
                      <a:pt x="108" y="308"/>
                      <a:pt x="108" y="306"/>
                      <a:pt x="109" y="305"/>
                    </a:cubicBezTo>
                    <a:cubicBezTo>
                      <a:pt x="114" y="308"/>
                      <a:pt x="114" y="308"/>
                      <a:pt x="114" y="308"/>
                    </a:cubicBezTo>
                    <a:cubicBezTo>
                      <a:pt x="114" y="308"/>
                      <a:pt x="113" y="308"/>
                      <a:pt x="113" y="310"/>
                    </a:cubicBezTo>
                    <a:cubicBezTo>
                      <a:pt x="113" y="311"/>
                      <a:pt x="113" y="312"/>
                      <a:pt x="112" y="313"/>
                    </a:cubicBezTo>
                    <a:close/>
                    <a:moveTo>
                      <a:pt x="148" y="308"/>
                    </a:moveTo>
                    <a:cubicBezTo>
                      <a:pt x="145" y="303"/>
                      <a:pt x="145" y="303"/>
                      <a:pt x="145" y="303"/>
                    </a:cubicBezTo>
                    <a:cubicBezTo>
                      <a:pt x="147" y="302"/>
                      <a:pt x="148" y="301"/>
                      <a:pt x="150" y="300"/>
                    </a:cubicBezTo>
                    <a:cubicBezTo>
                      <a:pt x="153" y="305"/>
                      <a:pt x="153" y="305"/>
                      <a:pt x="153" y="305"/>
                    </a:cubicBezTo>
                    <a:cubicBezTo>
                      <a:pt x="152" y="306"/>
                      <a:pt x="150" y="307"/>
                      <a:pt x="148" y="308"/>
                    </a:cubicBezTo>
                    <a:close/>
                    <a:moveTo>
                      <a:pt x="135" y="306"/>
                    </a:moveTo>
                    <a:cubicBezTo>
                      <a:pt x="134" y="305"/>
                      <a:pt x="134" y="305"/>
                      <a:pt x="134" y="305"/>
                    </a:cubicBezTo>
                    <a:cubicBezTo>
                      <a:pt x="133" y="304"/>
                      <a:pt x="133" y="304"/>
                      <a:pt x="132" y="303"/>
                    </a:cubicBezTo>
                    <a:cubicBezTo>
                      <a:pt x="134" y="298"/>
                      <a:pt x="134" y="298"/>
                      <a:pt x="134" y="298"/>
                    </a:cubicBezTo>
                    <a:cubicBezTo>
                      <a:pt x="136" y="299"/>
                      <a:pt x="137" y="300"/>
                      <a:pt x="138" y="301"/>
                    </a:cubicBezTo>
                    <a:cubicBezTo>
                      <a:pt x="139" y="302"/>
                      <a:pt x="139" y="302"/>
                      <a:pt x="139" y="302"/>
                    </a:cubicBezTo>
                    <a:lnTo>
                      <a:pt x="135" y="306"/>
                    </a:lnTo>
                    <a:close/>
                    <a:moveTo>
                      <a:pt x="117" y="305"/>
                    </a:moveTo>
                    <a:cubicBezTo>
                      <a:pt x="117" y="304"/>
                      <a:pt x="117" y="303"/>
                      <a:pt x="117" y="303"/>
                    </a:cubicBezTo>
                    <a:cubicBezTo>
                      <a:pt x="117" y="302"/>
                      <a:pt x="117" y="302"/>
                      <a:pt x="117" y="301"/>
                    </a:cubicBezTo>
                    <a:cubicBezTo>
                      <a:pt x="117" y="299"/>
                      <a:pt x="118" y="298"/>
                      <a:pt x="120" y="297"/>
                    </a:cubicBezTo>
                    <a:cubicBezTo>
                      <a:pt x="120" y="297"/>
                      <a:pt x="120" y="297"/>
                      <a:pt x="120" y="297"/>
                    </a:cubicBezTo>
                    <a:cubicBezTo>
                      <a:pt x="122" y="303"/>
                      <a:pt x="122" y="303"/>
                      <a:pt x="122" y="303"/>
                    </a:cubicBezTo>
                    <a:cubicBezTo>
                      <a:pt x="122" y="303"/>
                      <a:pt x="122" y="303"/>
                      <a:pt x="122" y="303"/>
                    </a:cubicBezTo>
                    <a:cubicBezTo>
                      <a:pt x="122" y="303"/>
                      <a:pt x="122" y="303"/>
                      <a:pt x="122" y="303"/>
                    </a:cubicBezTo>
                    <a:cubicBezTo>
                      <a:pt x="122" y="303"/>
                      <a:pt x="122" y="303"/>
                      <a:pt x="122" y="303"/>
                    </a:cubicBezTo>
                    <a:cubicBezTo>
                      <a:pt x="122" y="302"/>
                      <a:pt x="123" y="302"/>
                      <a:pt x="123" y="301"/>
                    </a:cubicBezTo>
                    <a:cubicBezTo>
                      <a:pt x="123" y="301"/>
                      <a:pt x="123" y="301"/>
                      <a:pt x="123" y="302"/>
                    </a:cubicBezTo>
                    <a:cubicBezTo>
                      <a:pt x="123" y="302"/>
                      <a:pt x="123" y="303"/>
                      <a:pt x="123" y="305"/>
                    </a:cubicBezTo>
                    <a:lnTo>
                      <a:pt x="117" y="305"/>
                    </a:lnTo>
                    <a:close/>
                    <a:moveTo>
                      <a:pt x="230" y="304"/>
                    </a:moveTo>
                    <a:cubicBezTo>
                      <a:pt x="224" y="303"/>
                      <a:pt x="224" y="303"/>
                      <a:pt x="224" y="303"/>
                    </a:cubicBezTo>
                    <a:cubicBezTo>
                      <a:pt x="224" y="303"/>
                      <a:pt x="224" y="303"/>
                      <a:pt x="224" y="303"/>
                    </a:cubicBezTo>
                    <a:cubicBezTo>
                      <a:pt x="224" y="302"/>
                      <a:pt x="224" y="300"/>
                      <a:pt x="223" y="299"/>
                    </a:cubicBezTo>
                    <a:cubicBezTo>
                      <a:pt x="229" y="297"/>
                      <a:pt x="229" y="297"/>
                      <a:pt x="229" y="297"/>
                    </a:cubicBezTo>
                    <a:cubicBezTo>
                      <a:pt x="229" y="299"/>
                      <a:pt x="230" y="301"/>
                      <a:pt x="230" y="303"/>
                    </a:cubicBezTo>
                    <a:cubicBezTo>
                      <a:pt x="230" y="303"/>
                      <a:pt x="230" y="304"/>
                      <a:pt x="230" y="304"/>
                    </a:cubicBezTo>
                    <a:close/>
                    <a:moveTo>
                      <a:pt x="63" y="304"/>
                    </a:moveTo>
                    <a:cubicBezTo>
                      <a:pt x="63" y="304"/>
                      <a:pt x="63" y="304"/>
                      <a:pt x="63" y="304"/>
                    </a:cubicBezTo>
                    <a:cubicBezTo>
                      <a:pt x="62" y="303"/>
                      <a:pt x="61" y="302"/>
                      <a:pt x="60" y="300"/>
                    </a:cubicBezTo>
                    <a:cubicBezTo>
                      <a:pt x="59" y="300"/>
                      <a:pt x="59" y="300"/>
                      <a:pt x="59" y="300"/>
                    </a:cubicBezTo>
                    <a:cubicBezTo>
                      <a:pt x="63" y="296"/>
                      <a:pt x="63" y="296"/>
                      <a:pt x="63" y="296"/>
                    </a:cubicBezTo>
                    <a:cubicBezTo>
                      <a:pt x="64" y="296"/>
                      <a:pt x="64" y="296"/>
                      <a:pt x="64" y="297"/>
                    </a:cubicBezTo>
                    <a:cubicBezTo>
                      <a:pt x="65" y="298"/>
                      <a:pt x="66" y="299"/>
                      <a:pt x="67" y="300"/>
                    </a:cubicBezTo>
                    <a:cubicBezTo>
                      <a:pt x="67" y="300"/>
                      <a:pt x="67" y="300"/>
                      <a:pt x="67" y="300"/>
                    </a:cubicBezTo>
                    <a:lnTo>
                      <a:pt x="63" y="304"/>
                    </a:lnTo>
                    <a:close/>
                    <a:moveTo>
                      <a:pt x="184" y="297"/>
                    </a:moveTo>
                    <a:cubicBezTo>
                      <a:pt x="184" y="291"/>
                      <a:pt x="184" y="291"/>
                      <a:pt x="184" y="291"/>
                    </a:cubicBezTo>
                    <a:cubicBezTo>
                      <a:pt x="185" y="291"/>
                      <a:pt x="186" y="289"/>
                      <a:pt x="187" y="289"/>
                    </a:cubicBezTo>
                    <a:cubicBezTo>
                      <a:pt x="191" y="293"/>
                      <a:pt x="191" y="293"/>
                      <a:pt x="191" y="293"/>
                    </a:cubicBezTo>
                    <a:cubicBezTo>
                      <a:pt x="189" y="295"/>
                      <a:pt x="188" y="296"/>
                      <a:pt x="186" y="297"/>
                    </a:cubicBezTo>
                    <a:cubicBezTo>
                      <a:pt x="185" y="297"/>
                      <a:pt x="185" y="297"/>
                      <a:pt x="184" y="297"/>
                    </a:cubicBezTo>
                    <a:close/>
                    <a:moveTo>
                      <a:pt x="152" y="297"/>
                    </a:moveTo>
                    <a:cubicBezTo>
                      <a:pt x="151" y="295"/>
                      <a:pt x="149" y="293"/>
                      <a:pt x="149" y="290"/>
                    </a:cubicBezTo>
                    <a:cubicBezTo>
                      <a:pt x="149" y="290"/>
                      <a:pt x="149" y="289"/>
                      <a:pt x="149" y="289"/>
                    </a:cubicBezTo>
                    <a:cubicBezTo>
                      <a:pt x="155" y="290"/>
                      <a:pt x="155" y="290"/>
                      <a:pt x="155" y="290"/>
                    </a:cubicBezTo>
                    <a:cubicBezTo>
                      <a:pt x="155" y="290"/>
                      <a:pt x="155" y="290"/>
                      <a:pt x="155" y="290"/>
                    </a:cubicBezTo>
                    <a:cubicBezTo>
                      <a:pt x="155" y="291"/>
                      <a:pt x="155" y="291"/>
                      <a:pt x="156" y="292"/>
                    </a:cubicBezTo>
                    <a:lnTo>
                      <a:pt x="152" y="297"/>
                    </a:lnTo>
                    <a:close/>
                    <a:moveTo>
                      <a:pt x="51" y="296"/>
                    </a:moveTo>
                    <a:cubicBezTo>
                      <a:pt x="46" y="296"/>
                      <a:pt x="44" y="294"/>
                      <a:pt x="43" y="292"/>
                    </a:cubicBezTo>
                    <a:cubicBezTo>
                      <a:pt x="48" y="289"/>
                      <a:pt x="48" y="289"/>
                      <a:pt x="48" y="289"/>
                    </a:cubicBezTo>
                    <a:cubicBezTo>
                      <a:pt x="49" y="290"/>
                      <a:pt x="50" y="290"/>
                      <a:pt x="51" y="290"/>
                    </a:cubicBezTo>
                    <a:lnTo>
                      <a:pt x="51" y="296"/>
                    </a:lnTo>
                    <a:close/>
                    <a:moveTo>
                      <a:pt x="32" y="291"/>
                    </a:moveTo>
                    <a:cubicBezTo>
                      <a:pt x="31" y="285"/>
                      <a:pt x="31" y="285"/>
                      <a:pt x="31" y="285"/>
                    </a:cubicBezTo>
                    <a:cubicBezTo>
                      <a:pt x="32" y="285"/>
                      <a:pt x="33" y="285"/>
                      <a:pt x="34" y="284"/>
                    </a:cubicBezTo>
                    <a:cubicBezTo>
                      <a:pt x="35" y="284"/>
                      <a:pt x="36" y="284"/>
                      <a:pt x="36" y="284"/>
                    </a:cubicBezTo>
                    <a:cubicBezTo>
                      <a:pt x="38" y="290"/>
                      <a:pt x="38" y="290"/>
                      <a:pt x="38" y="290"/>
                    </a:cubicBezTo>
                    <a:cubicBezTo>
                      <a:pt x="37" y="290"/>
                      <a:pt x="36" y="290"/>
                      <a:pt x="36" y="290"/>
                    </a:cubicBezTo>
                    <a:cubicBezTo>
                      <a:pt x="34" y="290"/>
                      <a:pt x="33" y="291"/>
                      <a:pt x="32" y="291"/>
                    </a:cubicBezTo>
                    <a:close/>
                    <a:moveTo>
                      <a:pt x="215" y="291"/>
                    </a:moveTo>
                    <a:cubicBezTo>
                      <a:pt x="215" y="285"/>
                      <a:pt x="215" y="285"/>
                      <a:pt x="215" y="285"/>
                    </a:cubicBezTo>
                    <a:cubicBezTo>
                      <a:pt x="215" y="285"/>
                      <a:pt x="215" y="285"/>
                      <a:pt x="215" y="285"/>
                    </a:cubicBezTo>
                    <a:cubicBezTo>
                      <a:pt x="219" y="284"/>
                      <a:pt x="221" y="284"/>
                      <a:pt x="223" y="286"/>
                    </a:cubicBezTo>
                    <a:cubicBezTo>
                      <a:pt x="219" y="290"/>
                      <a:pt x="219" y="290"/>
                      <a:pt x="219" y="290"/>
                    </a:cubicBezTo>
                    <a:cubicBezTo>
                      <a:pt x="219" y="290"/>
                      <a:pt x="219" y="290"/>
                      <a:pt x="219" y="290"/>
                    </a:cubicBezTo>
                    <a:cubicBezTo>
                      <a:pt x="218" y="290"/>
                      <a:pt x="218" y="290"/>
                      <a:pt x="217" y="290"/>
                    </a:cubicBezTo>
                    <a:cubicBezTo>
                      <a:pt x="216" y="291"/>
                      <a:pt x="216" y="291"/>
                      <a:pt x="215" y="291"/>
                    </a:cubicBezTo>
                    <a:close/>
                    <a:moveTo>
                      <a:pt x="199" y="288"/>
                    </a:moveTo>
                    <a:cubicBezTo>
                      <a:pt x="198" y="283"/>
                      <a:pt x="198" y="283"/>
                      <a:pt x="198" y="283"/>
                    </a:cubicBezTo>
                    <a:cubicBezTo>
                      <a:pt x="200" y="283"/>
                      <a:pt x="201" y="282"/>
                      <a:pt x="202" y="282"/>
                    </a:cubicBezTo>
                    <a:cubicBezTo>
                      <a:pt x="204" y="282"/>
                      <a:pt x="204" y="282"/>
                      <a:pt x="204" y="282"/>
                    </a:cubicBezTo>
                    <a:cubicBezTo>
                      <a:pt x="205" y="287"/>
                      <a:pt x="205" y="287"/>
                      <a:pt x="205" y="287"/>
                    </a:cubicBezTo>
                    <a:cubicBezTo>
                      <a:pt x="203" y="288"/>
                      <a:pt x="203" y="288"/>
                      <a:pt x="203" y="288"/>
                    </a:cubicBezTo>
                    <a:cubicBezTo>
                      <a:pt x="202" y="288"/>
                      <a:pt x="201" y="288"/>
                      <a:pt x="199" y="288"/>
                    </a:cubicBezTo>
                    <a:close/>
                    <a:moveTo>
                      <a:pt x="181" y="285"/>
                    </a:moveTo>
                    <a:cubicBezTo>
                      <a:pt x="181" y="285"/>
                      <a:pt x="181" y="284"/>
                      <a:pt x="181" y="284"/>
                    </a:cubicBezTo>
                    <a:cubicBezTo>
                      <a:pt x="179" y="283"/>
                      <a:pt x="179" y="282"/>
                      <a:pt x="178" y="280"/>
                    </a:cubicBezTo>
                    <a:cubicBezTo>
                      <a:pt x="184" y="279"/>
                      <a:pt x="184" y="279"/>
                      <a:pt x="184" y="279"/>
                    </a:cubicBezTo>
                    <a:cubicBezTo>
                      <a:pt x="184" y="279"/>
                      <a:pt x="184" y="279"/>
                      <a:pt x="185" y="280"/>
                    </a:cubicBezTo>
                    <a:cubicBezTo>
                      <a:pt x="186" y="281"/>
                      <a:pt x="187" y="282"/>
                      <a:pt x="187" y="283"/>
                    </a:cubicBezTo>
                    <a:lnTo>
                      <a:pt x="181" y="285"/>
                    </a:lnTo>
                    <a:close/>
                    <a:moveTo>
                      <a:pt x="167" y="281"/>
                    </a:moveTo>
                    <a:cubicBezTo>
                      <a:pt x="167" y="275"/>
                      <a:pt x="167" y="275"/>
                      <a:pt x="167" y="275"/>
                    </a:cubicBezTo>
                    <a:cubicBezTo>
                      <a:pt x="168" y="275"/>
                      <a:pt x="169" y="274"/>
                      <a:pt x="170" y="274"/>
                    </a:cubicBezTo>
                    <a:cubicBezTo>
                      <a:pt x="171" y="273"/>
                      <a:pt x="171" y="273"/>
                      <a:pt x="171" y="273"/>
                    </a:cubicBezTo>
                    <a:cubicBezTo>
                      <a:pt x="174" y="278"/>
                      <a:pt x="174" y="278"/>
                      <a:pt x="174" y="278"/>
                    </a:cubicBezTo>
                    <a:cubicBezTo>
                      <a:pt x="173" y="279"/>
                      <a:pt x="173" y="279"/>
                      <a:pt x="173" y="279"/>
                    </a:cubicBezTo>
                    <a:cubicBezTo>
                      <a:pt x="172" y="279"/>
                      <a:pt x="171" y="280"/>
                      <a:pt x="169" y="281"/>
                    </a:cubicBezTo>
                    <a:cubicBezTo>
                      <a:pt x="169" y="281"/>
                      <a:pt x="168" y="281"/>
                      <a:pt x="167" y="281"/>
                    </a:cubicBezTo>
                    <a:close/>
                    <a:moveTo>
                      <a:pt x="157" y="279"/>
                    </a:moveTo>
                    <a:cubicBezTo>
                      <a:pt x="152" y="276"/>
                      <a:pt x="152" y="276"/>
                      <a:pt x="152" y="276"/>
                    </a:cubicBezTo>
                    <a:cubicBezTo>
                      <a:pt x="153" y="275"/>
                      <a:pt x="155" y="273"/>
                      <a:pt x="157" y="272"/>
                    </a:cubicBezTo>
                    <a:cubicBezTo>
                      <a:pt x="157" y="272"/>
                      <a:pt x="157" y="272"/>
                      <a:pt x="157" y="272"/>
                    </a:cubicBezTo>
                    <a:cubicBezTo>
                      <a:pt x="161" y="277"/>
                      <a:pt x="161" y="277"/>
                      <a:pt x="161" y="277"/>
                    </a:cubicBezTo>
                    <a:cubicBezTo>
                      <a:pt x="160" y="277"/>
                      <a:pt x="160" y="278"/>
                      <a:pt x="159" y="278"/>
                    </a:cubicBezTo>
                    <a:cubicBezTo>
                      <a:pt x="158" y="278"/>
                      <a:pt x="157" y="279"/>
                      <a:pt x="157" y="279"/>
                    </a:cubicBezTo>
                    <a:close/>
                    <a:moveTo>
                      <a:pt x="31" y="279"/>
                    </a:moveTo>
                    <a:cubicBezTo>
                      <a:pt x="25" y="279"/>
                      <a:pt x="25" y="279"/>
                      <a:pt x="25" y="279"/>
                    </a:cubicBezTo>
                    <a:cubicBezTo>
                      <a:pt x="25" y="278"/>
                      <a:pt x="25" y="278"/>
                      <a:pt x="25" y="278"/>
                    </a:cubicBezTo>
                    <a:cubicBezTo>
                      <a:pt x="25" y="276"/>
                      <a:pt x="25" y="275"/>
                      <a:pt x="25" y="274"/>
                    </a:cubicBezTo>
                    <a:cubicBezTo>
                      <a:pt x="30" y="272"/>
                      <a:pt x="30" y="272"/>
                      <a:pt x="30" y="272"/>
                    </a:cubicBezTo>
                    <a:cubicBezTo>
                      <a:pt x="31" y="274"/>
                      <a:pt x="31" y="276"/>
                      <a:pt x="31" y="278"/>
                    </a:cubicBezTo>
                    <a:cubicBezTo>
                      <a:pt x="31" y="278"/>
                      <a:pt x="31" y="279"/>
                      <a:pt x="31" y="279"/>
                    </a:cubicBezTo>
                    <a:close/>
                    <a:moveTo>
                      <a:pt x="23" y="262"/>
                    </a:moveTo>
                    <a:cubicBezTo>
                      <a:pt x="23" y="261"/>
                      <a:pt x="23" y="259"/>
                      <a:pt x="22" y="258"/>
                    </a:cubicBezTo>
                    <a:cubicBezTo>
                      <a:pt x="27" y="255"/>
                      <a:pt x="27" y="255"/>
                      <a:pt x="27" y="255"/>
                    </a:cubicBezTo>
                    <a:cubicBezTo>
                      <a:pt x="28" y="257"/>
                      <a:pt x="29" y="260"/>
                      <a:pt x="29" y="262"/>
                    </a:cubicBezTo>
                    <a:lnTo>
                      <a:pt x="23" y="262"/>
                    </a:lnTo>
                    <a:close/>
                    <a:moveTo>
                      <a:pt x="16" y="249"/>
                    </a:moveTo>
                    <a:cubicBezTo>
                      <a:pt x="14" y="247"/>
                      <a:pt x="13" y="246"/>
                      <a:pt x="12" y="245"/>
                    </a:cubicBezTo>
                    <a:cubicBezTo>
                      <a:pt x="16" y="240"/>
                      <a:pt x="16" y="240"/>
                      <a:pt x="16" y="240"/>
                    </a:cubicBezTo>
                    <a:cubicBezTo>
                      <a:pt x="17" y="241"/>
                      <a:pt x="19" y="243"/>
                      <a:pt x="20" y="245"/>
                    </a:cubicBezTo>
                    <a:lnTo>
                      <a:pt x="16" y="249"/>
                    </a:lnTo>
                    <a:close/>
                    <a:moveTo>
                      <a:pt x="2" y="237"/>
                    </a:moveTo>
                    <a:cubicBezTo>
                      <a:pt x="2" y="236"/>
                      <a:pt x="1" y="236"/>
                      <a:pt x="1" y="235"/>
                    </a:cubicBezTo>
                    <a:cubicBezTo>
                      <a:pt x="0" y="234"/>
                      <a:pt x="0" y="233"/>
                      <a:pt x="0" y="232"/>
                    </a:cubicBezTo>
                    <a:cubicBezTo>
                      <a:pt x="0" y="231"/>
                      <a:pt x="0" y="230"/>
                      <a:pt x="0" y="229"/>
                    </a:cubicBezTo>
                    <a:cubicBezTo>
                      <a:pt x="6" y="231"/>
                      <a:pt x="6" y="231"/>
                      <a:pt x="6" y="231"/>
                    </a:cubicBezTo>
                    <a:cubicBezTo>
                      <a:pt x="6" y="231"/>
                      <a:pt x="6" y="231"/>
                      <a:pt x="6" y="232"/>
                    </a:cubicBezTo>
                    <a:cubicBezTo>
                      <a:pt x="6" y="233"/>
                      <a:pt x="7" y="233"/>
                      <a:pt x="7" y="234"/>
                    </a:cubicBezTo>
                    <a:lnTo>
                      <a:pt x="2" y="237"/>
                    </a:lnTo>
                    <a:close/>
                    <a:moveTo>
                      <a:pt x="12" y="223"/>
                    </a:moveTo>
                    <a:cubicBezTo>
                      <a:pt x="8" y="219"/>
                      <a:pt x="8" y="219"/>
                      <a:pt x="8" y="219"/>
                    </a:cubicBezTo>
                    <a:cubicBezTo>
                      <a:pt x="9" y="218"/>
                      <a:pt x="9" y="218"/>
                      <a:pt x="9" y="218"/>
                    </a:cubicBezTo>
                    <a:cubicBezTo>
                      <a:pt x="9" y="217"/>
                      <a:pt x="11" y="216"/>
                      <a:pt x="12" y="215"/>
                    </a:cubicBezTo>
                    <a:cubicBezTo>
                      <a:pt x="16" y="219"/>
                      <a:pt x="16" y="219"/>
                      <a:pt x="16" y="219"/>
                    </a:cubicBezTo>
                    <a:cubicBezTo>
                      <a:pt x="15" y="221"/>
                      <a:pt x="14" y="222"/>
                      <a:pt x="14" y="222"/>
                    </a:cubicBezTo>
                    <a:cubicBezTo>
                      <a:pt x="13" y="222"/>
                      <a:pt x="13" y="222"/>
                      <a:pt x="12" y="223"/>
                    </a:cubicBezTo>
                    <a:close/>
                    <a:moveTo>
                      <a:pt x="25" y="211"/>
                    </a:moveTo>
                    <a:cubicBezTo>
                      <a:pt x="21" y="207"/>
                      <a:pt x="21" y="207"/>
                      <a:pt x="21" y="207"/>
                    </a:cubicBezTo>
                    <a:cubicBezTo>
                      <a:pt x="23" y="205"/>
                      <a:pt x="25" y="204"/>
                      <a:pt x="26" y="203"/>
                    </a:cubicBezTo>
                    <a:cubicBezTo>
                      <a:pt x="30" y="208"/>
                      <a:pt x="30" y="208"/>
                      <a:pt x="30" y="208"/>
                    </a:cubicBezTo>
                    <a:cubicBezTo>
                      <a:pt x="28" y="209"/>
                      <a:pt x="27" y="210"/>
                      <a:pt x="25" y="211"/>
                    </a:cubicBezTo>
                    <a:close/>
                    <a:moveTo>
                      <a:pt x="39" y="200"/>
                    </a:moveTo>
                    <a:cubicBezTo>
                      <a:pt x="35" y="197"/>
                      <a:pt x="35" y="197"/>
                      <a:pt x="35" y="197"/>
                    </a:cubicBezTo>
                    <a:cubicBezTo>
                      <a:pt x="35" y="196"/>
                      <a:pt x="35" y="196"/>
                      <a:pt x="35" y="196"/>
                    </a:cubicBezTo>
                    <a:cubicBezTo>
                      <a:pt x="35" y="196"/>
                      <a:pt x="35" y="196"/>
                      <a:pt x="34" y="196"/>
                    </a:cubicBezTo>
                    <a:cubicBezTo>
                      <a:pt x="38" y="191"/>
                      <a:pt x="38" y="191"/>
                      <a:pt x="38" y="191"/>
                    </a:cubicBezTo>
                    <a:cubicBezTo>
                      <a:pt x="40" y="193"/>
                      <a:pt x="41" y="195"/>
                      <a:pt x="41" y="196"/>
                    </a:cubicBezTo>
                    <a:cubicBezTo>
                      <a:pt x="41" y="198"/>
                      <a:pt x="40" y="199"/>
                      <a:pt x="39" y="200"/>
                    </a:cubicBezTo>
                    <a:close/>
                    <a:moveTo>
                      <a:pt x="122" y="197"/>
                    </a:moveTo>
                    <a:cubicBezTo>
                      <a:pt x="120" y="197"/>
                      <a:pt x="118" y="197"/>
                      <a:pt x="116" y="197"/>
                    </a:cubicBezTo>
                    <a:cubicBezTo>
                      <a:pt x="117" y="191"/>
                      <a:pt x="117" y="191"/>
                      <a:pt x="117" y="191"/>
                    </a:cubicBezTo>
                    <a:cubicBezTo>
                      <a:pt x="119" y="191"/>
                      <a:pt x="120" y="191"/>
                      <a:pt x="122" y="191"/>
                    </a:cubicBezTo>
                    <a:lnTo>
                      <a:pt x="122" y="197"/>
                    </a:lnTo>
                    <a:close/>
                    <a:moveTo>
                      <a:pt x="135" y="194"/>
                    </a:moveTo>
                    <a:cubicBezTo>
                      <a:pt x="132" y="189"/>
                      <a:pt x="132" y="189"/>
                      <a:pt x="132" y="189"/>
                    </a:cubicBezTo>
                    <a:cubicBezTo>
                      <a:pt x="133" y="188"/>
                      <a:pt x="134" y="187"/>
                      <a:pt x="135" y="186"/>
                    </a:cubicBezTo>
                    <a:cubicBezTo>
                      <a:pt x="140" y="189"/>
                      <a:pt x="140" y="189"/>
                      <a:pt x="140" y="189"/>
                    </a:cubicBezTo>
                    <a:cubicBezTo>
                      <a:pt x="139" y="191"/>
                      <a:pt x="137" y="193"/>
                      <a:pt x="135" y="194"/>
                    </a:cubicBezTo>
                    <a:close/>
                    <a:moveTo>
                      <a:pt x="103" y="192"/>
                    </a:moveTo>
                    <a:cubicBezTo>
                      <a:pt x="102" y="191"/>
                      <a:pt x="101" y="189"/>
                      <a:pt x="100" y="186"/>
                    </a:cubicBezTo>
                    <a:cubicBezTo>
                      <a:pt x="105" y="184"/>
                      <a:pt x="105" y="184"/>
                      <a:pt x="105" y="184"/>
                    </a:cubicBezTo>
                    <a:cubicBezTo>
                      <a:pt x="106" y="186"/>
                      <a:pt x="106" y="187"/>
                      <a:pt x="107" y="188"/>
                    </a:cubicBezTo>
                    <a:lnTo>
                      <a:pt x="103" y="192"/>
                    </a:lnTo>
                    <a:close/>
                    <a:moveTo>
                      <a:pt x="24" y="190"/>
                    </a:moveTo>
                    <a:cubicBezTo>
                      <a:pt x="22" y="189"/>
                      <a:pt x="20" y="187"/>
                      <a:pt x="20" y="184"/>
                    </a:cubicBezTo>
                    <a:cubicBezTo>
                      <a:pt x="20" y="183"/>
                      <a:pt x="20" y="182"/>
                      <a:pt x="20" y="182"/>
                    </a:cubicBezTo>
                    <a:cubicBezTo>
                      <a:pt x="25" y="185"/>
                      <a:pt x="25" y="185"/>
                      <a:pt x="25" y="185"/>
                    </a:cubicBezTo>
                    <a:cubicBezTo>
                      <a:pt x="26" y="185"/>
                      <a:pt x="26" y="184"/>
                      <a:pt x="26" y="184"/>
                    </a:cubicBezTo>
                    <a:cubicBezTo>
                      <a:pt x="26" y="184"/>
                      <a:pt x="26" y="184"/>
                      <a:pt x="27" y="185"/>
                    </a:cubicBezTo>
                    <a:lnTo>
                      <a:pt x="24" y="190"/>
                    </a:lnTo>
                    <a:close/>
                    <a:moveTo>
                      <a:pt x="79" y="180"/>
                    </a:moveTo>
                    <a:cubicBezTo>
                      <a:pt x="77" y="175"/>
                      <a:pt x="77" y="175"/>
                      <a:pt x="77" y="175"/>
                    </a:cubicBezTo>
                    <a:cubicBezTo>
                      <a:pt x="79" y="174"/>
                      <a:pt x="81" y="173"/>
                      <a:pt x="82" y="173"/>
                    </a:cubicBezTo>
                    <a:cubicBezTo>
                      <a:pt x="84" y="178"/>
                      <a:pt x="84" y="178"/>
                      <a:pt x="84" y="178"/>
                    </a:cubicBezTo>
                    <a:cubicBezTo>
                      <a:pt x="83" y="179"/>
                      <a:pt x="81" y="180"/>
                      <a:pt x="79" y="180"/>
                    </a:cubicBezTo>
                    <a:close/>
                    <a:moveTo>
                      <a:pt x="145" y="178"/>
                    </a:moveTo>
                    <a:cubicBezTo>
                      <a:pt x="140" y="176"/>
                      <a:pt x="140" y="176"/>
                      <a:pt x="140" y="176"/>
                    </a:cubicBezTo>
                    <a:cubicBezTo>
                      <a:pt x="141" y="174"/>
                      <a:pt x="142" y="172"/>
                      <a:pt x="143" y="170"/>
                    </a:cubicBezTo>
                    <a:cubicBezTo>
                      <a:pt x="148" y="173"/>
                      <a:pt x="148" y="173"/>
                      <a:pt x="148" y="173"/>
                    </a:cubicBezTo>
                    <a:cubicBezTo>
                      <a:pt x="147" y="175"/>
                      <a:pt x="146" y="177"/>
                      <a:pt x="145" y="178"/>
                    </a:cubicBezTo>
                    <a:close/>
                    <a:moveTo>
                      <a:pt x="33" y="177"/>
                    </a:moveTo>
                    <a:cubicBezTo>
                      <a:pt x="29" y="173"/>
                      <a:pt x="29" y="173"/>
                      <a:pt x="29" y="173"/>
                    </a:cubicBezTo>
                    <a:cubicBezTo>
                      <a:pt x="30" y="171"/>
                      <a:pt x="32" y="170"/>
                      <a:pt x="32" y="169"/>
                    </a:cubicBezTo>
                    <a:cubicBezTo>
                      <a:pt x="37" y="172"/>
                      <a:pt x="37" y="172"/>
                      <a:pt x="37" y="172"/>
                    </a:cubicBezTo>
                    <a:cubicBezTo>
                      <a:pt x="36" y="173"/>
                      <a:pt x="35" y="175"/>
                      <a:pt x="33" y="177"/>
                    </a:cubicBezTo>
                    <a:close/>
                    <a:moveTo>
                      <a:pt x="97" y="175"/>
                    </a:moveTo>
                    <a:cubicBezTo>
                      <a:pt x="97" y="175"/>
                      <a:pt x="97" y="175"/>
                      <a:pt x="96" y="175"/>
                    </a:cubicBezTo>
                    <a:cubicBezTo>
                      <a:pt x="95" y="175"/>
                      <a:pt x="95" y="175"/>
                      <a:pt x="95" y="175"/>
                    </a:cubicBezTo>
                    <a:cubicBezTo>
                      <a:pt x="94" y="169"/>
                      <a:pt x="94" y="169"/>
                      <a:pt x="94" y="169"/>
                    </a:cubicBezTo>
                    <a:cubicBezTo>
                      <a:pt x="99" y="168"/>
                      <a:pt x="101" y="171"/>
                      <a:pt x="102" y="173"/>
                    </a:cubicBezTo>
                    <a:lnTo>
                      <a:pt x="97" y="175"/>
                    </a:lnTo>
                    <a:close/>
                    <a:moveTo>
                      <a:pt x="72" y="175"/>
                    </a:moveTo>
                    <a:cubicBezTo>
                      <a:pt x="66" y="175"/>
                      <a:pt x="66" y="175"/>
                      <a:pt x="66" y="175"/>
                    </a:cubicBezTo>
                    <a:cubicBezTo>
                      <a:pt x="66" y="174"/>
                      <a:pt x="66" y="173"/>
                      <a:pt x="66" y="173"/>
                    </a:cubicBezTo>
                    <a:cubicBezTo>
                      <a:pt x="66" y="172"/>
                      <a:pt x="66" y="171"/>
                      <a:pt x="66" y="170"/>
                    </a:cubicBezTo>
                    <a:cubicBezTo>
                      <a:pt x="72" y="169"/>
                      <a:pt x="72" y="169"/>
                      <a:pt x="72" y="169"/>
                    </a:cubicBezTo>
                    <a:cubicBezTo>
                      <a:pt x="72" y="169"/>
                      <a:pt x="72" y="170"/>
                      <a:pt x="72" y="170"/>
                    </a:cubicBezTo>
                    <a:cubicBezTo>
                      <a:pt x="72" y="171"/>
                      <a:pt x="72" y="172"/>
                      <a:pt x="72" y="173"/>
                    </a:cubicBezTo>
                    <a:cubicBezTo>
                      <a:pt x="72" y="174"/>
                      <a:pt x="72" y="175"/>
                      <a:pt x="72" y="175"/>
                    </a:cubicBezTo>
                    <a:close/>
                    <a:moveTo>
                      <a:pt x="58" y="166"/>
                    </a:moveTo>
                    <a:cubicBezTo>
                      <a:pt x="57" y="165"/>
                      <a:pt x="56" y="165"/>
                      <a:pt x="55" y="165"/>
                    </a:cubicBezTo>
                    <a:cubicBezTo>
                      <a:pt x="54" y="165"/>
                      <a:pt x="54" y="165"/>
                      <a:pt x="54" y="165"/>
                    </a:cubicBezTo>
                    <a:cubicBezTo>
                      <a:pt x="54" y="159"/>
                      <a:pt x="54" y="159"/>
                      <a:pt x="54" y="159"/>
                    </a:cubicBezTo>
                    <a:cubicBezTo>
                      <a:pt x="57" y="159"/>
                      <a:pt x="59" y="159"/>
                      <a:pt x="61" y="161"/>
                    </a:cubicBezTo>
                    <a:lnTo>
                      <a:pt x="58" y="166"/>
                    </a:lnTo>
                    <a:close/>
                    <a:moveTo>
                      <a:pt x="154" y="163"/>
                    </a:moveTo>
                    <a:cubicBezTo>
                      <a:pt x="149" y="160"/>
                      <a:pt x="149" y="160"/>
                      <a:pt x="149" y="160"/>
                    </a:cubicBezTo>
                    <a:cubicBezTo>
                      <a:pt x="150" y="158"/>
                      <a:pt x="151" y="157"/>
                      <a:pt x="152" y="155"/>
                    </a:cubicBezTo>
                    <a:cubicBezTo>
                      <a:pt x="157" y="159"/>
                      <a:pt x="157" y="159"/>
                      <a:pt x="157" y="159"/>
                    </a:cubicBezTo>
                    <a:cubicBezTo>
                      <a:pt x="156" y="160"/>
                      <a:pt x="155" y="162"/>
                      <a:pt x="154" y="163"/>
                    </a:cubicBezTo>
                    <a:close/>
                    <a:moveTo>
                      <a:pt x="42" y="162"/>
                    </a:moveTo>
                    <a:cubicBezTo>
                      <a:pt x="41" y="161"/>
                      <a:pt x="40" y="161"/>
                      <a:pt x="40" y="161"/>
                    </a:cubicBezTo>
                    <a:cubicBezTo>
                      <a:pt x="40" y="161"/>
                      <a:pt x="40" y="161"/>
                      <a:pt x="40" y="160"/>
                    </a:cubicBezTo>
                    <a:cubicBezTo>
                      <a:pt x="35" y="158"/>
                      <a:pt x="35" y="158"/>
                      <a:pt x="35" y="158"/>
                    </a:cubicBezTo>
                    <a:cubicBezTo>
                      <a:pt x="36" y="156"/>
                      <a:pt x="37" y="155"/>
                      <a:pt x="40" y="155"/>
                    </a:cubicBezTo>
                    <a:cubicBezTo>
                      <a:pt x="40" y="155"/>
                      <a:pt x="40" y="155"/>
                      <a:pt x="41" y="155"/>
                    </a:cubicBezTo>
                    <a:cubicBezTo>
                      <a:pt x="42" y="155"/>
                      <a:pt x="43" y="156"/>
                      <a:pt x="44" y="156"/>
                    </a:cubicBezTo>
                    <a:lnTo>
                      <a:pt x="42" y="162"/>
                    </a:lnTo>
                    <a:close/>
                    <a:moveTo>
                      <a:pt x="164" y="149"/>
                    </a:moveTo>
                    <a:cubicBezTo>
                      <a:pt x="159" y="147"/>
                      <a:pt x="159" y="147"/>
                      <a:pt x="159" y="147"/>
                    </a:cubicBezTo>
                    <a:cubicBezTo>
                      <a:pt x="159" y="146"/>
                      <a:pt x="159" y="145"/>
                      <a:pt x="159" y="145"/>
                    </a:cubicBezTo>
                    <a:cubicBezTo>
                      <a:pt x="159" y="144"/>
                      <a:pt x="159" y="143"/>
                      <a:pt x="159" y="142"/>
                    </a:cubicBezTo>
                    <a:cubicBezTo>
                      <a:pt x="165" y="142"/>
                      <a:pt x="165" y="142"/>
                      <a:pt x="165" y="142"/>
                    </a:cubicBezTo>
                    <a:cubicBezTo>
                      <a:pt x="165" y="143"/>
                      <a:pt x="165" y="144"/>
                      <a:pt x="165" y="145"/>
                    </a:cubicBezTo>
                    <a:cubicBezTo>
                      <a:pt x="165" y="146"/>
                      <a:pt x="165" y="147"/>
                      <a:pt x="164" y="149"/>
                    </a:cubicBezTo>
                    <a:close/>
                    <a:moveTo>
                      <a:pt x="164" y="133"/>
                    </a:moveTo>
                    <a:cubicBezTo>
                      <a:pt x="160" y="129"/>
                      <a:pt x="160" y="129"/>
                      <a:pt x="160" y="129"/>
                    </a:cubicBezTo>
                    <a:cubicBezTo>
                      <a:pt x="160" y="129"/>
                      <a:pt x="160" y="129"/>
                      <a:pt x="160" y="129"/>
                    </a:cubicBezTo>
                    <a:cubicBezTo>
                      <a:pt x="162" y="127"/>
                      <a:pt x="164" y="126"/>
                      <a:pt x="166" y="125"/>
                    </a:cubicBezTo>
                    <a:cubicBezTo>
                      <a:pt x="168" y="131"/>
                      <a:pt x="168" y="131"/>
                      <a:pt x="168" y="131"/>
                    </a:cubicBezTo>
                    <a:cubicBezTo>
                      <a:pt x="167" y="131"/>
                      <a:pt x="165" y="132"/>
                      <a:pt x="164" y="133"/>
                    </a:cubicBezTo>
                    <a:close/>
                    <a:moveTo>
                      <a:pt x="193" y="128"/>
                    </a:moveTo>
                    <a:cubicBezTo>
                      <a:pt x="188" y="126"/>
                      <a:pt x="188" y="126"/>
                      <a:pt x="188" y="126"/>
                    </a:cubicBezTo>
                    <a:cubicBezTo>
                      <a:pt x="188" y="125"/>
                      <a:pt x="188" y="124"/>
                      <a:pt x="188" y="123"/>
                    </a:cubicBezTo>
                    <a:cubicBezTo>
                      <a:pt x="189" y="121"/>
                      <a:pt x="189" y="121"/>
                      <a:pt x="189" y="121"/>
                    </a:cubicBezTo>
                    <a:cubicBezTo>
                      <a:pt x="194" y="122"/>
                      <a:pt x="194" y="122"/>
                      <a:pt x="194" y="122"/>
                    </a:cubicBezTo>
                    <a:cubicBezTo>
                      <a:pt x="194" y="124"/>
                      <a:pt x="194" y="124"/>
                      <a:pt x="194" y="124"/>
                    </a:cubicBezTo>
                    <a:cubicBezTo>
                      <a:pt x="194" y="125"/>
                      <a:pt x="194" y="126"/>
                      <a:pt x="193" y="128"/>
                    </a:cubicBezTo>
                    <a:close/>
                    <a:moveTo>
                      <a:pt x="180" y="128"/>
                    </a:moveTo>
                    <a:cubicBezTo>
                      <a:pt x="180" y="128"/>
                      <a:pt x="180" y="127"/>
                      <a:pt x="180" y="127"/>
                    </a:cubicBezTo>
                    <a:cubicBezTo>
                      <a:pt x="180" y="127"/>
                      <a:pt x="180" y="127"/>
                      <a:pt x="179" y="127"/>
                    </a:cubicBezTo>
                    <a:cubicBezTo>
                      <a:pt x="177" y="122"/>
                      <a:pt x="177" y="122"/>
                      <a:pt x="177" y="122"/>
                    </a:cubicBezTo>
                    <a:cubicBezTo>
                      <a:pt x="181" y="120"/>
                      <a:pt x="184" y="121"/>
                      <a:pt x="185" y="124"/>
                    </a:cubicBezTo>
                    <a:cubicBezTo>
                      <a:pt x="185" y="124"/>
                      <a:pt x="185" y="125"/>
                      <a:pt x="185" y="125"/>
                    </a:cubicBezTo>
                    <a:lnTo>
                      <a:pt x="180" y="128"/>
                    </a:lnTo>
                    <a:close/>
                    <a:moveTo>
                      <a:pt x="200" y="116"/>
                    </a:moveTo>
                    <a:cubicBezTo>
                      <a:pt x="197" y="110"/>
                      <a:pt x="197" y="110"/>
                      <a:pt x="197" y="110"/>
                    </a:cubicBezTo>
                    <a:cubicBezTo>
                      <a:pt x="199" y="110"/>
                      <a:pt x="200" y="109"/>
                      <a:pt x="201" y="108"/>
                    </a:cubicBezTo>
                    <a:cubicBezTo>
                      <a:pt x="205" y="111"/>
                      <a:pt x="205" y="111"/>
                      <a:pt x="205" y="111"/>
                    </a:cubicBezTo>
                    <a:cubicBezTo>
                      <a:pt x="204" y="113"/>
                      <a:pt x="202" y="114"/>
                      <a:pt x="200" y="116"/>
                    </a:cubicBezTo>
                    <a:close/>
                    <a:moveTo>
                      <a:pt x="207" y="102"/>
                    </a:moveTo>
                    <a:cubicBezTo>
                      <a:pt x="204" y="97"/>
                      <a:pt x="204" y="97"/>
                      <a:pt x="204" y="97"/>
                    </a:cubicBezTo>
                    <a:cubicBezTo>
                      <a:pt x="204" y="97"/>
                      <a:pt x="205" y="96"/>
                      <a:pt x="206" y="96"/>
                    </a:cubicBezTo>
                    <a:cubicBezTo>
                      <a:pt x="206" y="96"/>
                      <a:pt x="207" y="96"/>
                      <a:pt x="207" y="95"/>
                    </a:cubicBezTo>
                    <a:cubicBezTo>
                      <a:pt x="207" y="95"/>
                      <a:pt x="207" y="96"/>
                      <a:pt x="207" y="96"/>
                    </a:cubicBezTo>
                    <a:cubicBezTo>
                      <a:pt x="213" y="97"/>
                      <a:pt x="213" y="97"/>
                      <a:pt x="213" y="97"/>
                    </a:cubicBezTo>
                    <a:cubicBezTo>
                      <a:pt x="213" y="100"/>
                      <a:pt x="209" y="101"/>
                      <a:pt x="208" y="102"/>
                    </a:cubicBezTo>
                    <a:cubicBezTo>
                      <a:pt x="207" y="102"/>
                      <a:pt x="207" y="102"/>
                      <a:pt x="207" y="102"/>
                    </a:cubicBezTo>
                    <a:close/>
                    <a:moveTo>
                      <a:pt x="214" y="88"/>
                    </a:moveTo>
                    <a:cubicBezTo>
                      <a:pt x="209" y="84"/>
                      <a:pt x="209" y="84"/>
                      <a:pt x="209" y="84"/>
                    </a:cubicBezTo>
                    <a:cubicBezTo>
                      <a:pt x="210" y="83"/>
                      <a:pt x="211" y="82"/>
                      <a:pt x="211" y="82"/>
                    </a:cubicBezTo>
                    <a:cubicBezTo>
                      <a:pt x="212" y="81"/>
                      <a:pt x="213" y="80"/>
                      <a:pt x="213" y="80"/>
                    </a:cubicBezTo>
                    <a:cubicBezTo>
                      <a:pt x="218" y="83"/>
                      <a:pt x="218" y="83"/>
                      <a:pt x="218" y="83"/>
                    </a:cubicBezTo>
                    <a:cubicBezTo>
                      <a:pt x="217" y="84"/>
                      <a:pt x="216" y="85"/>
                      <a:pt x="216" y="86"/>
                    </a:cubicBezTo>
                    <a:cubicBezTo>
                      <a:pt x="215" y="86"/>
                      <a:pt x="214" y="87"/>
                      <a:pt x="214" y="88"/>
                    </a:cubicBezTo>
                    <a:close/>
                    <a:moveTo>
                      <a:pt x="223" y="73"/>
                    </a:moveTo>
                    <a:cubicBezTo>
                      <a:pt x="218" y="70"/>
                      <a:pt x="218" y="70"/>
                      <a:pt x="218" y="70"/>
                    </a:cubicBezTo>
                    <a:cubicBezTo>
                      <a:pt x="219" y="68"/>
                      <a:pt x="220" y="67"/>
                      <a:pt x="222" y="65"/>
                    </a:cubicBezTo>
                    <a:cubicBezTo>
                      <a:pt x="226" y="69"/>
                      <a:pt x="226" y="69"/>
                      <a:pt x="226" y="69"/>
                    </a:cubicBezTo>
                    <a:cubicBezTo>
                      <a:pt x="225" y="70"/>
                      <a:pt x="224" y="72"/>
                      <a:pt x="223" y="73"/>
                    </a:cubicBezTo>
                    <a:close/>
                    <a:moveTo>
                      <a:pt x="234" y="60"/>
                    </a:moveTo>
                    <a:cubicBezTo>
                      <a:pt x="230" y="56"/>
                      <a:pt x="230" y="56"/>
                      <a:pt x="230" y="56"/>
                    </a:cubicBezTo>
                    <a:cubicBezTo>
                      <a:pt x="231" y="55"/>
                      <a:pt x="232" y="53"/>
                      <a:pt x="233" y="52"/>
                    </a:cubicBezTo>
                    <a:cubicBezTo>
                      <a:pt x="238" y="55"/>
                      <a:pt x="238" y="55"/>
                      <a:pt x="238" y="55"/>
                    </a:cubicBezTo>
                    <a:cubicBezTo>
                      <a:pt x="237" y="57"/>
                      <a:pt x="236" y="58"/>
                      <a:pt x="234" y="60"/>
                    </a:cubicBezTo>
                    <a:close/>
                    <a:moveTo>
                      <a:pt x="236" y="46"/>
                    </a:moveTo>
                    <a:cubicBezTo>
                      <a:pt x="235" y="45"/>
                      <a:pt x="233" y="44"/>
                      <a:pt x="231" y="42"/>
                    </a:cubicBezTo>
                    <a:cubicBezTo>
                      <a:pt x="234" y="37"/>
                      <a:pt x="234" y="37"/>
                      <a:pt x="234" y="37"/>
                    </a:cubicBezTo>
                    <a:cubicBezTo>
                      <a:pt x="236" y="39"/>
                      <a:pt x="238" y="40"/>
                      <a:pt x="239" y="41"/>
                    </a:cubicBezTo>
                    <a:lnTo>
                      <a:pt x="236" y="46"/>
                    </a:lnTo>
                    <a:close/>
                    <a:moveTo>
                      <a:pt x="222" y="34"/>
                    </a:moveTo>
                    <a:cubicBezTo>
                      <a:pt x="220" y="32"/>
                      <a:pt x="219" y="30"/>
                      <a:pt x="219" y="28"/>
                    </a:cubicBezTo>
                    <a:cubicBezTo>
                      <a:pt x="219" y="27"/>
                      <a:pt x="220" y="26"/>
                      <a:pt x="220" y="25"/>
                    </a:cubicBezTo>
                    <a:cubicBezTo>
                      <a:pt x="225" y="28"/>
                      <a:pt x="225" y="28"/>
                      <a:pt x="225" y="28"/>
                    </a:cubicBezTo>
                    <a:cubicBezTo>
                      <a:pt x="225" y="28"/>
                      <a:pt x="225" y="29"/>
                      <a:pt x="226" y="30"/>
                    </a:cubicBezTo>
                    <a:lnTo>
                      <a:pt x="222" y="34"/>
                    </a:lnTo>
                    <a:close/>
                    <a:moveTo>
                      <a:pt x="230" y="18"/>
                    </a:moveTo>
                    <a:cubicBezTo>
                      <a:pt x="225" y="14"/>
                      <a:pt x="225" y="14"/>
                      <a:pt x="225" y="14"/>
                    </a:cubicBezTo>
                    <a:cubicBezTo>
                      <a:pt x="226" y="13"/>
                      <a:pt x="228" y="12"/>
                      <a:pt x="229" y="12"/>
                    </a:cubicBezTo>
                    <a:cubicBezTo>
                      <a:pt x="230" y="12"/>
                      <a:pt x="231" y="11"/>
                      <a:pt x="232" y="11"/>
                    </a:cubicBezTo>
                    <a:cubicBezTo>
                      <a:pt x="234" y="16"/>
                      <a:pt x="234" y="16"/>
                      <a:pt x="234" y="16"/>
                    </a:cubicBezTo>
                    <a:cubicBezTo>
                      <a:pt x="233" y="17"/>
                      <a:pt x="232" y="17"/>
                      <a:pt x="230" y="18"/>
                    </a:cubicBezTo>
                    <a:cubicBezTo>
                      <a:pt x="230" y="18"/>
                      <a:pt x="230" y="18"/>
                      <a:pt x="230" y="18"/>
                    </a:cubicBezTo>
                    <a:cubicBezTo>
                      <a:pt x="230" y="18"/>
                      <a:pt x="230" y="18"/>
                      <a:pt x="230" y="18"/>
                    </a:cubicBezTo>
                    <a:close/>
                    <a:moveTo>
                      <a:pt x="243" y="8"/>
                    </a:moveTo>
                    <a:cubicBezTo>
                      <a:pt x="237" y="5"/>
                      <a:pt x="237" y="5"/>
                      <a:pt x="237" y="5"/>
                    </a:cubicBezTo>
                    <a:cubicBezTo>
                      <a:pt x="238" y="4"/>
                      <a:pt x="238" y="4"/>
                      <a:pt x="238" y="4"/>
                    </a:cubicBezTo>
                    <a:cubicBezTo>
                      <a:pt x="238" y="4"/>
                      <a:pt x="239" y="2"/>
                      <a:pt x="239" y="2"/>
                    </a:cubicBezTo>
                    <a:cubicBezTo>
                      <a:pt x="240" y="1"/>
                      <a:pt x="241" y="0"/>
                      <a:pt x="242" y="0"/>
                    </a:cubicBezTo>
                    <a:cubicBezTo>
                      <a:pt x="245" y="4"/>
                      <a:pt x="245" y="4"/>
                      <a:pt x="245" y="4"/>
                    </a:cubicBezTo>
                    <a:cubicBezTo>
                      <a:pt x="245" y="5"/>
                      <a:pt x="244" y="5"/>
                      <a:pt x="243" y="6"/>
                    </a:cubicBezTo>
                    <a:cubicBezTo>
                      <a:pt x="243" y="6"/>
                      <a:pt x="243" y="7"/>
                      <a:pt x="243" y="7"/>
                    </a:cubicBezTo>
                    <a:lnTo>
                      <a:pt x="243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20" name="îşḻídé"/>
              <p:cNvSpPr/>
              <p:nvPr/>
            </p:nvSpPr>
            <p:spPr bwMode="auto">
              <a:xfrm>
                <a:off x="5857875" y="5307013"/>
                <a:ext cx="1281113" cy="330200"/>
              </a:xfrm>
              <a:custGeom>
                <a:avLst/>
                <a:gdLst>
                  <a:gd name="T0" fmla="*/ 15 w 597"/>
                  <a:gd name="T1" fmla="*/ 143 h 154"/>
                  <a:gd name="T2" fmla="*/ 113 w 597"/>
                  <a:gd name="T3" fmla="*/ 139 h 154"/>
                  <a:gd name="T4" fmla="*/ 100 w 597"/>
                  <a:gd name="T5" fmla="*/ 137 h 154"/>
                  <a:gd name="T6" fmla="*/ 132 w 597"/>
                  <a:gd name="T7" fmla="*/ 143 h 154"/>
                  <a:gd name="T8" fmla="*/ 0 w 597"/>
                  <a:gd name="T9" fmla="*/ 140 h 154"/>
                  <a:gd name="T10" fmla="*/ 597 w 597"/>
                  <a:gd name="T11" fmla="*/ 143 h 154"/>
                  <a:gd name="T12" fmla="*/ 563 w 597"/>
                  <a:gd name="T13" fmla="*/ 140 h 154"/>
                  <a:gd name="T14" fmla="*/ 85 w 597"/>
                  <a:gd name="T15" fmla="*/ 137 h 154"/>
                  <a:gd name="T16" fmla="*/ 523 w 597"/>
                  <a:gd name="T17" fmla="*/ 132 h 154"/>
                  <a:gd name="T18" fmla="*/ 132 w 597"/>
                  <a:gd name="T19" fmla="*/ 125 h 154"/>
                  <a:gd name="T20" fmla="*/ 70 w 597"/>
                  <a:gd name="T21" fmla="*/ 119 h 154"/>
                  <a:gd name="T22" fmla="*/ 47 w 597"/>
                  <a:gd name="T23" fmla="*/ 123 h 154"/>
                  <a:gd name="T24" fmla="*/ 145 w 597"/>
                  <a:gd name="T25" fmla="*/ 125 h 154"/>
                  <a:gd name="T26" fmla="*/ 54 w 597"/>
                  <a:gd name="T27" fmla="*/ 115 h 154"/>
                  <a:gd name="T28" fmla="*/ 521 w 597"/>
                  <a:gd name="T29" fmla="*/ 113 h 154"/>
                  <a:gd name="T30" fmla="*/ 539 w 597"/>
                  <a:gd name="T31" fmla="*/ 114 h 154"/>
                  <a:gd name="T32" fmla="*/ 264 w 597"/>
                  <a:gd name="T33" fmla="*/ 114 h 154"/>
                  <a:gd name="T34" fmla="*/ 549 w 597"/>
                  <a:gd name="T35" fmla="*/ 113 h 154"/>
                  <a:gd name="T36" fmla="*/ 281 w 597"/>
                  <a:gd name="T37" fmla="*/ 102 h 154"/>
                  <a:gd name="T38" fmla="*/ 173 w 597"/>
                  <a:gd name="T39" fmla="*/ 107 h 154"/>
                  <a:gd name="T40" fmla="*/ 188 w 597"/>
                  <a:gd name="T41" fmla="*/ 99 h 154"/>
                  <a:gd name="T42" fmla="*/ 249 w 597"/>
                  <a:gd name="T43" fmla="*/ 102 h 154"/>
                  <a:gd name="T44" fmla="*/ 234 w 597"/>
                  <a:gd name="T45" fmla="*/ 90 h 154"/>
                  <a:gd name="T46" fmla="*/ 292 w 597"/>
                  <a:gd name="T47" fmla="*/ 91 h 154"/>
                  <a:gd name="T48" fmla="*/ 202 w 597"/>
                  <a:gd name="T49" fmla="*/ 94 h 154"/>
                  <a:gd name="T50" fmla="*/ 535 w 597"/>
                  <a:gd name="T51" fmla="*/ 91 h 154"/>
                  <a:gd name="T52" fmla="*/ 321 w 597"/>
                  <a:gd name="T53" fmla="*/ 92 h 154"/>
                  <a:gd name="T54" fmla="*/ 333 w 597"/>
                  <a:gd name="T55" fmla="*/ 86 h 154"/>
                  <a:gd name="T56" fmla="*/ 223 w 597"/>
                  <a:gd name="T57" fmla="*/ 85 h 154"/>
                  <a:gd name="T58" fmla="*/ 294 w 597"/>
                  <a:gd name="T59" fmla="*/ 79 h 154"/>
                  <a:gd name="T60" fmla="*/ 542 w 597"/>
                  <a:gd name="T61" fmla="*/ 73 h 154"/>
                  <a:gd name="T62" fmla="*/ 201 w 597"/>
                  <a:gd name="T63" fmla="*/ 79 h 154"/>
                  <a:gd name="T64" fmla="*/ 369 w 597"/>
                  <a:gd name="T65" fmla="*/ 75 h 154"/>
                  <a:gd name="T66" fmla="*/ 345 w 597"/>
                  <a:gd name="T67" fmla="*/ 77 h 154"/>
                  <a:gd name="T68" fmla="*/ 212 w 597"/>
                  <a:gd name="T69" fmla="*/ 70 h 154"/>
                  <a:gd name="T70" fmla="*/ 354 w 597"/>
                  <a:gd name="T71" fmla="*/ 61 h 154"/>
                  <a:gd name="T72" fmla="*/ 364 w 597"/>
                  <a:gd name="T73" fmla="*/ 62 h 154"/>
                  <a:gd name="T74" fmla="*/ 546 w 597"/>
                  <a:gd name="T75" fmla="*/ 58 h 154"/>
                  <a:gd name="T76" fmla="*/ 379 w 597"/>
                  <a:gd name="T77" fmla="*/ 60 h 154"/>
                  <a:gd name="T78" fmla="*/ 386 w 597"/>
                  <a:gd name="T79" fmla="*/ 45 h 154"/>
                  <a:gd name="T80" fmla="*/ 554 w 597"/>
                  <a:gd name="T81" fmla="*/ 42 h 154"/>
                  <a:gd name="T82" fmla="*/ 416 w 597"/>
                  <a:gd name="T83" fmla="*/ 42 h 154"/>
                  <a:gd name="T84" fmla="*/ 547 w 597"/>
                  <a:gd name="T85" fmla="*/ 37 h 154"/>
                  <a:gd name="T86" fmla="*/ 423 w 597"/>
                  <a:gd name="T87" fmla="*/ 41 h 154"/>
                  <a:gd name="T88" fmla="*/ 532 w 597"/>
                  <a:gd name="T89" fmla="*/ 38 h 154"/>
                  <a:gd name="T90" fmla="*/ 463 w 597"/>
                  <a:gd name="T91" fmla="*/ 33 h 154"/>
                  <a:gd name="T92" fmla="*/ 448 w 597"/>
                  <a:gd name="T93" fmla="*/ 30 h 154"/>
                  <a:gd name="T94" fmla="*/ 396 w 597"/>
                  <a:gd name="T95" fmla="*/ 30 h 154"/>
                  <a:gd name="T96" fmla="*/ 457 w 597"/>
                  <a:gd name="T97" fmla="*/ 32 h 154"/>
                  <a:gd name="T98" fmla="*/ 427 w 597"/>
                  <a:gd name="T99" fmla="*/ 27 h 154"/>
                  <a:gd name="T100" fmla="*/ 537 w 597"/>
                  <a:gd name="T101" fmla="*/ 23 h 154"/>
                  <a:gd name="T102" fmla="*/ 475 w 597"/>
                  <a:gd name="T103" fmla="*/ 25 h 154"/>
                  <a:gd name="T104" fmla="*/ 500 w 597"/>
                  <a:gd name="T105" fmla="*/ 12 h 154"/>
                  <a:gd name="T106" fmla="*/ 480 w 597"/>
                  <a:gd name="T107" fmla="*/ 10 h 154"/>
                  <a:gd name="T108" fmla="*/ 538 w 597"/>
                  <a:gd name="T109" fmla="*/ 10 h 154"/>
                  <a:gd name="T110" fmla="*/ 521 w 597"/>
                  <a:gd name="T111" fmla="*/ 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97" h="154">
                    <a:moveTo>
                      <a:pt x="564" y="154"/>
                    </a:moveTo>
                    <a:cubicBezTo>
                      <a:pt x="563" y="154"/>
                      <a:pt x="561" y="154"/>
                      <a:pt x="559" y="153"/>
                    </a:cubicBezTo>
                    <a:cubicBezTo>
                      <a:pt x="561" y="147"/>
                      <a:pt x="561" y="147"/>
                      <a:pt x="561" y="147"/>
                    </a:cubicBezTo>
                    <a:cubicBezTo>
                      <a:pt x="563" y="148"/>
                      <a:pt x="564" y="148"/>
                      <a:pt x="565" y="148"/>
                    </a:cubicBezTo>
                    <a:cubicBezTo>
                      <a:pt x="567" y="154"/>
                      <a:pt x="567" y="154"/>
                      <a:pt x="567" y="154"/>
                    </a:cubicBezTo>
                    <a:cubicBezTo>
                      <a:pt x="566" y="154"/>
                      <a:pt x="565" y="154"/>
                      <a:pt x="564" y="154"/>
                    </a:cubicBezTo>
                    <a:close/>
                    <a:moveTo>
                      <a:pt x="18" y="148"/>
                    </a:moveTo>
                    <a:cubicBezTo>
                      <a:pt x="15" y="143"/>
                      <a:pt x="15" y="143"/>
                      <a:pt x="15" y="143"/>
                    </a:cubicBezTo>
                    <a:cubicBezTo>
                      <a:pt x="17" y="142"/>
                      <a:pt x="18" y="141"/>
                      <a:pt x="20" y="140"/>
                    </a:cubicBezTo>
                    <a:cubicBezTo>
                      <a:pt x="23" y="144"/>
                      <a:pt x="23" y="144"/>
                      <a:pt x="23" y="144"/>
                    </a:cubicBezTo>
                    <a:cubicBezTo>
                      <a:pt x="22" y="145"/>
                      <a:pt x="20" y="147"/>
                      <a:pt x="18" y="148"/>
                    </a:cubicBezTo>
                    <a:close/>
                    <a:moveTo>
                      <a:pt x="114" y="147"/>
                    </a:moveTo>
                    <a:cubicBezTo>
                      <a:pt x="114" y="147"/>
                      <a:pt x="114" y="146"/>
                      <a:pt x="114" y="14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3" y="145"/>
                      <a:pt x="113" y="145"/>
                      <a:pt x="112" y="145"/>
                    </a:cubicBezTo>
                    <a:cubicBezTo>
                      <a:pt x="113" y="139"/>
                      <a:pt x="113" y="139"/>
                      <a:pt x="113" y="139"/>
                    </a:cubicBezTo>
                    <a:cubicBezTo>
                      <a:pt x="115" y="139"/>
                      <a:pt x="117" y="140"/>
                      <a:pt x="118" y="141"/>
                    </a:cubicBezTo>
                    <a:cubicBezTo>
                      <a:pt x="118" y="142"/>
                      <a:pt x="118" y="142"/>
                      <a:pt x="119" y="143"/>
                    </a:cubicBezTo>
                    <a:cubicBezTo>
                      <a:pt x="119" y="143"/>
                      <a:pt x="119" y="143"/>
                      <a:pt x="119" y="144"/>
                    </a:cubicBezTo>
                    <a:lnTo>
                      <a:pt x="114" y="147"/>
                    </a:lnTo>
                    <a:close/>
                    <a:moveTo>
                      <a:pt x="101" y="145"/>
                    </a:moveTo>
                    <a:cubicBezTo>
                      <a:pt x="97" y="145"/>
                      <a:pt x="96" y="142"/>
                      <a:pt x="95" y="140"/>
                    </a:cubicBezTo>
                    <a:cubicBezTo>
                      <a:pt x="99" y="137"/>
                      <a:pt x="99" y="137"/>
                      <a:pt x="99" y="137"/>
                    </a:cubicBezTo>
                    <a:cubicBezTo>
                      <a:pt x="100" y="137"/>
                      <a:pt x="100" y="137"/>
                      <a:pt x="100" y="137"/>
                    </a:cubicBezTo>
                    <a:cubicBezTo>
                      <a:pt x="101" y="140"/>
                      <a:pt x="101" y="140"/>
                      <a:pt x="102" y="140"/>
                    </a:cubicBezTo>
                    <a:lnTo>
                      <a:pt x="101" y="145"/>
                    </a:lnTo>
                    <a:close/>
                    <a:moveTo>
                      <a:pt x="128" y="145"/>
                    </a:moveTo>
                    <a:cubicBezTo>
                      <a:pt x="125" y="141"/>
                      <a:pt x="125" y="141"/>
                      <a:pt x="125" y="141"/>
                    </a:cubicBezTo>
                    <a:cubicBezTo>
                      <a:pt x="126" y="140"/>
                      <a:pt x="128" y="138"/>
                      <a:pt x="130" y="138"/>
                    </a:cubicBezTo>
                    <a:cubicBezTo>
                      <a:pt x="130" y="137"/>
                      <a:pt x="130" y="137"/>
                      <a:pt x="130" y="137"/>
                    </a:cubicBezTo>
                    <a:cubicBezTo>
                      <a:pt x="133" y="142"/>
                      <a:pt x="133" y="142"/>
                      <a:pt x="133" y="142"/>
                    </a:cubicBezTo>
                    <a:cubicBezTo>
                      <a:pt x="132" y="143"/>
                      <a:pt x="132" y="143"/>
                      <a:pt x="132" y="143"/>
                    </a:cubicBezTo>
                    <a:cubicBezTo>
                      <a:pt x="131" y="143"/>
                      <a:pt x="130" y="144"/>
                      <a:pt x="128" y="145"/>
                    </a:cubicBezTo>
                    <a:close/>
                    <a:moveTo>
                      <a:pt x="576" y="145"/>
                    </a:moveTo>
                    <a:cubicBezTo>
                      <a:pt x="572" y="140"/>
                      <a:pt x="572" y="140"/>
                      <a:pt x="572" y="140"/>
                    </a:cubicBezTo>
                    <a:cubicBezTo>
                      <a:pt x="574" y="138"/>
                      <a:pt x="576" y="137"/>
                      <a:pt x="579" y="137"/>
                    </a:cubicBezTo>
                    <a:cubicBezTo>
                      <a:pt x="580" y="143"/>
                      <a:pt x="580" y="143"/>
                      <a:pt x="580" y="143"/>
                    </a:cubicBezTo>
                    <a:cubicBezTo>
                      <a:pt x="578" y="143"/>
                      <a:pt x="577" y="144"/>
                      <a:pt x="576" y="145"/>
                    </a:cubicBezTo>
                    <a:close/>
                    <a:moveTo>
                      <a:pt x="4" y="144"/>
                    </a:moveTo>
                    <a:cubicBezTo>
                      <a:pt x="2" y="142"/>
                      <a:pt x="0" y="140"/>
                      <a:pt x="0" y="140"/>
                    </a:cubicBezTo>
                    <a:cubicBezTo>
                      <a:pt x="4" y="136"/>
                      <a:pt x="4" y="136"/>
                      <a:pt x="4" y="136"/>
                    </a:cubicBezTo>
                    <a:cubicBezTo>
                      <a:pt x="4" y="136"/>
                      <a:pt x="6" y="138"/>
                      <a:pt x="8" y="140"/>
                    </a:cubicBezTo>
                    <a:lnTo>
                      <a:pt x="4" y="144"/>
                    </a:lnTo>
                    <a:close/>
                    <a:moveTo>
                      <a:pt x="597" y="143"/>
                    </a:moveTo>
                    <a:cubicBezTo>
                      <a:pt x="591" y="143"/>
                      <a:pt x="591" y="143"/>
                      <a:pt x="591" y="143"/>
                    </a:cubicBezTo>
                    <a:cubicBezTo>
                      <a:pt x="591" y="137"/>
                      <a:pt x="591" y="137"/>
                      <a:pt x="591" y="137"/>
                    </a:cubicBezTo>
                    <a:cubicBezTo>
                      <a:pt x="597" y="137"/>
                      <a:pt x="597" y="137"/>
                      <a:pt x="597" y="137"/>
                    </a:cubicBezTo>
                    <a:lnTo>
                      <a:pt x="597" y="143"/>
                    </a:lnTo>
                    <a:close/>
                    <a:moveTo>
                      <a:pt x="562" y="142"/>
                    </a:moveTo>
                    <a:cubicBezTo>
                      <a:pt x="557" y="140"/>
                      <a:pt x="557" y="140"/>
                      <a:pt x="557" y="140"/>
                    </a:cubicBezTo>
                    <a:cubicBezTo>
                      <a:pt x="557" y="140"/>
                      <a:pt x="557" y="140"/>
                      <a:pt x="557" y="140"/>
                    </a:cubicBezTo>
                    <a:cubicBezTo>
                      <a:pt x="557" y="139"/>
                      <a:pt x="556" y="137"/>
                      <a:pt x="556" y="136"/>
                    </a:cubicBezTo>
                    <a:cubicBezTo>
                      <a:pt x="562" y="135"/>
                      <a:pt x="562" y="135"/>
                      <a:pt x="562" y="135"/>
                    </a:cubicBezTo>
                    <a:cubicBezTo>
                      <a:pt x="559" y="135"/>
                      <a:pt x="559" y="135"/>
                      <a:pt x="559" y="135"/>
                    </a:cubicBezTo>
                    <a:cubicBezTo>
                      <a:pt x="562" y="135"/>
                      <a:pt x="562" y="135"/>
                      <a:pt x="562" y="135"/>
                    </a:cubicBezTo>
                    <a:cubicBezTo>
                      <a:pt x="562" y="137"/>
                      <a:pt x="563" y="138"/>
                      <a:pt x="563" y="140"/>
                    </a:cubicBezTo>
                    <a:cubicBezTo>
                      <a:pt x="563" y="141"/>
                      <a:pt x="562" y="141"/>
                      <a:pt x="562" y="142"/>
                    </a:cubicBezTo>
                    <a:close/>
                    <a:moveTo>
                      <a:pt x="31" y="138"/>
                    </a:moveTo>
                    <a:cubicBezTo>
                      <a:pt x="30" y="132"/>
                      <a:pt x="30" y="132"/>
                      <a:pt x="30" y="132"/>
                    </a:cubicBezTo>
                    <a:cubicBezTo>
                      <a:pt x="30" y="132"/>
                      <a:pt x="31" y="132"/>
                      <a:pt x="31" y="132"/>
                    </a:cubicBezTo>
                    <a:cubicBezTo>
                      <a:pt x="32" y="132"/>
                      <a:pt x="33" y="131"/>
                      <a:pt x="34" y="130"/>
                    </a:cubicBezTo>
                    <a:cubicBezTo>
                      <a:pt x="37" y="136"/>
                      <a:pt x="37" y="136"/>
                      <a:pt x="37" y="136"/>
                    </a:cubicBezTo>
                    <a:cubicBezTo>
                      <a:pt x="35" y="137"/>
                      <a:pt x="33" y="138"/>
                      <a:pt x="31" y="138"/>
                    </a:cubicBezTo>
                    <a:close/>
                    <a:moveTo>
                      <a:pt x="85" y="137"/>
                    </a:moveTo>
                    <a:cubicBezTo>
                      <a:pt x="85" y="136"/>
                      <a:pt x="85" y="136"/>
                      <a:pt x="85" y="136"/>
                    </a:cubicBezTo>
                    <a:cubicBezTo>
                      <a:pt x="83" y="136"/>
                      <a:pt x="82" y="135"/>
                      <a:pt x="81" y="135"/>
                    </a:cubicBezTo>
                    <a:cubicBezTo>
                      <a:pt x="82" y="129"/>
                      <a:pt x="82" y="129"/>
                      <a:pt x="82" y="129"/>
                    </a:cubicBezTo>
                    <a:cubicBezTo>
                      <a:pt x="84" y="129"/>
                      <a:pt x="86" y="130"/>
                      <a:pt x="87" y="131"/>
                    </a:cubicBezTo>
                    <a:cubicBezTo>
                      <a:pt x="88" y="131"/>
                      <a:pt x="88" y="131"/>
                      <a:pt x="88" y="131"/>
                    </a:cubicBezTo>
                    <a:lnTo>
                      <a:pt x="85" y="137"/>
                    </a:lnTo>
                    <a:close/>
                    <a:moveTo>
                      <a:pt x="525" y="132"/>
                    </a:moveTo>
                    <a:cubicBezTo>
                      <a:pt x="524" y="132"/>
                      <a:pt x="524" y="132"/>
                      <a:pt x="523" y="132"/>
                    </a:cubicBezTo>
                    <a:cubicBezTo>
                      <a:pt x="524" y="126"/>
                      <a:pt x="524" y="126"/>
                      <a:pt x="524" y="126"/>
                    </a:cubicBezTo>
                    <a:cubicBezTo>
                      <a:pt x="525" y="126"/>
                      <a:pt x="526" y="126"/>
                      <a:pt x="527" y="126"/>
                    </a:cubicBezTo>
                    <a:cubicBezTo>
                      <a:pt x="531" y="129"/>
                      <a:pt x="531" y="129"/>
                      <a:pt x="531" y="129"/>
                    </a:cubicBezTo>
                    <a:cubicBezTo>
                      <a:pt x="530" y="131"/>
                      <a:pt x="527" y="132"/>
                      <a:pt x="525" y="132"/>
                    </a:cubicBezTo>
                    <a:close/>
                    <a:moveTo>
                      <a:pt x="134" y="130"/>
                    </a:moveTo>
                    <a:cubicBezTo>
                      <a:pt x="134" y="130"/>
                      <a:pt x="133" y="130"/>
                      <a:pt x="133" y="129"/>
                    </a:cubicBezTo>
                    <a:cubicBezTo>
                      <a:pt x="133" y="129"/>
                      <a:pt x="133" y="128"/>
                      <a:pt x="132" y="127"/>
                    </a:cubicBezTo>
                    <a:cubicBezTo>
                      <a:pt x="132" y="127"/>
                      <a:pt x="132" y="126"/>
                      <a:pt x="132" y="125"/>
                    </a:cubicBezTo>
                    <a:cubicBezTo>
                      <a:pt x="137" y="124"/>
                      <a:pt x="137" y="124"/>
                      <a:pt x="137" y="124"/>
                    </a:cubicBezTo>
                    <a:cubicBezTo>
                      <a:pt x="138" y="124"/>
                      <a:pt x="138" y="125"/>
                      <a:pt x="138" y="125"/>
                    </a:cubicBezTo>
                    <a:cubicBezTo>
                      <a:pt x="138" y="126"/>
                      <a:pt x="138" y="127"/>
                      <a:pt x="139" y="127"/>
                    </a:cubicBezTo>
                    <a:cubicBezTo>
                      <a:pt x="139" y="128"/>
                      <a:pt x="139" y="129"/>
                      <a:pt x="139" y="130"/>
                    </a:cubicBezTo>
                    <a:lnTo>
                      <a:pt x="134" y="130"/>
                    </a:lnTo>
                    <a:close/>
                    <a:moveTo>
                      <a:pt x="73" y="126"/>
                    </a:moveTo>
                    <a:cubicBezTo>
                      <a:pt x="72" y="126"/>
                      <a:pt x="71" y="125"/>
                      <a:pt x="69" y="124"/>
                    </a:cubicBezTo>
                    <a:cubicBezTo>
                      <a:pt x="70" y="119"/>
                      <a:pt x="70" y="119"/>
                      <a:pt x="70" y="119"/>
                    </a:cubicBezTo>
                    <a:cubicBezTo>
                      <a:pt x="73" y="119"/>
                      <a:pt x="75" y="120"/>
                      <a:pt x="77" y="122"/>
                    </a:cubicBezTo>
                    <a:lnTo>
                      <a:pt x="73" y="126"/>
                    </a:lnTo>
                    <a:close/>
                    <a:moveTo>
                      <a:pt x="45" y="125"/>
                    </a:moveTo>
                    <a:cubicBezTo>
                      <a:pt x="40" y="122"/>
                      <a:pt x="40" y="122"/>
                      <a:pt x="40" y="122"/>
                    </a:cubicBezTo>
                    <a:cubicBezTo>
                      <a:pt x="41" y="120"/>
                      <a:pt x="43" y="119"/>
                      <a:pt x="44" y="118"/>
                    </a:cubicBezTo>
                    <a:cubicBezTo>
                      <a:pt x="45" y="118"/>
                      <a:pt x="45" y="118"/>
                      <a:pt x="45" y="117"/>
                    </a:cubicBezTo>
                    <a:cubicBezTo>
                      <a:pt x="48" y="122"/>
                      <a:pt x="48" y="122"/>
                      <a:pt x="48" y="122"/>
                    </a:cubicBezTo>
                    <a:cubicBezTo>
                      <a:pt x="48" y="122"/>
                      <a:pt x="48" y="123"/>
                      <a:pt x="47" y="123"/>
                    </a:cubicBezTo>
                    <a:cubicBezTo>
                      <a:pt x="46" y="123"/>
                      <a:pt x="46" y="124"/>
                      <a:pt x="45" y="125"/>
                    </a:cubicBezTo>
                    <a:close/>
                    <a:moveTo>
                      <a:pt x="145" y="125"/>
                    </a:moveTo>
                    <a:cubicBezTo>
                      <a:pt x="144" y="125"/>
                      <a:pt x="142" y="125"/>
                      <a:pt x="141" y="124"/>
                    </a:cubicBezTo>
                    <a:cubicBezTo>
                      <a:pt x="143" y="119"/>
                      <a:pt x="143" y="119"/>
                      <a:pt x="143" y="119"/>
                    </a:cubicBezTo>
                    <a:cubicBezTo>
                      <a:pt x="144" y="119"/>
                      <a:pt x="144" y="119"/>
                      <a:pt x="145" y="119"/>
                    </a:cubicBezTo>
                    <a:cubicBezTo>
                      <a:pt x="145" y="119"/>
                      <a:pt x="146" y="119"/>
                      <a:pt x="147" y="119"/>
                    </a:cubicBezTo>
                    <a:cubicBezTo>
                      <a:pt x="149" y="124"/>
                      <a:pt x="149" y="124"/>
                      <a:pt x="149" y="124"/>
                    </a:cubicBezTo>
                    <a:cubicBezTo>
                      <a:pt x="147" y="125"/>
                      <a:pt x="146" y="125"/>
                      <a:pt x="145" y="125"/>
                    </a:cubicBezTo>
                    <a:close/>
                    <a:moveTo>
                      <a:pt x="554" y="124"/>
                    </a:moveTo>
                    <a:cubicBezTo>
                      <a:pt x="554" y="122"/>
                      <a:pt x="554" y="120"/>
                      <a:pt x="554" y="118"/>
                    </a:cubicBezTo>
                    <a:cubicBezTo>
                      <a:pt x="559" y="118"/>
                      <a:pt x="559" y="118"/>
                      <a:pt x="559" y="118"/>
                    </a:cubicBezTo>
                    <a:cubicBezTo>
                      <a:pt x="560" y="119"/>
                      <a:pt x="560" y="121"/>
                      <a:pt x="560" y="123"/>
                    </a:cubicBezTo>
                    <a:lnTo>
                      <a:pt x="554" y="124"/>
                    </a:lnTo>
                    <a:close/>
                    <a:moveTo>
                      <a:pt x="56" y="121"/>
                    </a:moveTo>
                    <a:cubicBezTo>
                      <a:pt x="55" y="119"/>
                      <a:pt x="54" y="117"/>
                      <a:pt x="54" y="116"/>
                    </a:cubicBezTo>
                    <a:cubicBezTo>
                      <a:pt x="54" y="116"/>
                      <a:pt x="54" y="115"/>
                      <a:pt x="54" y="115"/>
                    </a:cubicBezTo>
                    <a:cubicBezTo>
                      <a:pt x="59" y="112"/>
                      <a:pt x="59" y="112"/>
                      <a:pt x="59" y="112"/>
                    </a:cubicBezTo>
                    <a:cubicBezTo>
                      <a:pt x="59" y="113"/>
                      <a:pt x="59" y="114"/>
                      <a:pt x="60" y="115"/>
                    </a:cubicBezTo>
                    <a:cubicBezTo>
                      <a:pt x="60" y="115"/>
                      <a:pt x="60" y="117"/>
                      <a:pt x="61" y="118"/>
                    </a:cubicBezTo>
                    <a:lnTo>
                      <a:pt x="56" y="121"/>
                    </a:lnTo>
                    <a:close/>
                    <a:moveTo>
                      <a:pt x="516" y="120"/>
                    </a:moveTo>
                    <a:cubicBezTo>
                      <a:pt x="516" y="119"/>
                      <a:pt x="516" y="118"/>
                      <a:pt x="515" y="117"/>
                    </a:cubicBezTo>
                    <a:cubicBezTo>
                      <a:pt x="515" y="115"/>
                      <a:pt x="515" y="115"/>
                      <a:pt x="515" y="114"/>
                    </a:cubicBezTo>
                    <a:cubicBezTo>
                      <a:pt x="521" y="113"/>
                      <a:pt x="521" y="113"/>
                      <a:pt x="521" y="113"/>
                    </a:cubicBezTo>
                    <a:cubicBezTo>
                      <a:pt x="521" y="114"/>
                      <a:pt x="521" y="115"/>
                      <a:pt x="521" y="116"/>
                    </a:cubicBezTo>
                    <a:cubicBezTo>
                      <a:pt x="521" y="117"/>
                      <a:pt x="521" y="118"/>
                      <a:pt x="522" y="119"/>
                    </a:cubicBezTo>
                    <a:lnTo>
                      <a:pt x="516" y="120"/>
                    </a:lnTo>
                    <a:close/>
                    <a:moveTo>
                      <a:pt x="534" y="119"/>
                    </a:moveTo>
                    <a:cubicBezTo>
                      <a:pt x="530" y="115"/>
                      <a:pt x="530" y="115"/>
                      <a:pt x="530" y="115"/>
                    </a:cubicBezTo>
                    <a:cubicBezTo>
                      <a:pt x="531" y="114"/>
                      <a:pt x="531" y="113"/>
                      <a:pt x="532" y="113"/>
                    </a:cubicBezTo>
                    <a:cubicBezTo>
                      <a:pt x="533" y="112"/>
                      <a:pt x="533" y="112"/>
                      <a:pt x="534" y="111"/>
                    </a:cubicBezTo>
                    <a:cubicBezTo>
                      <a:pt x="539" y="114"/>
                      <a:pt x="539" y="114"/>
                      <a:pt x="539" y="114"/>
                    </a:cubicBezTo>
                    <a:cubicBezTo>
                      <a:pt x="538" y="116"/>
                      <a:pt x="537" y="117"/>
                      <a:pt x="535" y="118"/>
                    </a:cubicBezTo>
                    <a:cubicBezTo>
                      <a:pt x="535" y="118"/>
                      <a:pt x="535" y="118"/>
                      <a:pt x="534" y="119"/>
                    </a:cubicBezTo>
                    <a:close/>
                    <a:moveTo>
                      <a:pt x="159" y="118"/>
                    </a:moveTo>
                    <a:cubicBezTo>
                      <a:pt x="156" y="113"/>
                      <a:pt x="156" y="113"/>
                      <a:pt x="156" y="113"/>
                    </a:cubicBezTo>
                    <a:cubicBezTo>
                      <a:pt x="158" y="112"/>
                      <a:pt x="159" y="111"/>
                      <a:pt x="161" y="110"/>
                    </a:cubicBezTo>
                    <a:cubicBezTo>
                      <a:pt x="164" y="114"/>
                      <a:pt x="164" y="114"/>
                      <a:pt x="164" y="114"/>
                    </a:cubicBezTo>
                    <a:cubicBezTo>
                      <a:pt x="163" y="115"/>
                      <a:pt x="161" y="117"/>
                      <a:pt x="159" y="118"/>
                    </a:cubicBezTo>
                    <a:close/>
                    <a:moveTo>
                      <a:pt x="264" y="114"/>
                    </a:moveTo>
                    <a:cubicBezTo>
                      <a:pt x="262" y="114"/>
                      <a:pt x="260" y="113"/>
                      <a:pt x="258" y="110"/>
                    </a:cubicBezTo>
                    <a:cubicBezTo>
                      <a:pt x="263" y="107"/>
                      <a:pt x="263" y="107"/>
                      <a:pt x="263" y="107"/>
                    </a:cubicBezTo>
                    <a:cubicBezTo>
                      <a:pt x="263" y="108"/>
                      <a:pt x="264" y="108"/>
                      <a:pt x="264" y="108"/>
                    </a:cubicBezTo>
                    <a:cubicBezTo>
                      <a:pt x="264" y="108"/>
                      <a:pt x="264" y="108"/>
                      <a:pt x="264" y="108"/>
                    </a:cubicBezTo>
                    <a:cubicBezTo>
                      <a:pt x="265" y="110"/>
                      <a:pt x="265" y="110"/>
                      <a:pt x="265" y="110"/>
                    </a:cubicBezTo>
                    <a:cubicBezTo>
                      <a:pt x="266" y="113"/>
                      <a:pt x="266" y="113"/>
                      <a:pt x="266" y="113"/>
                    </a:cubicBezTo>
                    <a:cubicBezTo>
                      <a:pt x="265" y="113"/>
                      <a:pt x="264" y="114"/>
                      <a:pt x="264" y="114"/>
                    </a:cubicBezTo>
                    <a:close/>
                    <a:moveTo>
                      <a:pt x="549" y="113"/>
                    </a:moveTo>
                    <a:cubicBezTo>
                      <a:pt x="548" y="113"/>
                      <a:pt x="547" y="113"/>
                      <a:pt x="545" y="112"/>
                    </a:cubicBezTo>
                    <a:cubicBezTo>
                      <a:pt x="547" y="107"/>
                      <a:pt x="547" y="107"/>
                      <a:pt x="547" y="107"/>
                    </a:cubicBezTo>
                    <a:cubicBezTo>
                      <a:pt x="549" y="107"/>
                      <a:pt x="550" y="107"/>
                      <a:pt x="550" y="107"/>
                    </a:cubicBezTo>
                    <a:cubicBezTo>
                      <a:pt x="553" y="112"/>
                      <a:pt x="553" y="112"/>
                      <a:pt x="553" y="112"/>
                    </a:cubicBezTo>
                    <a:cubicBezTo>
                      <a:pt x="552" y="113"/>
                      <a:pt x="551" y="113"/>
                      <a:pt x="549" y="113"/>
                    </a:cubicBezTo>
                    <a:close/>
                    <a:moveTo>
                      <a:pt x="277" y="110"/>
                    </a:moveTo>
                    <a:cubicBezTo>
                      <a:pt x="275" y="104"/>
                      <a:pt x="275" y="104"/>
                      <a:pt x="275" y="104"/>
                    </a:cubicBezTo>
                    <a:cubicBezTo>
                      <a:pt x="277" y="103"/>
                      <a:pt x="279" y="103"/>
                      <a:pt x="281" y="102"/>
                    </a:cubicBezTo>
                    <a:cubicBezTo>
                      <a:pt x="283" y="107"/>
                      <a:pt x="283" y="107"/>
                      <a:pt x="283" y="107"/>
                    </a:cubicBezTo>
                    <a:cubicBezTo>
                      <a:pt x="281" y="108"/>
                      <a:pt x="279" y="109"/>
                      <a:pt x="277" y="110"/>
                    </a:cubicBezTo>
                    <a:close/>
                    <a:moveTo>
                      <a:pt x="527" y="108"/>
                    </a:moveTo>
                    <a:cubicBezTo>
                      <a:pt x="523" y="104"/>
                      <a:pt x="523" y="104"/>
                      <a:pt x="523" y="104"/>
                    </a:cubicBezTo>
                    <a:cubicBezTo>
                      <a:pt x="525" y="103"/>
                      <a:pt x="525" y="102"/>
                      <a:pt x="526" y="101"/>
                    </a:cubicBezTo>
                    <a:cubicBezTo>
                      <a:pt x="531" y="102"/>
                      <a:pt x="531" y="102"/>
                      <a:pt x="531" y="102"/>
                    </a:cubicBezTo>
                    <a:cubicBezTo>
                      <a:pt x="531" y="105"/>
                      <a:pt x="529" y="107"/>
                      <a:pt x="527" y="108"/>
                    </a:cubicBezTo>
                    <a:close/>
                    <a:moveTo>
                      <a:pt x="173" y="107"/>
                    </a:moveTo>
                    <a:cubicBezTo>
                      <a:pt x="170" y="102"/>
                      <a:pt x="170" y="102"/>
                      <a:pt x="170" y="102"/>
                    </a:cubicBezTo>
                    <a:cubicBezTo>
                      <a:pt x="173" y="100"/>
                      <a:pt x="175" y="100"/>
                      <a:pt x="177" y="100"/>
                    </a:cubicBezTo>
                    <a:cubicBezTo>
                      <a:pt x="177" y="106"/>
                      <a:pt x="177" y="106"/>
                      <a:pt x="177" y="106"/>
                    </a:cubicBezTo>
                    <a:cubicBezTo>
                      <a:pt x="176" y="106"/>
                      <a:pt x="174" y="106"/>
                      <a:pt x="173" y="107"/>
                    </a:cubicBezTo>
                    <a:close/>
                    <a:moveTo>
                      <a:pt x="190" y="107"/>
                    </a:moveTo>
                    <a:cubicBezTo>
                      <a:pt x="188" y="101"/>
                      <a:pt x="188" y="101"/>
                      <a:pt x="188" y="101"/>
                    </a:cubicBezTo>
                    <a:cubicBezTo>
                      <a:pt x="188" y="101"/>
                      <a:pt x="188" y="101"/>
                      <a:pt x="188" y="101"/>
                    </a:cubicBezTo>
                    <a:cubicBezTo>
                      <a:pt x="188" y="101"/>
                      <a:pt x="188" y="100"/>
                      <a:pt x="188" y="99"/>
                    </a:cubicBezTo>
                    <a:cubicBezTo>
                      <a:pt x="188" y="99"/>
                      <a:pt x="188" y="98"/>
                      <a:pt x="188" y="98"/>
                    </a:cubicBezTo>
                    <a:cubicBezTo>
                      <a:pt x="194" y="99"/>
                      <a:pt x="194" y="99"/>
                      <a:pt x="194" y="99"/>
                    </a:cubicBezTo>
                    <a:cubicBezTo>
                      <a:pt x="194" y="100"/>
                      <a:pt x="194" y="100"/>
                      <a:pt x="194" y="101"/>
                    </a:cubicBezTo>
                    <a:cubicBezTo>
                      <a:pt x="193" y="101"/>
                      <a:pt x="193" y="102"/>
                      <a:pt x="193" y="103"/>
                    </a:cubicBezTo>
                    <a:cubicBezTo>
                      <a:pt x="193" y="105"/>
                      <a:pt x="191" y="106"/>
                      <a:pt x="190" y="107"/>
                    </a:cubicBezTo>
                    <a:close/>
                    <a:moveTo>
                      <a:pt x="254" y="102"/>
                    </a:moveTo>
                    <a:cubicBezTo>
                      <a:pt x="253" y="101"/>
                      <a:pt x="251" y="101"/>
                      <a:pt x="249" y="102"/>
                    </a:cubicBezTo>
                    <a:cubicBezTo>
                      <a:pt x="249" y="102"/>
                      <a:pt x="249" y="102"/>
                      <a:pt x="249" y="102"/>
                    </a:cubicBezTo>
                    <a:cubicBezTo>
                      <a:pt x="249" y="96"/>
                      <a:pt x="249" y="96"/>
                      <a:pt x="249" y="96"/>
                    </a:cubicBezTo>
                    <a:cubicBezTo>
                      <a:pt x="249" y="96"/>
                      <a:pt x="249" y="96"/>
                      <a:pt x="249" y="96"/>
                    </a:cubicBezTo>
                    <a:cubicBezTo>
                      <a:pt x="251" y="96"/>
                      <a:pt x="253" y="95"/>
                      <a:pt x="255" y="96"/>
                    </a:cubicBezTo>
                    <a:lnTo>
                      <a:pt x="254" y="102"/>
                    </a:lnTo>
                    <a:close/>
                    <a:moveTo>
                      <a:pt x="236" y="98"/>
                    </a:moveTo>
                    <a:cubicBezTo>
                      <a:pt x="235" y="97"/>
                      <a:pt x="233" y="97"/>
                      <a:pt x="232" y="96"/>
                    </a:cubicBezTo>
                    <a:cubicBezTo>
                      <a:pt x="231" y="95"/>
                      <a:pt x="231" y="95"/>
                      <a:pt x="231" y="95"/>
                    </a:cubicBezTo>
                    <a:cubicBezTo>
                      <a:pt x="234" y="90"/>
                      <a:pt x="234" y="90"/>
                      <a:pt x="234" y="90"/>
                    </a:cubicBezTo>
                    <a:cubicBezTo>
                      <a:pt x="235" y="91"/>
                      <a:pt x="235" y="91"/>
                      <a:pt x="235" y="91"/>
                    </a:cubicBezTo>
                    <a:cubicBezTo>
                      <a:pt x="236" y="92"/>
                      <a:pt x="238" y="92"/>
                      <a:pt x="239" y="93"/>
                    </a:cubicBezTo>
                    <a:lnTo>
                      <a:pt x="236" y="98"/>
                    </a:lnTo>
                    <a:close/>
                    <a:moveTo>
                      <a:pt x="292" y="97"/>
                    </a:moveTo>
                    <a:cubicBezTo>
                      <a:pt x="286" y="96"/>
                      <a:pt x="286" y="96"/>
                      <a:pt x="286" y="96"/>
                    </a:cubicBezTo>
                    <a:cubicBezTo>
                      <a:pt x="286" y="96"/>
                      <a:pt x="286" y="95"/>
                      <a:pt x="286" y="94"/>
                    </a:cubicBezTo>
                    <a:cubicBezTo>
                      <a:pt x="286" y="93"/>
                      <a:pt x="286" y="92"/>
                      <a:pt x="287" y="90"/>
                    </a:cubicBezTo>
                    <a:cubicBezTo>
                      <a:pt x="292" y="91"/>
                      <a:pt x="292" y="91"/>
                      <a:pt x="292" y="91"/>
                    </a:cubicBezTo>
                    <a:cubicBezTo>
                      <a:pt x="292" y="92"/>
                      <a:pt x="292" y="94"/>
                      <a:pt x="292" y="95"/>
                    </a:cubicBezTo>
                    <a:cubicBezTo>
                      <a:pt x="292" y="95"/>
                      <a:pt x="292" y="96"/>
                      <a:pt x="292" y="97"/>
                    </a:cubicBezTo>
                    <a:close/>
                    <a:moveTo>
                      <a:pt x="196" y="94"/>
                    </a:moveTo>
                    <a:cubicBezTo>
                      <a:pt x="196" y="94"/>
                      <a:pt x="196" y="94"/>
                      <a:pt x="196" y="94"/>
                    </a:cubicBezTo>
                    <a:cubicBezTo>
                      <a:pt x="196" y="92"/>
                      <a:pt x="196" y="91"/>
                      <a:pt x="195" y="89"/>
                    </a:cubicBezTo>
                    <a:cubicBezTo>
                      <a:pt x="198" y="88"/>
                      <a:pt x="198" y="88"/>
                      <a:pt x="198" y="88"/>
                    </a:cubicBezTo>
                    <a:cubicBezTo>
                      <a:pt x="201" y="87"/>
                      <a:pt x="201" y="87"/>
                      <a:pt x="201" y="87"/>
                    </a:cubicBezTo>
                    <a:cubicBezTo>
                      <a:pt x="201" y="89"/>
                      <a:pt x="202" y="91"/>
                      <a:pt x="202" y="94"/>
                    </a:cubicBezTo>
                    <a:lnTo>
                      <a:pt x="196" y="94"/>
                    </a:lnTo>
                    <a:close/>
                    <a:moveTo>
                      <a:pt x="534" y="92"/>
                    </a:moveTo>
                    <a:cubicBezTo>
                      <a:pt x="530" y="88"/>
                      <a:pt x="530" y="88"/>
                      <a:pt x="530" y="88"/>
                    </a:cubicBezTo>
                    <a:cubicBezTo>
                      <a:pt x="530" y="88"/>
                      <a:pt x="531" y="87"/>
                      <a:pt x="532" y="86"/>
                    </a:cubicBezTo>
                    <a:cubicBezTo>
                      <a:pt x="533" y="86"/>
                      <a:pt x="534" y="85"/>
                      <a:pt x="535" y="85"/>
                    </a:cubicBezTo>
                    <a:cubicBezTo>
                      <a:pt x="538" y="90"/>
                      <a:pt x="538" y="90"/>
                      <a:pt x="538" y="90"/>
                    </a:cubicBezTo>
                    <a:cubicBezTo>
                      <a:pt x="538" y="90"/>
                      <a:pt x="538" y="90"/>
                      <a:pt x="538" y="90"/>
                    </a:cubicBezTo>
                    <a:cubicBezTo>
                      <a:pt x="537" y="90"/>
                      <a:pt x="536" y="91"/>
                      <a:pt x="535" y="91"/>
                    </a:cubicBezTo>
                    <a:cubicBezTo>
                      <a:pt x="535" y="92"/>
                      <a:pt x="534" y="92"/>
                      <a:pt x="534" y="92"/>
                    </a:cubicBezTo>
                    <a:close/>
                    <a:moveTo>
                      <a:pt x="321" y="92"/>
                    </a:moveTo>
                    <a:cubicBezTo>
                      <a:pt x="321" y="91"/>
                      <a:pt x="321" y="90"/>
                      <a:pt x="321" y="89"/>
                    </a:cubicBezTo>
                    <a:cubicBezTo>
                      <a:pt x="320" y="88"/>
                      <a:pt x="320" y="87"/>
                      <a:pt x="320" y="86"/>
                    </a:cubicBezTo>
                    <a:cubicBezTo>
                      <a:pt x="325" y="85"/>
                      <a:pt x="325" y="85"/>
                      <a:pt x="325" y="85"/>
                    </a:cubicBezTo>
                    <a:cubicBezTo>
                      <a:pt x="326" y="86"/>
                      <a:pt x="326" y="87"/>
                      <a:pt x="326" y="88"/>
                    </a:cubicBezTo>
                    <a:cubicBezTo>
                      <a:pt x="326" y="89"/>
                      <a:pt x="327" y="90"/>
                      <a:pt x="327" y="90"/>
                    </a:cubicBezTo>
                    <a:lnTo>
                      <a:pt x="321" y="92"/>
                    </a:lnTo>
                    <a:close/>
                    <a:moveTo>
                      <a:pt x="333" y="87"/>
                    </a:moveTo>
                    <a:cubicBezTo>
                      <a:pt x="327" y="87"/>
                      <a:pt x="327" y="87"/>
                      <a:pt x="327" y="87"/>
                    </a:cubicBezTo>
                    <a:cubicBezTo>
                      <a:pt x="327" y="86"/>
                      <a:pt x="327" y="86"/>
                      <a:pt x="327" y="86"/>
                    </a:cubicBezTo>
                    <a:cubicBezTo>
                      <a:pt x="327" y="82"/>
                      <a:pt x="327" y="82"/>
                      <a:pt x="327" y="82"/>
                    </a:cubicBezTo>
                    <a:cubicBezTo>
                      <a:pt x="327" y="81"/>
                      <a:pt x="327" y="81"/>
                      <a:pt x="327" y="81"/>
                    </a:cubicBezTo>
                    <a:cubicBezTo>
                      <a:pt x="333" y="81"/>
                      <a:pt x="333" y="81"/>
                      <a:pt x="333" y="81"/>
                    </a:cubicBezTo>
                    <a:cubicBezTo>
                      <a:pt x="333" y="82"/>
                      <a:pt x="333" y="82"/>
                      <a:pt x="333" y="82"/>
                    </a:cubicBezTo>
                    <a:cubicBezTo>
                      <a:pt x="333" y="86"/>
                      <a:pt x="333" y="86"/>
                      <a:pt x="333" y="86"/>
                    </a:cubicBezTo>
                    <a:lnTo>
                      <a:pt x="333" y="87"/>
                    </a:lnTo>
                    <a:close/>
                    <a:moveTo>
                      <a:pt x="311" y="85"/>
                    </a:moveTo>
                    <a:cubicBezTo>
                      <a:pt x="308" y="83"/>
                      <a:pt x="307" y="80"/>
                      <a:pt x="307" y="79"/>
                    </a:cubicBezTo>
                    <a:cubicBezTo>
                      <a:pt x="312" y="77"/>
                      <a:pt x="312" y="77"/>
                      <a:pt x="312" y="77"/>
                    </a:cubicBezTo>
                    <a:cubicBezTo>
                      <a:pt x="312" y="77"/>
                      <a:pt x="312" y="77"/>
                      <a:pt x="312" y="77"/>
                    </a:cubicBezTo>
                    <a:cubicBezTo>
                      <a:pt x="313" y="79"/>
                      <a:pt x="313" y="80"/>
                      <a:pt x="314" y="81"/>
                    </a:cubicBezTo>
                    <a:lnTo>
                      <a:pt x="311" y="85"/>
                    </a:lnTo>
                    <a:close/>
                    <a:moveTo>
                      <a:pt x="223" y="85"/>
                    </a:moveTo>
                    <a:cubicBezTo>
                      <a:pt x="223" y="83"/>
                      <a:pt x="222" y="82"/>
                      <a:pt x="222" y="81"/>
                    </a:cubicBezTo>
                    <a:cubicBezTo>
                      <a:pt x="222" y="80"/>
                      <a:pt x="222" y="79"/>
                      <a:pt x="222" y="79"/>
                    </a:cubicBezTo>
                    <a:cubicBezTo>
                      <a:pt x="228" y="77"/>
                      <a:pt x="228" y="77"/>
                      <a:pt x="228" y="77"/>
                    </a:cubicBezTo>
                    <a:cubicBezTo>
                      <a:pt x="228" y="78"/>
                      <a:pt x="228" y="79"/>
                      <a:pt x="228" y="80"/>
                    </a:cubicBezTo>
                    <a:cubicBezTo>
                      <a:pt x="228" y="81"/>
                      <a:pt x="228" y="82"/>
                      <a:pt x="229" y="83"/>
                    </a:cubicBezTo>
                    <a:lnTo>
                      <a:pt x="223" y="85"/>
                    </a:lnTo>
                    <a:close/>
                    <a:moveTo>
                      <a:pt x="297" y="84"/>
                    </a:moveTo>
                    <a:cubicBezTo>
                      <a:pt x="294" y="79"/>
                      <a:pt x="294" y="79"/>
                      <a:pt x="294" y="79"/>
                    </a:cubicBezTo>
                    <a:cubicBezTo>
                      <a:pt x="294" y="79"/>
                      <a:pt x="294" y="79"/>
                      <a:pt x="295" y="78"/>
                    </a:cubicBezTo>
                    <a:cubicBezTo>
                      <a:pt x="297" y="76"/>
                      <a:pt x="299" y="76"/>
                      <a:pt x="300" y="76"/>
                    </a:cubicBezTo>
                    <a:cubicBezTo>
                      <a:pt x="301" y="82"/>
                      <a:pt x="301" y="82"/>
                      <a:pt x="301" y="82"/>
                    </a:cubicBezTo>
                    <a:cubicBezTo>
                      <a:pt x="300" y="82"/>
                      <a:pt x="300" y="82"/>
                      <a:pt x="298" y="83"/>
                    </a:cubicBezTo>
                    <a:cubicBezTo>
                      <a:pt x="298" y="83"/>
                      <a:pt x="297" y="84"/>
                      <a:pt x="297" y="84"/>
                    </a:cubicBezTo>
                    <a:close/>
                    <a:moveTo>
                      <a:pt x="547" y="79"/>
                    </a:moveTo>
                    <a:cubicBezTo>
                      <a:pt x="541" y="78"/>
                      <a:pt x="541" y="78"/>
                      <a:pt x="541" y="78"/>
                    </a:cubicBezTo>
                    <a:cubicBezTo>
                      <a:pt x="542" y="76"/>
                      <a:pt x="542" y="75"/>
                      <a:pt x="542" y="73"/>
                    </a:cubicBezTo>
                    <a:cubicBezTo>
                      <a:pt x="548" y="73"/>
                      <a:pt x="548" y="73"/>
                      <a:pt x="548" y="73"/>
                    </a:cubicBezTo>
                    <a:cubicBezTo>
                      <a:pt x="548" y="75"/>
                      <a:pt x="547" y="77"/>
                      <a:pt x="547" y="79"/>
                    </a:cubicBezTo>
                    <a:close/>
                    <a:moveTo>
                      <a:pt x="201" y="79"/>
                    </a:moveTo>
                    <a:cubicBezTo>
                      <a:pt x="197" y="75"/>
                      <a:pt x="197" y="75"/>
                      <a:pt x="197" y="75"/>
                    </a:cubicBezTo>
                    <a:cubicBezTo>
                      <a:pt x="197" y="75"/>
                      <a:pt x="197" y="75"/>
                      <a:pt x="197" y="75"/>
                    </a:cubicBezTo>
                    <a:cubicBezTo>
                      <a:pt x="199" y="74"/>
                      <a:pt x="200" y="73"/>
                      <a:pt x="200" y="71"/>
                    </a:cubicBezTo>
                    <a:cubicBezTo>
                      <a:pt x="205" y="75"/>
                      <a:pt x="205" y="75"/>
                      <a:pt x="205" y="75"/>
                    </a:cubicBezTo>
                    <a:cubicBezTo>
                      <a:pt x="204" y="76"/>
                      <a:pt x="203" y="78"/>
                      <a:pt x="201" y="79"/>
                    </a:cubicBezTo>
                    <a:close/>
                    <a:moveTo>
                      <a:pt x="364" y="79"/>
                    </a:moveTo>
                    <a:cubicBezTo>
                      <a:pt x="363" y="79"/>
                      <a:pt x="362" y="79"/>
                      <a:pt x="361" y="79"/>
                    </a:cubicBezTo>
                    <a:cubicBezTo>
                      <a:pt x="362" y="73"/>
                      <a:pt x="362" y="73"/>
                      <a:pt x="362" y="73"/>
                    </a:cubicBezTo>
                    <a:cubicBezTo>
                      <a:pt x="363" y="73"/>
                      <a:pt x="364" y="73"/>
                      <a:pt x="364" y="73"/>
                    </a:cubicBezTo>
                    <a:cubicBezTo>
                      <a:pt x="364" y="73"/>
                      <a:pt x="363" y="74"/>
                      <a:pt x="363" y="75"/>
                    </a:cubicBezTo>
                    <a:cubicBezTo>
                      <a:pt x="368" y="73"/>
                      <a:pt x="368" y="73"/>
                      <a:pt x="368" y="73"/>
                    </a:cubicBezTo>
                    <a:cubicBezTo>
                      <a:pt x="368" y="73"/>
                      <a:pt x="369" y="73"/>
                      <a:pt x="369" y="74"/>
                    </a:cubicBezTo>
                    <a:cubicBezTo>
                      <a:pt x="369" y="74"/>
                      <a:pt x="369" y="75"/>
                      <a:pt x="369" y="75"/>
                    </a:cubicBezTo>
                    <a:cubicBezTo>
                      <a:pt x="369" y="75"/>
                      <a:pt x="369" y="79"/>
                      <a:pt x="364" y="79"/>
                    </a:cubicBezTo>
                    <a:close/>
                    <a:moveTo>
                      <a:pt x="345" y="77"/>
                    </a:moveTo>
                    <a:cubicBezTo>
                      <a:pt x="345" y="77"/>
                      <a:pt x="344" y="77"/>
                      <a:pt x="344" y="77"/>
                    </a:cubicBezTo>
                    <a:cubicBezTo>
                      <a:pt x="345" y="72"/>
                      <a:pt x="345" y="72"/>
                      <a:pt x="345" y="72"/>
                    </a:cubicBezTo>
                    <a:cubicBezTo>
                      <a:pt x="347" y="71"/>
                      <a:pt x="349" y="71"/>
                      <a:pt x="350" y="71"/>
                    </a:cubicBezTo>
                    <a:cubicBezTo>
                      <a:pt x="351" y="77"/>
                      <a:pt x="351" y="77"/>
                      <a:pt x="351" y="77"/>
                    </a:cubicBezTo>
                    <a:cubicBezTo>
                      <a:pt x="349" y="77"/>
                      <a:pt x="348" y="77"/>
                      <a:pt x="346" y="77"/>
                    </a:cubicBezTo>
                    <a:cubicBezTo>
                      <a:pt x="346" y="77"/>
                      <a:pt x="346" y="77"/>
                      <a:pt x="345" y="77"/>
                    </a:cubicBezTo>
                    <a:close/>
                    <a:moveTo>
                      <a:pt x="336" y="72"/>
                    </a:moveTo>
                    <a:cubicBezTo>
                      <a:pt x="331" y="68"/>
                      <a:pt x="331" y="68"/>
                      <a:pt x="331" y="68"/>
                    </a:cubicBezTo>
                    <a:cubicBezTo>
                      <a:pt x="331" y="68"/>
                      <a:pt x="331" y="68"/>
                      <a:pt x="332" y="68"/>
                    </a:cubicBezTo>
                    <a:cubicBezTo>
                      <a:pt x="333" y="66"/>
                      <a:pt x="335" y="64"/>
                      <a:pt x="337" y="64"/>
                    </a:cubicBezTo>
                    <a:cubicBezTo>
                      <a:pt x="339" y="69"/>
                      <a:pt x="339" y="69"/>
                      <a:pt x="339" y="69"/>
                    </a:cubicBezTo>
                    <a:cubicBezTo>
                      <a:pt x="338" y="70"/>
                      <a:pt x="337" y="70"/>
                      <a:pt x="336" y="72"/>
                    </a:cubicBezTo>
                    <a:close/>
                    <a:moveTo>
                      <a:pt x="216" y="72"/>
                    </a:moveTo>
                    <a:cubicBezTo>
                      <a:pt x="215" y="71"/>
                      <a:pt x="213" y="71"/>
                      <a:pt x="212" y="70"/>
                    </a:cubicBezTo>
                    <a:cubicBezTo>
                      <a:pt x="212" y="65"/>
                      <a:pt x="212" y="65"/>
                      <a:pt x="212" y="65"/>
                    </a:cubicBezTo>
                    <a:cubicBezTo>
                      <a:pt x="215" y="65"/>
                      <a:pt x="217" y="66"/>
                      <a:pt x="219" y="67"/>
                    </a:cubicBezTo>
                    <a:lnTo>
                      <a:pt x="216" y="72"/>
                    </a:lnTo>
                    <a:close/>
                    <a:moveTo>
                      <a:pt x="353" y="67"/>
                    </a:moveTo>
                    <a:cubicBezTo>
                      <a:pt x="351" y="67"/>
                      <a:pt x="350" y="66"/>
                      <a:pt x="349" y="64"/>
                    </a:cubicBezTo>
                    <a:cubicBezTo>
                      <a:pt x="348" y="63"/>
                      <a:pt x="348" y="63"/>
                      <a:pt x="348" y="62"/>
                    </a:cubicBezTo>
                    <a:cubicBezTo>
                      <a:pt x="348" y="61"/>
                      <a:pt x="348" y="59"/>
                      <a:pt x="349" y="58"/>
                    </a:cubicBezTo>
                    <a:cubicBezTo>
                      <a:pt x="354" y="61"/>
                      <a:pt x="354" y="61"/>
                      <a:pt x="354" y="61"/>
                    </a:cubicBezTo>
                    <a:cubicBezTo>
                      <a:pt x="354" y="62"/>
                      <a:pt x="354" y="62"/>
                      <a:pt x="354" y="62"/>
                    </a:cubicBezTo>
                    <a:cubicBezTo>
                      <a:pt x="354" y="62"/>
                      <a:pt x="354" y="61"/>
                      <a:pt x="354" y="61"/>
                    </a:cubicBezTo>
                    <a:cubicBezTo>
                      <a:pt x="354" y="61"/>
                      <a:pt x="354" y="61"/>
                      <a:pt x="353" y="61"/>
                    </a:cubicBezTo>
                    <a:lnTo>
                      <a:pt x="353" y="67"/>
                    </a:lnTo>
                    <a:close/>
                    <a:moveTo>
                      <a:pt x="366" y="65"/>
                    </a:moveTo>
                    <a:cubicBezTo>
                      <a:pt x="360" y="62"/>
                      <a:pt x="360" y="62"/>
                      <a:pt x="360" y="62"/>
                    </a:cubicBezTo>
                    <a:cubicBezTo>
                      <a:pt x="361" y="62"/>
                      <a:pt x="362" y="60"/>
                      <a:pt x="362" y="60"/>
                    </a:cubicBezTo>
                    <a:cubicBezTo>
                      <a:pt x="362" y="61"/>
                      <a:pt x="363" y="62"/>
                      <a:pt x="364" y="62"/>
                    </a:cubicBezTo>
                    <a:cubicBezTo>
                      <a:pt x="364" y="56"/>
                      <a:pt x="364" y="56"/>
                      <a:pt x="364" y="56"/>
                    </a:cubicBezTo>
                    <a:cubicBezTo>
                      <a:pt x="366" y="56"/>
                      <a:pt x="368" y="58"/>
                      <a:pt x="368" y="60"/>
                    </a:cubicBezTo>
                    <a:cubicBezTo>
                      <a:pt x="368" y="61"/>
                      <a:pt x="367" y="63"/>
                      <a:pt x="366" y="65"/>
                    </a:cubicBezTo>
                    <a:close/>
                    <a:moveTo>
                      <a:pt x="540" y="62"/>
                    </a:moveTo>
                    <a:cubicBezTo>
                      <a:pt x="540" y="61"/>
                      <a:pt x="540" y="59"/>
                      <a:pt x="540" y="58"/>
                    </a:cubicBezTo>
                    <a:cubicBezTo>
                      <a:pt x="540" y="57"/>
                      <a:pt x="540" y="55"/>
                      <a:pt x="541" y="54"/>
                    </a:cubicBezTo>
                    <a:cubicBezTo>
                      <a:pt x="546" y="58"/>
                      <a:pt x="546" y="58"/>
                      <a:pt x="546" y="58"/>
                    </a:cubicBezTo>
                    <a:cubicBezTo>
                      <a:pt x="546" y="58"/>
                      <a:pt x="546" y="58"/>
                      <a:pt x="546" y="58"/>
                    </a:cubicBezTo>
                    <a:cubicBezTo>
                      <a:pt x="546" y="59"/>
                      <a:pt x="546" y="60"/>
                      <a:pt x="546" y="61"/>
                    </a:cubicBezTo>
                    <a:lnTo>
                      <a:pt x="540" y="62"/>
                    </a:lnTo>
                    <a:close/>
                    <a:moveTo>
                      <a:pt x="379" y="60"/>
                    </a:moveTo>
                    <a:cubicBezTo>
                      <a:pt x="375" y="59"/>
                      <a:pt x="373" y="57"/>
                      <a:pt x="372" y="54"/>
                    </a:cubicBezTo>
                    <a:cubicBezTo>
                      <a:pt x="378" y="53"/>
                      <a:pt x="378" y="53"/>
                      <a:pt x="378" y="53"/>
                    </a:cubicBezTo>
                    <a:cubicBezTo>
                      <a:pt x="378" y="53"/>
                      <a:pt x="378" y="53"/>
                      <a:pt x="378" y="53"/>
                    </a:cubicBezTo>
                    <a:cubicBezTo>
                      <a:pt x="378" y="53"/>
                      <a:pt x="379" y="54"/>
                      <a:pt x="380" y="54"/>
                    </a:cubicBezTo>
                    <a:lnTo>
                      <a:pt x="379" y="60"/>
                    </a:lnTo>
                    <a:close/>
                    <a:moveTo>
                      <a:pt x="362" y="54"/>
                    </a:moveTo>
                    <a:cubicBezTo>
                      <a:pt x="359" y="49"/>
                      <a:pt x="359" y="49"/>
                      <a:pt x="359" y="49"/>
                    </a:cubicBezTo>
                    <a:cubicBezTo>
                      <a:pt x="360" y="48"/>
                      <a:pt x="363" y="47"/>
                      <a:pt x="365" y="46"/>
                    </a:cubicBezTo>
                    <a:cubicBezTo>
                      <a:pt x="366" y="52"/>
                      <a:pt x="366" y="52"/>
                      <a:pt x="366" y="52"/>
                    </a:cubicBezTo>
                    <a:cubicBezTo>
                      <a:pt x="365" y="52"/>
                      <a:pt x="364" y="53"/>
                      <a:pt x="362" y="54"/>
                    </a:cubicBezTo>
                    <a:close/>
                    <a:moveTo>
                      <a:pt x="387" y="51"/>
                    </a:moveTo>
                    <a:cubicBezTo>
                      <a:pt x="383" y="47"/>
                      <a:pt x="383" y="47"/>
                      <a:pt x="383" y="47"/>
                    </a:cubicBezTo>
                    <a:cubicBezTo>
                      <a:pt x="384" y="46"/>
                      <a:pt x="385" y="46"/>
                      <a:pt x="386" y="45"/>
                    </a:cubicBezTo>
                    <a:cubicBezTo>
                      <a:pt x="387" y="45"/>
                      <a:pt x="388" y="44"/>
                      <a:pt x="388" y="44"/>
                    </a:cubicBezTo>
                    <a:cubicBezTo>
                      <a:pt x="392" y="48"/>
                      <a:pt x="392" y="48"/>
                      <a:pt x="392" y="48"/>
                    </a:cubicBezTo>
                    <a:cubicBezTo>
                      <a:pt x="391" y="49"/>
                      <a:pt x="390" y="50"/>
                      <a:pt x="389" y="50"/>
                    </a:cubicBezTo>
                    <a:cubicBezTo>
                      <a:pt x="388" y="51"/>
                      <a:pt x="388" y="51"/>
                      <a:pt x="387" y="51"/>
                    </a:cubicBezTo>
                    <a:close/>
                    <a:moveTo>
                      <a:pt x="555" y="51"/>
                    </a:moveTo>
                    <a:cubicBezTo>
                      <a:pt x="550" y="47"/>
                      <a:pt x="550" y="47"/>
                      <a:pt x="550" y="47"/>
                    </a:cubicBezTo>
                    <a:cubicBezTo>
                      <a:pt x="551" y="46"/>
                      <a:pt x="551" y="46"/>
                      <a:pt x="551" y="46"/>
                    </a:cubicBezTo>
                    <a:cubicBezTo>
                      <a:pt x="552" y="45"/>
                      <a:pt x="553" y="43"/>
                      <a:pt x="554" y="42"/>
                    </a:cubicBezTo>
                    <a:cubicBezTo>
                      <a:pt x="558" y="47"/>
                      <a:pt x="558" y="47"/>
                      <a:pt x="558" y="47"/>
                    </a:cubicBezTo>
                    <a:cubicBezTo>
                      <a:pt x="558" y="47"/>
                      <a:pt x="557" y="48"/>
                      <a:pt x="556" y="50"/>
                    </a:cubicBezTo>
                    <a:lnTo>
                      <a:pt x="555" y="51"/>
                    </a:lnTo>
                    <a:close/>
                    <a:moveTo>
                      <a:pt x="415" y="47"/>
                    </a:moveTo>
                    <a:cubicBezTo>
                      <a:pt x="415" y="47"/>
                      <a:pt x="414" y="46"/>
                      <a:pt x="413" y="46"/>
                    </a:cubicBezTo>
                    <a:cubicBezTo>
                      <a:pt x="412" y="45"/>
                      <a:pt x="410" y="43"/>
                      <a:pt x="410" y="41"/>
                    </a:cubicBezTo>
                    <a:cubicBezTo>
                      <a:pt x="410" y="41"/>
                      <a:pt x="410" y="40"/>
                      <a:pt x="410" y="39"/>
                    </a:cubicBezTo>
                    <a:cubicBezTo>
                      <a:pt x="416" y="42"/>
                      <a:pt x="416" y="42"/>
                      <a:pt x="416" y="42"/>
                    </a:cubicBezTo>
                    <a:cubicBezTo>
                      <a:pt x="416" y="42"/>
                      <a:pt x="416" y="41"/>
                      <a:pt x="416" y="41"/>
                    </a:cubicBezTo>
                    <a:cubicBezTo>
                      <a:pt x="416" y="41"/>
                      <a:pt x="416" y="40"/>
                      <a:pt x="416" y="40"/>
                    </a:cubicBezTo>
                    <a:cubicBezTo>
                      <a:pt x="416" y="40"/>
                      <a:pt x="416" y="41"/>
                      <a:pt x="417" y="41"/>
                    </a:cubicBezTo>
                    <a:cubicBezTo>
                      <a:pt x="417" y="41"/>
                      <a:pt x="418" y="42"/>
                      <a:pt x="418" y="42"/>
                    </a:cubicBezTo>
                    <a:lnTo>
                      <a:pt x="415" y="47"/>
                    </a:lnTo>
                    <a:close/>
                    <a:moveTo>
                      <a:pt x="546" y="43"/>
                    </a:moveTo>
                    <a:cubicBezTo>
                      <a:pt x="541" y="40"/>
                      <a:pt x="541" y="40"/>
                      <a:pt x="541" y="40"/>
                    </a:cubicBezTo>
                    <a:cubicBezTo>
                      <a:pt x="542" y="38"/>
                      <a:pt x="544" y="37"/>
                      <a:pt x="547" y="37"/>
                    </a:cubicBezTo>
                    <a:cubicBezTo>
                      <a:pt x="548" y="37"/>
                      <a:pt x="548" y="37"/>
                      <a:pt x="549" y="37"/>
                    </a:cubicBezTo>
                    <a:cubicBezTo>
                      <a:pt x="549" y="43"/>
                      <a:pt x="549" y="43"/>
                      <a:pt x="549" y="43"/>
                    </a:cubicBezTo>
                    <a:cubicBezTo>
                      <a:pt x="547" y="43"/>
                      <a:pt x="547" y="43"/>
                      <a:pt x="547" y="43"/>
                    </a:cubicBezTo>
                    <a:cubicBezTo>
                      <a:pt x="547" y="43"/>
                      <a:pt x="546" y="43"/>
                      <a:pt x="546" y="43"/>
                    </a:cubicBezTo>
                    <a:close/>
                    <a:moveTo>
                      <a:pt x="429" y="42"/>
                    </a:moveTo>
                    <a:cubicBezTo>
                      <a:pt x="423" y="41"/>
                      <a:pt x="423" y="41"/>
                      <a:pt x="423" y="41"/>
                    </a:cubicBezTo>
                    <a:cubicBezTo>
                      <a:pt x="426" y="42"/>
                      <a:pt x="426" y="42"/>
                      <a:pt x="426" y="42"/>
                    </a:cubicBezTo>
                    <a:cubicBezTo>
                      <a:pt x="423" y="41"/>
                      <a:pt x="423" y="41"/>
                      <a:pt x="423" y="41"/>
                    </a:cubicBezTo>
                    <a:cubicBezTo>
                      <a:pt x="423" y="41"/>
                      <a:pt x="423" y="41"/>
                      <a:pt x="423" y="40"/>
                    </a:cubicBezTo>
                    <a:cubicBezTo>
                      <a:pt x="422" y="39"/>
                      <a:pt x="422" y="38"/>
                      <a:pt x="422" y="37"/>
                    </a:cubicBezTo>
                    <a:cubicBezTo>
                      <a:pt x="427" y="35"/>
                      <a:pt x="427" y="35"/>
                      <a:pt x="427" y="35"/>
                    </a:cubicBezTo>
                    <a:cubicBezTo>
                      <a:pt x="427" y="36"/>
                      <a:pt x="428" y="37"/>
                      <a:pt x="428" y="38"/>
                    </a:cubicBezTo>
                    <a:cubicBezTo>
                      <a:pt x="429" y="39"/>
                      <a:pt x="429" y="40"/>
                      <a:pt x="429" y="41"/>
                    </a:cubicBezTo>
                    <a:cubicBezTo>
                      <a:pt x="429" y="42"/>
                      <a:pt x="429" y="42"/>
                      <a:pt x="429" y="42"/>
                    </a:cubicBezTo>
                    <a:close/>
                    <a:moveTo>
                      <a:pt x="534" y="41"/>
                    </a:moveTo>
                    <a:cubicBezTo>
                      <a:pt x="532" y="38"/>
                      <a:pt x="532" y="38"/>
                      <a:pt x="532" y="38"/>
                    </a:cubicBezTo>
                    <a:cubicBezTo>
                      <a:pt x="532" y="37"/>
                      <a:pt x="531" y="35"/>
                      <a:pt x="531" y="34"/>
                    </a:cubicBezTo>
                    <a:cubicBezTo>
                      <a:pt x="537" y="34"/>
                      <a:pt x="537" y="34"/>
                      <a:pt x="537" y="34"/>
                    </a:cubicBezTo>
                    <a:cubicBezTo>
                      <a:pt x="537" y="34"/>
                      <a:pt x="537" y="34"/>
                      <a:pt x="537" y="35"/>
                    </a:cubicBezTo>
                    <a:cubicBezTo>
                      <a:pt x="539" y="38"/>
                      <a:pt x="539" y="38"/>
                      <a:pt x="539" y="38"/>
                    </a:cubicBezTo>
                    <a:lnTo>
                      <a:pt x="534" y="41"/>
                    </a:lnTo>
                    <a:close/>
                    <a:moveTo>
                      <a:pt x="466" y="40"/>
                    </a:moveTo>
                    <a:cubicBezTo>
                      <a:pt x="461" y="36"/>
                      <a:pt x="461" y="36"/>
                      <a:pt x="461" y="36"/>
                    </a:cubicBezTo>
                    <a:cubicBezTo>
                      <a:pt x="462" y="36"/>
                      <a:pt x="462" y="34"/>
                      <a:pt x="463" y="33"/>
                    </a:cubicBezTo>
                    <a:cubicBezTo>
                      <a:pt x="464" y="32"/>
                      <a:pt x="464" y="32"/>
                      <a:pt x="464" y="32"/>
                    </a:cubicBezTo>
                    <a:cubicBezTo>
                      <a:pt x="469" y="34"/>
                      <a:pt x="469" y="34"/>
                      <a:pt x="469" y="34"/>
                    </a:cubicBezTo>
                    <a:cubicBezTo>
                      <a:pt x="468" y="35"/>
                      <a:pt x="468" y="35"/>
                      <a:pt x="468" y="35"/>
                    </a:cubicBezTo>
                    <a:cubicBezTo>
                      <a:pt x="468" y="37"/>
                      <a:pt x="467" y="39"/>
                      <a:pt x="466" y="40"/>
                    </a:cubicBezTo>
                    <a:close/>
                    <a:moveTo>
                      <a:pt x="448" y="38"/>
                    </a:moveTo>
                    <a:cubicBezTo>
                      <a:pt x="446" y="37"/>
                      <a:pt x="444" y="36"/>
                      <a:pt x="443" y="34"/>
                    </a:cubicBezTo>
                    <a:cubicBezTo>
                      <a:pt x="442" y="33"/>
                      <a:pt x="442" y="32"/>
                      <a:pt x="442" y="31"/>
                    </a:cubicBezTo>
                    <a:cubicBezTo>
                      <a:pt x="448" y="30"/>
                      <a:pt x="448" y="30"/>
                      <a:pt x="448" y="30"/>
                    </a:cubicBezTo>
                    <a:cubicBezTo>
                      <a:pt x="448" y="31"/>
                      <a:pt x="448" y="31"/>
                      <a:pt x="448" y="31"/>
                    </a:cubicBezTo>
                    <a:cubicBezTo>
                      <a:pt x="448" y="31"/>
                      <a:pt x="449" y="32"/>
                      <a:pt x="449" y="32"/>
                    </a:cubicBezTo>
                    <a:lnTo>
                      <a:pt x="448" y="38"/>
                    </a:lnTo>
                    <a:close/>
                    <a:moveTo>
                      <a:pt x="397" y="36"/>
                    </a:moveTo>
                    <a:cubicBezTo>
                      <a:pt x="397" y="36"/>
                      <a:pt x="396" y="36"/>
                      <a:pt x="396" y="36"/>
                    </a:cubicBezTo>
                    <a:cubicBezTo>
                      <a:pt x="396" y="36"/>
                      <a:pt x="396" y="36"/>
                      <a:pt x="396" y="36"/>
                    </a:cubicBezTo>
                    <a:cubicBezTo>
                      <a:pt x="390" y="34"/>
                      <a:pt x="390" y="34"/>
                      <a:pt x="390" y="34"/>
                    </a:cubicBezTo>
                    <a:cubicBezTo>
                      <a:pt x="391" y="32"/>
                      <a:pt x="393" y="30"/>
                      <a:pt x="396" y="30"/>
                    </a:cubicBezTo>
                    <a:cubicBezTo>
                      <a:pt x="396" y="30"/>
                      <a:pt x="397" y="30"/>
                      <a:pt x="398" y="31"/>
                    </a:cubicBezTo>
                    <a:lnTo>
                      <a:pt x="397" y="36"/>
                    </a:lnTo>
                    <a:close/>
                    <a:moveTo>
                      <a:pt x="413" y="34"/>
                    </a:moveTo>
                    <a:cubicBezTo>
                      <a:pt x="412" y="34"/>
                      <a:pt x="411" y="34"/>
                      <a:pt x="410" y="34"/>
                    </a:cubicBezTo>
                    <a:cubicBezTo>
                      <a:pt x="408" y="28"/>
                      <a:pt x="408" y="28"/>
                      <a:pt x="408" y="28"/>
                    </a:cubicBezTo>
                    <a:cubicBezTo>
                      <a:pt x="411" y="28"/>
                      <a:pt x="414" y="28"/>
                      <a:pt x="416" y="29"/>
                    </a:cubicBezTo>
                    <a:lnTo>
                      <a:pt x="413" y="34"/>
                    </a:lnTo>
                    <a:close/>
                    <a:moveTo>
                      <a:pt x="457" y="32"/>
                    </a:moveTo>
                    <a:cubicBezTo>
                      <a:pt x="457" y="32"/>
                      <a:pt x="457" y="31"/>
                      <a:pt x="457" y="31"/>
                    </a:cubicBezTo>
                    <a:cubicBezTo>
                      <a:pt x="456" y="31"/>
                      <a:pt x="456" y="30"/>
                      <a:pt x="456" y="30"/>
                    </a:cubicBezTo>
                    <a:cubicBezTo>
                      <a:pt x="457" y="25"/>
                      <a:pt x="457" y="25"/>
                      <a:pt x="457" y="25"/>
                    </a:cubicBezTo>
                    <a:cubicBezTo>
                      <a:pt x="459" y="25"/>
                      <a:pt x="461" y="26"/>
                      <a:pt x="462" y="28"/>
                    </a:cubicBezTo>
                    <a:cubicBezTo>
                      <a:pt x="462" y="29"/>
                      <a:pt x="463" y="30"/>
                      <a:pt x="463" y="32"/>
                    </a:cubicBezTo>
                    <a:lnTo>
                      <a:pt x="457" y="32"/>
                    </a:lnTo>
                    <a:close/>
                    <a:moveTo>
                      <a:pt x="432" y="28"/>
                    </a:moveTo>
                    <a:cubicBezTo>
                      <a:pt x="427" y="27"/>
                      <a:pt x="427" y="27"/>
                      <a:pt x="427" y="27"/>
                    </a:cubicBezTo>
                    <a:cubicBezTo>
                      <a:pt x="430" y="28"/>
                      <a:pt x="430" y="28"/>
                      <a:pt x="430" y="28"/>
                    </a:cubicBezTo>
                    <a:cubicBezTo>
                      <a:pt x="427" y="27"/>
                      <a:pt x="427" y="27"/>
                      <a:pt x="427" y="27"/>
                    </a:cubicBezTo>
                    <a:cubicBezTo>
                      <a:pt x="427" y="26"/>
                      <a:pt x="427" y="23"/>
                      <a:pt x="429" y="20"/>
                    </a:cubicBezTo>
                    <a:cubicBezTo>
                      <a:pt x="433" y="24"/>
                      <a:pt x="433" y="24"/>
                      <a:pt x="433" y="24"/>
                    </a:cubicBezTo>
                    <a:cubicBezTo>
                      <a:pt x="433" y="25"/>
                      <a:pt x="433" y="26"/>
                      <a:pt x="433" y="27"/>
                    </a:cubicBezTo>
                    <a:lnTo>
                      <a:pt x="432" y="28"/>
                    </a:lnTo>
                    <a:close/>
                    <a:moveTo>
                      <a:pt x="543" y="25"/>
                    </a:moveTo>
                    <a:cubicBezTo>
                      <a:pt x="537" y="23"/>
                      <a:pt x="537" y="23"/>
                      <a:pt x="537" y="23"/>
                    </a:cubicBezTo>
                    <a:cubicBezTo>
                      <a:pt x="538" y="22"/>
                      <a:pt x="538" y="20"/>
                      <a:pt x="538" y="18"/>
                    </a:cubicBezTo>
                    <a:cubicBezTo>
                      <a:pt x="544" y="19"/>
                      <a:pt x="544" y="19"/>
                      <a:pt x="544" y="19"/>
                    </a:cubicBezTo>
                    <a:cubicBezTo>
                      <a:pt x="544" y="21"/>
                      <a:pt x="543" y="23"/>
                      <a:pt x="543" y="25"/>
                    </a:cubicBezTo>
                    <a:close/>
                    <a:moveTo>
                      <a:pt x="475" y="25"/>
                    </a:moveTo>
                    <a:cubicBezTo>
                      <a:pt x="470" y="22"/>
                      <a:pt x="470" y="22"/>
                      <a:pt x="470" y="22"/>
                    </a:cubicBezTo>
                    <a:cubicBezTo>
                      <a:pt x="472" y="19"/>
                      <a:pt x="473" y="18"/>
                      <a:pt x="474" y="17"/>
                    </a:cubicBezTo>
                    <a:cubicBezTo>
                      <a:pt x="478" y="21"/>
                      <a:pt x="478" y="21"/>
                      <a:pt x="478" y="21"/>
                    </a:cubicBezTo>
                    <a:cubicBezTo>
                      <a:pt x="477" y="22"/>
                      <a:pt x="477" y="22"/>
                      <a:pt x="475" y="25"/>
                    </a:cubicBezTo>
                    <a:close/>
                    <a:moveTo>
                      <a:pt x="444" y="21"/>
                    </a:moveTo>
                    <a:cubicBezTo>
                      <a:pt x="443" y="21"/>
                      <a:pt x="443" y="20"/>
                      <a:pt x="441" y="20"/>
                    </a:cubicBezTo>
                    <a:cubicBezTo>
                      <a:pt x="440" y="20"/>
                      <a:pt x="440" y="20"/>
                      <a:pt x="440" y="20"/>
                    </a:cubicBezTo>
                    <a:cubicBezTo>
                      <a:pt x="441" y="14"/>
                      <a:pt x="441" y="14"/>
                      <a:pt x="441" y="14"/>
                    </a:cubicBezTo>
                    <a:cubicBezTo>
                      <a:pt x="442" y="14"/>
                      <a:pt x="442" y="14"/>
                      <a:pt x="442" y="14"/>
                    </a:cubicBezTo>
                    <a:cubicBezTo>
                      <a:pt x="445" y="15"/>
                      <a:pt x="447" y="16"/>
                      <a:pt x="448" y="18"/>
                    </a:cubicBezTo>
                    <a:lnTo>
                      <a:pt x="444" y="21"/>
                    </a:lnTo>
                    <a:close/>
                    <a:moveTo>
                      <a:pt x="500" y="12"/>
                    </a:moveTo>
                    <a:cubicBezTo>
                      <a:pt x="499" y="12"/>
                      <a:pt x="498" y="11"/>
                      <a:pt x="498" y="10"/>
                    </a:cubicBezTo>
                    <a:cubicBezTo>
                      <a:pt x="496" y="9"/>
                      <a:pt x="496" y="9"/>
                      <a:pt x="495" y="9"/>
                    </a:cubicBezTo>
                    <a:cubicBezTo>
                      <a:pt x="498" y="3"/>
                      <a:pt x="498" y="3"/>
                      <a:pt x="498" y="3"/>
                    </a:cubicBezTo>
                    <a:cubicBezTo>
                      <a:pt x="499" y="4"/>
                      <a:pt x="500" y="5"/>
                      <a:pt x="502" y="6"/>
                    </a:cubicBezTo>
                    <a:cubicBezTo>
                      <a:pt x="502" y="6"/>
                      <a:pt x="502" y="6"/>
                      <a:pt x="502" y="7"/>
                    </a:cubicBezTo>
                    <a:lnTo>
                      <a:pt x="500" y="12"/>
                    </a:lnTo>
                    <a:close/>
                    <a:moveTo>
                      <a:pt x="485" y="11"/>
                    </a:moveTo>
                    <a:cubicBezTo>
                      <a:pt x="480" y="10"/>
                      <a:pt x="480" y="10"/>
                      <a:pt x="480" y="10"/>
                    </a:cubicBezTo>
                    <a:cubicBezTo>
                      <a:pt x="480" y="7"/>
                      <a:pt x="482" y="5"/>
                      <a:pt x="483" y="4"/>
                    </a:cubicBezTo>
                    <a:cubicBezTo>
                      <a:pt x="487" y="8"/>
                      <a:pt x="487" y="8"/>
                      <a:pt x="487" y="8"/>
                    </a:cubicBezTo>
                    <a:cubicBezTo>
                      <a:pt x="486" y="9"/>
                      <a:pt x="486" y="10"/>
                      <a:pt x="485" y="11"/>
                    </a:cubicBezTo>
                    <a:close/>
                    <a:moveTo>
                      <a:pt x="538" y="10"/>
                    </a:moveTo>
                    <a:cubicBezTo>
                      <a:pt x="537" y="10"/>
                      <a:pt x="536" y="10"/>
                      <a:pt x="533" y="9"/>
                    </a:cubicBezTo>
                    <a:cubicBezTo>
                      <a:pt x="534" y="3"/>
                      <a:pt x="534" y="3"/>
                      <a:pt x="534" y="3"/>
                    </a:cubicBezTo>
                    <a:cubicBezTo>
                      <a:pt x="537" y="4"/>
                      <a:pt x="539" y="4"/>
                      <a:pt x="541" y="5"/>
                    </a:cubicBezTo>
                    <a:lnTo>
                      <a:pt x="538" y="10"/>
                    </a:lnTo>
                    <a:close/>
                    <a:moveTo>
                      <a:pt x="514" y="9"/>
                    </a:moveTo>
                    <a:cubicBezTo>
                      <a:pt x="509" y="6"/>
                      <a:pt x="509" y="6"/>
                      <a:pt x="509" y="6"/>
                    </a:cubicBezTo>
                    <a:cubicBezTo>
                      <a:pt x="510" y="5"/>
                      <a:pt x="510" y="3"/>
                      <a:pt x="510" y="1"/>
                    </a:cubicBezTo>
                    <a:cubicBezTo>
                      <a:pt x="516" y="2"/>
                      <a:pt x="516" y="2"/>
                      <a:pt x="516" y="2"/>
                    </a:cubicBezTo>
                    <a:cubicBezTo>
                      <a:pt x="516" y="2"/>
                      <a:pt x="515" y="3"/>
                      <a:pt x="515" y="3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21" y="1"/>
                      <a:pt x="522" y="2"/>
                      <a:pt x="523" y="3"/>
                    </a:cubicBezTo>
                    <a:cubicBezTo>
                      <a:pt x="521" y="8"/>
                      <a:pt x="521" y="8"/>
                      <a:pt x="521" y="8"/>
                    </a:cubicBezTo>
                    <a:cubicBezTo>
                      <a:pt x="519" y="7"/>
                      <a:pt x="517" y="6"/>
                      <a:pt x="515" y="4"/>
                    </a:cubicBezTo>
                    <a:cubicBezTo>
                      <a:pt x="515" y="5"/>
                      <a:pt x="515" y="7"/>
                      <a:pt x="514" y="9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21" name="ï$ļíḓe"/>
              <p:cNvSpPr/>
              <p:nvPr/>
            </p:nvSpPr>
            <p:spPr bwMode="auto">
              <a:xfrm>
                <a:off x="6524625" y="4289425"/>
                <a:ext cx="304800" cy="1085850"/>
              </a:xfrm>
              <a:custGeom>
                <a:avLst/>
                <a:gdLst>
                  <a:gd name="T0" fmla="*/ 83 w 142"/>
                  <a:gd name="T1" fmla="*/ 490 h 507"/>
                  <a:gd name="T2" fmla="*/ 75 w 142"/>
                  <a:gd name="T3" fmla="*/ 489 h 507"/>
                  <a:gd name="T4" fmla="*/ 75 w 142"/>
                  <a:gd name="T5" fmla="*/ 489 h 507"/>
                  <a:gd name="T6" fmla="*/ 77 w 142"/>
                  <a:gd name="T7" fmla="*/ 474 h 507"/>
                  <a:gd name="T8" fmla="*/ 80 w 142"/>
                  <a:gd name="T9" fmla="*/ 459 h 507"/>
                  <a:gd name="T10" fmla="*/ 88 w 142"/>
                  <a:gd name="T11" fmla="*/ 437 h 507"/>
                  <a:gd name="T12" fmla="*/ 94 w 142"/>
                  <a:gd name="T13" fmla="*/ 438 h 507"/>
                  <a:gd name="T14" fmla="*/ 87 w 142"/>
                  <a:gd name="T15" fmla="*/ 423 h 507"/>
                  <a:gd name="T16" fmla="*/ 45 w 142"/>
                  <a:gd name="T17" fmla="*/ 415 h 507"/>
                  <a:gd name="T18" fmla="*/ 34 w 142"/>
                  <a:gd name="T19" fmla="*/ 409 h 507"/>
                  <a:gd name="T20" fmla="*/ 86 w 142"/>
                  <a:gd name="T21" fmla="*/ 415 h 507"/>
                  <a:gd name="T22" fmla="*/ 56 w 142"/>
                  <a:gd name="T23" fmla="*/ 412 h 507"/>
                  <a:gd name="T24" fmla="*/ 62 w 142"/>
                  <a:gd name="T25" fmla="*/ 417 h 507"/>
                  <a:gd name="T26" fmla="*/ 73 w 142"/>
                  <a:gd name="T27" fmla="*/ 410 h 507"/>
                  <a:gd name="T28" fmla="*/ 46 w 142"/>
                  <a:gd name="T29" fmla="*/ 405 h 507"/>
                  <a:gd name="T30" fmla="*/ 53 w 142"/>
                  <a:gd name="T31" fmla="*/ 388 h 507"/>
                  <a:gd name="T32" fmla="*/ 74 w 142"/>
                  <a:gd name="T33" fmla="*/ 378 h 507"/>
                  <a:gd name="T34" fmla="*/ 55 w 142"/>
                  <a:gd name="T35" fmla="*/ 382 h 507"/>
                  <a:gd name="T36" fmla="*/ 83 w 142"/>
                  <a:gd name="T37" fmla="*/ 364 h 507"/>
                  <a:gd name="T38" fmla="*/ 84 w 142"/>
                  <a:gd name="T39" fmla="*/ 351 h 507"/>
                  <a:gd name="T40" fmla="*/ 78 w 142"/>
                  <a:gd name="T41" fmla="*/ 340 h 507"/>
                  <a:gd name="T42" fmla="*/ 76 w 142"/>
                  <a:gd name="T43" fmla="*/ 331 h 507"/>
                  <a:gd name="T44" fmla="*/ 68 w 142"/>
                  <a:gd name="T45" fmla="*/ 305 h 507"/>
                  <a:gd name="T46" fmla="*/ 73 w 142"/>
                  <a:gd name="T47" fmla="*/ 301 h 507"/>
                  <a:gd name="T48" fmla="*/ 67 w 142"/>
                  <a:gd name="T49" fmla="*/ 281 h 507"/>
                  <a:gd name="T50" fmla="*/ 61 w 142"/>
                  <a:gd name="T51" fmla="*/ 272 h 507"/>
                  <a:gd name="T52" fmla="*/ 67 w 142"/>
                  <a:gd name="T53" fmla="*/ 262 h 507"/>
                  <a:gd name="T54" fmla="*/ 70 w 142"/>
                  <a:gd name="T55" fmla="*/ 241 h 507"/>
                  <a:gd name="T56" fmla="*/ 62 w 142"/>
                  <a:gd name="T57" fmla="*/ 231 h 507"/>
                  <a:gd name="T58" fmla="*/ 55 w 142"/>
                  <a:gd name="T59" fmla="*/ 211 h 507"/>
                  <a:gd name="T60" fmla="*/ 45 w 142"/>
                  <a:gd name="T61" fmla="*/ 209 h 507"/>
                  <a:gd name="T62" fmla="*/ 37 w 142"/>
                  <a:gd name="T63" fmla="*/ 195 h 507"/>
                  <a:gd name="T64" fmla="*/ 34 w 142"/>
                  <a:gd name="T65" fmla="*/ 188 h 507"/>
                  <a:gd name="T66" fmla="*/ 11 w 142"/>
                  <a:gd name="T67" fmla="*/ 174 h 507"/>
                  <a:gd name="T68" fmla="*/ 21 w 142"/>
                  <a:gd name="T69" fmla="*/ 175 h 507"/>
                  <a:gd name="T70" fmla="*/ 4 w 142"/>
                  <a:gd name="T71" fmla="*/ 174 h 507"/>
                  <a:gd name="T72" fmla="*/ 9 w 142"/>
                  <a:gd name="T73" fmla="*/ 167 h 507"/>
                  <a:gd name="T74" fmla="*/ 18 w 142"/>
                  <a:gd name="T75" fmla="*/ 151 h 507"/>
                  <a:gd name="T76" fmla="*/ 18 w 142"/>
                  <a:gd name="T77" fmla="*/ 149 h 507"/>
                  <a:gd name="T78" fmla="*/ 19 w 142"/>
                  <a:gd name="T79" fmla="*/ 132 h 507"/>
                  <a:gd name="T80" fmla="*/ 4 w 142"/>
                  <a:gd name="T81" fmla="*/ 123 h 507"/>
                  <a:gd name="T82" fmla="*/ 12 w 142"/>
                  <a:gd name="T83" fmla="*/ 110 h 507"/>
                  <a:gd name="T84" fmla="*/ 56 w 142"/>
                  <a:gd name="T85" fmla="*/ 102 h 507"/>
                  <a:gd name="T86" fmla="*/ 80 w 142"/>
                  <a:gd name="T87" fmla="*/ 97 h 507"/>
                  <a:gd name="T88" fmla="*/ 21 w 142"/>
                  <a:gd name="T89" fmla="*/ 97 h 507"/>
                  <a:gd name="T90" fmla="*/ 73 w 142"/>
                  <a:gd name="T91" fmla="*/ 97 h 507"/>
                  <a:gd name="T92" fmla="*/ 47 w 142"/>
                  <a:gd name="T93" fmla="*/ 99 h 507"/>
                  <a:gd name="T94" fmla="*/ 94 w 142"/>
                  <a:gd name="T95" fmla="*/ 87 h 507"/>
                  <a:gd name="T96" fmla="*/ 106 w 142"/>
                  <a:gd name="T97" fmla="*/ 82 h 507"/>
                  <a:gd name="T98" fmla="*/ 124 w 142"/>
                  <a:gd name="T99" fmla="*/ 79 h 507"/>
                  <a:gd name="T100" fmla="*/ 135 w 142"/>
                  <a:gd name="T101" fmla="*/ 54 h 507"/>
                  <a:gd name="T102" fmla="*/ 136 w 142"/>
                  <a:gd name="T103" fmla="*/ 38 h 507"/>
                  <a:gd name="T104" fmla="*/ 124 w 142"/>
                  <a:gd name="T105" fmla="*/ 27 h 507"/>
                  <a:gd name="T106" fmla="*/ 115 w 142"/>
                  <a:gd name="T107" fmla="*/ 20 h 507"/>
                  <a:gd name="T108" fmla="*/ 117 w 142"/>
                  <a:gd name="T109" fmla="*/ 20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2" h="507">
                    <a:moveTo>
                      <a:pt x="92" y="507"/>
                    </a:moveTo>
                    <a:cubicBezTo>
                      <a:pt x="86" y="507"/>
                      <a:pt x="86" y="507"/>
                      <a:pt x="86" y="507"/>
                    </a:cubicBezTo>
                    <a:cubicBezTo>
                      <a:pt x="86" y="507"/>
                      <a:pt x="86" y="504"/>
                      <a:pt x="86" y="501"/>
                    </a:cubicBezTo>
                    <a:cubicBezTo>
                      <a:pt x="92" y="501"/>
                      <a:pt x="92" y="501"/>
                      <a:pt x="92" y="501"/>
                    </a:cubicBezTo>
                    <a:cubicBezTo>
                      <a:pt x="92" y="504"/>
                      <a:pt x="92" y="507"/>
                      <a:pt x="92" y="507"/>
                    </a:cubicBezTo>
                    <a:close/>
                    <a:moveTo>
                      <a:pt x="89" y="491"/>
                    </a:moveTo>
                    <a:cubicBezTo>
                      <a:pt x="83" y="490"/>
                      <a:pt x="83" y="490"/>
                      <a:pt x="83" y="490"/>
                    </a:cubicBezTo>
                    <a:cubicBezTo>
                      <a:pt x="83" y="489"/>
                      <a:pt x="83" y="488"/>
                      <a:pt x="83" y="487"/>
                    </a:cubicBezTo>
                    <a:cubicBezTo>
                      <a:pt x="83" y="486"/>
                      <a:pt x="83" y="486"/>
                      <a:pt x="83" y="485"/>
                    </a:cubicBezTo>
                    <a:cubicBezTo>
                      <a:pt x="89" y="484"/>
                      <a:pt x="89" y="484"/>
                      <a:pt x="89" y="484"/>
                    </a:cubicBezTo>
                    <a:cubicBezTo>
                      <a:pt x="89" y="485"/>
                      <a:pt x="89" y="486"/>
                      <a:pt x="89" y="487"/>
                    </a:cubicBezTo>
                    <a:cubicBezTo>
                      <a:pt x="89" y="488"/>
                      <a:pt x="89" y="490"/>
                      <a:pt x="89" y="491"/>
                    </a:cubicBezTo>
                    <a:close/>
                    <a:moveTo>
                      <a:pt x="75" y="489"/>
                    </a:moveTo>
                    <a:cubicBezTo>
                      <a:pt x="75" y="489"/>
                      <a:pt x="75" y="489"/>
                      <a:pt x="75" y="489"/>
                    </a:cubicBezTo>
                    <a:cubicBezTo>
                      <a:pt x="73" y="489"/>
                      <a:pt x="72" y="489"/>
                      <a:pt x="71" y="488"/>
                    </a:cubicBezTo>
                    <a:cubicBezTo>
                      <a:pt x="70" y="487"/>
                      <a:pt x="70" y="486"/>
                      <a:pt x="70" y="485"/>
                    </a:cubicBezTo>
                    <a:cubicBezTo>
                      <a:pt x="75" y="483"/>
                      <a:pt x="75" y="483"/>
                      <a:pt x="75" y="483"/>
                    </a:cubicBezTo>
                    <a:cubicBezTo>
                      <a:pt x="75" y="483"/>
                      <a:pt x="75" y="483"/>
                      <a:pt x="75" y="483"/>
                    </a:cubicBezTo>
                    <a:cubicBezTo>
                      <a:pt x="75" y="483"/>
                      <a:pt x="76" y="483"/>
                      <a:pt x="76" y="483"/>
                    </a:cubicBezTo>
                    <a:cubicBezTo>
                      <a:pt x="78" y="489"/>
                      <a:pt x="78" y="489"/>
                      <a:pt x="78" y="489"/>
                    </a:cubicBezTo>
                    <a:cubicBezTo>
                      <a:pt x="77" y="489"/>
                      <a:pt x="76" y="489"/>
                      <a:pt x="75" y="489"/>
                    </a:cubicBezTo>
                    <a:close/>
                    <a:moveTo>
                      <a:pt x="77" y="474"/>
                    </a:moveTo>
                    <a:cubicBezTo>
                      <a:pt x="71" y="471"/>
                      <a:pt x="71" y="471"/>
                      <a:pt x="71" y="471"/>
                    </a:cubicBezTo>
                    <a:cubicBezTo>
                      <a:pt x="72" y="471"/>
                      <a:pt x="72" y="471"/>
                      <a:pt x="72" y="471"/>
                    </a:cubicBezTo>
                    <a:cubicBezTo>
                      <a:pt x="73" y="469"/>
                      <a:pt x="74" y="468"/>
                      <a:pt x="75" y="466"/>
                    </a:cubicBezTo>
                    <a:cubicBezTo>
                      <a:pt x="79" y="470"/>
                      <a:pt x="79" y="470"/>
                      <a:pt x="79" y="470"/>
                    </a:cubicBezTo>
                    <a:cubicBezTo>
                      <a:pt x="78" y="471"/>
                      <a:pt x="78" y="472"/>
                      <a:pt x="77" y="473"/>
                    </a:cubicBezTo>
                    <a:lnTo>
                      <a:pt x="77" y="474"/>
                    </a:lnTo>
                    <a:close/>
                    <a:moveTo>
                      <a:pt x="80" y="459"/>
                    </a:moveTo>
                    <a:cubicBezTo>
                      <a:pt x="80" y="459"/>
                      <a:pt x="79" y="459"/>
                      <a:pt x="79" y="458"/>
                    </a:cubicBezTo>
                    <a:cubicBezTo>
                      <a:pt x="78" y="457"/>
                      <a:pt x="78" y="456"/>
                      <a:pt x="77" y="455"/>
                    </a:cubicBezTo>
                    <a:cubicBezTo>
                      <a:pt x="81" y="451"/>
                      <a:pt x="81" y="451"/>
                      <a:pt x="81" y="451"/>
                    </a:cubicBezTo>
                    <a:cubicBezTo>
                      <a:pt x="82" y="452"/>
                      <a:pt x="83" y="454"/>
                      <a:pt x="84" y="455"/>
                    </a:cubicBezTo>
                    <a:cubicBezTo>
                      <a:pt x="84" y="455"/>
                      <a:pt x="85" y="456"/>
                      <a:pt x="85" y="457"/>
                    </a:cubicBezTo>
                    <a:lnTo>
                      <a:pt x="80" y="459"/>
                    </a:lnTo>
                    <a:close/>
                    <a:moveTo>
                      <a:pt x="77" y="449"/>
                    </a:moveTo>
                    <a:cubicBezTo>
                      <a:pt x="76" y="443"/>
                      <a:pt x="76" y="443"/>
                      <a:pt x="76" y="443"/>
                    </a:cubicBezTo>
                    <a:cubicBezTo>
                      <a:pt x="78" y="443"/>
                      <a:pt x="79" y="442"/>
                      <a:pt x="80" y="441"/>
                    </a:cubicBezTo>
                    <a:cubicBezTo>
                      <a:pt x="83" y="446"/>
                      <a:pt x="83" y="446"/>
                      <a:pt x="83" y="446"/>
                    </a:cubicBezTo>
                    <a:cubicBezTo>
                      <a:pt x="82" y="447"/>
                      <a:pt x="80" y="448"/>
                      <a:pt x="77" y="449"/>
                    </a:cubicBezTo>
                    <a:close/>
                    <a:moveTo>
                      <a:pt x="94" y="438"/>
                    </a:moveTo>
                    <a:cubicBezTo>
                      <a:pt x="88" y="437"/>
                      <a:pt x="88" y="437"/>
                      <a:pt x="88" y="437"/>
                    </a:cubicBezTo>
                    <a:cubicBezTo>
                      <a:pt x="88" y="437"/>
                      <a:pt x="88" y="436"/>
                      <a:pt x="88" y="436"/>
                    </a:cubicBezTo>
                    <a:cubicBezTo>
                      <a:pt x="88" y="435"/>
                      <a:pt x="88" y="434"/>
                      <a:pt x="88" y="434"/>
                    </a:cubicBezTo>
                    <a:cubicBezTo>
                      <a:pt x="88" y="433"/>
                      <a:pt x="88" y="433"/>
                      <a:pt x="88" y="433"/>
                    </a:cubicBezTo>
                    <a:cubicBezTo>
                      <a:pt x="94" y="431"/>
                      <a:pt x="94" y="431"/>
                      <a:pt x="94" y="431"/>
                    </a:cubicBezTo>
                    <a:cubicBezTo>
                      <a:pt x="94" y="431"/>
                      <a:pt x="94" y="432"/>
                      <a:pt x="94" y="434"/>
                    </a:cubicBezTo>
                    <a:cubicBezTo>
                      <a:pt x="94" y="435"/>
                      <a:pt x="94" y="436"/>
                      <a:pt x="94" y="437"/>
                    </a:cubicBezTo>
                    <a:cubicBezTo>
                      <a:pt x="94" y="437"/>
                      <a:pt x="94" y="438"/>
                      <a:pt x="94" y="438"/>
                    </a:cubicBezTo>
                    <a:close/>
                    <a:moveTo>
                      <a:pt x="88" y="429"/>
                    </a:moveTo>
                    <a:cubicBezTo>
                      <a:pt x="88" y="429"/>
                      <a:pt x="88" y="429"/>
                      <a:pt x="87" y="429"/>
                    </a:cubicBezTo>
                    <a:cubicBezTo>
                      <a:pt x="87" y="429"/>
                      <a:pt x="87" y="429"/>
                      <a:pt x="87" y="429"/>
                    </a:cubicBezTo>
                    <a:cubicBezTo>
                      <a:pt x="87" y="429"/>
                      <a:pt x="87" y="429"/>
                      <a:pt x="87" y="429"/>
                    </a:cubicBezTo>
                    <a:cubicBezTo>
                      <a:pt x="87" y="429"/>
                      <a:pt x="87" y="429"/>
                      <a:pt x="87" y="429"/>
                    </a:cubicBezTo>
                    <a:cubicBezTo>
                      <a:pt x="82" y="427"/>
                      <a:pt x="82" y="427"/>
                      <a:pt x="82" y="427"/>
                    </a:cubicBezTo>
                    <a:cubicBezTo>
                      <a:pt x="83" y="423"/>
                      <a:pt x="85" y="423"/>
                      <a:pt x="87" y="423"/>
                    </a:cubicBezTo>
                    <a:cubicBezTo>
                      <a:pt x="87" y="423"/>
                      <a:pt x="88" y="423"/>
                      <a:pt x="89" y="423"/>
                    </a:cubicBezTo>
                    <a:cubicBezTo>
                      <a:pt x="89" y="423"/>
                      <a:pt x="89" y="423"/>
                      <a:pt x="90" y="423"/>
                    </a:cubicBezTo>
                    <a:lnTo>
                      <a:pt x="88" y="429"/>
                    </a:lnTo>
                    <a:close/>
                    <a:moveTo>
                      <a:pt x="88" y="428"/>
                    </a:moveTo>
                    <a:cubicBezTo>
                      <a:pt x="88" y="428"/>
                      <a:pt x="88" y="428"/>
                      <a:pt x="88" y="428"/>
                    </a:cubicBezTo>
                    <a:close/>
                    <a:moveTo>
                      <a:pt x="48" y="420"/>
                    </a:moveTo>
                    <a:cubicBezTo>
                      <a:pt x="45" y="415"/>
                      <a:pt x="45" y="415"/>
                      <a:pt x="45" y="415"/>
                    </a:cubicBezTo>
                    <a:cubicBezTo>
                      <a:pt x="46" y="415"/>
                      <a:pt x="47" y="413"/>
                      <a:pt x="48" y="412"/>
                    </a:cubicBezTo>
                    <a:cubicBezTo>
                      <a:pt x="53" y="415"/>
                      <a:pt x="53" y="415"/>
                      <a:pt x="53" y="415"/>
                    </a:cubicBezTo>
                    <a:cubicBezTo>
                      <a:pt x="52" y="417"/>
                      <a:pt x="50" y="419"/>
                      <a:pt x="48" y="420"/>
                    </a:cubicBezTo>
                    <a:close/>
                    <a:moveTo>
                      <a:pt x="34" y="418"/>
                    </a:moveTo>
                    <a:cubicBezTo>
                      <a:pt x="34" y="418"/>
                      <a:pt x="33" y="417"/>
                      <a:pt x="33" y="417"/>
                    </a:cubicBezTo>
                    <a:cubicBezTo>
                      <a:pt x="32" y="416"/>
                      <a:pt x="31" y="415"/>
                      <a:pt x="31" y="413"/>
                    </a:cubicBezTo>
                    <a:cubicBezTo>
                      <a:pt x="31" y="412"/>
                      <a:pt x="32" y="411"/>
                      <a:pt x="34" y="409"/>
                    </a:cubicBezTo>
                    <a:cubicBezTo>
                      <a:pt x="37" y="415"/>
                      <a:pt x="37" y="415"/>
                      <a:pt x="37" y="415"/>
                    </a:cubicBezTo>
                    <a:cubicBezTo>
                      <a:pt x="37" y="415"/>
                      <a:pt x="37" y="414"/>
                      <a:pt x="37" y="413"/>
                    </a:cubicBezTo>
                    <a:cubicBezTo>
                      <a:pt x="37" y="413"/>
                      <a:pt x="37" y="413"/>
                      <a:pt x="37" y="412"/>
                    </a:cubicBezTo>
                    <a:cubicBezTo>
                      <a:pt x="37" y="413"/>
                      <a:pt x="38" y="414"/>
                      <a:pt x="38" y="414"/>
                    </a:cubicBezTo>
                    <a:lnTo>
                      <a:pt x="34" y="418"/>
                    </a:lnTo>
                    <a:close/>
                    <a:moveTo>
                      <a:pt x="88" y="417"/>
                    </a:moveTo>
                    <a:cubicBezTo>
                      <a:pt x="87" y="416"/>
                      <a:pt x="87" y="416"/>
                      <a:pt x="86" y="415"/>
                    </a:cubicBezTo>
                    <a:cubicBezTo>
                      <a:pt x="86" y="414"/>
                      <a:pt x="86" y="413"/>
                      <a:pt x="85" y="413"/>
                    </a:cubicBezTo>
                    <a:cubicBezTo>
                      <a:pt x="90" y="409"/>
                      <a:pt x="90" y="409"/>
                      <a:pt x="90" y="409"/>
                    </a:cubicBezTo>
                    <a:cubicBezTo>
                      <a:pt x="90" y="410"/>
                      <a:pt x="91" y="411"/>
                      <a:pt x="91" y="411"/>
                    </a:cubicBezTo>
                    <a:cubicBezTo>
                      <a:pt x="92" y="413"/>
                      <a:pt x="93" y="414"/>
                      <a:pt x="93" y="415"/>
                    </a:cubicBezTo>
                    <a:lnTo>
                      <a:pt x="88" y="417"/>
                    </a:lnTo>
                    <a:close/>
                    <a:moveTo>
                      <a:pt x="62" y="417"/>
                    </a:moveTo>
                    <a:cubicBezTo>
                      <a:pt x="59" y="417"/>
                      <a:pt x="57" y="414"/>
                      <a:pt x="56" y="412"/>
                    </a:cubicBezTo>
                    <a:cubicBezTo>
                      <a:pt x="56" y="412"/>
                      <a:pt x="56" y="412"/>
                      <a:pt x="56" y="412"/>
                    </a:cubicBezTo>
                    <a:cubicBezTo>
                      <a:pt x="61" y="409"/>
                      <a:pt x="61" y="409"/>
                      <a:pt x="61" y="409"/>
                    </a:cubicBezTo>
                    <a:cubicBezTo>
                      <a:pt x="62" y="410"/>
                      <a:pt x="62" y="410"/>
                      <a:pt x="62" y="410"/>
                    </a:cubicBezTo>
                    <a:cubicBezTo>
                      <a:pt x="62" y="410"/>
                      <a:pt x="62" y="411"/>
                      <a:pt x="62" y="411"/>
                    </a:cubicBezTo>
                    <a:cubicBezTo>
                      <a:pt x="62" y="411"/>
                      <a:pt x="62" y="411"/>
                      <a:pt x="62" y="411"/>
                    </a:cubicBezTo>
                    <a:cubicBezTo>
                      <a:pt x="63" y="417"/>
                      <a:pt x="63" y="417"/>
                      <a:pt x="63" y="417"/>
                    </a:cubicBezTo>
                    <a:cubicBezTo>
                      <a:pt x="63" y="417"/>
                      <a:pt x="62" y="417"/>
                      <a:pt x="62" y="417"/>
                    </a:cubicBezTo>
                    <a:close/>
                    <a:moveTo>
                      <a:pt x="73" y="410"/>
                    </a:moveTo>
                    <a:cubicBezTo>
                      <a:pt x="71" y="404"/>
                      <a:pt x="71" y="404"/>
                      <a:pt x="71" y="404"/>
                    </a:cubicBezTo>
                    <a:cubicBezTo>
                      <a:pt x="73" y="404"/>
                      <a:pt x="75" y="404"/>
                      <a:pt x="77" y="404"/>
                    </a:cubicBezTo>
                    <a:cubicBezTo>
                      <a:pt x="77" y="404"/>
                      <a:pt x="77" y="404"/>
                      <a:pt x="77" y="404"/>
                    </a:cubicBezTo>
                    <a:cubicBezTo>
                      <a:pt x="78" y="409"/>
                      <a:pt x="78" y="409"/>
                      <a:pt x="78" y="409"/>
                    </a:cubicBezTo>
                    <a:cubicBezTo>
                      <a:pt x="77" y="409"/>
                      <a:pt x="77" y="409"/>
                      <a:pt x="77" y="409"/>
                    </a:cubicBezTo>
                    <a:cubicBezTo>
                      <a:pt x="75" y="410"/>
                      <a:pt x="74" y="410"/>
                      <a:pt x="73" y="410"/>
                    </a:cubicBezTo>
                    <a:close/>
                    <a:moveTo>
                      <a:pt x="41" y="405"/>
                    </a:moveTo>
                    <a:cubicBezTo>
                      <a:pt x="40" y="405"/>
                      <a:pt x="40" y="404"/>
                      <a:pt x="40" y="404"/>
                    </a:cubicBezTo>
                    <a:cubicBezTo>
                      <a:pt x="40" y="403"/>
                      <a:pt x="40" y="402"/>
                      <a:pt x="40" y="401"/>
                    </a:cubicBezTo>
                    <a:cubicBezTo>
                      <a:pt x="40" y="400"/>
                      <a:pt x="40" y="399"/>
                      <a:pt x="40" y="398"/>
                    </a:cubicBezTo>
                    <a:cubicBezTo>
                      <a:pt x="45" y="401"/>
                      <a:pt x="45" y="401"/>
                      <a:pt x="45" y="401"/>
                    </a:cubicBezTo>
                    <a:cubicBezTo>
                      <a:pt x="45" y="401"/>
                      <a:pt x="46" y="402"/>
                      <a:pt x="46" y="402"/>
                    </a:cubicBezTo>
                    <a:cubicBezTo>
                      <a:pt x="46" y="403"/>
                      <a:pt x="46" y="404"/>
                      <a:pt x="46" y="405"/>
                    </a:cubicBezTo>
                    <a:lnTo>
                      <a:pt x="41" y="405"/>
                    </a:lnTo>
                    <a:close/>
                    <a:moveTo>
                      <a:pt x="56" y="395"/>
                    </a:moveTo>
                    <a:cubicBezTo>
                      <a:pt x="56" y="395"/>
                      <a:pt x="55" y="395"/>
                      <a:pt x="55" y="395"/>
                    </a:cubicBezTo>
                    <a:cubicBezTo>
                      <a:pt x="54" y="394"/>
                      <a:pt x="53" y="394"/>
                      <a:pt x="53" y="394"/>
                    </a:cubicBezTo>
                    <a:cubicBezTo>
                      <a:pt x="53" y="394"/>
                      <a:pt x="53" y="394"/>
                      <a:pt x="52" y="394"/>
                    </a:cubicBezTo>
                    <a:cubicBezTo>
                      <a:pt x="50" y="389"/>
                      <a:pt x="50" y="389"/>
                      <a:pt x="50" y="389"/>
                    </a:cubicBezTo>
                    <a:cubicBezTo>
                      <a:pt x="51" y="389"/>
                      <a:pt x="52" y="388"/>
                      <a:pt x="53" y="388"/>
                    </a:cubicBezTo>
                    <a:cubicBezTo>
                      <a:pt x="54" y="388"/>
                      <a:pt x="55" y="389"/>
                      <a:pt x="56" y="389"/>
                    </a:cubicBezTo>
                    <a:cubicBezTo>
                      <a:pt x="57" y="389"/>
                      <a:pt x="57" y="389"/>
                      <a:pt x="57" y="389"/>
                    </a:cubicBezTo>
                    <a:lnTo>
                      <a:pt x="56" y="395"/>
                    </a:lnTo>
                    <a:close/>
                    <a:moveTo>
                      <a:pt x="76" y="386"/>
                    </a:moveTo>
                    <a:cubicBezTo>
                      <a:pt x="74" y="381"/>
                      <a:pt x="74" y="381"/>
                      <a:pt x="74" y="381"/>
                    </a:cubicBezTo>
                    <a:cubicBezTo>
                      <a:pt x="74" y="381"/>
                      <a:pt x="74" y="380"/>
                      <a:pt x="74" y="379"/>
                    </a:cubicBezTo>
                    <a:cubicBezTo>
                      <a:pt x="74" y="378"/>
                      <a:pt x="74" y="378"/>
                      <a:pt x="74" y="378"/>
                    </a:cubicBezTo>
                    <a:cubicBezTo>
                      <a:pt x="80" y="378"/>
                      <a:pt x="80" y="378"/>
                      <a:pt x="80" y="378"/>
                    </a:cubicBezTo>
                    <a:cubicBezTo>
                      <a:pt x="80" y="379"/>
                      <a:pt x="80" y="379"/>
                      <a:pt x="80" y="379"/>
                    </a:cubicBezTo>
                    <a:cubicBezTo>
                      <a:pt x="80" y="382"/>
                      <a:pt x="79" y="385"/>
                      <a:pt x="76" y="386"/>
                    </a:cubicBezTo>
                    <a:close/>
                    <a:moveTo>
                      <a:pt x="63" y="385"/>
                    </a:moveTo>
                    <a:cubicBezTo>
                      <a:pt x="61" y="385"/>
                      <a:pt x="60" y="385"/>
                      <a:pt x="59" y="385"/>
                    </a:cubicBezTo>
                    <a:cubicBezTo>
                      <a:pt x="60" y="385"/>
                      <a:pt x="61" y="384"/>
                      <a:pt x="61" y="383"/>
                    </a:cubicBezTo>
                    <a:cubicBezTo>
                      <a:pt x="55" y="382"/>
                      <a:pt x="55" y="382"/>
                      <a:pt x="55" y="382"/>
                    </a:cubicBezTo>
                    <a:cubicBezTo>
                      <a:pt x="55" y="381"/>
                      <a:pt x="56" y="379"/>
                      <a:pt x="59" y="379"/>
                    </a:cubicBezTo>
                    <a:cubicBezTo>
                      <a:pt x="60" y="379"/>
                      <a:pt x="62" y="379"/>
                      <a:pt x="64" y="379"/>
                    </a:cubicBezTo>
                    <a:lnTo>
                      <a:pt x="63" y="385"/>
                    </a:lnTo>
                    <a:close/>
                    <a:moveTo>
                      <a:pt x="87" y="372"/>
                    </a:moveTo>
                    <a:cubicBezTo>
                      <a:pt x="82" y="369"/>
                      <a:pt x="82" y="369"/>
                      <a:pt x="82" y="369"/>
                    </a:cubicBezTo>
                    <a:cubicBezTo>
                      <a:pt x="82" y="368"/>
                      <a:pt x="83" y="367"/>
                      <a:pt x="83" y="365"/>
                    </a:cubicBezTo>
                    <a:cubicBezTo>
                      <a:pt x="83" y="364"/>
                      <a:pt x="83" y="364"/>
                      <a:pt x="83" y="364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366"/>
                      <a:pt x="89" y="366"/>
                      <a:pt x="89" y="366"/>
                    </a:cubicBezTo>
                    <a:cubicBezTo>
                      <a:pt x="88" y="369"/>
                      <a:pt x="88" y="370"/>
                      <a:pt x="87" y="372"/>
                    </a:cubicBezTo>
                    <a:close/>
                    <a:moveTo>
                      <a:pt x="83" y="357"/>
                    </a:moveTo>
                    <a:cubicBezTo>
                      <a:pt x="81" y="357"/>
                      <a:pt x="78" y="356"/>
                      <a:pt x="76" y="354"/>
                    </a:cubicBezTo>
                    <a:cubicBezTo>
                      <a:pt x="80" y="350"/>
                      <a:pt x="80" y="350"/>
                      <a:pt x="80" y="350"/>
                    </a:cubicBezTo>
                    <a:cubicBezTo>
                      <a:pt x="81" y="351"/>
                      <a:pt x="83" y="351"/>
                      <a:pt x="84" y="351"/>
                    </a:cubicBezTo>
                    <a:lnTo>
                      <a:pt x="83" y="357"/>
                    </a:lnTo>
                    <a:close/>
                    <a:moveTo>
                      <a:pt x="72" y="342"/>
                    </a:moveTo>
                    <a:cubicBezTo>
                      <a:pt x="72" y="341"/>
                      <a:pt x="72" y="341"/>
                      <a:pt x="72" y="341"/>
                    </a:cubicBezTo>
                    <a:cubicBezTo>
                      <a:pt x="71" y="339"/>
                      <a:pt x="71" y="338"/>
                      <a:pt x="71" y="336"/>
                    </a:cubicBezTo>
                    <a:cubicBezTo>
                      <a:pt x="71" y="336"/>
                      <a:pt x="71" y="335"/>
                      <a:pt x="71" y="335"/>
                    </a:cubicBezTo>
                    <a:cubicBezTo>
                      <a:pt x="77" y="336"/>
                      <a:pt x="77" y="336"/>
                      <a:pt x="77" y="336"/>
                    </a:cubicBezTo>
                    <a:cubicBezTo>
                      <a:pt x="77" y="337"/>
                      <a:pt x="77" y="338"/>
                      <a:pt x="78" y="340"/>
                    </a:cubicBezTo>
                    <a:cubicBezTo>
                      <a:pt x="78" y="341"/>
                      <a:pt x="78" y="341"/>
                      <a:pt x="78" y="341"/>
                    </a:cubicBezTo>
                    <a:lnTo>
                      <a:pt x="72" y="342"/>
                    </a:lnTo>
                    <a:close/>
                    <a:moveTo>
                      <a:pt x="76" y="331"/>
                    </a:moveTo>
                    <a:cubicBezTo>
                      <a:pt x="74" y="330"/>
                      <a:pt x="70" y="329"/>
                      <a:pt x="69" y="324"/>
                    </a:cubicBezTo>
                    <a:cubicBezTo>
                      <a:pt x="75" y="324"/>
                      <a:pt x="75" y="324"/>
                      <a:pt x="75" y="324"/>
                    </a:cubicBezTo>
                    <a:cubicBezTo>
                      <a:pt x="75" y="324"/>
                      <a:pt x="76" y="325"/>
                      <a:pt x="77" y="325"/>
                    </a:cubicBezTo>
                    <a:lnTo>
                      <a:pt x="76" y="331"/>
                    </a:lnTo>
                    <a:close/>
                    <a:moveTo>
                      <a:pt x="79" y="314"/>
                    </a:moveTo>
                    <a:cubicBezTo>
                      <a:pt x="73" y="312"/>
                      <a:pt x="73" y="312"/>
                      <a:pt x="73" y="312"/>
                    </a:cubicBezTo>
                    <a:cubicBezTo>
                      <a:pt x="74" y="310"/>
                      <a:pt x="75" y="308"/>
                      <a:pt x="75" y="307"/>
                    </a:cubicBezTo>
                    <a:cubicBezTo>
                      <a:pt x="81" y="309"/>
                      <a:pt x="81" y="309"/>
                      <a:pt x="81" y="309"/>
                    </a:cubicBezTo>
                    <a:cubicBezTo>
                      <a:pt x="81" y="310"/>
                      <a:pt x="80" y="313"/>
                      <a:pt x="79" y="314"/>
                    </a:cubicBezTo>
                    <a:close/>
                    <a:moveTo>
                      <a:pt x="68" y="305"/>
                    </a:moveTo>
                    <a:cubicBezTo>
                      <a:pt x="68" y="305"/>
                      <a:pt x="68" y="305"/>
                      <a:pt x="68" y="305"/>
                    </a:cubicBezTo>
                    <a:cubicBezTo>
                      <a:pt x="68" y="305"/>
                      <a:pt x="67" y="304"/>
                      <a:pt x="67" y="302"/>
                    </a:cubicBezTo>
                    <a:cubicBezTo>
                      <a:pt x="67" y="301"/>
                      <a:pt x="67" y="300"/>
                      <a:pt x="67" y="297"/>
                    </a:cubicBezTo>
                    <a:cubicBezTo>
                      <a:pt x="70" y="298"/>
                      <a:pt x="70" y="298"/>
                      <a:pt x="70" y="298"/>
                    </a:cubicBezTo>
                    <a:cubicBezTo>
                      <a:pt x="73" y="298"/>
                      <a:pt x="73" y="298"/>
                      <a:pt x="73" y="298"/>
                    </a:cubicBezTo>
                    <a:cubicBezTo>
                      <a:pt x="73" y="299"/>
                      <a:pt x="73" y="299"/>
                      <a:pt x="73" y="299"/>
                    </a:cubicBezTo>
                    <a:cubicBezTo>
                      <a:pt x="73" y="299"/>
                      <a:pt x="73" y="301"/>
                      <a:pt x="73" y="301"/>
                    </a:cubicBezTo>
                    <a:cubicBezTo>
                      <a:pt x="73" y="301"/>
                      <a:pt x="73" y="301"/>
                      <a:pt x="73" y="301"/>
                    </a:cubicBezTo>
                    <a:cubicBezTo>
                      <a:pt x="73" y="301"/>
                      <a:pt x="73" y="301"/>
                      <a:pt x="73" y="301"/>
                    </a:cubicBezTo>
                    <a:cubicBezTo>
                      <a:pt x="73" y="302"/>
                      <a:pt x="73" y="302"/>
                      <a:pt x="73" y="302"/>
                    </a:cubicBezTo>
                    <a:cubicBezTo>
                      <a:pt x="73" y="302"/>
                      <a:pt x="73" y="302"/>
                      <a:pt x="73" y="302"/>
                    </a:cubicBezTo>
                    <a:lnTo>
                      <a:pt x="68" y="305"/>
                    </a:lnTo>
                    <a:close/>
                    <a:moveTo>
                      <a:pt x="65" y="287"/>
                    </a:moveTo>
                    <a:cubicBezTo>
                      <a:pt x="64" y="286"/>
                      <a:pt x="64" y="286"/>
                      <a:pt x="64" y="286"/>
                    </a:cubicBezTo>
                    <a:cubicBezTo>
                      <a:pt x="64" y="284"/>
                      <a:pt x="65" y="282"/>
                      <a:pt x="67" y="281"/>
                    </a:cubicBezTo>
                    <a:cubicBezTo>
                      <a:pt x="67" y="280"/>
                      <a:pt x="67" y="280"/>
                      <a:pt x="67" y="280"/>
                    </a:cubicBezTo>
                    <a:cubicBezTo>
                      <a:pt x="72" y="283"/>
                      <a:pt x="72" y="283"/>
                      <a:pt x="72" y="283"/>
                    </a:cubicBezTo>
                    <a:cubicBezTo>
                      <a:pt x="72" y="283"/>
                      <a:pt x="71" y="284"/>
                      <a:pt x="71" y="284"/>
                    </a:cubicBezTo>
                    <a:cubicBezTo>
                      <a:pt x="70" y="285"/>
                      <a:pt x="70" y="286"/>
                      <a:pt x="70" y="286"/>
                    </a:cubicBezTo>
                    <a:lnTo>
                      <a:pt x="65" y="287"/>
                    </a:lnTo>
                    <a:close/>
                    <a:moveTo>
                      <a:pt x="65" y="277"/>
                    </a:moveTo>
                    <a:cubicBezTo>
                      <a:pt x="63" y="276"/>
                      <a:pt x="61" y="275"/>
                      <a:pt x="61" y="272"/>
                    </a:cubicBezTo>
                    <a:cubicBezTo>
                      <a:pt x="61" y="271"/>
                      <a:pt x="62" y="270"/>
                      <a:pt x="62" y="269"/>
                    </a:cubicBezTo>
                    <a:cubicBezTo>
                      <a:pt x="63" y="269"/>
                      <a:pt x="63" y="268"/>
                      <a:pt x="63" y="268"/>
                    </a:cubicBezTo>
                    <a:cubicBezTo>
                      <a:pt x="68" y="272"/>
                      <a:pt x="68" y="272"/>
                      <a:pt x="68" y="272"/>
                    </a:cubicBezTo>
                    <a:cubicBezTo>
                      <a:pt x="67" y="272"/>
                      <a:pt x="67" y="272"/>
                      <a:pt x="67" y="272"/>
                    </a:cubicBezTo>
                    <a:cubicBezTo>
                      <a:pt x="67" y="272"/>
                      <a:pt x="67" y="272"/>
                      <a:pt x="67" y="272"/>
                    </a:cubicBezTo>
                    <a:lnTo>
                      <a:pt x="65" y="277"/>
                    </a:lnTo>
                    <a:close/>
                    <a:moveTo>
                      <a:pt x="67" y="262"/>
                    </a:moveTo>
                    <a:cubicBezTo>
                      <a:pt x="66" y="260"/>
                      <a:pt x="66" y="258"/>
                      <a:pt x="66" y="256"/>
                    </a:cubicBezTo>
                    <a:cubicBezTo>
                      <a:pt x="71" y="255"/>
                      <a:pt x="71" y="255"/>
                      <a:pt x="71" y="255"/>
                    </a:cubicBezTo>
                    <a:cubicBezTo>
                      <a:pt x="72" y="257"/>
                      <a:pt x="72" y="259"/>
                      <a:pt x="73" y="260"/>
                    </a:cubicBezTo>
                    <a:lnTo>
                      <a:pt x="67" y="262"/>
                    </a:lnTo>
                    <a:close/>
                    <a:moveTo>
                      <a:pt x="73" y="246"/>
                    </a:moveTo>
                    <a:cubicBezTo>
                      <a:pt x="69" y="242"/>
                      <a:pt x="69" y="242"/>
                      <a:pt x="69" y="242"/>
                    </a:cubicBezTo>
                    <a:cubicBezTo>
                      <a:pt x="70" y="241"/>
                      <a:pt x="70" y="241"/>
                      <a:pt x="70" y="241"/>
                    </a:cubicBezTo>
                    <a:cubicBezTo>
                      <a:pt x="70" y="241"/>
                      <a:pt x="71" y="240"/>
                      <a:pt x="71" y="240"/>
                    </a:cubicBezTo>
                    <a:cubicBezTo>
                      <a:pt x="77" y="239"/>
                      <a:pt x="77" y="239"/>
                      <a:pt x="77" y="239"/>
                    </a:cubicBezTo>
                    <a:cubicBezTo>
                      <a:pt x="77" y="239"/>
                      <a:pt x="77" y="240"/>
                      <a:pt x="77" y="240"/>
                    </a:cubicBezTo>
                    <a:cubicBezTo>
                      <a:pt x="77" y="243"/>
                      <a:pt x="75" y="244"/>
                      <a:pt x="74" y="246"/>
                    </a:cubicBezTo>
                    <a:lnTo>
                      <a:pt x="73" y="246"/>
                    </a:lnTo>
                    <a:close/>
                    <a:moveTo>
                      <a:pt x="64" y="233"/>
                    </a:moveTo>
                    <a:cubicBezTo>
                      <a:pt x="64" y="232"/>
                      <a:pt x="63" y="232"/>
                      <a:pt x="62" y="231"/>
                    </a:cubicBezTo>
                    <a:cubicBezTo>
                      <a:pt x="62" y="231"/>
                      <a:pt x="61" y="230"/>
                      <a:pt x="60" y="229"/>
                    </a:cubicBezTo>
                    <a:cubicBezTo>
                      <a:pt x="64" y="225"/>
                      <a:pt x="64" y="225"/>
                      <a:pt x="64" y="225"/>
                    </a:cubicBezTo>
                    <a:cubicBezTo>
                      <a:pt x="64" y="225"/>
                      <a:pt x="65" y="226"/>
                      <a:pt x="66" y="226"/>
                    </a:cubicBezTo>
                    <a:cubicBezTo>
                      <a:pt x="67" y="227"/>
                      <a:pt x="68" y="228"/>
                      <a:pt x="68" y="228"/>
                    </a:cubicBezTo>
                    <a:lnTo>
                      <a:pt x="64" y="233"/>
                    </a:lnTo>
                    <a:close/>
                    <a:moveTo>
                      <a:pt x="56" y="216"/>
                    </a:moveTo>
                    <a:cubicBezTo>
                      <a:pt x="55" y="214"/>
                      <a:pt x="55" y="212"/>
                      <a:pt x="55" y="211"/>
                    </a:cubicBezTo>
                    <a:cubicBezTo>
                      <a:pt x="61" y="210"/>
                      <a:pt x="61" y="210"/>
                      <a:pt x="61" y="210"/>
                    </a:cubicBezTo>
                    <a:cubicBezTo>
                      <a:pt x="61" y="211"/>
                      <a:pt x="61" y="213"/>
                      <a:pt x="61" y="216"/>
                    </a:cubicBezTo>
                    <a:lnTo>
                      <a:pt x="56" y="216"/>
                    </a:lnTo>
                    <a:close/>
                    <a:moveTo>
                      <a:pt x="45" y="215"/>
                    </a:moveTo>
                    <a:cubicBezTo>
                      <a:pt x="43" y="215"/>
                      <a:pt x="41" y="214"/>
                      <a:pt x="40" y="212"/>
                    </a:cubicBezTo>
                    <a:cubicBezTo>
                      <a:pt x="46" y="210"/>
                      <a:pt x="46" y="210"/>
                      <a:pt x="46" y="210"/>
                    </a:cubicBezTo>
                    <a:cubicBezTo>
                      <a:pt x="46" y="210"/>
                      <a:pt x="45" y="209"/>
                      <a:pt x="45" y="209"/>
                    </a:cubicBezTo>
                    <a:cubicBezTo>
                      <a:pt x="45" y="209"/>
                      <a:pt x="45" y="209"/>
                      <a:pt x="45" y="209"/>
                    </a:cubicBezTo>
                    <a:cubicBezTo>
                      <a:pt x="45" y="209"/>
                      <a:pt x="45" y="209"/>
                      <a:pt x="47" y="208"/>
                    </a:cubicBezTo>
                    <a:cubicBezTo>
                      <a:pt x="50" y="214"/>
                      <a:pt x="50" y="214"/>
                      <a:pt x="50" y="214"/>
                    </a:cubicBezTo>
                    <a:cubicBezTo>
                      <a:pt x="47" y="215"/>
                      <a:pt x="46" y="215"/>
                      <a:pt x="45" y="215"/>
                    </a:cubicBezTo>
                    <a:close/>
                    <a:moveTo>
                      <a:pt x="36" y="202"/>
                    </a:moveTo>
                    <a:cubicBezTo>
                      <a:pt x="36" y="201"/>
                      <a:pt x="36" y="201"/>
                      <a:pt x="36" y="200"/>
                    </a:cubicBezTo>
                    <a:cubicBezTo>
                      <a:pt x="36" y="198"/>
                      <a:pt x="36" y="196"/>
                      <a:pt x="37" y="195"/>
                    </a:cubicBezTo>
                    <a:cubicBezTo>
                      <a:pt x="37" y="194"/>
                      <a:pt x="37" y="194"/>
                      <a:pt x="37" y="194"/>
                    </a:cubicBezTo>
                    <a:cubicBezTo>
                      <a:pt x="43" y="197"/>
                      <a:pt x="43" y="197"/>
                      <a:pt x="43" y="197"/>
                    </a:cubicBezTo>
                    <a:cubicBezTo>
                      <a:pt x="42" y="197"/>
                      <a:pt x="42" y="197"/>
                      <a:pt x="42" y="197"/>
                    </a:cubicBezTo>
                    <a:cubicBezTo>
                      <a:pt x="42" y="198"/>
                      <a:pt x="42" y="199"/>
                      <a:pt x="42" y="200"/>
                    </a:cubicBezTo>
                    <a:cubicBezTo>
                      <a:pt x="42" y="200"/>
                      <a:pt x="42" y="200"/>
                      <a:pt x="42" y="200"/>
                    </a:cubicBezTo>
                    <a:lnTo>
                      <a:pt x="36" y="202"/>
                    </a:lnTo>
                    <a:close/>
                    <a:moveTo>
                      <a:pt x="34" y="188"/>
                    </a:moveTo>
                    <a:cubicBezTo>
                      <a:pt x="33" y="187"/>
                      <a:pt x="32" y="186"/>
                      <a:pt x="30" y="185"/>
                    </a:cubicBezTo>
                    <a:cubicBezTo>
                      <a:pt x="33" y="180"/>
                      <a:pt x="33" y="180"/>
                      <a:pt x="33" y="180"/>
                    </a:cubicBezTo>
                    <a:cubicBezTo>
                      <a:pt x="35" y="181"/>
                      <a:pt x="37" y="182"/>
                      <a:pt x="38" y="183"/>
                    </a:cubicBezTo>
                    <a:lnTo>
                      <a:pt x="34" y="188"/>
                    </a:lnTo>
                    <a:close/>
                    <a:moveTo>
                      <a:pt x="16" y="177"/>
                    </a:moveTo>
                    <a:cubicBezTo>
                      <a:pt x="11" y="174"/>
                      <a:pt x="11" y="174"/>
                      <a:pt x="11" y="174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11" y="173"/>
                      <a:pt x="12" y="172"/>
                      <a:pt x="12" y="172"/>
                    </a:cubicBezTo>
                    <a:cubicBezTo>
                      <a:pt x="12" y="171"/>
                      <a:pt x="13" y="170"/>
                      <a:pt x="13" y="169"/>
                    </a:cubicBezTo>
                    <a:cubicBezTo>
                      <a:pt x="18" y="172"/>
                      <a:pt x="18" y="172"/>
                      <a:pt x="18" y="172"/>
                    </a:cubicBezTo>
                    <a:cubicBezTo>
                      <a:pt x="18" y="172"/>
                      <a:pt x="18" y="173"/>
                      <a:pt x="17" y="174"/>
                    </a:cubicBezTo>
                    <a:cubicBezTo>
                      <a:pt x="17" y="175"/>
                      <a:pt x="17" y="175"/>
                      <a:pt x="16" y="176"/>
                    </a:cubicBezTo>
                    <a:cubicBezTo>
                      <a:pt x="16" y="176"/>
                      <a:pt x="16" y="177"/>
                      <a:pt x="16" y="177"/>
                    </a:cubicBezTo>
                    <a:close/>
                    <a:moveTo>
                      <a:pt x="21" y="175"/>
                    </a:moveTo>
                    <a:cubicBezTo>
                      <a:pt x="21" y="175"/>
                      <a:pt x="21" y="174"/>
                      <a:pt x="21" y="173"/>
                    </a:cubicBezTo>
                    <a:cubicBezTo>
                      <a:pt x="21" y="172"/>
                      <a:pt x="21" y="170"/>
                      <a:pt x="21" y="170"/>
                    </a:cubicBezTo>
                    <a:cubicBezTo>
                      <a:pt x="26" y="168"/>
                      <a:pt x="26" y="168"/>
                      <a:pt x="26" y="168"/>
                    </a:cubicBezTo>
                    <a:cubicBezTo>
                      <a:pt x="27" y="170"/>
                      <a:pt x="27" y="171"/>
                      <a:pt x="27" y="173"/>
                    </a:cubicBezTo>
                    <a:cubicBezTo>
                      <a:pt x="27" y="174"/>
                      <a:pt x="27" y="174"/>
                      <a:pt x="27" y="175"/>
                    </a:cubicBezTo>
                    <a:lnTo>
                      <a:pt x="21" y="175"/>
                    </a:lnTo>
                    <a:close/>
                    <a:moveTo>
                      <a:pt x="4" y="174"/>
                    </a:moveTo>
                    <a:cubicBezTo>
                      <a:pt x="4" y="174"/>
                      <a:pt x="4" y="173"/>
                      <a:pt x="3" y="172"/>
                    </a:cubicBezTo>
                    <a:cubicBezTo>
                      <a:pt x="2" y="172"/>
                      <a:pt x="1" y="171"/>
                      <a:pt x="0" y="170"/>
                    </a:cubicBezTo>
                    <a:cubicBezTo>
                      <a:pt x="5" y="166"/>
                      <a:pt x="5" y="166"/>
                      <a:pt x="5" y="166"/>
                    </a:cubicBezTo>
                    <a:cubicBezTo>
                      <a:pt x="6" y="167"/>
                      <a:pt x="6" y="168"/>
                      <a:pt x="7" y="168"/>
                    </a:cubicBezTo>
                    <a:cubicBezTo>
                      <a:pt x="8" y="169"/>
                      <a:pt x="9" y="170"/>
                      <a:pt x="9" y="171"/>
                    </a:cubicBezTo>
                    <a:lnTo>
                      <a:pt x="4" y="174"/>
                    </a:lnTo>
                    <a:close/>
                    <a:moveTo>
                      <a:pt x="9" y="167"/>
                    </a:moveTo>
                    <a:cubicBezTo>
                      <a:pt x="9" y="167"/>
                      <a:pt x="9" y="167"/>
                      <a:pt x="8" y="167"/>
                    </a:cubicBezTo>
                    <a:cubicBezTo>
                      <a:pt x="9" y="161"/>
                      <a:pt x="9" y="161"/>
                      <a:pt x="9" y="161"/>
                    </a:cubicBezTo>
                    <a:cubicBezTo>
                      <a:pt x="9" y="161"/>
                      <a:pt x="9" y="161"/>
                      <a:pt x="9" y="161"/>
                    </a:cubicBezTo>
                    <a:cubicBezTo>
                      <a:pt x="11" y="161"/>
                      <a:pt x="11" y="161"/>
                      <a:pt x="11" y="161"/>
                    </a:cubicBezTo>
                    <a:cubicBezTo>
                      <a:pt x="16" y="163"/>
                      <a:pt x="16" y="163"/>
                      <a:pt x="16" y="163"/>
                    </a:cubicBezTo>
                    <a:cubicBezTo>
                      <a:pt x="16" y="165"/>
                      <a:pt x="14" y="167"/>
                      <a:pt x="9" y="167"/>
                    </a:cubicBezTo>
                    <a:close/>
                    <a:moveTo>
                      <a:pt x="18" y="151"/>
                    </a:moveTo>
                    <a:cubicBezTo>
                      <a:pt x="12" y="151"/>
                      <a:pt x="12" y="151"/>
                      <a:pt x="12" y="151"/>
                    </a:cubicBezTo>
                    <a:cubicBezTo>
                      <a:pt x="12" y="149"/>
                      <a:pt x="12" y="149"/>
                      <a:pt x="12" y="149"/>
                    </a:cubicBezTo>
                    <a:cubicBezTo>
                      <a:pt x="12" y="148"/>
                      <a:pt x="12" y="147"/>
                      <a:pt x="12" y="146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17" y="144"/>
                      <a:pt x="17" y="144"/>
                      <a:pt x="17" y="144"/>
                    </a:cubicBezTo>
                    <a:cubicBezTo>
                      <a:pt x="17" y="145"/>
                      <a:pt x="17" y="145"/>
                      <a:pt x="17" y="145"/>
                    </a:cubicBezTo>
                    <a:cubicBezTo>
                      <a:pt x="17" y="146"/>
                      <a:pt x="18" y="147"/>
                      <a:pt x="18" y="149"/>
                    </a:cubicBezTo>
                    <a:lnTo>
                      <a:pt x="18" y="151"/>
                    </a:lnTo>
                    <a:close/>
                    <a:moveTo>
                      <a:pt x="19" y="134"/>
                    </a:moveTo>
                    <a:cubicBezTo>
                      <a:pt x="13" y="133"/>
                      <a:pt x="13" y="133"/>
                      <a:pt x="13" y="133"/>
                    </a:cubicBezTo>
                    <a:cubicBezTo>
                      <a:pt x="13" y="133"/>
                      <a:pt x="13" y="132"/>
                      <a:pt x="13" y="132"/>
                    </a:cubicBezTo>
                    <a:cubicBezTo>
                      <a:pt x="13" y="131"/>
                      <a:pt x="13" y="130"/>
                      <a:pt x="13" y="129"/>
                    </a:cubicBezTo>
                    <a:cubicBezTo>
                      <a:pt x="18" y="126"/>
                      <a:pt x="18" y="126"/>
                      <a:pt x="18" y="126"/>
                    </a:cubicBezTo>
                    <a:cubicBezTo>
                      <a:pt x="19" y="128"/>
                      <a:pt x="19" y="130"/>
                      <a:pt x="19" y="132"/>
                    </a:cubicBezTo>
                    <a:cubicBezTo>
                      <a:pt x="19" y="132"/>
                      <a:pt x="19" y="133"/>
                      <a:pt x="19" y="134"/>
                    </a:cubicBezTo>
                    <a:close/>
                    <a:moveTo>
                      <a:pt x="4" y="123"/>
                    </a:moveTo>
                    <a:cubicBezTo>
                      <a:pt x="3" y="122"/>
                      <a:pt x="1" y="120"/>
                      <a:pt x="1" y="117"/>
                    </a:cubicBezTo>
                    <a:cubicBezTo>
                      <a:pt x="1" y="116"/>
                      <a:pt x="1" y="116"/>
                      <a:pt x="1" y="115"/>
                    </a:cubicBezTo>
                    <a:cubicBezTo>
                      <a:pt x="7" y="116"/>
                      <a:pt x="7" y="116"/>
                      <a:pt x="7" y="116"/>
                    </a:cubicBezTo>
                    <a:cubicBezTo>
                      <a:pt x="7" y="117"/>
                      <a:pt x="7" y="117"/>
                      <a:pt x="8" y="118"/>
                    </a:cubicBezTo>
                    <a:lnTo>
                      <a:pt x="4" y="123"/>
                    </a:lnTo>
                    <a:close/>
                    <a:moveTo>
                      <a:pt x="34" y="112"/>
                    </a:moveTo>
                    <a:cubicBezTo>
                      <a:pt x="31" y="107"/>
                      <a:pt x="31" y="107"/>
                      <a:pt x="31" y="107"/>
                    </a:cubicBezTo>
                    <a:cubicBezTo>
                      <a:pt x="32" y="106"/>
                      <a:pt x="34" y="105"/>
                      <a:pt x="35" y="104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7" y="110"/>
                      <a:pt x="36" y="111"/>
                      <a:pt x="34" y="112"/>
                    </a:cubicBezTo>
                    <a:close/>
                    <a:moveTo>
                      <a:pt x="16" y="110"/>
                    </a:moveTo>
                    <a:cubicBezTo>
                      <a:pt x="15" y="110"/>
                      <a:pt x="14" y="110"/>
                      <a:pt x="12" y="110"/>
                    </a:cubicBezTo>
                    <a:cubicBezTo>
                      <a:pt x="12" y="110"/>
                      <a:pt x="11" y="110"/>
                      <a:pt x="11" y="110"/>
                    </a:cubicBezTo>
                    <a:cubicBezTo>
                      <a:pt x="10" y="104"/>
                      <a:pt x="10" y="104"/>
                      <a:pt x="10" y="104"/>
                    </a:cubicBezTo>
                    <a:cubicBezTo>
                      <a:pt x="11" y="104"/>
                      <a:pt x="12" y="104"/>
                      <a:pt x="13" y="104"/>
                    </a:cubicBezTo>
                    <a:cubicBezTo>
                      <a:pt x="14" y="104"/>
                      <a:pt x="15" y="104"/>
                      <a:pt x="16" y="104"/>
                    </a:cubicBezTo>
                    <a:lnTo>
                      <a:pt x="16" y="110"/>
                    </a:lnTo>
                    <a:close/>
                    <a:moveTo>
                      <a:pt x="62" y="106"/>
                    </a:moveTo>
                    <a:cubicBezTo>
                      <a:pt x="60" y="106"/>
                      <a:pt x="58" y="105"/>
                      <a:pt x="56" y="102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62" y="100"/>
                      <a:pt x="62" y="100"/>
                      <a:pt x="62" y="100"/>
                    </a:cubicBezTo>
                    <a:cubicBezTo>
                      <a:pt x="64" y="106"/>
                      <a:pt x="64" y="106"/>
                      <a:pt x="64" y="106"/>
                    </a:cubicBezTo>
                    <a:cubicBezTo>
                      <a:pt x="63" y="106"/>
                      <a:pt x="63" y="106"/>
                      <a:pt x="62" y="106"/>
                    </a:cubicBezTo>
                    <a:close/>
                    <a:moveTo>
                      <a:pt x="83" y="104"/>
                    </a:moveTo>
                    <a:cubicBezTo>
                      <a:pt x="78" y="102"/>
                      <a:pt x="78" y="102"/>
                      <a:pt x="78" y="102"/>
                    </a:cubicBezTo>
                    <a:cubicBezTo>
                      <a:pt x="78" y="101"/>
                      <a:pt x="79" y="99"/>
                      <a:pt x="80" y="97"/>
                    </a:cubicBezTo>
                    <a:cubicBezTo>
                      <a:pt x="85" y="99"/>
                      <a:pt x="85" y="99"/>
                      <a:pt x="85" y="99"/>
                    </a:cubicBezTo>
                    <a:cubicBezTo>
                      <a:pt x="85" y="101"/>
                      <a:pt x="84" y="103"/>
                      <a:pt x="83" y="104"/>
                    </a:cubicBezTo>
                    <a:close/>
                    <a:moveTo>
                      <a:pt x="24" y="103"/>
                    </a:moveTo>
                    <a:cubicBezTo>
                      <a:pt x="24" y="101"/>
                      <a:pt x="23" y="101"/>
                      <a:pt x="23" y="101"/>
                    </a:cubicBezTo>
                    <a:cubicBezTo>
                      <a:pt x="24" y="101"/>
                      <a:pt x="24" y="101"/>
                      <a:pt x="24" y="101"/>
                    </a:cubicBezTo>
                    <a:cubicBezTo>
                      <a:pt x="25" y="101"/>
                      <a:pt x="25" y="101"/>
                      <a:pt x="25" y="101"/>
                    </a:cubicBezTo>
                    <a:cubicBezTo>
                      <a:pt x="21" y="97"/>
                      <a:pt x="21" y="97"/>
                      <a:pt x="21" y="97"/>
                    </a:cubicBezTo>
                    <a:cubicBezTo>
                      <a:pt x="22" y="95"/>
                      <a:pt x="24" y="95"/>
                      <a:pt x="27" y="96"/>
                    </a:cubicBezTo>
                    <a:cubicBezTo>
                      <a:pt x="28" y="97"/>
                      <a:pt x="29" y="99"/>
                      <a:pt x="30" y="100"/>
                    </a:cubicBezTo>
                    <a:lnTo>
                      <a:pt x="24" y="103"/>
                    </a:lnTo>
                    <a:close/>
                    <a:moveTo>
                      <a:pt x="72" y="102"/>
                    </a:moveTo>
                    <a:cubicBezTo>
                      <a:pt x="72" y="101"/>
                      <a:pt x="72" y="100"/>
                      <a:pt x="71" y="98"/>
                    </a:cubicBezTo>
                    <a:cubicBezTo>
                      <a:pt x="71" y="99"/>
                      <a:pt x="72" y="99"/>
                      <a:pt x="73" y="99"/>
                    </a:cubicBezTo>
                    <a:cubicBezTo>
                      <a:pt x="73" y="97"/>
                      <a:pt x="73" y="97"/>
                      <a:pt x="73" y="97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72" y="94"/>
                      <a:pt x="72" y="94"/>
                      <a:pt x="72" y="94"/>
                    </a:cubicBezTo>
                    <a:cubicBezTo>
                      <a:pt x="73" y="94"/>
                      <a:pt x="73" y="94"/>
                      <a:pt x="73" y="94"/>
                    </a:cubicBezTo>
                    <a:cubicBezTo>
                      <a:pt x="75" y="94"/>
                      <a:pt x="77" y="95"/>
                      <a:pt x="77" y="98"/>
                    </a:cubicBezTo>
                    <a:cubicBezTo>
                      <a:pt x="77" y="99"/>
                      <a:pt x="78" y="100"/>
                      <a:pt x="78" y="101"/>
                    </a:cubicBezTo>
                    <a:lnTo>
                      <a:pt x="72" y="102"/>
                    </a:lnTo>
                    <a:close/>
                    <a:moveTo>
                      <a:pt x="47" y="99"/>
                    </a:moveTo>
                    <a:cubicBezTo>
                      <a:pt x="43" y="95"/>
                      <a:pt x="43" y="95"/>
                      <a:pt x="43" y="95"/>
                    </a:cubicBezTo>
                    <a:cubicBezTo>
                      <a:pt x="45" y="93"/>
                      <a:pt x="47" y="92"/>
                      <a:pt x="49" y="91"/>
                    </a:cubicBezTo>
                    <a:cubicBezTo>
                      <a:pt x="50" y="97"/>
                      <a:pt x="50" y="97"/>
                      <a:pt x="50" y="97"/>
                    </a:cubicBezTo>
                    <a:cubicBezTo>
                      <a:pt x="49" y="97"/>
                      <a:pt x="48" y="98"/>
                      <a:pt x="47" y="99"/>
                    </a:cubicBezTo>
                    <a:close/>
                    <a:moveTo>
                      <a:pt x="93" y="95"/>
                    </a:moveTo>
                    <a:cubicBezTo>
                      <a:pt x="91" y="89"/>
                      <a:pt x="91" y="89"/>
                      <a:pt x="91" y="89"/>
                    </a:cubicBezTo>
                    <a:cubicBezTo>
                      <a:pt x="92" y="89"/>
                      <a:pt x="94" y="88"/>
                      <a:pt x="94" y="87"/>
                    </a:cubicBezTo>
                    <a:cubicBezTo>
                      <a:pt x="99" y="90"/>
                      <a:pt x="99" y="90"/>
                      <a:pt x="99" y="90"/>
                    </a:cubicBezTo>
                    <a:cubicBezTo>
                      <a:pt x="98" y="92"/>
                      <a:pt x="96" y="94"/>
                      <a:pt x="93" y="95"/>
                    </a:cubicBezTo>
                    <a:close/>
                    <a:moveTo>
                      <a:pt x="106" y="82"/>
                    </a:moveTo>
                    <a:cubicBezTo>
                      <a:pt x="102" y="77"/>
                      <a:pt x="102" y="77"/>
                      <a:pt x="102" y="77"/>
                    </a:cubicBezTo>
                    <a:cubicBezTo>
                      <a:pt x="104" y="76"/>
                      <a:pt x="106" y="75"/>
                      <a:pt x="107" y="74"/>
                    </a:cubicBezTo>
                    <a:cubicBezTo>
                      <a:pt x="111" y="79"/>
                      <a:pt x="111" y="79"/>
                      <a:pt x="111" y="79"/>
                    </a:cubicBezTo>
                    <a:cubicBezTo>
                      <a:pt x="109" y="80"/>
                      <a:pt x="108" y="81"/>
                      <a:pt x="106" y="82"/>
                    </a:cubicBezTo>
                    <a:close/>
                    <a:moveTo>
                      <a:pt x="124" y="79"/>
                    </a:moveTo>
                    <a:cubicBezTo>
                      <a:pt x="123" y="79"/>
                      <a:pt x="121" y="78"/>
                      <a:pt x="120" y="77"/>
                    </a:cubicBezTo>
                    <a:cubicBezTo>
                      <a:pt x="119" y="77"/>
                      <a:pt x="119" y="77"/>
                      <a:pt x="119" y="77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22" y="72"/>
                      <a:pt x="122" y="72"/>
                      <a:pt x="122" y="72"/>
                    </a:cubicBezTo>
                    <a:cubicBezTo>
                      <a:pt x="124" y="73"/>
                      <a:pt x="125" y="73"/>
                      <a:pt x="126" y="74"/>
                    </a:cubicBezTo>
                    <a:lnTo>
                      <a:pt x="124" y="79"/>
                    </a:lnTo>
                    <a:close/>
                    <a:moveTo>
                      <a:pt x="137" y="74"/>
                    </a:moveTo>
                    <a:cubicBezTo>
                      <a:pt x="132" y="72"/>
                      <a:pt x="132" y="72"/>
                      <a:pt x="132" y="72"/>
                    </a:cubicBezTo>
                    <a:cubicBezTo>
                      <a:pt x="133" y="70"/>
                      <a:pt x="133" y="69"/>
                      <a:pt x="134" y="67"/>
                    </a:cubicBezTo>
                    <a:cubicBezTo>
                      <a:pt x="139" y="68"/>
                      <a:pt x="139" y="68"/>
                      <a:pt x="139" y="68"/>
                    </a:cubicBezTo>
                    <a:cubicBezTo>
                      <a:pt x="139" y="71"/>
                      <a:pt x="138" y="73"/>
                      <a:pt x="137" y="74"/>
                    </a:cubicBezTo>
                    <a:close/>
                    <a:moveTo>
                      <a:pt x="135" y="56"/>
                    </a:moveTo>
                    <a:cubicBezTo>
                      <a:pt x="135" y="54"/>
                      <a:pt x="135" y="54"/>
                      <a:pt x="135" y="54"/>
                    </a:cubicBezTo>
                    <a:cubicBezTo>
                      <a:pt x="135" y="53"/>
                      <a:pt x="135" y="52"/>
                      <a:pt x="135" y="50"/>
                    </a:cubicBezTo>
                    <a:cubicBezTo>
                      <a:pt x="141" y="50"/>
                      <a:pt x="141" y="50"/>
                      <a:pt x="141" y="50"/>
                    </a:cubicBezTo>
                    <a:cubicBezTo>
                      <a:pt x="141" y="52"/>
                      <a:pt x="141" y="53"/>
                      <a:pt x="141" y="54"/>
                    </a:cubicBezTo>
                    <a:cubicBezTo>
                      <a:pt x="141" y="56"/>
                      <a:pt x="141" y="56"/>
                      <a:pt x="141" y="56"/>
                    </a:cubicBezTo>
                    <a:lnTo>
                      <a:pt x="135" y="56"/>
                    </a:lnTo>
                    <a:close/>
                    <a:moveTo>
                      <a:pt x="142" y="39"/>
                    </a:moveTo>
                    <a:cubicBezTo>
                      <a:pt x="136" y="38"/>
                      <a:pt x="136" y="38"/>
                      <a:pt x="136" y="38"/>
                    </a:cubicBezTo>
                    <a:cubicBezTo>
                      <a:pt x="136" y="37"/>
                      <a:pt x="136" y="36"/>
                      <a:pt x="136" y="35"/>
                    </a:cubicBezTo>
                    <a:cubicBezTo>
                      <a:pt x="136" y="35"/>
                      <a:pt x="136" y="34"/>
                      <a:pt x="136" y="33"/>
                    </a:cubicBezTo>
                    <a:cubicBezTo>
                      <a:pt x="142" y="32"/>
                      <a:pt x="142" y="32"/>
                      <a:pt x="142" y="32"/>
                    </a:cubicBezTo>
                    <a:cubicBezTo>
                      <a:pt x="142" y="33"/>
                      <a:pt x="142" y="34"/>
                      <a:pt x="142" y="35"/>
                    </a:cubicBezTo>
                    <a:cubicBezTo>
                      <a:pt x="142" y="36"/>
                      <a:pt x="142" y="37"/>
                      <a:pt x="142" y="39"/>
                    </a:cubicBezTo>
                    <a:close/>
                    <a:moveTo>
                      <a:pt x="129" y="28"/>
                    </a:moveTo>
                    <a:cubicBezTo>
                      <a:pt x="127" y="28"/>
                      <a:pt x="126" y="28"/>
                      <a:pt x="124" y="27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8" y="22"/>
                      <a:pt x="129" y="23"/>
                      <a:pt x="130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1" y="28"/>
                      <a:pt x="130" y="28"/>
                      <a:pt x="129" y="28"/>
                    </a:cubicBezTo>
                    <a:close/>
                    <a:moveTo>
                      <a:pt x="117" y="20"/>
                    </a:moveTo>
                    <a:cubicBezTo>
                      <a:pt x="116" y="20"/>
                      <a:pt x="116" y="20"/>
                      <a:pt x="115" y="20"/>
                    </a:cubicBezTo>
                    <a:cubicBezTo>
                      <a:pt x="114" y="20"/>
                      <a:pt x="114" y="20"/>
                      <a:pt x="114" y="20"/>
                    </a:cubicBezTo>
                    <a:cubicBezTo>
                      <a:pt x="113" y="19"/>
                      <a:pt x="112" y="19"/>
                      <a:pt x="111" y="19"/>
                    </a:cubicBezTo>
                    <a:cubicBezTo>
                      <a:pt x="112" y="13"/>
                      <a:pt x="112" y="13"/>
                      <a:pt x="112" y="13"/>
                    </a:cubicBezTo>
                    <a:cubicBezTo>
                      <a:pt x="113" y="13"/>
                      <a:pt x="114" y="14"/>
                      <a:pt x="115" y="14"/>
                    </a:cubicBezTo>
                    <a:cubicBezTo>
                      <a:pt x="116" y="14"/>
                      <a:pt x="116" y="14"/>
                      <a:pt x="116" y="14"/>
                    </a:cubicBezTo>
                    <a:cubicBezTo>
                      <a:pt x="117" y="14"/>
                      <a:pt x="118" y="14"/>
                      <a:pt x="118" y="14"/>
                    </a:cubicBezTo>
                    <a:lnTo>
                      <a:pt x="117" y="20"/>
                    </a:lnTo>
                    <a:close/>
                    <a:moveTo>
                      <a:pt x="103" y="8"/>
                    </a:moveTo>
                    <a:cubicBezTo>
                      <a:pt x="103" y="7"/>
                      <a:pt x="102" y="6"/>
                      <a:pt x="101" y="4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7" y="2"/>
                      <a:pt x="108" y="4"/>
                      <a:pt x="109" y="6"/>
                    </a:cubicBezTo>
                    <a:lnTo>
                      <a:pt x="103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22" name="iṥļîḑê"/>
              <p:cNvSpPr/>
              <p:nvPr/>
            </p:nvSpPr>
            <p:spPr bwMode="auto">
              <a:xfrm>
                <a:off x="5583238" y="3749675"/>
                <a:ext cx="1377950" cy="554038"/>
              </a:xfrm>
              <a:custGeom>
                <a:avLst/>
                <a:gdLst>
                  <a:gd name="T0" fmla="*/ 518 w 642"/>
                  <a:gd name="T1" fmla="*/ 259 h 259"/>
                  <a:gd name="T2" fmla="*/ 505 w 642"/>
                  <a:gd name="T3" fmla="*/ 250 h 259"/>
                  <a:gd name="T4" fmla="*/ 534 w 642"/>
                  <a:gd name="T5" fmla="*/ 235 h 259"/>
                  <a:gd name="T6" fmla="*/ 492 w 642"/>
                  <a:gd name="T7" fmla="*/ 232 h 259"/>
                  <a:gd name="T8" fmla="*/ 480 w 642"/>
                  <a:gd name="T9" fmla="*/ 219 h 259"/>
                  <a:gd name="T10" fmla="*/ 538 w 642"/>
                  <a:gd name="T11" fmla="*/ 219 h 259"/>
                  <a:gd name="T12" fmla="*/ 417 w 642"/>
                  <a:gd name="T13" fmla="*/ 206 h 259"/>
                  <a:gd name="T14" fmla="*/ 410 w 642"/>
                  <a:gd name="T15" fmla="*/ 203 h 259"/>
                  <a:gd name="T16" fmla="*/ 456 w 642"/>
                  <a:gd name="T17" fmla="*/ 202 h 259"/>
                  <a:gd name="T18" fmla="*/ 527 w 642"/>
                  <a:gd name="T19" fmla="*/ 198 h 259"/>
                  <a:gd name="T20" fmla="*/ 398 w 642"/>
                  <a:gd name="T21" fmla="*/ 190 h 259"/>
                  <a:gd name="T22" fmla="*/ 387 w 642"/>
                  <a:gd name="T23" fmla="*/ 190 h 259"/>
                  <a:gd name="T24" fmla="*/ 363 w 642"/>
                  <a:gd name="T25" fmla="*/ 189 h 259"/>
                  <a:gd name="T26" fmla="*/ 566 w 642"/>
                  <a:gd name="T27" fmla="*/ 176 h 259"/>
                  <a:gd name="T28" fmla="*/ 355 w 642"/>
                  <a:gd name="T29" fmla="*/ 177 h 259"/>
                  <a:gd name="T30" fmla="*/ 552 w 642"/>
                  <a:gd name="T31" fmla="*/ 181 h 259"/>
                  <a:gd name="T32" fmla="*/ 380 w 642"/>
                  <a:gd name="T33" fmla="*/ 177 h 259"/>
                  <a:gd name="T34" fmla="*/ 582 w 642"/>
                  <a:gd name="T35" fmla="*/ 169 h 259"/>
                  <a:gd name="T36" fmla="*/ 208 w 642"/>
                  <a:gd name="T37" fmla="*/ 161 h 259"/>
                  <a:gd name="T38" fmla="*/ 304 w 642"/>
                  <a:gd name="T39" fmla="*/ 168 h 259"/>
                  <a:gd name="T40" fmla="*/ 345 w 642"/>
                  <a:gd name="T41" fmla="*/ 163 h 259"/>
                  <a:gd name="T42" fmla="*/ 319 w 642"/>
                  <a:gd name="T43" fmla="*/ 158 h 259"/>
                  <a:gd name="T44" fmla="*/ 223 w 642"/>
                  <a:gd name="T45" fmla="*/ 162 h 259"/>
                  <a:gd name="T46" fmla="*/ 290 w 642"/>
                  <a:gd name="T47" fmla="*/ 160 h 259"/>
                  <a:gd name="T48" fmla="*/ 174 w 642"/>
                  <a:gd name="T49" fmla="*/ 157 h 259"/>
                  <a:gd name="T50" fmla="*/ 256 w 642"/>
                  <a:gd name="T51" fmla="*/ 150 h 259"/>
                  <a:gd name="T52" fmla="*/ 231 w 642"/>
                  <a:gd name="T53" fmla="*/ 155 h 259"/>
                  <a:gd name="T54" fmla="*/ 559 w 642"/>
                  <a:gd name="T55" fmla="*/ 146 h 259"/>
                  <a:gd name="T56" fmla="*/ 240 w 642"/>
                  <a:gd name="T57" fmla="*/ 152 h 259"/>
                  <a:gd name="T58" fmla="*/ 157 w 642"/>
                  <a:gd name="T59" fmla="*/ 147 h 259"/>
                  <a:gd name="T60" fmla="*/ 545 w 642"/>
                  <a:gd name="T61" fmla="*/ 148 h 259"/>
                  <a:gd name="T62" fmla="*/ 281 w 642"/>
                  <a:gd name="T63" fmla="*/ 146 h 259"/>
                  <a:gd name="T64" fmla="*/ 147 w 642"/>
                  <a:gd name="T65" fmla="*/ 138 h 259"/>
                  <a:gd name="T66" fmla="*/ 542 w 642"/>
                  <a:gd name="T67" fmla="*/ 131 h 259"/>
                  <a:gd name="T68" fmla="*/ 530 w 642"/>
                  <a:gd name="T69" fmla="*/ 124 h 259"/>
                  <a:gd name="T70" fmla="*/ 581 w 642"/>
                  <a:gd name="T71" fmla="*/ 126 h 259"/>
                  <a:gd name="T72" fmla="*/ 628 w 642"/>
                  <a:gd name="T73" fmla="*/ 119 h 259"/>
                  <a:gd name="T74" fmla="*/ 601 w 642"/>
                  <a:gd name="T75" fmla="*/ 118 h 259"/>
                  <a:gd name="T76" fmla="*/ 157 w 642"/>
                  <a:gd name="T77" fmla="*/ 123 h 259"/>
                  <a:gd name="T78" fmla="*/ 162 w 642"/>
                  <a:gd name="T79" fmla="*/ 125 h 259"/>
                  <a:gd name="T80" fmla="*/ 566 w 642"/>
                  <a:gd name="T81" fmla="*/ 117 h 259"/>
                  <a:gd name="T82" fmla="*/ 554 w 642"/>
                  <a:gd name="T83" fmla="*/ 115 h 259"/>
                  <a:gd name="T84" fmla="*/ 531 w 642"/>
                  <a:gd name="T85" fmla="*/ 121 h 259"/>
                  <a:gd name="T86" fmla="*/ 155 w 642"/>
                  <a:gd name="T87" fmla="*/ 99 h 259"/>
                  <a:gd name="T88" fmla="*/ 156 w 642"/>
                  <a:gd name="T89" fmla="*/ 88 h 259"/>
                  <a:gd name="T90" fmla="*/ 140 w 642"/>
                  <a:gd name="T91" fmla="*/ 70 h 259"/>
                  <a:gd name="T92" fmla="*/ 127 w 642"/>
                  <a:gd name="T93" fmla="*/ 67 h 259"/>
                  <a:gd name="T94" fmla="*/ 108 w 642"/>
                  <a:gd name="T95" fmla="*/ 64 h 259"/>
                  <a:gd name="T96" fmla="*/ 100 w 642"/>
                  <a:gd name="T97" fmla="*/ 56 h 259"/>
                  <a:gd name="T98" fmla="*/ 101 w 642"/>
                  <a:gd name="T99" fmla="*/ 55 h 259"/>
                  <a:gd name="T100" fmla="*/ 75 w 642"/>
                  <a:gd name="T101" fmla="*/ 45 h 259"/>
                  <a:gd name="T102" fmla="*/ 6 w 642"/>
                  <a:gd name="T103" fmla="*/ 27 h 259"/>
                  <a:gd name="T104" fmla="*/ 72 w 642"/>
                  <a:gd name="T105" fmla="*/ 33 h 259"/>
                  <a:gd name="T106" fmla="*/ 31 w 642"/>
                  <a:gd name="T107" fmla="*/ 18 h 259"/>
                  <a:gd name="T108" fmla="*/ 64 w 642"/>
                  <a:gd name="T109" fmla="*/ 12 h 259"/>
                  <a:gd name="T110" fmla="*/ 40 w 642"/>
                  <a:gd name="T111" fmla="*/ 12 h 259"/>
                  <a:gd name="T112" fmla="*/ 53 w 642"/>
                  <a:gd name="T113" fmla="*/ 8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42" h="259">
                    <a:moveTo>
                      <a:pt x="518" y="259"/>
                    </a:moveTo>
                    <a:cubicBezTo>
                      <a:pt x="517" y="259"/>
                      <a:pt x="516" y="259"/>
                      <a:pt x="515" y="258"/>
                    </a:cubicBezTo>
                    <a:cubicBezTo>
                      <a:pt x="517" y="253"/>
                      <a:pt x="517" y="253"/>
                      <a:pt x="517" y="253"/>
                    </a:cubicBezTo>
                    <a:cubicBezTo>
                      <a:pt x="518" y="253"/>
                      <a:pt x="518" y="253"/>
                      <a:pt x="518" y="253"/>
                    </a:cubicBezTo>
                    <a:cubicBezTo>
                      <a:pt x="518" y="253"/>
                      <a:pt x="518" y="253"/>
                      <a:pt x="518" y="253"/>
                    </a:cubicBezTo>
                    <a:cubicBezTo>
                      <a:pt x="519" y="253"/>
                      <a:pt x="520" y="253"/>
                      <a:pt x="521" y="253"/>
                    </a:cubicBezTo>
                    <a:cubicBezTo>
                      <a:pt x="522" y="259"/>
                      <a:pt x="522" y="259"/>
                      <a:pt x="522" y="259"/>
                    </a:cubicBezTo>
                    <a:cubicBezTo>
                      <a:pt x="521" y="259"/>
                      <a:pt x="520" y="259"/>
                      <a:pt x="518" y="259"/>
                    </a:cubicBezTo>
                    <a:close/>
                    <a:moveTo>
                      <a:pt x="534" y="255"/>
                    </a:moveTo>
                    <a:cubicBezTo>
                      <a:pt x="531" y="250"/>
                      <a:pt x="531" y="250"/>
                      <a:pt x="531" y="250"/>
                    </a:cubicBezTo>
                    <a:cubicBezTo>
                      <a:pt x="533" y="249"/>
                      <a:pt x="533" y="248"/>
                      <a:pt x="534" y="248"/>
                    </a:cubicBezTo>
                    <a:cubicBezTo>
                      <a:pt x="534" y="247"/>
                      <a:pt x="534" y="247"/>
                      <a:pt x="534" y="247"/>
                    </a:cubicBezTo>
                    <a:cubicBezTo>
                      <a:pt x="539" y="249"/>
                      <a:pt x="539" y="249"/>
                      <a:pt x="539" y="249"/>
                    </a:cubicBezTo>
                    <a:cubicBezTo>
                      <a:pt x="539" y="249"/>
                      <a:pt x="539" y="250"/>
                      <a:pt x="539" y="250"/>
                    </a:cubicBezTo>
                    <a:cubicBezTo>
                      <a:pt x="538" y="252"/>
                      <a:pt x="537" y="254"/>
                      <a:pt x="534" y="255"/>
                    </a:cubicBezTo>
                    <a:close/>
                    <a:moveTo>
                      <a:pt x="505" y="250"/>
                    </a:moveTo>
                    <a:cubicBezTo>
                      <a:pt x="503" y="248"/>
                      <a:pt x="503" y="248"/>
                      <a:pt x="503" y="248"/>
                    </a:cubicBezTo>
                    <a:cubicBezTo>
                      <a:pt x="502" y="247"/>
                      <a:pt x="501" y="246"/>
                      <a:pt x="501" y="245"/>
                    </a:cubicBezTo>
                    <a:cubicBezTo>
                      <a:pt x="506" y="242"/>
                      <a:pt x="506" y="242"/>
                      <a:pt x="506" y="242"/>
                    </a:cubicBezTo>
                    <a:cubicBezTo>
                      <a:pt x="506" y="243"/>
                      <a:pt x="507" y="244"/>
                      <a:pt x="507" y="244"/>
                    </a:cubicBezTo>
                    <a:cubicBezTo>
                      <a:pt x="509" y="246"/>
                      <a:pt x="509" y="246"/>
                      <a:pt x="509" y="246"/>
                    </a:cubicBezTo>
                    <a:lnTo>
                      <a:pt x="505" y="250"/>
                    </a:lnTo>
                    <a:close/>
                    <a:moveTo>
                      <a:pt x="534" y="237"/>
                    </a:moveTo>
                    <a:cubicBezTo>
                      <a:pt x="534" y="236"/>
                      <a:pt x="534" y="235"/>
                      <a:pt x="534" y="235"/>
                    </a:cubicBezTo>
                    <a:cubicBezTo>
                      <a:pt x="534" y="234"/>
                      <a:pt x="534" y="232"/>
                      <a:pt x="534" y="231"/>
                    </a:cubicBezTo>
                    <a:cubicBezTo>
                      <a:pt x="540" y="231"/>
                      <a:pt x="540" y="231"/>
                      <a:pt x="540" y="231"/>
                    </a:cubicBezTo>
                    <a:cubicBezTo>
                      <a:pt x="540" y="232"/>
                      <a:pt x="540" y="234"/>
                      <a:pt x="540" y="235"/>
                    </a:cubicBezTo>
                    <a:cubicBezTo>
                      <a:pt x="540" y="235"/>
                      <a:pt x="540" y="236"/>
                      <a:pt x="540" y="237"/>
                    </a:cubicBezTo>
                    <a:lnTo>
                      <a:pt x="534" y="237"/>
                    </a:lnTo>
                    <a:close/>
                    <a:moveTo>
                      <a:pt x="495" y="235"/>
                    </a:moveTo>
                    <a:cubicBezTo>
                      <a:pt x="494" y="234"/>
                      <a:pt x="493" y="233"/>
                      <a:pt x="492" y="232"/>
                    </a:cubicBezTo>
                    <a:cubicBezTo>
                      <a:pt x="492" y="232"/>
                      <a:pt x="492" y="232"/>
                      <a:pt x="492" y="232"/>
                    </a:cubicBezTo>
                    <a:cubicBezTo>
                      <a:pt x="495" y="227"/>
                      <a:pt x="495" y="227"/>
                      <a:pt x="495" y="227"/>
                    </a:cubicBezTo>
                    <a:cubicBezTo>
                      <a:pt x="495" y="227"/>
                      <a:pt x="495" y="227"/>
                      <a:pt x="496" y="228"/>
                    </a:cubicBezTo>
                    <a:cubicBezTo>
                      <a:pt x="497" y="229"/>
                      <a:pt x="499" y="230"/>
                      <a:pt x="500" y="232"/>
                    </a:cubicBezTo>
                    <a:lnTo>
                      <a:pt x="495" y="235"/>
                    </a:lnTo>
                    <a:close/>
                    <a:moveTo>
                      <a:pt x="481" y="227"/>
                    </a:moveTo>
                    <a:cubicBezTo>
                      <a:pt x="481" y="227"/>
                      <a:pt x="481" y="227"/>
                      <a:pt x="481" y="227"/>
                    </a:cubicBezTo>
                    <a:cubicBezTo>
                      <a:pt x="479" y="226"/>
                      <a:pt x="478" y="225"/>
                      <a:pt x="476" y="223"/>
                    </a:cubicBezTo>
                    <a:cubicBezTo>
                      <a:pt x="480" y="219"/>
                      <a:pt x="480" y="219"/>
                      <a:pt x="480" y="219"/>
                    </a:cubicBezTo>
                    <a:cubicBezTo>
                      <a:pt x="482" y="220"/>
                      <a:pt x="483" y="221"/>
                      <a:pt x="484" y="222"/>
                    </a:cubicBezTo>
                    <a:lnTo>
                      <a:pt x="481" y="227"/>
                    </a:lnTo>
                    <a:close/>
                    <a:moveTo>
                      <a:pt x="532" y="220"/>
                    </a:moveTo>
                    <a:cubicBezTo>
                      <a:pt x="532" y="217"/>
                      <a:pt x="532" y="217"/>
                      <a:pt x="532" y="217"/>
                    </a:cubicBezTo>
                    <a:cubicBezTo>
                      <a:pt x="532" y="216"/>
                      <a:pt x="531" y="215"/>
                      <a:pt x="531" y="214"/>
                    </a:cubicBezTo>
                    <a:cubicBezTo>
                      <a:pt x="537" y="213"/>
                      <a:pt x="537" y="213"/>
                      <a:pt x="537" y="213"/>
                    </a:cubicBezTo>
                    <a:cubicBezTo>
                      <a:pt x="537" y="214"/>
                      <a:pt x="537" y="215"/>
                      <a:pt x="538" y="216"/>
                    </a:cubicBezTo>
                    <a:cubicBezTo>
                      <a:pt x="538" y="219"/>
                      <a:pt x="538" y="219"/>
                      <a:pt x="538" y="219"/>
                    </a:cubicBezTo>
                    <a:lnTo>
                      <a:pt x="532" y="220"/>
                    </a:lnTo>
                    <a:close/>
                    <a:moveTo>
                      <a:pt x="467" y="216"/>
                    </a:moveTo>
                    <a:cubicBezTo>
                      <a:pt x="466" y="215"/>
                      <a:pt x="464" y="214"/>
                      <a:pt x="463" y="213"/>
                    </a:cubicBezTo>
                    <a:cubicBezTo>
                      <a:pt x="466" y="208"/>
                      <a:pt x="466" y="208"/>
                      <a:pt x="466" y="208"/>
                    </a:cubicBezTo>
                    <a:cubicBezTo>
                      <a:pt x="468" y="209"/>
                      <a:pt x="469" y="210"/>
                      <a:pt x="471" y="211"/>
                    </a:cubicBezTo>
                    <a:lnTo>
                      <a:pt x="467" y="216"/>
                    </a:lnTo>
                    <a:close/>
                    <a:moveTo>
                      <a:pt x="421" y="210"/>
                    </a:moveTo>
                    <a:cubicBezTo>
                      <a:pt x="417" y="206"/>
                      <a:pt x="417" y="206"/>
                      <a:pt x="417" y="206"/>
                    </a:cubicBezTo>
                    <a:cubicBezTo>
                      <a:pt x="418" y="204"/>
                      <a:pt x="420" y="203"/>
                      <a:pt x="422" y="202"/>
                    </a:cubicBezTo>
                    <a:cubicBezTo>
                      <a:pt x="425" y="207"/>
                      <a:pt x="425" y="207"/>
                      <a:pt x="425" y="207"/>
                    </a:cubicBezTo>
                    <a:cubicBezTo>
                      <a:pt x="423" y="208"/>
                      <a:pt x="422" y="209"/>
                      <a:pt x="421" y="210"/>
                    </a:cubicBezTo>
                    <a:close/>
                    <a:moveTo>
                      <a:pt x="409" y="209"/>
                    </a:moveTo>
                    <a:cubicBezTo>
                      <a:pt x="408" y="209"/>
                      <a:pt x="408" y="209"/>
                      <a:pt x="407" y="208"/>
                    </a:cubicBezTo>
                    <a:cubicBezTo>
                      <a:pt x="406" y="208"/>
                      <a:pt x="405" y="207"/>
                      <a:pt x="404" y="207"/>
                    </a:cubicBezTo>
                    <a:cubicBezTo>
                      <a:pt x="407" y="202"/>
                      <a:pt x="407" y="202"/>
                      <a:pt x="407" y="202"/>
                    </a:cubicBezTo>
                    <a:cubicBezTo>
                      <a:pt x="408" y="202"/>
                      <a:pt x="409" y="203"/>
                      <a:pt x="410" y="203"/>
                    </a:cubicBezTo>
                    <a:cubicBezTo>
                      <a:pt x="411" y="204"/>
                      <a:pt x="411" y="204"/>
                      <a:pt x="412" y="204"/>
                    </a:cubicBezTo>
                    <a:lnTo>
                      <a:pt x="409" y="209"/>
                    </a:lnTo>
                    <a:close/>
                    <a:moveTo>
                      <a:pt x="453" y="206"/>
                    </a:moveTo>
                    <a:cubicBezTo>
                      <a:pt x="452" y="206"/>
                      <a:pt x="451" y="205"/>
                      <a:pt x="450" y="204"/>
                    </a:cubicBezTo>
                    <a:cubicBezTo>
                      <a:pt x="450" y="204"/>
                      <a:pt x="449" y="204"/>
                      <a:pt x="449" y="204"/>
                    </a:cubicBezTo>
                    <a:cubicBezTo>
                      <a:pt x="450" y="198"/>
                      <a:pt x="450" y="198"/>
                      <a:pt x="450" y="198"/>
                    </a:cubicBezTo>
                    <a:cubicBezTo>
                      <a:pt x="451" y="198"/>
                      <a:pt x="453" y="199"/>
                      <a:pt x="454" y="200"/>
                    </a:cubicBezTo>
                    <a:cubicBezTo>
                      <a:pt x="455" y="201"/>
                      <a:pt x="455" y="201"/>
                      <a:pt x="456" y="202"/>
                    </a:cubicBezTo>
                    <a:lnTo>
                      <a:pt x="453" y="206"/>
                    </a:lnTo>
                    <a:close/>
                    <a:moveTo>
                      <a:pt x="436" y="203"/>
                    </a:moveTo>
                    <a:cubicBezTo>
                      <a:pt x="432" y="200"/>
                      <a:pt x="432" y="200"/>
                      <a:pt x="432" y="200"/>
                    </a:cubicBezTo>
                    <a:cubicBezTo>
                      <a:pt x="434" y="197"/>
                      <a:pt x="438" y="197"/>
                      <a:pt x="441" y="198"/>
                    </a:cubicBezTo>
                    <a:cubicBezTo>
                      <a:pt x="438" y="203"/>
                      <a:pt x="438" y="203"/>
                      <a:pt x="438" y="203"/>
                    </a:cubicBezTo>
                    <a:cubicBezTo>
                      <a:pt x="438" y="203"/>
                      <a:pt x="437" y="203"/>
                      <a:pt x="436" y="203"/>
                    </a:cubicBezTo>
                    <a:close/>
                    <a:moveTo>
                      <a:pt x="528" y="203"/>
                    </a:moveTo>
                    <a:cubicBezTo>
                      <a:pt x="528" y="201"/>
                      <a:pt x="527" y="199"/>
                      <a:pt x="527" y="198"/>
                    </a:cubicBezTo>
                    <a:cubicBezTo>
                      <a:pt x="527" y="197"/>
                      <a:pt x="527" y="197"/>
                      <a:pt x="527" y="196"/>
                    </a:cubicBezTo>
                    <a:cubicBezTo>
                      <a:pt x="533" y="197"/>
                      <a:pt x="533" y="197"/>
                      <a:pt x="533" y="197"/>
                    </a:cubicBezTo>
                    <a:cubicBezTo>
                      <a:pt x="533" y="197"/>
                      <a:pt x="533" y="197"/>
                      <a:pt x="533" y="198"/>
                    </a:cubicBezTo>
                    <a:cubicBezTo>
                      <a:pt x="533" y="199"/>
                      <a:pt x="533" y="200"/>
                      <a:pt x="534" y="202"/>
                    </a:cubicBezTo>
                    <a:lnTo>
                      <a:pt x="528" y="203"/>
                    </a:lnTo>
                    <a:close/>
                    <a:moveTo>
                      <a:pt x="395" y="197"/>
                    </a:moveTo>
                    <a:cubicBezTo>
                      <a:pt x="394" y="195"/>
                      <a:pt x="393" y="193"/>
                      <a:pt x="392" y="191"/>
                    </a:cubicBezTo>
                    <a:cubicBezTo>
                      <a:pt x="398" y="190"/>
                      <a:pt x="398" y="190"/>
                      <a:pt x="398" y="190"/>
                    </a:cubicBezTo>
                    <a:cubicBezTo>
                      <a:pt x="398" y="191"/>
                      <a:pt x="399" y="193"/>
                      <a:pt x="400" y="195"/>
                    </a:cubicBezTo>
                    <a:lnTo>
                      <a:pt x="395" y="197"/>
                    </a:lnTo>
                    <a:close/>
                    <a:moveTo>
                      <a:pt x="381" y="191"/>
                    </a:moveTo>
                    <a:cubicBezTo>
                      <a:pt x="381" y="191"/>
                      <a:pt x="380" y="191"/>
                      <a:pt x="380" y="191"/>
                    </a:cubicBezTo>
                    <a:cubicBezTo>
                      <a:pt x="381" y="185"/>
                      <a:pt x="381" y="185"/>
                      <a:pt x="381" y="185"/>
                    </a:cubicBezTo>
                    <a:cubicBezTo>
                      <a:pt x="381" y="185"/>
                      <a:pt x="381" y="185"/>
                      <a:pt x="381" y="185"/>
                    </a:cubicBezTo>
                    <a:cubicBezTo>
                      <a:pt x="382" y="185"/>
                      <a:pt x="384" y="185"/>
                      <a:pt x="386" y="185"/>
                    </a:cubicBezTo>
                    <a:cubicBezTo>
                      <a:pt x="387" y="190"/>
                      <a:pt x="387" y="190"/>
                      <a:pt x="387" y="190"/>
                    </a:cubicBezTo>
                    <a:cubicBezTo>
                      <a:pt x="385" y="191"/>
                      <a:pt x="383" y="191"/>
                      <a:pt x="381" y="191"/>
                    </a:cubicBezTo>
                    <a:close/>
                    <a:moveTo>
                      <a:pt x="363" y="189"/>
                    </a:moveTo>
                    <a:cubicBezTo>
                      <a:pt x="362" y="183"/>
                      <a:pt x="362" y="183"/>
                      <a:pt x="362" y="183"/>
                    </a:cubicBezTo>
                    <a:cubicBezTo>
                      <a:pt x="362" y="183"/>
                      <a:pt x="363" y="183"/>
                      <a:pt x="363" y="182"/>
                    </a:cubicBezTo>
                    <a:cubicBezTo>
                      <a:pt x="363" y="181"/>
                      <a:pt x="363" y="181"/>
                      <a:pt x="363" y="181"/>
                    </a:cubicBezTo>
                    <a:cubicBezTo>
                      <a:pt x="369" y="183"/>
                      <a:pt x="369" y="183"/>
                      <a:pt x="369" y="183"/>
                    </a:cubicBezTo>
                    <a:cubicBezTo>
                      <a:pt x="368" y="184"/>
                      <a:pt x="368" y="184"/>
                      <a:pt x="368" y="184"/>
                    </a:cubicBezTo>
                    <a:cubicBezTo>
                      <a:pt x="367" y="187"/>
                      <a:pt x="365" y="189"/>
                      <a:pt x="363" y="189"/>
                    </a:cubicBezTo>
                    <a:close/>
                    <a:moveTo>
                      <a:pt x="536" y="186"/>
                    </a:moveTo>
                    <a:cubicBezTo>
                      <a:pt x="531" y="184"/>
                      <a:pt x="531" y="184"/>
                      <a:pt x="531" y="184"/>
                    </a:cubicBezTo>
                    <a:cubicBezTo>
                      <a:pt x="532" y="182"/>
                      <a:pt x="533" y="180"/>
                      <a:pt x="534" y="179"/>
                    </a:cubicBezTo>
                    <a:cubicBezTo>
                      <a:pt x="539" y="182"/>
                      <a:pt x="539" y="182"/>
                      <a:pt x="539" y="182"/>
                    </a:cubicBezTo>
                    <a:cubicBezTo>
                      <a:pt x="538" y="183"/>
                      <a:pt x="537" y="185"/>
                      <a:pt x="536" y="186"/>
                    </a:cubicBezTo>
                    <a:close/>
                    <a:moveTo>
                      <a:pt x="568" y="183"/>
                    </a:moveTo>
                    <a:cubicBezTo>
                      <a:pt x="566" y="183"/>
                      <a:pt x="564" y="182"/>
                      <a:pt x="561" y="180"/>
                    </a:cubicBezTo>
                    <a:cubicBezTo>
                      <a:pt x="566" y="176"/>
                      <a:pt x="566" y="176"/>
                      <a:pt x="566" y="176"/>
                    </a:cubicBezTo>
                    <a:cubicBezTo>
                      <a:pt x="567" y="177"/>
                      <a:pt x="568" y="177"/>
                      <a:pt x="569" y="178"/>
                    </a:cubicBezTo>
                    <a:lnTo>
                      <a:pt x="568" y="183"/>
                    </a:lnTo>
                    <a:close/>
                    <a:moveTo>
                      <a:pt x="353" y="183"/>
                    </a:moveTo>
                    <a:cubicBezTo>
                      <a:pt x="352" y="182"/>
                      <a:pt x="350" y="182"/>
                      <a:pt x="349" y="181"/>
                    </a:cubicBezTo>
                    <a:cubicBezTo>
                      <a:pt x="348" y="180"/>
                      <a:pt x="347" y="178"/>
                      <a:pt x="347" y="177"/>
                    </a:cubicBezTo>
                    <a:cubicBezTo>
                      <a:pt x="352" y="176"/>
                      <a:pt x="352" y="176"/>
                      <a:pt x="352" y="176"/>
                    </a:cubicBezTo>
                    <a:cubicBezTo>
                      <a:pt x="352" y="176"/>
                      <a:pt x="353" y="176"/>
                      <a:pt x="353" y="176"/>
                    </a:cubicBezTo>
                    <a:cubicBezTo>
                      <a:pt x="353" y="177"/>
                      <a:pt x="354" y="177"/>
                      <a:pt x="355" y="177"/>
                    </a:cubicBezTo>
                    <a:lnTo>
                      <a:pt x="353" y="183"/>
                    </a:lnTo>
                    <a:close/>
                    <a:moveTo>
                      <a:pt x="552" y="181"/>
                    </a:moveTo>
                    <a:cubicBezTo>
                      <a:pt x="552" y="181"/>
                      <a:pt x="551" y="181"/>
                      <a:pt x="550" y="181"/>
                    </a:cubicBezTo>
                    <a:cubicBezTo>
                      <a:pt x="546" y="180"/>
                      <a:pt x="546" y="180"/>
                      <a:pt x="546" y="180"/>
                    </a:cubicBezTo>
                    <a:cubicBezTo>
                      <a:pt x="547" y="175"/>
                      <a:pt x="547" y="175"/>
                      <a:pt x="547" y="175"/>
                    </a:cubicBezTo>
                    <a:cubicBezTo>
                      <a:pt x="551" y="175"/>
                      <a:pt x="551" y="175"/>
                      <a:pt x="551" y="175"/>
                    </a:cubicBezTo>
                    <a:cubicBezTo>
                      <a:pt x="551" y="175"/>
                      <a:pt x="552" y="175"/>
                      <a:pt x="552" y="175"/>
                    </a:cubicBezTo>
                    <a:lnTo>
                      <a:pt x="552" y="181"/>
                    </a:lnTo>
                    <a:close/>
                    <a:moveTo>
                      <a:pt x="380" y="179"/>
                    </a:moveTo>
                    <a:cubicBezTo>
                      <a:pt x="374" y="179"/>
                      <a:pt x="374" y="179"/>
                      <a:pt x="374" y="179"/>
                    </a:cubicBezTo>
                    <a:cubicBezTo>
                      <a:pt x="374" y="177"/>
                      <a:pt x="374" y="177"/>
                      <a:pt x="374" y="177"/>
                    </a:cubicBezTo>
                    <a:cubicBezTo>
                      <a:pt x="374" y="177"/>
                      <a:pt x="374" y="177"/>
                      <a:pt x="374" y="177"/>
                    </a:cubicBezTo>
                    <a:cubicBezTo>
                      <a:pt x="374" y="177"/>
                      <a:pt x="375" y="178"/>
                      <a:pt x="375" y="178"/>
                    </a:cubicBezTo>
                    <a:cubicBezTo>
                      <a:pt x="374" y="172"/>
                      <a:pt x="374" y="172"/>
                      <a:pt x="374" y="172"/>
                    </a:cubicBezTo>
                    <a:cubicBezTo>
                      <a:pt x="374" y="172"/>
                      <a:pt x="375" y="172"/>
                      <a:pt x="375" y="172"/>
                    </a:cubicBezTo>
                    <a:cubicBezTo>
                      <a:pt x="378" y="172"/>
                      <a:pt x="380" y="174"/>
                      <a:pt x="380" y="177"/>
                    </a:cubicBezTo>
                    <a:cubicBezTo>
                      <a:pt x="380" y="177"/>
                      <a:pt x="380" y="178"/>
                      <a:pt x="380" y="178"/>
                    </a:cubicBezTo>
                    <a:lnTo>
                      <a:pt x="380" y="179"/>
                    </a:lnTo>
                    <a:close/>
                    <a:moveTo>
                      <a:pt x="580" y="176"/>
                    </a:moveTo>
                    <a:cubicBezTo>
                      <a:pt x="575" y="173"/>
                      <a:pt x="575" y="173"/>
                      <a:pt x="575" y="173"/>
                    </a:cubicBezTo>
                    <a:cubicBezTo>
                      <a:pt x="576" y="172"/>
                      <a:pt x="576" y="172"/>
                      <a:pt x="576" y="171"/>
                    </a:cubicBezTo>
                    <a:cubicBezTo>
                      <a:pt x="576" y="170"/>
                      <a:pt x="576" y="170"/>
                      <a:pt x="576" y="169"/>
                    </a:cubicBezTo>
                    <a:cubicBezTo>
                      <a:pt x="582" y="168"/>
                      <a:pt x="582" y="168"/>
                      <a:pt x="582" y="168"/>
                    </a:cubicBezTo>
                    <a:cubicBezTo>
                      <a:pt x="582" y="169"/>
                      <a:pt x="582" y="169"/>
                      <a:pt x="582" y="169"/>
                    </a:cubicBezTo>
                    <a:cubicBezTo>
                      <a:pt x="582" y="170"/>
                      <a:pt x="582" y="171"/>
                      <a:pt x="582" y="172"/>
                    </a:cubicBezTo>
                    <a:cubicBezTo>
                      <a:pt x="581" y="174"/>
                      <a:pt x="581" y="175"/>
                      <a:pt x="580" y="176"/>
                    </a:cubicBezTo>
                    <a:close/>
                    <a:moveTo>
                      <a:pt x="207" y="168"/>
                    </a:moveTo>
                    <a:cubicBezTo>
                      <a:pt x="206" y="168"/>
                      <a:pt x="206" y="168"/>
                      <a:pt x="206" y="167"/>
                    </a:cubicBezTo>
                    <a:cubicBezTo>
                      <a:pt x="205" y="167"/>
                      <a:pt x="204" y="166"/>
                      <a:pt x="204" y="165"/>
                    </a:cubicBezTo>
                    <a:cubicBezTo>
                      <a:pt x="203" y="164"/>
                      <a:pt x="203" y="164"/>
                      <a:pt x="203" y="164"/>
                    </a:cubicBezTo>
                    <a:cubicBezTo>
                      <a:pt x="207" y="159"/>
                      <a:pt x="207" y="159"/>
                      <a:pt x="207" y="159"/>
                    </a:cubicBezTo>
                    <a:cubicBezTo>
                      <a:pt x="207" y="160"/>
                      <a:pt x="208" y="161"/>
                      <a:pt x="208" y="161"/>
                    </a:cubicBezTo>
                    <a:cubicBezTo>
                      <a:pt x="209" y="162"/>
                      <a:pt x="209" y="163"/>
                      <a:pt x="210" y="163"/>
                    </a:cubicBezTo>
                    <a:cubicBezTo>
                      <a:pt x="210" y="163"/>
                      <a:pt x="210" y="163"/>
                      <a:pt x="210" y="164"/>
                    </a:cubicBezTo>
                    <a:lnTo>
                      <a:pt x="207" y="168"/>
                    </a:lnTo>
                    <a:close/>
                    <a:moveTo>
                      <a:pt x="304" y="168"/>
                    </a:moveTo>
                    <a:cubicBezTo>
                      <a:pt x="302" y="167"/>
                      <a:pt x="300" y="164"/>
                      <a:pt x="299" y="163"/>
                    </a:cubicBezTo>
                    <a:cubicBezTo>
                      <a:pt x="303" y="160"/>
                      <a:pt x="303" y="160"/>
                      <a:pt x="303" y="160"/>
                    </a:cubicBezTo>
                    <a:cubicBezTo>
                      <a:pt x="305" y="162"/>
                      <a:pt x="306" y="163"/>
                      <a:pt x="307" y="163"/>
                    </a:cubicBezTo>
                    <a:lnTo>
                      <a:pt x="304" y="168"/>
                    </a:lnTo>
                    <a:close/>
                    <a:moveTo>
                      <a:pt x="193" y="166"/>
                    </a:moveTo>
                    <a:cubicBezTo>
                      <a:pt x="191" y="165"/>
                      <a:pt x="189" y="165"/>
                      <a:pt x="187" y="164"/>
                    </a:cubicBezTo>
                    <a:cubicBezTo>
                      <a:pt x="190" y="158"/>
                      <a:pt x="190" y="158"/>
                      <a:pt x="190" y="158"/>
                    </a:cubicBezTo>
                    <a:cubicBezTo>
                      <a:pt x="190" y="158"/>
                      <a:pt x="190" y="158"/>
                      <a:pt x="190" y="158"/>
                    </a:cubicBezTo>
                    <a:cubicBezTo>
                      <a:pt x="191" y="159"/>
                      <a:pt x="193" y="160"/>
                      <a:pt x="195" y="160"/>
                    </a:cubicBezTo>
                    <a:lnTo>
                      <a:pt x="193" y="166"/>
                    </a:lnTo>
                    <a:close/>
                    <a:moveTo>
                      <a:pt x="347" y="165"/>
                    </a:moveTo>
                    <a:cubicBezTo>
                      <a:pt x="347" y="164"/>
                      <a:pt x="347" y="164"/>
                      <a:pt x="345" y="163"/>
                    </a:cubicBezTo>
                    <a:cubicBezTo>
                      <a:pt x="348" y="158"/>
                      <a:pt x="348" y="158"/>
                      <a:pt x="348" y="158"/>
                    </a:cubicBezTo>
                    <a:cubicBezTo>
                      <a:pt x="352" y="160"/>
                      <a:pt x="353" y="163"/>
                      <a:pt x="353" y="164"/>
                    </a:cubicBezTo>
                    <a:lnTo>
                      <a:pt x="347" y="165"/>
                    </a:lnTo>
                    <a:close/>
                    <a:moveTo>
                      <a:pt x="316" y="165"/>
                    </a:moveTo>
                    <a:cubicBezTo>
                      <a:pt x="315" y="165"/>
                      <a:pt x="315" y="165"/>
                      <a:pt x="315" y="165"/>
                    </a:cubicBezTo>
                    <a:cubicBezTo>
                      <a:pt x="315" y="159"/>
                      <a:pt x="315" y="159"/>
                      <a:pt x="315" y="159"/>
                    </a:cubicBezTo>
                    <a:cubicBezTo>
                      <a:pt x="316" y="159"/>
                      <a:pt x="316" y="159"/>
                      <a:pt x="316" y="159"/>
                    </a:cubicBezTo>
                    <a:cubicBezTo>
                      <a:pt x="318" y="159"/>
                      <a:pt x="318" y="159"/>
                      <a:pt x="319" y="158"/>
                    </a:cubicBezTo>
                    <a:cubicBezTo>
                      <a:pt x="323" y="163"/>
                      <a:pt x="323" y="163"/>
                      <a:pt x="323" y="163"/>
                    </a:cubicBezTo>
                    <a:cubicBezTo>
                      <a:pt x="320" y="165"/>
                      <a:pt x="318" y="165"/>
                      <a:pt x="316" y="165"/>
                    </a:cubicBezTo>
                    <a:close/>
                    <a:moveTo>
                      <a:pt x="220" y="163"/>
                    </a:moveTo>
                    <a:cubicBezTo>
                      <a:pt x="219" y="163"/>
                      <a:pt x="218" y="163"/>
                      <a:pt x="217" y="162"/>
                    </a:cubicBezTo>
                    <a:cubicBezTo>
                      <a:pt x="214" y="157"/>
                      <a:pt x="214" y="157"/>
                      <a:pt x="214" y="157"/>
                    </a:cubicBezTo>
                    <a:cubicBezTo>
                      <a:pt x="216" y="156"/>
                      <a:pt x="219" y="156"/>
                      <a:pt x="221" y="158"/>
                    </a:cubicBezTo>
                    <a:cubicBezTo>
                      <a:pt x="221" y="158"/>
                      <a:pt x="219" y="158"/>
                      <a:pt x="219" y="158"/>
                    </a:cubicBezTo>
                    <a:cubicBezTo>
                      <a:pt x="223" y="162"/>
                      <a:pt x="223" y="162"/>
                      <a:pt x="223" y="162"/>
                    </a:cubicBezTo>
                    <a:cubicBezTo>
                      <a:pt x="222" y="163"/>
                      <a:pt x="221" y="163"/>
                      <a:pt x="220" y="163"/>
                    </a:cubicBezTo>
                    <a:close/>
                    <a:moveTo>
                      <a:pt x="335" y="161"/>
                    </a:moveTo>
                    <a:cubicBezTo>
                      <a:pt x="332" y="161"/>
                      <a:pt x="330" y="161"/>
                      <a:pt x="329" y="160"/>
                    </a:cubicBezTo>
                    <a:cubicBezTo>
                      <a:pt x="330" y="155"/>
                      <a:pt x="330" y="155"/>
                      <a:pt x="330" y="155"/>
                    </a:cubicBezTo>
                    <a:cubicBezTo>
                      <a:pt x="331" y="155"/>
                      <a:pt x="333" y="155"/>
                      <a:pt x="335" y="155"/>
                    </a:cubicBezTo>
                    <a:cubicBezTo>
                      <a:pt x="335" y="155"/>
                      <a:pt x="335" y="155"/>
                      <a:pt x="335" y="155"/>
                    </a:cubicBezTo>
                    <a:lnTo>
                      <a:pt x="335" y="161"/>
                    </a:lnTo>
                    <a:close/>
                    <a:moveTo>
                      <a:pt x="290" y="160"/>
                    </a:moveTo>
                    <a:cubicBezTo>
                      <a:pt x="288" y="160"/>
                      <a:pt x="287" y="159"/>
                      <a:pt x="285" y="159"/>
                    </a:cubicBezTo>
                    <a:cubicBezTo>
                      <a:pt x="285" y="158"/>
                      <a:pt x="284" y="158"/>
                      <a:pt x="283" y="157"/>
                    </a:cubicBezTo>
                    <a:cubicBezTo>
                      <a:pt x="287" y="153"/>
                      <a:pt x="287" y="153"/>
                      <a:pt x="287" y="153"/>
                    </a:cubicBezTo>
                    <a:cubicBezTo>
                      <a:pt x="287" y="153"/>
                      <a:pt x="288" y="153"/>
                      <a:pt x="288" y="154"/>
                    </a:cubicBezTo>
                    <a:cubicBezTo>
                      <a:pt x="289" y="154"/>
                      <a:pt x="290" y="154"/>
                      <a:pt x="291" y="155"/>
                    </a:cubicBezTo>
                    <a:lnTo>
                      <a:pt x="290" y="160"/>
                    </a:lnTo>
                    <a:close/>
                    <a:moveTo>
                      <a:pt x="175" y="160"/>
                    </a:moveTo>
                    <a:cubicBezTo>
                      <a:pt x="175" y="159"/>
                      <a:pt x="174" y="158"/>
                      <a:pt x="174" y="157"/>
                    </a:cubicBezTo>
                    <a:cubicBezTo>
                      <a:pt x="173" y="157"/>
                      <a:pt x="173" y="156"/>
                      <a:pt x="172" y="155"/>
                    </a:cubicBezTo>
                    <a:cubicBezTo>
                      <a:pt x="176" y="151"/>
                      <a:pt x="176" y="151"/>
                      <a:pt x="176" y="151"/>
                    </a:cubicBezTo>
                    <a:cubicBezTo>
                      <a:pt x="177" y="152"/>
                      <a:pt x="178" y="153"/>
                      <a:pt x="178" y="154"/>
                    </a:cubicBezTo>
                    <a:cubicBezTo>
                      <a:pt x="179" y="155"/>
                      <a:pt x="179" y="155"/>
                      <a:pt x="180" y="155"/>
                    </a:cubicBezTo>
                    <a:lnTo>
                      <a:pt x="175" y="160"/>
                    </a:lnTo>
                    <a:close/>
                    <a:moveTo>
                      <a:pt x="252" y="158"/>
                    </a:moveTo>
                    <a:cubicBezTo>
                      <a:pt x="250" y="153"/>
                      <a:pt x="250" y="153"/>
                      <a:pt x="250" y="153"/>
                    </a:cubicBezTo>
                    <a:cubicBezTo>
                      <a:pt x="252" y="151"/>
                      <a:pt x="254" y="150"/>
                      <a:pt x="256" y="150"/>
                    </a:cubicBezTo>
                    <a:cubicBezTo>
                      <a:pt x="257" y="156"/>
                      <a:pt x="257" y="156"/>
                      <a:pt x="257" y="156"/>
                    </a:cubicBezTo>
                    <a:cubicBezTo>
                      <a:pt x="256" y="156"/>
                      <a:pt x="254" y="157"/>
                      <a:pt x="252" y="158"/>
                    </a:cubicBezTo>
                    <a:close/>
                    <a:moveTo>
                      <a:pt x="575" y="157"/>
                    </a:moveTo>
                    <a:cubicBezTo>
                      <a:pt x="575" y="156"/>
                      <a:pt x="574" y="155"/>
                      <a:pt x="573" y="154"/>
                    </a:cubicBezTo>
                    <a:cubicBezTo>
                      <a:pt x="577" y="150"/>
                      <a:pt x="577" y="150"/>
                      <a:pt x="577" y="150"/>
                    </a:cubicBezTo>
                    <a:cubicBezTo>
                      <a:pt x="578" y="151"/>
                      <a:pt x="580" y="153"/>
                      <a:pt x="581" y="157"/>
                    </a:cubicBezTo>
                    <a:lnTo>
                      <a:pt x="575" y="157"/>
                    </a:lnTo>
                    <a:close/>
                    <a:moveTo>
                      <a:pt x="231" y="155"/>
                    </a:moveTo>
                    <a:cubicBezTo>
                      <a:pt x="229" y="150"/>
                      <a:pt x="229" y="150"/>
                      <a:pt x="229" y="150"/>
                    </a:cubicBezTo>
                    <a:cubicBezTo>
                      <a:pt x="231" y="149"/>
                      <a:pt x="232" y="148"/>
                      <a:pt x="232" y="148"/>
                    </a:cubicBezTo>
                    <a:cubicBezTo>
                      <a:pt x="237" y="150"/>
                      <a:pt x="237" y="150"/>
                      <a:pt x="237" y="150"/>
                    </a:cubicBezTo>
                    <a:cubicBezTo>
                      <a:pt x="237" y="153"/>
                      <a:pt x="234" y="154"/>
                      <a:pt x="231" y="155"/>
                    </a:cubicBezTo>
                    <a:close/>
                    <a:moveTo>
                      <a:pt x="563" y="154"/>
                    </a:moveTo>
                    <a:cubicBezTo>
                      <a:pt x="562" y="154"/>
                      <a:pt x="560" y="153"/>
                      <a:pt x="559" y="152"/>
                    </a:cubicBezTo>
                    <a:cubicBezTo>
                      <a:pt x="559" y="152"/>
                      <a:pt x="558" y="152"/>
                      <a:pt x="557" y="151"/>
                    </a:cubicBezTo>
                    <a:cubicBezTo>
                      <a:pt x="559" y="146"/>
                      <a:pt x="559" y="146"/>
                      <a:pt x="559" y="146"/>
                    </a:cubicBezTo>
                    <a:cubicBezTo>
                      <a:pt x="560" y="146"/>
                      <a:pt x="561" y="147"/>
                      <a:pt x="562" y="147"/>
                    </a:cubicBezTo>
                    <a:cubicBezTo>
                      <a:pt x="563" y="148"/>
                      <a:pt x="564" y="148"/>
                      <a:pt x="564" y="148"/>
                    </a:cubicBezTo>
                    <a:lnTo>
                      <a:pt x="563" y="154"/>
                    </a:lnTo>
                    <a:close/>
                    <a:moveTo>
                      <a:pt x="240" y="152"/>
                    </a:moveTo>
                    <a:cubicBezTo>
                      <a:pt x="239" y="150"/>
                      <a:pt x="238" y="148"/>
                      <a:pt x="238" y="146"/>
                    </a:cubicBezTo>
                    <a:cubicBezTo>
                      <a:pt x="244" y="145"/>
                      <a:pt x="244" y="145"/>
                      <a:pt x="244" y="145"/>
                    </a:cubicBezTo>
                    <a:cubicBezTo>
                      <a:pt x="244" y="147"/>
                      <a:pt x="245" y="148"/>
                      <a:pt x="245" y="150"/>
                    </a:cubicBezTo>
                    <a:lnTo>
                      <a:pt x="240" y="152"/>
                    </a:lnTo>
                    <a:close/>
                    <a:moveTo>
                      <a:pt x="266" y="151"/>
                    </a:moveTo>
                    <a:cubicBezTo>
                      <a:pt x="262" y="148"/>
                      <a:pt x="262" y="148"/>
                      <a:pt x="262" y="148"/>
                    </a:cubicBezTo>
                    <a:cubicBezTo>
                      <a:pt x="263" y="146"/>
                      <a:pt x="266" y="145"/>
                      <a:pt x="269" y="145"/>
                    </a:cubicBezTo>
                    <a:cubicBezTo>
                      <a:pt x="269" y="148"/>
                      <a:pt x="269" y="148"/>
                      <a:pt x="269" y="148"/>
                    </a:cubicBezTo>
                    <a:cubicBezTo>
                      <a:pt x="269" y="151"/>
                      <a:pt x="269" y="151"/>
                      <a:pt x="269" y="151"/>
                    </a:cubicBezTo>
                    <a:cubicBezTo>
                      <a:pt x="267" y="151"/>
                      <a:pt x="266" y="151"/>
                      <a:pt x="266" y="151"/>
                    </a:cubicBezTo>
                    <a:close/>
                    <a:moveTo>
                      <a:pt x="162" y="150"/>
                    </a:moveTo>
                    <a:cubicBezTo>
                      <a:pt x="161" y="149"/>
                      <a:pt x="159" y="148"/>
                      <a:pt x="157" y="147"/>
                    </a:cubicBezTo>
                    <a:cubicBezTo>
                      <a:pt x="160" y="142"/>
                      <a:pt x="160" y="142"/>
                      <a:pt x="160" y="142"/>
                    </a:cubicBezTo>
                    <a:cubicBezTo>
                      <a:pt x="162" y="143"/>
                      <a:pt x="163" y="144"/>
                      <a:pt x="165" y="145"/>
                    </a:cubicBezTo>
                    <a:lnTo>
                      <a:pt x="162" y="150"/>
                    </a:lnTo>
                    <a:close/>
                    <a:moveTo>
                      <a:pt x="545" y="148"/>
                    </a:moveTo>
                    <a:cubicBezTo>
                      <a:pt x="545" y="147"/>
                      <a:pt x="545" y="145"/>
                      <a:pt x="545" y="142"/>
                    </a:cubicBezTo>
                    <a:cubicBezTo>
                      <a:pt x="551" y="142"/>
                      <a:pt x="551" y="142"/>
                      <a:pt x="551" y="142"/>
                    </a:cubicBezTo>
                    <a:cubicBezTo>
                      <a:pt x="551" y="143"/>
                      <a:pt x="551" y="146"/>
                      <a:pt x="551" y="147"/>
                    </a:cubicBezTo>
                    <a:lnTo>
                      <a:pt x="545" y="148"/>
                    </a:lnTo>
                    <a:close/>
                    <a:moveTo>
                      <a:pt x="281" y="146"/>
                    </a:moveTo>
                    <a:cubicBezTo>
                      <a:pt x="278" y="140"/>
                      <a:pt x="278" y="140"/>
                      <a:pt x="278" y="140"/>
                    </a:cubicBezTo>
                    <a:cubicBezTo>
                      <a:pt x="279" y="140"/>
                      <a:pt x="281" y="139"/>
                      <a:pt x="282" y="139"/>
                    </a:cubicBezTo>
                    <a:cubicBezTo>
                      <a:pt x="285" y="139"/>
                      <a:pt x="287" y="141"/>
                      <a:pt x="287" y="144"/>
                    </a:cubicBezTo>
                    <a:cubicBezTo>
                      <a:pt x="281" y="144"/>
                      <a:pt x="281" y="144"/>
                      <a:pt x="281" y="144"/>
                    </a:cubicBezTo>
                    <a:cubicBezTo>
                      <a:pt x="281" y="145"/>
                      <a:pt x="282" y="145"/>
                      <a:pt x="282" y="145"/>
                    </a:cubicBezTo>
                    <a:cubicBezTo>
                      <a:pt x="282" y="145"/>
                      <a:pt x="282" y="145"/>
                      <a:pt x="282" y="145"/>
                    </a:cubicBezTo>
                    <a:cubicBezTo>
                      <a:pt x="282" y="145"/>
                      <a:pt x="282" y="145"/>
                      <a:pt x="281" y="146"/>
                    </a:cubicBezTo>
                    <a:close/>
                    <a:moveTo>
                      <a:pt x="232" y="140"/>
                    </a:moveTo>
                    <a:cubicBezTo>
                      <a:pt x="227" y="138"/>
                      <a:pt x="227" y="138"/>
                      <a:pt x="227" y="138"/>
                    </a:cubicBezTo>
                    <a:cubicBezTo>
                      <a:pt x="228" y="137"/>
                      <a:pt x="229" y="136"/>
                      <a:pt x="230" y="135"/>
                    </a:cubicBezTo>
                    <a:cubicBezTo>
                      <a:pt x="232" y="134"/>
                      <a:pt x="233" y="133"/>
                      <a:pt x="235" y="134"/>
                    </a:cubicBezTo>
                    <a:cubicBezTo>
                      <a:pt x="235" y="139"/>
                      <a:pt x="235" y="139"/>
                      <a:pt x="235" y="139"/>
                    </a:cubicBezTo>
                    <a:cubicBezTo>
                      <a:pt x="234" y="139"/>
                      <a:pt x="234" y="140"/>
                      <a:pt x="233" y="140"/>
                    </a:cubicBezTo>
                    <a:cubicBezTo>
                      <a:pt x="233" y="140"/>
                      <a:pt x="232" y="140"/>
                      <a:pt x="232" y="140"/>
                    </a:cubicBezTo>
                    <a:close/>
                    <a:moveTo>
                      <a:pt x="147" y="138"/>
                    </a:moveTo>
                    <a:cubicBezTo>
                      <a:pt x="147" y="137"/>
                      <a:pt x="147" y="137"/>
                      <a:pt x="147" y="137"/>
                    </a:cubicBezTo>
                    <a:cubicBezTo>
                      <a:pt x="147" y="135"/>
                      <a:pt x="148" y="133"/>
                      <a:pt x="149" y="130"/>
                    </a:cubicBezTo>
                    <a:cubicBezTo>
                      <a:pt x="154" y="134"/>
                      <a:pt x="154" y="134"/>
                      <a:pt x="154" y="134"/>
                    </a:cubicBezTo>
                    <a:cubicBezTo>
                      <a:pt x="153" y="135"/>
                      <a:pt x="153" y="136"/>
                      <a:pt x="153" y="137"/>
                    </a:cubicBezTo>
                    <a:lnTo>
                      <a:pt x="147" y="138"/>
                    </a:lnTo>
                    <a:close/>
                    <a:moveTo>
                      <a:pt x="545" y="132"/>
                    </a:moveTo>
                    <a:cubicBezTo>
                      <a:pt x="545" y="132"/>
                      <a:pt x="544" y="132"/>
                      <a:pt x="543" y="131"/>
                    </a:cubicBezTo>
                    <a:cubicBezTo>
                      <a:pt x="543" y="131"/>
                      <a:pt x="543" y="131"/>
                      <a:pt x="542" y="131"/>
                    </a:cubicBezTo>
                    <a:cubicBezTo>
                      <a:pt x="542" y="125"/>
                      <a:pt x="542" y="125"/>
                      <a:pt x="542" y="125"/>
                    </a:cubicBezTo>
                    <a:cubicBezTo>
                      <a:pt x="544" y="125"/>
                      <a:pt x="545" y="126"/>
                      <a:pt x="546" y="126"/>
                    </a:cubicBezTo>
                    <a:cubicBezTo>
                      <a:pt x="548" y="127"/>
                      <a:pt x="549" y="128"/>
                      <a:pt x="549" y="128"/>
                    </a:cubicBezTo>
                    <a:lnTo>
                      <a:pt x="545" y="132"/>
                    </a:lnTo>
                    <a:close/>
                    <a:moveTo>
                      <a:pt x="530" y="130"/>
                    </a:moveTo>
                    <a:cubicBezTo>
                      <a:pt x="527" y="130"/>
                      <a:pt x="524" y="130"/>
                      <a:pt x="523" y="128"/>
                    </a:cubicBezTo>
                    <a:cubicBezTo>
                      <a:pt x="527" y="124"/>
                      <a:pt x="527" y="124"/>
                      <a:pt x="527" y="124"/>
                    </a:cubicBezTo>
                    <a:cubicBezTo>
                      <a:pt x="527" y="124"/>
                      <a:pt x="528" y="124"/>
                      <a:pt x="530" y="124"/>
                    </a:cubicBezTo>
                    <a:lnTo>
                      <a:pt x="530" y="130"/>
                    </a:lnTo>
                    <a:close/>
                    <a:moveTo>
                      <a:pt x="613" y="129"/>
                    </a:moveTo>
                    <a:cubicBezTo>
                      <a:pt x="610" y="127"/>
                      <a:pt x="609" y="126"/>
                      <a:pt x="608" y="122"/>
                    </a:cubicBezTo>
                    <a:cubicBezTo>
                      <a:pt x="614" y="122"/>
                      <a:pt x="614" y="122"/>
                      <a:pt x="614" y="122"/>
                    </a:cubicBezTo>
                    <a:cubicBezTo>
                      <a:pt x="614" y="122"/>
                      <a:pt x="614" y="123"/>
                      <a:pt x="616" y="124"/>
                    </a:cubicBezTo>
                    <a:lnTo>
                      <a:pt x="613" y="129"/>
                    </a:lnTo>
                    <a:close/>
                    <a:moveTo>
                      <a:pt x="587" y="127"/>
                    </a:moveTo>
                    <a:cubicBezTo>
                      <a:pt x="585" y="127"/>
                      <a:pt x="583" y="126"/>
                      <a:pt x="581" y="126"/>
                    </a:cubicBezTo>
                    <a:cubicBezTo>
                      <a:pt x="583" y="120"/>
                      <a:pt x="583" y="120"/>
                      <a:pt x="583" y="120"/>
                    </a:cubicBezTo>
                    <a:cubicBezTo>
                      <a:pt x="585" y="121"/>
                      <a:pt x="586" y="121"/>
                      <a:pt x="588" y="121"/>
                    </a:cubicBezTo>
                    <a:cubicBezTo>
                      <a:pt x="589" y="127"/>
                      <a:pt x="589" y="127"/>
                      <a:pt x="589" y="127"/>
                    </a:cubicBezTo>
                    <a:cubicBezTo>
                      <a:pt x="588" y="127"/>
                      <a:pt x="587" y="127"/>
                      <a:pt x="587" y="127"/>
                    </a:cubicBezTo>
                    <a:close/>
                    <a:moveTo>
                      <a:pt x="627" y="126"/>
                    </a:moveTo>
                    <a:cubicBezTo>
                      <a:pt x="623" y="121"/>
                      <a:pt x="623" y="121"/>
                      <a:pt x="623" y="121"/>
                    </a:cubicBezTo>
                    <a:cubicBezTo>
                      <a:pt x="624" y="121"/>
                      <a:pt x="624" y="121"/>
                      <a:pt x="624" y="121"/>
                    </a:cubicBezTo>
                    <a:cubicBezTo>
                      <a:pt x="625" y="119"/>
                      <a:pt x="627" y="119"/>
                      <a:pt x="628" y="119"/>
                    </a:cubicBezTo>
                    <a:cubicBezTo>
                      <a:pt x="629" y="118"/>
                      <a:pt x="629" y="118"/>
                      <a:pt x="629" y="118"/>
                    </a:cubicBezTo>
                    <a:cubicBezTo>
                      <a:pt x="631" y="124"/>
                      <a:pt x="631" y="124"/>
                      <a:pt x="631" y="124"/>
                    </a:cubicBezTo>
                    <a:cubicBezTo>
                      <a:pt x="631" y="124"/>
                      <a:pt x="630" y="124"/>
                      <a:pt x="630" y="124"/>
                    </a:cubicBezTo>
                    <a:cubicBezTo>
                      <a:pt x="629" y="124"/>
                      <a:pt x="628" y="125"/>
                      <a:pt x="627" y="125"/>
                    </a:cubicBezTo>
                    <a:lnTo>
                      <a:pt x="627" y="126"/>
                    </a:lnTo>
                    <a:close/>
                    <a:moveTo>
                      <a:pt x="600" y="125"/>
                    </a:moveTo>
                    <a:cubicBezTo>
                      <a:pt x="599" y="119"/>
                      <a:pt x="599" y="119"/>
                      <a:pt x="599" y="119"/>
                    </a:cubicBezTo>
                    <a:cubicBezTo>
                      <a:pt x="600" y="119"/>
                      <a:pt x="601" y="118"/>
                      <a:pt x="601" y="118"/>
                    </a:cubicBezTo>
                    <a:cubicBezTo>
                      <a:pt x="602" y="117"/>
                      <a:pt x="602" y="117"/>
                      <a:pt x="603" y="117"/>
                    </a:cubicBezTo>
                    <a:cubicBezTo>
                      <a:pt x="606" y="121"/>
                      <a:pt x="606" y="121"/>
                      <a:pt x="606" y="121"/>
                    </a:cubicBezTo>
                    <a:cubicBezTo>
                      <a:pt x="606" y="121"/>
                      <a:pt x="606" y="122"/>
                      <a:pt x="605" y="122"/>
                    </a:cubicBezTo>
                    <a:cubicBezTo>
                      <a:pt x="604" y="123"/>
                      <a:pt x="602" y="124"/>
                      <a:pt x="600" y="125"/>
                    </a:cubicBezTo>
                    <a:close/>
                    <a:moveTo>
                      <a:pt x="162" y="125"/>
                    </a:moveTo>
                    <a:cubicBezTo>
                      <a:pt x="159" y="123"/>
                      <a:pt x="159" y="123"/>
                      <a:pt x="159" y="123"/>
                    </a:cubicBezTo>
                    <a:cubicBezTo>
                      <a:pt x="157" y="124"/>
                      <a:pt x="157" y="124"/>
                      <a:pt x="157" y="124"/>
                    </a:cubicBezTo>
                    <a:cubicBezTo>
                      <a:pt x="157" y="123"/>
                      <a:pt x="157" y="123"/>
                      <a:pt x="157" y="123"/>
                    </a:cubicBezTo>
                    <a:cubicBezTo>
                      <a:pt x="156" y="121"/>
                      <a:pt x="156" y="120"/>
                      <a:pt x="156" y="118"/>
                    </a:cubicBezTo>
                    <a:cubicBezTo>
                      <a:pt x="156" y="118"/>
                      <a:pt x="156" y="118"/>
                      <a:pt x="156" y="117"/>
                    </a:cubicBezTo>
                    <a:cubicBezTo>
                      <a:pt x="162" y="118"/>
                      <a:pt x="162" y="118"/>
                      <a:pt x="162" y="118"/>
                    </a:cubicBezTo>
                    <a:cubicBezTo>
                      <a:pt x="161" y="118"/>
                      <a:pt x="161" y="118"/>
                      <a:pt x="161" y="118"/>
                    </a:cubicBezTo>
                    <a:cubicBezTo>
                      <a:pt x="161" y="119"/>
                      <a:pt x="162" y="120"/>
                      <a:pt x="162" y="120"/>
                    </a:cubicBezTo>
                    <a:cubicBezTo>
                      <a:pt x="162" y="121"/>
                      <a:pt x="162" y="121"/>
                      <a:pt x="163" y="122"/>
                    </a:cubicBezTo>
                    <a:cubicBezTo>
                      <a:pt x="163" y="123"/>
                      <a:pt x="163" y="123"/>
                      <a:pt x="163" y="123"/>
                    </a:cubicBezTo>
                    <a:cubicBezTo>
                      <a:pt x="163" y="123"/>
                      <a:pt x="163" y="124"/>
                      <a:pt x="162" y="125"/>
                    </a:cubicBezTo>
                    <a:close/>
                    <a:moveTo>
                      <a:pt x="157" y="122"/>
                    </a:moveTo>
                    <a:cubicBezTo>
                      <a:pt x="157" y="122"/>
                      <a:pt x="157" y="122"/>
                      <a:pt x="157" y="123"/>
                    </a:cubicBezTo>
                    <a:cubicBezTo>
                      <a:pt x="159" y="123"/>
                      <a:pt x="159" y="123"/>
                      <a:pt x="159" y="123"/>
                    </a:cubicBezTo>
                    <a:lnTo>
                      <a:pt x="157" y="122"/>
                    </a:lnTo>
                    <a:close/>
                    <a:moveTo>
                      <a:pt x="571" y="123"/>
                    </a:moveTo>
                    <a:cubicBezTo>
                      <a:pt x="570" y="123"/>
                      <a:pt x="570" y="123"/>
                      <a:pt x="570" y="123"/>
                    </a:cubicBezTo>
                    <a:cubicBezTo>
                      <a:pt x="569" y="123"/>
                      <a:pt x="567" y="123"/>
                      <a:pt x="565" y="123"/>
                    </a:cubicBezTo>
                    <a:cubicBezTo>
                      <a:pt x="566" y="117"/>
                      <a:pt x="566" y="117"/>
                      <a:pt x="566" y="117"/>
                    </a:cubicBezTo>
                    <a:cubicBezTo>
                      <a:pt x="567" y="117"/>
                      <a:pt x="569" y="117"/>
                      <a:pt x="570" y="117"/>
                    </a:cubicBezTo>
                    <a:cubicBezTo>
                      <a:pt x="571" y="117"/>
                      <a:pt x="571" y="117"/>
                      <a:pt x="571" y="117"/>
                    </a:cubicBezTo>
                    <a:lnTo>
                      <a:pt x="571" y="123"/>
                    </a:lnTo>
                    <a:close/>
                    <a:moveTo>
                      <a:pt x="553" y="121"/>
                    </a:moveTo>
                    <a:cubicBezTo>
                      <a:pt x="551" y="120"/>
                      <a:pt x="550" y="120"/>
                      <a:pt x="549" y="120"/>
                    </a:cubicBezTo>
                    <a:cubicBezTo>
                      <a:pt x="548" y="114"/>
                      <a:pt x="548" y="114"/>
                      <a:pt x="548" y="114"/>
                    </a:cubicBezTo>
                    <a:cubicBezTo>
                      <a:pt x="549" y="114"/>
                      <a:pt x="549" y="114"/>
                      <a:pt x="549" y="114"/>
                    </a:cubicBezTo>
                    <a:cubicBezTo>
                      <a:pt x="550" y="114"/>
                      <a:pt x="552" y="115"/>
                      <a:pt x="554" y="115"/>
                    </a:cubicBezTo>
                    <a:lnTo>
                      <a:pt x="553" y="121"/>
                    </a:lnTo>
                    <a:close/>
                    <a:moveTo>
                      <a:pt x="531" y="121"/>
                    </a:moveTo>
                    <a:cubicBezTo>
                      <a:pt x="530" y="115"/>
                      <a:pt x="530" y="115"/>
                      <a:pt x="530" y="115"/>
                    </a:cubicBezTo>
                    <a:cubicBezTo>
                      <a:pt x="532" y="115"/>
                      <a:pt x="533" y="115"/>
                      <a:pt x="534" y="115"/>
                    </a:cubicBezTo>
                    <a:cubicBezTo>
                      <a:pt x="534" y="115"/>
                      <a:pt x="535" y="115"/>
                      <a:pt x="536" y="115"/>
                    </a:cubicBezTo>
                    <a:cubicBezTo>
                      <a:pt x="537" y="120"/>
                      <a:pt x="537" y="120"/>
                      <a:pt x="537" y="120"/>
                    </a:cubicBezTo>
                    <a:cubicBezTo>
                      <a:pt x="535" y="120"/>
                      <a:pt x="534" y="120"/>
                      <a:pt x="534" y="120"/>
                    </a:cubicBezTo>
                    <a:cubicBezTo>
                      <a:pt x="533" y="120"/>
                      <a:pt x="532" y="121"/>
                      <a:pt x="531" y="121"/>
                    </a:cubicBezTo>
                    <a:close/>
                    <a:moveTo>
                      <a:pt x="642" y="118"/>
                    </a:moveTo>
                    <a:cubicBezTo>
                      <a:pt x="640" y="113"/>
                      <a:pt x="640" y="113"/>
                      <a:pt x="640" y="113"/>
                    </a:cubicBezTo>
                    <a:cubicBezTo>
                      <a:pt x="640" y="113"/>
                      <a:pt x="640" y="113"/>
                      <a:pt x="640" y="113"/>
                    </a:cubicBezTo>
                    <a:lnTo>
                      <a:pt x="642" y="118"/>
                    </a:lnTo>
                    <a:close/>
                    <a:moveTo>
                      <a:pt x="154" y="108"/>
                    </a:moveTo>
                    <a:cubicBezTo>
                      <a:pt x="154" y="107"/>
                      <a:pt x="153" y="107"/>
                      <a:pt x="153" y="107"/>
                    </a:cubicBezTo>
                    <a:cubicBezTo>
                      <a:pt x="153" y="105"/>
                      <a:pt x="153" y="104"/>
                      <a:pt x="153" y="103"/>
                    </a:cubicBezTo>
                    <a:cubicBezTo>
                      <a:pt x="153" y="101"/>
                      <a:pt x="154" y="100"/>
                      <a:pt x="155" y="99"/>
                    </a:cubicBezTo>
                    <a:cubicBezTo>
                      <a:pt x="158" y="103"/>
                      <a:pt x="158" y="103"/>
                      <a:pt x="158" y="103"/>
                    </a:cubicBezTo>
                    <a:cubicBezTo>
                      <a:pt x="158" y="103"/>
                      <a:pt x="159" y="103"/>
                      <a:pt x="159" y="103"/>
                    </a:cubicBezTo>
                    <a:cubicBezTo>
                      <a:pt x="159" y="103"/>
                      <a:pt x="159" y="104"/>
                      <a:pt x="159" y="105"/>
                    </a:cubicBezTo>
                    <a:cubicBezTo>
                      <a:pt x="159" y="106"/>
                      <a:pt x="159" y="106"/>
                      <a:pt x="159" y="106"/>
                    </a:cubicBezTo>
                    <a:lnTo>
                      <a:pt x="154" y="108"/>
                    </a:lnTo>
                    <a:close/>
                    <a:moveTo>
                      <a:pt x="158" y="96"/>
                    </a:moveTo>
                    <a:cubicBezTo>
                      <a:pt x="157" y="96"/>
                      <a:pt x="155" y="95"/>
                      <a:pt x="153" y="94"/>
                    </a:cubicBezTo>
                    <a:cubicBezTo>
                      <a:pt x="156" y="88"/>
                      <a:pt x="156" y="88"/>
                      <a:pt x="156" y="88"/>
                    </a:cubicBezTo>
                    <a:cubicBezTo>
                      <a:pt x="158" y="90"/>
                      <a:pt x="160" y="91"/>
                      <a:pt x="161" y="92"/>
                    </a:cubicBezTo>
                    <a:lnTo>
                      <a:pt x="158" y="96"/>
                    </a:lnTo>
                    <a:close/>
                    <a:moveTo>
                      <a:pt x="142" y="86"/>
                    </a:moveTo>
                    <a:cubicBezTo>
                      <a:pt x="141" y="84"/>
                      <a:pt x="140" y="82"/>
                      <a:pt x="140" y="79"/>
                    </a:cubicBezTo>
                    <a:cubicBezTo>
                      <a:pt x="146" y="79"/>
                      <a:pt x="146" y="79"/>
                      <a:pt x="146" y="79"/>
                    </a:cubicBezTo>
                    <a:cubicBezTo>
                      <a:pt x="146" y="81"/>
                      <a:pt x="146" y="82"/>
                      <a:pt x="147" y="83"/>
                    </a:cubicBezTo>
                    <a:lnTo>
                      <a:pt x="142" y="86"/>
                    </a:lnTo>
                    <a:close/>
                    <a:moveTo>
                      <a:pt x="140" y="70"/>
                    </a:moveTo>
                    <a:cubicBezTo>
                      <a:pt x="140" y="69"/>
                      <a:pt x="139" y="68"/>
                      <a:pt x="137" y="68"/>
                    </a:cubicBezTo>
                    <a:cubicBezTo>
                      <a:pt x="139" y="62"/>
                      <a:pt x="139" y="62"/>
                      <a:pt x="139" y="62"/>
                    </a:cubicBezTo>
                    <a:cubicBezTo>
                      <a:pt x="142" y="63"/>
                      <a:pt x="144" y="64"/>
                      <a:pt x="145" y="66"/>
                    </a:cubicBezTo>
                    <a:lnTo>
                      <a:pt x="140" y="70"/>
                    </a:lnTo>
                    <a:close/>
                    <a:moveTo>
                      <a:pt x="120" y="68"/>
                    </a:moveTo>
                    <a:cubicBezTo>
                      <a:pt x="120" y="62"/>
                      <a:pt x="120" y="62"/>
                      <a:pt x="120" y="62"/>
                    </a:cubicBezTo>
                    <a:cubicBezTo>
                      <a:pt x="122" y="62"/>
                      <a:pt x="124" y="62"/>
                      <a:pt x="126" y="61"/>
                    </a:cubicBezTo>
                    <a:cubicBezTo>
                      <a:pt x="127" y="67"/>
                      <a:pt x="127" y="67"/>
                      <a:pt x="127" y="67"/>
                    </a:cubicBezTo>
                    <a:cubicBezTo>
                      <a:pt x="125" y="67"/>
                      <a:pt x="122" y="68"/>
                      <a:pt x="120" y="68"/>
                    </a:cubicBezTo>
                    <a:close/>
                    <a:moveTo>
                      <a:pt x="105" y="64"/>
                    </a:moveTo>
                    <a:cubicBezTo>
                      <a:pt x="103" y="59"/>
                      <a:pt x="103" y="59"/>
                      <a:pt x="103" y="59"/>
                    </a:cubicBezTo>
                    <a:cubicBezTo>
                      <a:pt x="104" y="58"/>
                      <a:pt x="104" y="58"/>
                      <a:pt x="104" y="58"/>
                    </a:cubicBezTo>
                    <a:cubicBezTo>
                      <a:pt x="105" y="58"/>
                      <a:pt x="106" y="58"/>
                      <a:pt x="108" y="58"/>
                    </a:cubicBezTo>
                    <a:cubicBezTo>
                      <a:pt x="108" y="58"/>
                      <a:pt x="108" y="58"/>
                      <a:pt x="108" y="58"/>
                    </a:cubicBezTo>
                    <a:cubicBezTo>
                      <a:pt x="109" y="58"/>
                      <a:pt x="110" y="58"/>
                      <a:pt x="111" y="59"/>
                    </a:cubicBezTo>
                    <a:cubicBezTo>
                      <a:pt x="108" y="64"/>
                      <a:pt x="108" y="64"/>
                      <a:pt x="108" y="64"/>
                    </a:cubicBezTo>
                    <a:cubicBezTo>
                      <a:pt x="108" y="64"/>
                      <a:pt x="108" y="63"/>
                      <a:pt x="108" y="64"/>
                    </a:cubicBezTo>
                    <a:cubicBezTo>
                      <a:pt x="107" y="64"/>
                      <a:pt x="106" y="64"/>
                      <a:pt x="105" y="64"/>
                    </a:cubicBezTo>
                    <a:close/>
                    <a:moveTo>
                      <a:pt x="87" y="59"/>
                    </a:moveTo>
                    <a:cubicBezTo>
                      <a:pt x="86" y="59"/>
                      <a:pt x="83" y="59"/>
                      <a:pt x="81" y="58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5" y="53"/>
                      <a:pt x="86" y="53"/>
                      <a:pt x="88" y="53"/>
                    </a:cubicBezTo>
                    <a:lnTo>
                      <a:pt x="87" y="59"/>
                    </a:lnTo>
                    <a:close/>
                    <a:moveTo>
                      <a:pt x="100" y="56"/>
                    </a:moveTo>
                    <a:cubicBezTo>
                      <a:pt x="95" y="55"/>
                      <a:pt x="95" y="55"/>
                      <a:pt x="95" y="55"/>
                    </a:cubicBezTo>
                    <a:cubicBezTo>
                      <a:pt x="95" y="54"/>
                      <a:pt x="95" y="54"/>
                      <a:pt x="95" y="54"/>
                    </a:cubicBezTo>
                    <a:cubicBezTo>
                      <a:pt x="95" y="53"/>
                      <a:pt x="95" y="52"/>
                      <a:pt x="95" y="52"/>
                    </a:cubicBezTo>
                    <a:cubicBezTo>
                      <a:pt x="95" y="52"/>
                      <a:pt x="96" y="53"/>
                      <a:pt x="97" y="53"/>
                    </a:cubicBezTo>
                    <a:cubicBezTo>
                      <a:pt x="97" y="48"/>
                      <a:pt x="97" y="48"/>
                      <a:pt x="97" y="48"/>
                    </a:cubicBezTo>
                    <a:cubicBezTo>
                      <a:pt x="100" y="48"/>
                      <a:pt x="101" y="50"/>
                      <a:pt x="101" y="52"/>
                    </a:cubicBezTo>
                    <a:cubicBezTo>
                      <a:pt x="101" y="52"/>
                      <a:pt x="101" y="53"/>
                      <a:pt x="101" y="53"/>
                    </a:cubicBezTo>
                    <a:cubicBezTo>
                      <a:pt x="101" y="53"/>
                      <a:pt x="101" y="54"/>
                      <a:pt x="101" y="55"/>
                    </a:cubicBezTo>
                    <a:lnTo>
                      <a:pt x="100" y="56"/>
                    </a:lnTo>
                    <a:close/>
                    <a:moveTo>
                      <a:pt x="70" y="49"/>
                    </a:moveTo>
                    <a:cubicBezTo>
                      <a:pt x="69" y="49"/>
                      <a:pt x="69" y="48"/>
                      <a:pt x="69" y="47"/>
                    </a:cubicBezTo>
                    <a:cubicBezTo>
                      <a:pt x="69" y="47"/>
                      <a:pt x="69" y="46"/>
                      <a:pt x="69" y="45"/>
                    </a:cubicBezTo>
                    <a:cubicBezTo>
                      <a:pt x="70" y="45"/>
                      <a:pt x="70" y="45"/>
                      <a:pt x="70" y="44"/>
                    </a:cubicBezTo>
                    <a:cubicBezTo>
                      <a:pt x="70" y="44"/>
                      <a:pt x="70" y="44"/>
                      <a:pt x="70" y="43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75" y="43"/>
                      <a:pt x="75" y="44"/>
                      <a:pt x="75" y="45"/>
                    </a:cubicBezTo>
                    <a:cubicBezTo>
                      <a:pt x="75" y="45"/>
                      <a:pt x="75" y="46"/>
                      <a:pt x="75" y="46"/>
                    </a:cubicBezTo>
                    <a:cubicBezTo>
                      <a:pt x="75" y="46"/>
                      <a:pt x="75" y="47"/>
                      <a:pt x="75" y="47"/>
                    </a:cubicBezTo>
                    <a:cubicBezTo>
                      <a:pt x="75" y="47"/>
                      <a:pt x="75" y="48"/>
                      <a:pt x="75" y="48"/>
                    </a:cubicBezTo>
                    <a:lnTo>
                      <a:pt x="70" y="49"/>
                    </a:lnTo>
                    <a:close/>
                    <a:moveTo>
                      <a:pt x="6" y="33"/>
                    </a:moveTo>
                    <a:cubicBezTo>
                      <a:pt x="2" y="33"/>
                      <a:pt x="0" y="32"/>
                      <a:pt x="0" y="32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26"/>
                      <a:pt x="3" y="27"/>
                      <a:pt x="6" y="27"/>
                    </a:cubicBezTo>
                    <a:lnTo>
                      <a:pt x="6" y="33"/>
                    </a:lnTo>
                    <a:close/>
                    <a:moveTo>
                      <a:pt x="72" y="33"/>
                    </a:moveTo>
                    <a:cubicBezTo>
                      <a:pt x="67" y="31"/>
                      <a:pt x="67" y="31"/>
                      <a:pt x="67" y="31"/>
                    </a:cubicBezTo>
                    <a:cubicBezTo>
                      <a:pt x="67" y="31"/>
                      <a:pt x="67" y="30"/>
                      <a:pt x="67" y="30"/>
                    </a:cubicBezTo>
                    <a:cubicBezTo>
                      <a:pt x="67" y="28"/>
                      <a:pt x="68" y="27"/>
                      <a:pt x="68" y="26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3" y="29"/>
                      <a:pt x="73" y="30"/>
                      <a:pt x="73" y="31"/>
                    </a:cubicBezTo>
                    <a:cubicBezTo>
                      <a:pt x="72" y="32"/>
                      <a:pt x="72" y="32"/>
                      <a:pt x="72" y="33"/>
                    </a:cubicBezTo>
                    <a:close/>
                    <a:moveTo>
                      <a:pt x="18" y="28"/>
                    </a:moveTo>
                    <a:cubicBezTo>
                      <a:pt x="13" y="25"/>
                      <a:pt x="13" y="25"/>
                      <a:pt x="13" y="25"/>
                    </a:cubicBezTo>
                    <a:cubicBezTo>
                      <a:pt x="14" y="23"/>
                      <a:pt x="16" y="21"/>
                      <a:pt x="18" y="19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0" y="25"/>
                      <a:pt x="19" y="26"/>
                      <a:pt x="18" y="28"/>
                    </a:cubicBezTo>
                    <a:close/>
                    <a:moveTo>
                      <a:pt x="31" y="24"/>
                    </a:moveTo>
                    <a:cubicBezTo>
                      <a:pt x="31" y="18"/>
                      <a:pt x="31" y="18"/>
                      <a:pt x="31" y="18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4" y="18"/>
                      <a:pt x="35" y="18"/>
                      <a:pt x="35" y="18"/>
                    </a:cubicBezTo>
                    <a:cubicBezTo>
                      <a:pt x="38" y="23"/>
                      <a:pt x="38" y="23"/>
                      <a:pt x="38" y="23"/>
                    </a:cubicBezTo>
                    <a:cubicBezTo>
                      <a:pt x="37" y="24"/>
                      <a:pt x="34" y="24"/>
                      <a:pt x="31" y="24"/>
                    </a:cubicBezTo>
                    <a:close/>
                    <a:moveTo>
                      <a:pt x="65" y="19"/>
                    </a:moveTo>
                    <a:cubicBezTo>
                      <a:pt x="65" y="18"/>
                      <a:pt x="64" y="18"/>
                      <a:pt x="63" y="18"/>
                    </a:cubicBezTo>
                    <a:cubicBezTo>
                      <a:pt x="62" y="18"/>
                      <a:pt x="60" y="17"/>
                      <a:pt x="60" y="16"/>
                    </a:cubicBezTo>
                    <a:cubicBezTo>
                      <a:pt x="64" y="12"/>
                      <a:pt x="64" y="12"/>
                      <a:pt x="64" y="12"/>
                    </a:cubicBezTo>
                    <a:cubicBezTo>
                      <a:pt x="64" y="12"/>
                      <a:pt x="64" y="12"/>
                      <a:pt x="64" y="12"/>
                    </a:cubicBezTo>
                    <a:cubicBezTo>
                      <a:pt x="65" y="12"/>
                      <a:pt x="67" y="13"/>
                      <a:pt x="68" y="14"/>
                    </a:cubicBezTo>
                    <a:lnTo>
                      <a:pt x="65" y="19"/>
                    </a:lnTo>
                    <a:close/>
                    <a:moveTo>
                      <a:pt x="40" y="12"/>
                    </a:moveTo>
                    <a:cubicBezTo>
                      <a:pt x="37" y="12"/>
                      <a:pt x="37" y="12"/>
                      <a:pt x="37" y="12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8"/>
                      <a:pt x="37" y="6"/>
                      <a:pt x="38" y="4"/>
                    </a:cubicBezTo>
                    <a:cubicBezTo>
                      <a:pt x="42" y="9"/>
                      <a:pt x="42" y="9"/>
                      <a:pt x="42" y="9"/>
                    </a:cubicBezTo>
                    <a:cubicBezTo>
                      <a:pt x="41" y="9"/>
                      <a:pt x="41" y="11"/>
                      <a:pt x="40" y="12"/>
                    </a:cubicBezTo>
                    <a:close/>
                    <a:moveTo>
                      <a:pt x="53" y="8"/>
                    </a:moveTo>
                    <a:cubicBezTo>
                      <a:pt x="49" y="4"/>
                      <a:pt x="49" y="4"/>
                      <a:pt x="49" y="4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1" y="2"/>
                      <a:pt x="51" y="2"/>
                    </a:cubicBezTo>
                    <a:cubicBezTo>
                      <a:pt x="53" y="0"/>
                      <a:pt x="56" y="0"/>
                      <a:pt x="58" y="2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5" y="7"/>
                      <a:pt x="54" y="7"/>
                      <a:pt x="54" y="7"/>
                    </a:cubicBezTo>
                    <a:cubicBezTo>
                      <a:pt x="54" y="8"/>
                      <a:pt x="53" y="8"/>
                      <a:pt x="53" y="8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23" name="iSļíḑe"/>
              <p:cNvSpPr/>
              <p:nvPr/>
            </p:nvSpPr>
            <p:spPr bwMode="auto">
              <a:xfrm>
                <a:off x="6719888" y="5453063"/>
                <a:ext cx="766763" cy="762000"/>
              </a:xfrm>
              <a:custGeom>
                <a:avLst/>
                <a:gdLst>
                  <a:gd name="T0" fmla="*/ 6 w 357"/>
                  <a:gd name="T1" fmla="*/ 354 h 356"/>
                  <a:gd name="T2" fmla="*/ 15 w 357"/>
                  <a:gd name="T3" fmla="*/ 346 h 356"/>
                  <a:gd name="T4" fmla="*/ 30 w 357"/>
                  <a:gd name="T5" fmla="*/ 344 h 356"/>
                  <a:gd name="T6" fmla="*/ 35 w 357"/>
                  <a:gd name="T7" fmla="*/ 339 h 356"/>
                  <a:gd name="T8" fmla="*/ 48 w 357"/>
                  <a:gd name="T9" fmla="*/ 331 h 356"/>
                  <a:gd name="T10" fmla="*/ 63 w 357"/>
                  <a:gd name="T11" fmla="*/ 322 h 356"/>
                  <a:gd name="T12" fmla="*/ 69 w 357"/>
                  <a:gd name="T13" fmla="*/ 323 h 356"/>
                  <a:gd name="T14" fmla="*/ 75 w 357"/>
                  <a:gd name="T15" fmla="*/ 320 h 356"/>
                  <a:gd name="T16" fmla="*/ 73 w 357"/>
                  <a:gd name="T17" fmla="*/ 301 h 356"/>
                  <a:gd name="T18" fmla="*/ 81 w 357"/>
                  <a:gd name="T19" fmla="*/ 300 h 356"/>
                  <a:gd name="T20" fmla="*/ 97 w 357"/>
                  <a:gd name="T21" fmla="*/ 299 h 356"/>
                  <a:gd name="T22" fmla="*/ 98 w 357"/>
                  <a:gd name="T23" fmla="*/ 298 h 356"/>
                  <a:gd name="T24" fmla="*/ 101 w 357"/>
                  <a:gd name="T25" fmla="*/ 279 h 356"/>
                  <a:gd name="T26" fmla="*/ 99 w 357"/>
                  <a:gd name="T27" fmla="*/ 271 h 356"/>
                  <a:gd name="T28" fmla="*/ 104 w 357"/>
                  <a:gd name="T29" fmla="*/ 274 h 356"/>
                  <a:gd name="T30" fmla="*/ 120 w 357"/>
                  <a:gd name="T31" fmla="*/ 262 h 356"/>
                  <a:gd name="T32" fmla="*/ 126 w 357"/>
                  <a:gd name="T33" fmla="*/ 255 h 356"/>
                  <a:gd name="T34" fmla="*/ 132 w 357"/>
                  <a:gd name="T35" fmla="*/ 255 h 356"/>
                  <a:gd name="T36" fmla="*/ 143 w 357"/>
                  <a:gd name="T37" fmla="*/ 241 h 356"/>
                  <a:gd name="T38" fmla="*/ 149 w 357"/>
                  <a:gd name="T39" fmla="*/ 232 h 356"/>
                  <a:gd name="T40" fmla="*/ 155 w 357"/>
                  <a:gd name="T41" fmla="*/ 235 h 356"/>
                  <a:gd name="T42" fmla="*/ 150 w 357"/>
                  <a:gd name="T43" fmla="*/ 217 h 356"/>
                  <a:gd name="T44" fmla="*/ 154 w 357"/>
                  <a:gd name="T45" fmla="*/ 193 h 356"/>
                  <a:gd name="T46" fmla="*/ 157 w 357"/>
                  <a:gd name="T47" fmla="*/ 180 h 356"/>
                  <a:gd name="T48" fmla="*/ 166 w 357"/>
                  <a:gd name="T49" fmla="*/ 173 h 356"/>
                  <a:gd name="T50" fmla="*/ 177 w 357"/>
                  <a:gd name="T51" fmla="*/ 159 h 356"/>
                  <a:gd name="T52" fmla="*/ 190 w 357"/>
                  <a:gd name="T53" fmla="*/ 153 h 356"/>
                  <a:gd name="T54" fmla="*/ 192 w 357"/>
                  <a:gd name="T55" fmla="*/ 150 h 356"/>
                  <a:gd name="T56" fmla="*/ 197 w 357"/>
                  <a:gd name="T57" fmla="*/ 130 h 356"/>
                  <a:gd name="T58" fmla="*/ 190 w 357"/>
                  <a:gd name="T59" fmla="*/ 118 h 356"/>
                  <a:gd name="T60" fmla="*/ 195 w 357"/>
                  <a:gd name="T61" fmla="*/ 122 h 356"/>
                  <a:gd name="T62" fmla="*/ 208 w 357"/>
                  <a:gd name="T63" fmla="*/ 102 h 356"/>
                  <a:gd name="T64" fmla="*/ 195 w 357"/>
                  <a:gd name="T65" fmla="*/ 91 h 356"/>
                  <a:gd name="T66" fmla="*/ 204 w 357"/>
                  <a:gd name="T67" fmla="*/ 89 h 356"/>
                  <a:gd name="T68" fmla="*/ 204 w 357"/>
                  <a:gd name="T69" fmla="*/ 75 h 356"/>
                  <a:gd name="T70" fmla="*/ 215 w 357"/>
                  <a:gd name="T71" fmla="*/ 60 h 356"/>
                  <a:gd name="T72" fmla="*/ 286 w 357"/>
                  <a:gd name="T73" fmla="*/ 54 h 356"/>
                  <a:gd name="T74" fmla="*/ 269 w 357"/>
                  <a:gd name="T75" fmla="*/ 54 h 356"/>
                  <a:gd name="T76" fmla="*/ 216 w 357"/>
                  <a:gd name="T77" fmla="*/ 43 h 356"/>
                  <a:gd name="T78" fmla="*/ 284 w 357"/>
                  <a:gd name="T79" fmla="*/ 37 h 356"/>
                  <a:gd name="T80" fmla="*/ 253 w 357"/>
                  <a:gd name="T81" fmla="*/ 42 h 356"/>
                  <a:gd name="T82" fmla="*/ 256 w 357"/>
                  <a:gd name="T83" fmla="*/ 43 h 356"/>
                  <a:gd name="T84" fmla="*/ 237 w 357"/>
                  <a:gd name="T85" fmla="*/ 38 h 356"/>
                  <a:gd name="T86" fmla="*/ 219 w 357"/>
                  <a:gd name="T87" fmla="*/ 31 h 356"/>
                  <a:gd name="T88" fmla="*/ 274 w 357"/>
                  <a:gd name="T89" fmla="*/ 26 h 356"/>
                  <a:gd name="T90" fmla="*/ 277 w 357"/>
                  <a:gd name="T91" fmla="*/ 31 h 356"/>
                  <a:gd name="T92" fmla="*/ 271 w 357"/>
                  <a:gd name="T93" fmla="*/ 22 h 356"/>
                  <a:gd name="T94" fmla="*/ 275 w 357"/>
                  <a:gd name="T95" fmla="*/ 23 h 356"/>
                  <a:gd name="T96" fmla="*/ 324 w 357"/>
                  <a:gd name="T97" fmla="*/ 12 h 356"/>
                  <a:gd name="T98" fmla="*/ 342 w 357"/>
                  <a:gd name="T99" fmla="*/ 20 h 356"/>
                  <a:gd name="T100" fmla="*/ 347 w 357"/>
                  <a:gd name="T101" fmla="*/ 19 h 356"/>
                  <a:gd name="T102" fmla="*/ 291 w 357"/>
                  <a:gd name="T103" fmla="*/ 14 h 356"/>
                  <a:gd name="T104" fmla="*/ 314 w 357"/>
                  <a:gd name="T105" fmla="*/ 11 h 356"/>
                  <a:gd name="T106" fmla="*/ 357 w 357"/>
                  <a:gd name="T107" fmla="*/ 3 h 356"/>
                  <a:gd name="T108" fmla="*/ 294 w 357"/>
                  <a:gd name="T109" fmla="*/ 0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57" h="356">
                    <a:moveTo>
                      <a:pt x="0" y="356"/>
                    </a:moveTo>
                    <a:cubicBezTo>
                      <a:pt x="0" y="355"/>
                      <a:pt x="0" y="355"/>
                      <a:pt x="0" y="354"/>
                    </a:cubicBezTo>
                    <a:cubicBezTo>
                      <a:pt x="0" y="351"/>
                      <a:pt x="0" y="350"/>
                      <a:pt x="1" y="349"/>
                    </a:cubicBezTo>
                    <a:cubicBezTo>
                      <a:pt x="6" y="351"/>
                      <a:pt x="6" y="351"/>
                      <a:pt x="6" y="351"/>
                    </a:cubicBezTo>
                    <a:cubicBezTo>
                      <a:pt x="6" y="351"/>
                      <a:pt x="6" y="352"/>
                      <a:pt x="6" y="354"/>
                    </a:cubicBezTo>
                    <a:cubicBezTo>
                      <a:pt x="6" y="355"/>
                      <a:pt x="6" y="355"/>
                      <a:pt x="6" y="356"/>
                    </a:cubicBezTo>
                    <a:lnTo>
                      <a:pt x="0" y="356"/>
                    </a:lnTo>
                    <a:close/>
                    <a:moveTo>
                      <a:pt x="16" y="353"/>
                    </a:moveTo>
                    <a:cubicBezTo>
                      <a:pt x="13" y="348"/>
                      <a:pt x="13" y="348"/>
                      <a:pt x="13" y="348"/>
                    </a:cubicBezTo>
                    <a:cubicBezTo>
                      <a:pt x="14" y="347"/>
                      <a:pt x="15" y="347"/>
                      <a:pt x="15" y="346"/>
                    </a:cubicBezTo>
                    <a:cubicBezTo>
                      <a:pt x="16" y="345"/>
                      <a:pt x="16" y="345"/>
                      <a:pt x="17" y="344"/>
                    </a:cubicBezTo>
                    <a:cubicBezTo>
                      <a:pt x="21" y="348"/>
                      <a:pt x="21" y="348"/>
                      <a:pt x="21" y="348"/>
                    </a:cubicBezTo>
                    <a:cubicBezTo>
                      <a:pt x="21" y="349"/>
                      <a:pt x="20" y="349"/>
                      <a:pt x="20" y="349"/>
                    </a:cubicBezTo>
                    <a:cubicBezTo>
                      <a:pt x="19" y="351"/>
                      <a:pt x="18" y="352"/>
                      <a:pt x="16" y="353"/>
                    </a:cubicBezTo>
                    <a:close/>
                    <a:moveTo>
                      <a:pt x="30" y="344"/>
                    </a:moveTo>
                    <a:cubicBezTo>
                      <a:pt x="28" y="338"/>
                      <a:pt x="28" y="338"/>
                      <a:pt x="28" y="338"/>
                    </a:cubicBezTo>
                    <a:cubicBezTo>
                      <a:pt x="29" y="338"/>
                      <a:pt x="29" y="338"/>
                      <a:pt x="29" y="338"/>
                    </a:cubicBezTo>
                    <a:cubicBezTo>
                      <a:pt x="29" y="337"/>
                      <a:pt x="29" y="336"/>
                      <a:pt x="30" y="335"/>
                    </a:cubicBezTo>
                    <a:cubicBezTo>
                      <a:pt x="35" y="338"/>
                      <a:pt x="35" y="338"/>
                      <a:pt x="35" y="338"/>
                    </a:cubicBezTo>
                    <a:cubicBezTo>
                      <a:pt x="35" y="338"/>
                      <a:pt x="35" y="339"/>
                      <a:pt x="35" y="339"/>
                    </a:cubicBezTo>
                    <a:cubicBezTo>
                      <a:pt x="34" y="341"/>
                      <a:pt x="33" y="343"/>
                      <a:pt x="30" y="344"/>
                    </a:cubicBezTo>
                    <a:close/>
                    <a:moveTo>
                      <a:pt x="42" y="333"/>
                    </a:moveTo>
                    <a:cubicBezTo>
                      <a:pt x="41" y="327"/>
                      <a:pt x="41" y="327"/>
                      <a:pt x="41" y="327"/>
                    </a:cubicBezTo>
                    <a:cubicBezTo>
                      <a:pt x="43" y="327"/>
                      <a:pt x="44" y="326"/>
                      <a:pt x="46" y="326"/>
                    </a:cubicBezTo>
                    <a:cubicBezTo>
                      <a:pt x="48" y="331"/>
                      <a:pt x="48" y="331"/>
                      <a:pt x="48" y="331"/>
                    </a:cubicBezTo>
                    <a:cubicBezTo>
                      <a:pt x="46" y="332"/>
                      <a:pt x="44" y="332"/>
                      <a:pt x="42" y="333"/>
                    </a:cubicBezTo>
                    <a:close/>
                    <a:moveTo>
                      <a:pt x="58" y="328"/>
                    </a:moveTo>
                    <a:cubicBezTo>
                      <a:pt x="58" y="322"/>
                      <a:pt x="58" y="322"/>
                      <a:pt x="58" y="322"/>
                    </a:cubicBezTo>
                    <a:cubicBezTo>
                      <a:pt x="59" y="322"/>
                      <a:pt x="61" y="322"/>
                      <a:pt x="62" y="322"/>
                    </a:cubicBezTo>
                    <a:cubicBezTo>
                      <a:pt x="63" y="322"/>
                      <a:pt x="63" y="322"/>
                      <a:pt x="63" y="322"/>
                    </a:cubicBezTo>
                    <a:cubicBezTo>
                      <a:pt x="64" y="328"/>
                      <a:pt x="64" y="328"/>
                      <a:pt x="64" y="328"/>
                    </a:cubicBezTo>
                    <a:cubicBezTo>
                      <a:pt x="63" y="328"/>
                      <a:pt x="63" y="328"/>
                      <a:pt x="63" y="328"/>
                    </a:cubicBezTo>
                    <a:cubicBezTo>
                      <a:pt x="61" y="328"/>
                      <a:pt x="60" y="328"/>
                      <a:pt x="58" y="328"/>
                    </a:cubicBezTo>
                    <a:close/>
                    <a:moveTo>
                      <a:pt x="70" y="324"/>
                    </a:moveTo>
                    <a:cubicBezTo>
                      <a:pt x="69" y="323"/>
                      <a:pt x="69" y="323"/>
                      <a:pt x="69" y="323"/>
                    </a:cubicBezTo>
                    <a:cubicBezTo>
                      <a:pt x="68" y="321"/>
                      <a:pt x="67" y="320"/>
                      <a:pt x="66" y="319"/>
                    </a:cubicBezTo>
                    <a:cubicBezTo>
                      <a:pt x="72" y="316"/>
                      <a:pt x="72" y="316"/>
                      <a:pt x="72" y="316"/>
                    </a:cubicBezTo>
                    <a:cubicBezTo>
                      <a:pt x="72" y="317"/>
                      <a:pt x="73" y="318"/>
                      <a:pt x="73" y="319"/>
                    </a:cubicBezTo>
                    <a:cubicBezTo>
                      <a:pt x="74" y="320"/>
                      <a:pt x="74" y="320"/>
                      <a:pt x="74" y="320"/>
                    </a:cubicBezTo>
                    <a:cubicBezTo>
                      <a:pt x="74" y="320"/>
                      <a:pt x="75" y="320"/>
                      <a:pt x="75" y="320"/>
                    </a:cubicBezTo>
                    <a:lnTo>
                      <a:pt x="70" y="324"/>
                    </a:lnTo>
                    <a:close/>
                    <a:moveTo>
                      <a:pt x="71" y="306"/>
                    </a:moveTo>
                    <a:cubicBezTo>
                      <a:pt x="66" y="305"/>
                      <a:pt x="66" y="305"/>
                      <a:pt x="66" y="305"/>
                    </a:cubicBezTo>
                    <a:cubicBezTo>
                      <a:pt x="66" y="304"/>
                      <a:pt x="66" y="301"/>
                      <a:pt x="67" y="299"/>
                    </a:cubicBezTo>
                    <a:cubicBezTo>
                      <a:pt x="73" y="301"/>
                      <a:pt x="73" y="301"/>
                      <a:pt x="73" y="301"/>
                    </a:cubicBezTo>
                    <a:cubicBezTo>
                      <a:pt x="72" y="302"/>
                      <a:pt x="72" y="304"/>
                      <a:pt x="71" y="306"/>
                    </a:cubicBezTo>
                    <a:close/>
                    <a:moveTo>
                      <a:pt x="81" y="306"/>
                    </a:moveTo>
                    <a:cubicBezTo>
                      <a:pt x="80" y="306"/>
                      <a:pt x="79" y="305"/>
                      <a:pt x="78" y="305"/>
                    </a:cubicBezTo>
                    <a:cubicBezTo>
                      <a:pt x="81" y="300"/>
                      <a:pt x="81" y="300"/>
                      <a:pt x="81" y="300"/>
                    </a:cubicBezTo>
                    <a:cubicBezTo>
                      <a:pt x="81" y="300"/>
                      <a:pt x="81" y="300"/>
                      <a:pt x="81" y="300"/>
                    </a:cubicBezTo>
                    <a:cubicBezTo>
                      <a:pt x="82" y="299"/>
                      <a:pt x="83" y="299"/>
                      <a:pt x="84" y="298"/>
                    </a:cubicBezTo>
                    <a:cubicBezTo>
                      <a:pt x="86" y="304"/>
                      <a:pt x="86" y="304"/>
                      <a:pt x="86" y="304"/>
                    </a:cubicBezTo>
                    <a:cubicBezTo>
                      <a:pt x="86" y="304"/>
                      <a:pt x="85" y="304"/>
                      <a:pt x="84" y="305"/>
                    </a:cubicBezTo>
                    <a:cubicBezTo>
                      <a:pt x="83" y="305"/>
                      <a:pt x="82" y="306"/>
                      <a:pt x="81" y="306"/>
                    </a:cubicBezTo>
                    <a:close/>
                    <a:moveTo>
                      <a:pt x="97" y="299"/>
                    </a:moveTo>
                    <a:cubicBezTo>
                      <a:pt x="92" y="296"/>
                      <a:pt x="92" y="296"/>
                      <a:pt x="92" y="296"/>
                    </a:cubicBezTo>
                    <a:cubicBezTo>
                      <a:pt x="93" y="295"/>
                      <a:pt x="93" y="295"/>
                      <a:pt x="93" y="295"/>
                    </a:cubicBezTo>
                    <a:cubicBezTo>
                      <a:pt x="94" y="293"/>
                      <a:pt x="95" y="292"/>
                      <a:pt x="97" y="291"/>
                    </a:cubicBezTo>
                    <a:cubicBezTo>
                      <a:pt x="100" y="295"/>
                      <a:pt x="100" y="295"/>
                      <a:pt x="100" y="295"/>
                    </a:cubicBezTo>
                    <a:cubicBezTo>
                      <a:pt x="99" y="296"/>
                      <a:pt x="99" y="297"/>
                      <a:pt x="98" y="298"/>
                    </a:cubicBezTo>
                    <a:lnTo>
                      <a:pt x="97" y="299"/>
                    </a:lnTo>
                    <a:close/>
                    <a:moveTo>
                      <a:pt x="100" y="287"/>
                    </a:moveTo>
                    <a:cubicBezTo>
                      <a:pt x="99" y="286"/>
                      <a:pt x="99" y="285"/>
                      <a:pt x="98" y="284"/>
                    </a:cubicBezTo>
                    <a:cubicBezTo>
                      <a:pt x="97" y="284"/>
                      <a:pt x="97" y="283"/>
                      <a:pt x="96" y="282"/>
                    </a:cubicBezTo>
                    <a:cubicBezTo>
                      <a:pt x="101" y="279"/>
                      <a:pt x="101" y="279"/>
                      <a:pt x="101" y="279"/>
                    </a:cubicBezTo>
                    <a:cubicBezTo>
                      <a:pt x="102" y="279"/>
                      <a:pt x="102" y="280"/>
                      <a:pt x="103" y="281"/>
                    </a:cubicBezTo>
                    <a:cubicBezTo>
                      <a:pt x="103" y="282"/>
                      <a:pt x="104" y="283"/>
                      <a:pt x="105" y="284"/>
                    </a:cubicBezTo>
                    <a:lnTo>
                      <a:pt x="100" y="287"/>
                    </a:lnTo>
                    <a:close/>
                    <a:moveTo>
                      <a:pt x="104" y="274"/>
                    </a:moveTo>
                    <a:cubicBezTo>
                      <a:pt x="99" y="271"/>
                      <a:pt x="99" y="271"/>
                      <a:pt x="99" y="271"/>
                    </a:cubicBezTo>
                    <a:cubicBezTo>
                      <a:pt x="99" y="270"/>
                      <a:pt x="99" y="270"/>
                      <a:pt x="100" y="269"/>
                    </a:cubicBezTo>
                    <a:cubicBezTo>
                      <a:pt x="101" y="266"/>
                      <a:pt x="101" y="266"/>
                      <a:pt x="101" y="266"/>
                    </a:cubicBezTo>
                    <a:cubicBezTo>
                      <a:pt x="107" y="268"/>
                      <a:pt x="107" y="268"/>
                      <a:pt x="107" y="268"/>
                    </a:cubicBezTo>
                    <a:cubicBezTo>
                      <a:pt x="105" y="272"/>
                      <a:pt x="105" y="272"/>
                      <a:pt x="105" y="272"/>
                    </a:cubicBezTo>
                    <a:cubicBezTo>
                      <a:pt x="105" y="273"/>
                      <a:pt x="104" y="273"/>
                      <a:pt x="104" y="274"/>
                    </a:cubicBezTo>
                    <a:close/>
                    <a:moveTo>
                      <a:pt x="115" y="266"/>
                    </a:moveTo>
                    <a:cubicBezTo>
                      <a:pt x="113" y="260"/>
                      <a:pt x="113" y="260"/>
                      <a:pt x="113" y="260"/>
                    </a:cubicBezTo>
                    <a:cubicBezTo>
                      <a:pt x="115" y="260"/>
                      <a:pt x="115" y="259"/>
                      <a:pt x="115" y="259"/>
                    </a:cubicBezTo>
                    <a:cubicBezTo>
                      <a:pt x="116" y="258"/>
                      <a:pt x="117" y="258"/>
                      <a:pt x="118" y="257"/>
                    </a:cubicBezTo>
                    <a:cubicBezTo>
                      <a:pt x="120" y="262"/>
                      <a:pt x="120" y="262"/>
                      <a:pt x="120" y="262"/>
                    </a:cubicBezTo>
                    <a:cubicBezTo>
                      <a:pt x="120" y="263"/>
                      <a:pt x="120" y="263"/>
                      <a:pt x="120" y="263"/>
                    </a:cubicBezTo>
                    <a:cubicBezTo>
                      <a:pt x="119" y="264"/>
                      <a:pt x="117" y="265"/>
                      <a:pt x="115" y="266"/>
                    </a:cubicBezTo>
                    <a:close/>
                    <a:moveTo>
                      <a:pt x="132" y="257"/>
                    </a:moveTo>
                    <a:cubicBezTo>
                      <a:pt x="126" y="256"/>
                      <a:pt x="126" y="256"/>
                      <a:pt x="126" y="256"/>
                    </a:cubicBezTo>
                    <a:cubicBezTo>
                      <a:pt x="126" y="256"/>
                      <a:pt x="126" y="255"/>
                      <a:pt x="126" y="255"/>
                    </a:cubicBezTo>
                    <a:cubicBezTo>
                      <a:pt x="126" y="253"/>
                      <a:pt x="126" y="253"/>
                      <a:pt x="126" y="253"/>
                    </a:cubicBezTo>
                    <a:cubicBezTo>
                      <a:pt x="126" y="252"/>
                      <a:pt x="126" y="251"/>
                      <a:pt x="127" y="249"/>
                    </a:cubicBezTo>
                    <a:cubicBezTo>
                      <a:pt x="132" y="252"/>
                      <a:pt x="132" y="252"/>
                      <a:pt x="132" y="252"/>
                    </a:cubicBezTo>
                    <a:cubicBezTo>
                      <a:pt x="132" y="252"/>
                      <a:pt x="132" y="252"/>
                      <a:pt x="132" y="253"/>
                    </a:cubicBezTo>
                    <a:cubicBezTo>
                      <a:pt x="132" y="255"/>
                      <a:pt x="132" y="255"/>
                      <a:pt x="132" y="255"/>
                    </a:cubicBezTo>
                    <a:cubicBezTo>
                      <a:pt x="132" y="256"/>
                      <a:pt x="132" y="256"/>
                      <a:pt x="132" y="257"/>
                    </a:cubicBezTo>
                    <a:close/>
                    <a:moveTo>
                      <a:pt x="142" y="249"/>
                    </a:moveTo>
                    <a:cubicBezTo>
                      <a:pt x="139" y="244"/>
                      <a:pt x="139" y="244"/>
                      <a:pt x="139" y="244"/>
                    </a:cubicBezTo>
                    <a:cubicBezTo>
                      <a:pt x="140" y="243"/>
                      <a:pt x="140" y="243"/>
                      <a:pt x="142" y="242"/>
                    </a:cubicBezTo>
                    <a:cubicBezTo>
                      <a:pt x="143" y="241"/>
                      <a:pt x="143" y="241"/>
                      <a:pt x="143" y="241"/>
                    </a:cubicBezTo>
                    <a:cubicBezTo>
                      <a:pt x="147" y="245"/>
                      <a:pt x="147" y="245"/>
                      <a:pt x="147" y="245"/>
                    </a:cubicBezTo>
                    <a:cubicBezTo>
                      <a:pt x="146" y="246"/>
                      <a:pt x="146" y="246"/>
                      <a:pt x="146" y="246"/>
                    </a:cubicBezTo>
                    <a:cubicBezTo>
                      <a:pt x="144" y="247"/>
                      <a:pt x="143" y="248"/>
                      <a:pt x="142" y="249"/>
                    </a:cubicBezTo>
                    <a:close/>
                    <a:moveTo>
                      <a:pt x="155" y="235"/>
                    </a:moveTo>
                    <a:cubicBezTo>
                      <a:pt x="149" y="232"/>
                      <a:pt x="149" y="232"/>
                      <a:pt x="149" y="232"/>
                    </a:cubicBezTo>
                    <a:cubicBezTo>
                      <a:pt x="150" y="232"/>
                      <a:pt x="150" y="231"/>
                      <a:pt x="150" y="230"/>
                    </a:cubicBezTo>
                    <a:cubicBezTo>
                      <a:pt x="150" y="229"/>
                      <a:pt x="151" y="228"/>
                      <a:pt x="151" y="228"/>
                    </a:cubicBezTo>
                    <a:cubicBezTo>
                      <a:pt x="156" y="228"/>
                      <a:pt x="156" y="228"/>
                      <a:pt x="156" y="228"/>
                    </a:cubicBezTo>
                    <a:cubicBezTo>
                      <a:pt x="156" y="229"/>
                      <a:pt x="156" y="230"/>
                      <a:pt x="156" y="231"/>
                    </a:cubicBezTo>
                    <a:cubicBezTo>
                      <a:pt x="156" y="232"/>
                      <a:pt x="155" y="234"/>
                      <a:pt x="155" y="235"/>
                    </a:cubicBezTo>
                    <a:close/>
                    <a:moveTo>
                      <a:pt x="150" y="217"/>
                    </a:moveTo>
                    <a:cubicBezTo>
                      <a:pt x="150" y="215"/>
                      <a:pt x="150" y="213"/>
                      <a:pt x="150" y="211"/>
                    </a:cubicBezTo>
                    <a:cubicBezTo>
                      <a:pt x="156" y="210"/>
                      <a:pt x="156" y="210"/>
                      <a:pt x="156" y="210"/>
                    </a:cubicBezTo>
                    <a:cubicBezTo>
                      <a:pt x="156" y="212"/>
                      <a:pt x="156" y="214"/>
                      <a:pt x="156" y="216"/>
                    </a:cubicBezTo>
                    <a:lnTo>
                      <a:pt x="150" y="217"/>
                    </a:lnTo>
                    <a:close/>
                    <a:moveTo>
                      <a:pt x="149" y="199"/>
                    </a:moveTo>
                    <a:cubicBezTo>
                      <a:pt x="149" y="197"/>
                      <a:pt x="149" y="196"/>
                      <a:pt x="149" y="194"/>
                    </a:cubicBezTo>
                    <a:cubicBezTo>
                      <a:pt x="149" y="194"/>
                      <a:pt x="149" y="194"/>
                      <a:pt x="149" y="194"/>
                    </a:cubicBezTo>
                    <a:cubicBezTo>
                      <a:pt x="154" y="193"/>
                      <a:pt x="154" y="193"/>
                      <a:pt x="154" y="193"/>
                    </a:cubicBezTo>
                    <a:cubicBezTo>
                      <a:pt x="154" y="193"/>
                      <a:pt x="154" y="193"/>
                      <a:pt x="154" y="193"/>
                    </a:cubicBezTo>
                    <a:cubicBezTo>
                      <a:pt x="155" y="195"/>
                      <a:pt x="155" y="196"/>
                      <a:pt x="155" y="199"/>
                    </a:cubicBezTo>
                    <a:lnTo>
                      <a:pt x="149" y="199"/>
                    </a:lnTo>
                    <a:close/>
                    <a:moveTo>
                      <a:pt x="157" y="186"/>
                    </a:moveTo>
                    <a:cubicBezTo>
                      <a:pt x="155" y="181"/>
                      <a:pt x="155" y="181"/>
                      <a:pt x="155" y="181"/>
                    </a:cubicBezTo>
                    <a:cubicBezTo>
                      <a:pt x="156" y="181"/>
                      <a:pt x="156" y="181"/>
                      <a:pt x="157" y="180"/>
                    </a:cubicBezTo>
                    <a:cubicBezTo>
                      <a:pt x="158" y="180"/>
                      <a:pt x="158" y="180"/>
                      <a:pt x="158" y="180"/>
                    </a:cubicBezTo>
                    <a:cubicBezTo>
                      <a:pt x="164" y="181"/>
                      <a:pt x="164" y="181"/>
                      <a:pt x="164" y="181"/>
                    </a:cubicBezTo>
                    <a:cubicBezTo>
                      <a:pt x="163" y="185"/>
                      <a:pt x="160" y="185"/>
                      <a:pt x="158" y="186"/>
                    </a:cubicBezTo>
                    <a:cubicBezTo>
                      <a:pt x="158" y="186"/>
                      <a:pt x="158" y="186"/>
                      <a:pt x="157" y="186"/>
                    </a:cubicBezTo>
                    <a:close/>
                    <a:moveTo>
                      <a:pt x="166" y="173"/>
                    </a:moveTo>
                    <a:cubicBezTo>
                      <a:pt x="164" y="167"/>
                      <a:pt x="164" y="167"/>
                      <a:pt x="164" y="167"/>
                    </a:cubicBezTo>
                    <a:cubicBezTo>
                      <a:pt x="165" y="166"/>
                      <a:pt x="168" y="167"/>
                      <a:pt x="169" y="166"/>
                    </a:cubicBezTo>
                    <a:cubicBezTo>
                      <a:pt x="172" y="172"/>
                      <a:pt x="172" y="172"/>
                      <a:pt x="172" y="172"/>
                    </a:cubicBezTo>
                    <a:cubicBezTo>
                      <a:pt x="170" y="173"/>
                      <a:pt x="167" y="173"/>
                      <a:pt x="166" y="173"/>
                    </a:cubicBezTo>
                    <a:close/>
                    <a:moveTo>
                      <a:pt x="177" y="159"/>
                    </a:moveTo>
                    <a:cubicBezTo>
                      <a:pt x="171" y="158"/>
                      <a:pt x="171" y="158"/>
                      <a:pt x="171" y="158"/>
                    </a:cubicBezTo>
                    <a:cubicBezTo>
                      <a:pt x="172" y="155"/>
                      <a:pt x="173" y="152"/>
                      <a:pt x="175" y="151"/>
                    </a:cubicBezTo>
                    <a:cubicBezTo>
                      <a:pt x="178" y="156"/>
                      <a:pt x="178" y="156"/>
                      <a:pt x="178" y="156"/>
                    </a:cubicBezTo>
                    <a:cubicBezTo>
                      <a:pt x="178" y="156"/>
                      <a:pt x="177" y="157"/>
                      <a:pt x="177" y="159"/>
                    </a:cubicBezTo>
                    <a:close/>
                    <a:moveTo>
                      <a:pt x="190" y="153"/>
                    </a:moveTo>
                    <a:cubicBezTo>
                      <a:pt x="185" y="149"/>
                      <a:pt x="185" y="149"/>
                      <a:pt x="185" y="149"/>
                    </a:cubicBezTo>
                    <a:cubicBezTo>
                      <a:pt x="186" y="148"/>
                      <a:pt x="186" y="147"/>
                      <a:pt x="187" y="147"/>
                    </a:cubicBezTo>
                    <a:cubicBezTo>
                      <a:pt x="187" y="146"/>
                      <a:pt x="188" y="145"/>
                      <a:pt x="189" y="144"/>
                    </a:cubicBezTo>
                    <a:cubicBezTo>
                      <a:pt x="193" y="148"/>
                      <a:pt x="193" y="148"/>
                      <a:pt x="193" y="148"/>
                    </a:cubicBezTo>
                    <a:cubicBezTo>
                      <a:pt x="193" y="148"/>
                      <a:pt x="192" y="149"/>
                      <a:pt x="192" y="150"/>
                    </a:cubicBezTo>
                    <a:cubicBezTo>
                      <a:pt x="191" y="151"/>
                      <a:pt x="190" y="152"/>
                      <a:pt x="190" y="153"/>
                    </a:cubicBezTo>
                    <a:close/>
                    <a:moveTo>
                      <a:pt x="194" y="137"/>
                    </a:moveTo>
                    <a:cubicBezTo>
                      <a:pt x="193" y="136"/>
                      <a:pt x="193" y="135"/>
                      <a:pt x="193" y="133"/>
                    </a:cubicBezTo>
                    <a:cubicBezTo>
                      <a:pt x="192" y="133"/>
                      <a:pt x="192" y="132"/>
                      <a:pt x="192" y="132"/>
                    </a:cubicBezTo>
                    <a:cubicBezTo>
                      <a:pt x="197" y="130"/>
                      <a:pt x="197" y="130"/>
                      <a:pt x="197" y="130"/>
                    </a:cubicBezTo>
                    <a:cubicBezTo>
                      <a:pt x="198" y="130"/>
                      <a:pt x="198" y="131"/>
                      <a:pt x="198" y="131"/>
                    </a:cubicBezTo>
                    <a:cubicBezTo>
                      <a:pt x="199" y="133"/>
                      <a:pt x="199" y="135"/>
                      <a:pt x="199" y="136"/>
                    </a:cubicBezTo>
                    <a:lnTo>
                      <a:pt x="194" y="137"/>
                    </a:lnTo>
                    <a:close/>
                    <a:moveTo>
                      <a:pt x="195" y="122"/>
                    </a:moveTo>
                    <a:cubicBezTo>
                      <a:pt x="190" y="118"/>
                      <a:pt x="190" y="118"/>
                      <a:pt x="190" y="118"/>
                    </a:cubicBezTo>
                    <a:cubicBezTo>
                      <a:pt x="191" y="117"/>
                      <a:pt x="192" y="116"/>
                      <a:pt x="194" y="115"/>
                    </a:cubicBezTo>
                    <a:cubicBezTo>
                      <a:pt x="195" y="114"/>
                      <a:pt x="195" y="114"/>
                      <a:pt x="195" y="114"/>
                    </a:cubicBezTo>
                    <a:cubicBezTo>
                      <a:pt x="199" y="118"/>
                      <a:pt x="199" y="118"/>
                      <a:pt x="199" y="118"/>
                    </a:cubicBezTo>
                    <a:cubicBezTo>
                      <a:pt x="198" y="119"/>
                      <a:pt x="198" y="119"/>
                      <a:pt x="198" y="119"/>
                    </a:cubicBezTo>
                    <a:cubicBezTo>
                      <a:pt x="197" y="120"/>
                      <a:pt x="195" y="121"/>
                      <a:pt x="195" y="122"/>
                    </a:cubicBezTo>
                    <a:close/>
                    <a:moveTo>
                      <a:pt x="208" y="109"/>
                    </a:moveTo>
                    <a:cubicBezTo>
                      <a:pt x="202" y="107"/>
                      <a:pt x="202" y="107"/>
                      <a:pt x="202" y="107"/>
                    </a:cubicBezTo>
                    <a:cubicBezTo>
                      <a:pt x="202" y="106"/>
                      <a:pt x="202" y="106"/>
                      <a:pt x="202" y="105"/>
                    </a:cubicBezTo>
                    <a:cubicBezTo>
                      <a:pt x="202" y="104"/>
                      <a:pt x="202" y="103"/>
                      <a:pt x="202" y="103"/>
                    </a:cubicBezTo>
                    <a:cubicBezTo>
                      <a:pt x="208" y="102"/>
                      <a:pt x="208" y="102"/>
                      <a:pt x="208" y="102"/>
                    </a:cubicBezTo>
                    <a:cubicBezTo>
                      <a:pt x="208" y="103"/>
                      <a:pt x="208" y="104"/>
                      <a:pt x="208" y="105"/>
                    </a:cubicBezTo>
                    <a:cubicBezTo>
                      <a:pt x="208" y="106"/>
                      <a:pt x="208" y="107"/>
                      <a:pt x="208" y="109"/>
                    </a:cubicBezTo>
                    <a:close/>
                    <a:moveTo>
                      <a:pt x="200" y="93"/>
                    </a:moveTo>
                    <a:cubicBezTo>
                      <a:pt x="200" y="93"/>
                      <a:pt x="200" y="93"/>
                      <a:pt x="199" y="93"/>
                    </a:cubicBezTo>
                    <a:cubicBezTo>
                      <a:pt x="197" y="93"/>
                      <a:pt x="196" y="92"/>
                      <a:pt x="195" y="91"/>
                    </a:cubicBezTo>
                    <a:cubicBezTo>
                      <a:pt x="199" y="87"/>
                      <a:pt x="199" y="87"/>
                      <a:pt x="199" y="87"/>
                    </a:cubicBezTo>
                    <a:cubicBezTo>
                      <a:pt x="197" y="89"/>
                      <a:pt x="197" y="89"/>
                      <a:pt x="197" y="89"/>
                    </a:cubicBezTo>
                    <a:cubicBezTo>
                      <a:pt x="199" y="87"/>
                      <a:pt x="199" y="87"/>
                      <a:pt x="199" y="87"/>
                    </a:cubicBezTo>
                    <a:cubicBezTo>
                      <a:pt x="199" y="87"/>
                      <a:pt x="199" y="87"/>
                      <a:pt x="200" y="87"/>
                    </a:cubicBezTo>
                    <a:cubicBezTo>
                      <a:pt x="202" y="88"/>
                      <a:pt x="203" y="88"/>
                      <a:pt x="204" y="89"/>
                    </a:cubicBezTo>
                    <a:lnTo>
                      <a:pt x="200" y="93"/>
                    </a:lnTo>
                    <a:close/>
                    <a:moveTo>
                      <a:pt x="201" y="79"/>
                    </a:moveTo>
                    <a:cubicBezTo>
                      <a:pt x="196" y="77"/>
                      <a:pt x="196" y="77"/>
                      <a:pt x="196" y="77"/>
                    </a:cubicBezTo>
                    <a:cubicBezTo>
                      <a:pt x="197" y="74"/>
                      <a:pt x="198" y="73"/>
                      <a:pt x="200" y="71"/>
                    </a:cubicBezTo>
                    <a:cubicBezTo>
                      <a:pt x="204" y="75"/>
                      <a:pt x="204" y="75"/>
                      <a:pt x="204" y="75"/>
                    </a:cubicBezTo>
                    <a:cubicBezTo>
                      <a:pt x="202" y="77"/>
                      <a:pt x="202" y="78"/>
                      <a:pt x="201" y="79"/>
                    </a:cubicBezTo>
                    <a:close/>
                    <a:moveTo>
                      <a:pt x="213" y="67"/>
                    </a:moveTo>
                    <a:cubicBezTo>
                      <a:pt x="208" y="64"/>
                      <a:pt x="208" y="64"/>
                      <a:pt x="208" y="64"/>
                    </a:cubicBezTo>
                    <a:cubicBezTo>
                      <a:pt x="209" y="63"/>
                      <a:pt x="209" y="61"/>
                      <a:pt x="209" y="59"/>
                    </a:cubicBezTo>
                    <a:cubicBezTo>
                      <a:pt x="215" y="60"/>
                      <a:pt x="215" y="60"/>
                      <a:pt x="215" y="60"/>
                    </a:cubicBezTo>
                    <a:cubicBezTo>
                      <a:pt x="215" y="63"/>
                      <a:pt x="214" y="65"/>
                      <a:pt x="213" y="67"/>
                    </a:cubicBezTo>
                    <a:close/>
                    <a:moveTo>
                      <a:pt x="280" y="61"/>
                    </a:moveTo>
                    <a:cubicBezTo>
                      <a:pt x="279" y="55"/>
                      <a:pt x="279" y="55"/>
                      <a:pt x="279" y="55"/>
                    </a:cubicBezTo>
                    <a:cubicBezTo>
                      <a:pt x="280" y="55"/>
                      <a:pt x="280" y="54"/>
                      <a:pt x="281" y="54"/>
                    </a:cubicBezTo>
                    <a:cubicBezTo>
                      <a:pt x="286" y="54"/>
                      <a:pt x="286" y="54"/>
                      <a:pt x="286" y="54"/>
                    </a:cubicBezTo>
                    <a:cubicBezTo>
                      <a:pt x="286" y="57"/>
                      <a:pt x="285" y="60"/>
                      <a:pt x="280" y="61"/>
                    </a:cubicBezTo>
                    <a:close/>
                    <a:moveTo>
                      <a:pt x="267" y="59"/>
                    </a:moveTo>
                    <a:cubicBezTo>
                      <a:pt x="265" y="59"/>
                      <a:pt x="263" y="57"/>
                      <a:pt x="261" y="54"/>
                    </a:cubicBezTo>
                    <a:cubicBezTo>
                      <a:pt x="266" y="51"/>
                      <a:pt x="266" y="51"/>
                      <a:pt x="266" y="51"/>
                    </a:cubicBezTo>
                    <a:cubicBezTo>
                      <a:pt x="267" y="53"/>
                      <a:pt x="268" y="53"/>
                      <a:pt x="269" y="54"/>
                    </a:cubicBezTo>
                    <a:lnTo>
                      <a:pt x="267" y="59"/>
                    </a:lnTo>
                    <a:close/>
                    <a:moveTo>
                      <a:pt x="216" y="48"/>
                    </a:moveTo>
                    <a:cubicBezTo>
                      <a:pt x="210" y="48"/>
                      <a:pt x="210" y="48"/>
                      <a:pt x="210" y="48"/>
                    </a:cubicBezTo>
                    <a:cubicBezTo>
                      <a:pt x="210" y="46"/>
                      <a:pt x="210" y="44"/>
                      <a:pt x="211" y="42"/>
                    </a:cubicBezTo>
                    <a:cubicBezTo>
                      <a:pt x="216" y="43"/>
                      <a:pt x="216" y="43"/>
                      <a:pt x="216" y="43"/>
                    </a:cubicBezTo>
                    <a:cubicBezTo>
                      <a:pt x="216" y="45"/>
                      <a:pt x="216" y="46"/>
                      <a:pt x="216" y="48"/>
                    </a:cubicBezTo>
                    <a:close/>
                    <a:moveTo>
                      <a:pt x="279" y="43"/>
                    </a:moveTo>
                    <a:cubicBezTo>
                      <a:pt x="279" y="41"/>
                      <a:pt x="278" y="39"/>
                      <a:pt x="278" y="37"/>
                    </a:cubicBezTo>
                    <a:cubicBezTo>
                      <a:pt x="284" y="37"/>
                      <a:pt x="284" y="37"/>
                      <a:pt x="284" y="37"/>
                    </a:cubicBezTo>
                    <a:cubicBezTo>
                      <a:pt x="284" y="37"/>
                      <a:pt x="284" y="37"/>
                      <a:pt x="284" y="37"/>
                    </a:cubicBezTo>
                    <a:cubicBezTo>
                      <a:pt x="284" y="38"/>
                      <a:pt x="284" y="40"/>
                      <a:pt x="285" y="42"/>
                    </a:cubicBezTo>
                    <a:lnTo>
                      <a:pt x="279" y="43"/>
                    </a:lnTo>
                    <a:close/>
                    <a:moveTo>
                      <a:pt x="256" y="43"/>
                    </a:moveTo>
                    <a:cubicBezTo>
                      <a:pt x="256" y="43"/>
                      <a:pt x="256" y="43"/>
                      <a:pt x="256" y="43"/>
                    </a:cubicBezTo>
                    <a:cubicBezTo>
                      <a:pt x="256" y="43"/>
                      <a:pt x="255" y="42"/>
                      <a:pt x="253" y="42"/>
                    </a:cubicBezTo>
                    <a:cubicBezTo>
                      <a:pt x="255" y="36"/>
                      <a:pt x="255" y="36"/>
                      <a:pt x="255" y="36"/>
                    </a:cubicBezTo>
                    <a:cubicBezTo>
                      <a:pt x="259" y="38"/>
                      <a:pt x="261" y="39"/>
                      <a:pt x="261" y="41"/>
                    </a:cubicBezTo>
                    <a:cubicBezTo>
                      <a:pt x="262" y="41"/>
                      <a:pt x="262" y="41"/>
                      <a:pt x="262" y="41"/>
                    </a:cubicBezTo>
                    <a:cubicBezTo>
                      <a:pt x="256" y="43"/>
                      <a:pt x="256" y="43"/>
                      <a:pt x="256" y="43"/>
                    </a:cubicBezTo>
                    <a:cubicBezTo>
                      <a:pt x="256" y="43"/>
                      <a:pt x="256" y="43"/>
                      <a:pt x="256" y="43"/>
                    </a:cubicBezTo>
                    <a:cubicBezTo>
                      <a:pt x="256" y="43"/>
                      <a:pt x="256" y="43"/>
                      <a:pt x="256" y="43"/>
                    </a:cubicBezTo>
                    <a:close/>
                    <a:moveTo>
                      <a:pt x="256" y="43"/>
                    </a:moveTo>
                    <a:cubicBezTo>
                      <a:pt x="256" y="43"/>
                      <a:pt x="256" y="43"/>
                      <a:pt x="256" y="43"/>
                    </a:cubicBezTo>
                    <a:close/>
                    <a:moveTo>
                      <a:pt x="242" y="39"/>
                    </a:moveTo>
                    <a:cubicBezTo>
                      <a:pt x="241" y="38"/>
                      <a:pt x="239" y="38"/>
                      <a:pt x="237" y="38"/>
                    </a:cubicBezTo>
                    <a:cubicBezTo>
                      <a:pt x="238" y="32"/>
                      <a:pt x="238" y="32"/>
                      <a:pt x="238" y="32"/>
                    </a:cubicBezTo>
                    <a:cubicBezTo>
                      <a:pt x="240" y="32"/>
                      <a:pt x="242" y="32"/>
                      <a:pt x="244" y="33"/>
                    </a:cubicBezTo>
                    <a:lnTo>
                      <a:pt x="242" y="39"/>
                    </a:lnTo>
                    <a:close/>
                    <a:moveTo>
                      <a:pt x="220" y="37"/>
                    </a:moveTo>
                    <a:cubicBezTo>
                      <a:pt x="219" y="31"/>
                      <a:pt x="219" y="31"/>
                      <a:pt x="219" y="31"/>
                    </a:cubicBezTo>
                    <a:cubicBezTo>
                      <a:pt x="221" y="31"/>
                      <a:pt x="223" y="31"/>
                      <a:pt x="226" y="31"/>
                    </a:cubicBezTo>
                    <a:cubicBezTo>
                      <a:pt x="225" y="36"/>
                      <a:pt x="225" y="36"/>
                      <a:pt x="225" y="36"/>
                    </a:cubicBezTo>
                    <a:cubicBezTo>
                      <a:pt x="223" y="36"/>
                      <a:pt x="222" y="36"/>
                      <a:pt x="220" y="37"/>
                    </a:cubicBezTo>
                    <a:close/>
                    <a:moveTo>
                      <a:pt x="274" y="32"/>
                    </a:moveTo>
                    <a:cubicBezTo>
                      <a:pt x="274" y="26"/>
                      <a:pt x="274" y="26"/>
                      <a:pt x="274" y="26"/>
                    </a:cubicBezTo>
                    <a:cubicBezTo>
                      <a:pt x="274" y="26"/>
                      <a:pt x="274" y="26"/>
                      <a:pt x="274" y="26"/>
                    </a:cubicBezTo>
                    <a:cubicBezTo>
                      <a:pt x="275" y="26"/>
                      <a:pt x="276" y="26"/>
                      <a:pt x="277" y="26"/>
                    </a:cubicBezTo>
                    <a:cubicBezTo>
                      <a:pt x="278" y="26"/>
                      <a:pt x="279" y="26"/>
                      <a:pt x="280" y="26"/>
                    </a:cubicBezTo>
                    <a:cubicBezTo>
                      <a:pt x="280" y="31"/>
                      <a:pt x="280" y="31"/>
                      <a:pt x="280" y="31"/>
                    </a:cubicBezTo>
                    <a:cubicBezTo>
                      <a:pt x="279" y="31"/>
                      <a:pt x="278" y="31"/>
                      <a:pt x="277" y="31"/>
                    </a:cubicBezTo>
                    <a:cubicBezTo>
                      <a:pt x="276" y="32"/>
                      <a:pt x="275" y="32"/>
                      <a:pt x="274" y="32"/>
                    </a:cubicBezTo>
                    <a:close/>
                    <a:moveTo>
                      <a:pt x="273" y="24"/>
                    </a:moveTo>
                    <a:cubicBezTo>
                      <a:pt x="272" y="24"/>
                      <a:pt x="272" y="23"/>
                      <a:pt x="271" y="23"/>
                    </a:cubicBezTo>
                    <a:cubicBezTo>
                      <a:pt x="271" y="23"/>
                      <a:pt x="270" y="23"/>
                      <a:pt x="270" y="23"/>
                    </a:cubicBezTo>
                    <a:cubicBezTo>
                      <a:pt x="270" y="23"/>
                      <a:pt x="271" y="23"/>
                      <a:pt x="271" y="22"/>
                    </a:cubicBezTo>
                    <a:cubicBezTo>
                      <a:pt x="266" y="19"/>
                      <a:pt x="266" y="19"/>
                      <a:pt x="266" y="19"/>
                    </a:cubicBezTo>
                    <a:cubicBezTo>
                      <a:pt x="267" y="18"/>
                      <a:pt x="268" y="17"/>
                      <a:pt x="270" y="17"/>
                    </a:cubicBezTo>
                    <a:cubicBezTo>
                      <a:pt x="271" y="17"/>
                      <a:pt x="272" y="17"/>
                      <a:pt x="273" y="18"/>
                    </a:cubicBezTo>
                    <a:cubicBezTo>
                      <a:pt x="273" y="18"/>
                      <a:pt x="273" y="18"/>
                      <a:pt x="273" y="18"/>
                    </a:cubicBezTo>
                    <a:cubicBezTo>
                      <a:pt x="275" y="23"/>
                      <a:pt x="275" y="23"/>
                      <a:pt x="275" y="23"/>
                    </a:cubicBezTo>
                    <a:cubicBezTo>
                      <a:pt x="274" y="24"/>
                      <a:pt x="274" y="24"/>
                      <a:pt x="273" y="24"/>
                    </a:cubicBezTo>
                    <a:close/>
                    <a:moveTo>
                      <a:pt x="328" y="20"/>
                    </a:moveTo>
                    <a:cubicBezTo>
                      <a:pt x="327" y="20"/>
                      <a:pt x="326" y="19"/>
                      <a:pt x="325" y="19"/>
                    </a:cubicBezTo>
                    <a:cubicBezTo>
                      <a:pt x="324" y="18"/>
                      <a:pt x="324" y="18"/>
                      <a:pt x="324" y="18"/>
                    </a:cubicBezTo>
                    <a:cubicBezTo>
                      <a:pt x="324" y="12"/>
                      <a:pt x="324" y="12"/>
                      <a:pt x="324" y="12"/>
                    </a:cubicBezTo>
                    <a:cubicBezTo>
                      <a:pt x="326" y="12"/>
                      <a:pt x="327" y="13"/>
                      <a:pt x="329" y="14"/>
                    </a:cubicBezTo>
                    <a:cubicBezTo>
                      <a:pt x="329" y="14"/>
                      <a:pt x="330" y="15"/>
                      <a:pt x="330" y="15"/>
                    </a:cubicBezTo>
                    <a:lnTo>
                      <a:pt x="328" y="20"/>
                    </a:lnTo>
                    <a:close/>
                    <a:moveTo>
                      <a:pt x="342" y="20"/>
                    </a:moveTo>
                    <a:cubicBezTo>
                      <a:pt x="342" y="20"/>
                      <a:pt x="342" y="20"/>
                      <a:pt x="342" y="20"/>
                    </a:cubicBezTo>
                    <a:cubicBezTo>
                      <a:pt x="341" y="20"/>
                      <a:pt x="339" y="20"/>
                      <a:pt x="338" y="18"/>
                    </a:cubicBezTo>
                    <a:cubicBezTo>
                      <a:pt x="342" y="14"/>
                      <a:pt x="342" y="14"/>
                      <a:pt x="342" y="14"/>
                    </a:cubicBezTo>
                    <a:cubicBezTo>
                      <a:pt x="342" y="14"/>
                      <a:pt x="342" y="14"/>
                      <a:pt x="342" y="14"/>
                    </a:cubicBezTo>
                    <a:cubicBezTo>
                      <a:pt x="343" y="14"/>
                      <a:pt x="343" y="14"/>
                      <a:pt x="344" y="14"/>
                    </a:cubicBezTo>
                    <a:cubicBezTo>
                      <a:pt x="347" y="19"/>
                      <a:pt x="347" y="19"/>
                      <a:pt x="347" y="19"/>
                    </a:cubicBezTo>
                    <a:cubicBezTo>
                      <a:pt x="345" y="20"/>
                      <a:pt x="344" y="20"/>
                      <a:pt x="342" y="20"/>
                    </a:cubicBezTo>
                    <a:close/>
                    <a:moveTo>
                      <a:pt x="284" y="18"/>
                    </a:moveTo>
                    <a:cubicBezTo>
                      <a:pt x="283" y="12"/>
                      <a:pt x="283" y="12"/>
                      <a:pt x="283" y="12"/>
                    </a:cubicBezTo>
                    <a:cubicBezTo>
                      <a:pt x="285" y="12"/>
                      <a:pt x="286" y="11"/>
                      <a:pt x="286" y="11"/>
                    </a:cubicBezTo>
                    <a:cubicBezTo>
                      <a:pt x="291" y="14"/>
                      <a:pt x="291" y="14"/>
                      <a:pt x="291" y="14"/>
                    </a:cubicBezTo>
                    <a:cubicBezTo>
                      <a:pt x="290" y="17"/>
                      <a:pt x="286" y="18"/>
                      <a:pt x="284" y="18"/>
                    </a:cubicBezTo>
                    <a:close/>
                    <a:moveTo>
                      <a:pt x="311" y="16"/>
                    </a:moveTo>
                    <a:cubicBezTo>
                      <a:pt x="309" y="15"/>
                      <a:pt x="307" y="14"/>
                      <a:pt x="306" y="12"/>
                    </a:cubicBezTo>
                    <a:cubicBezTo>
                      <a:pt x="310" y="8"/>
                      <a:pt x="310" y="8"/>
                      <a:pt x="310" y="8"/>
                    </a:cubicBezTo>
                    <a:cubicBezTo>
                      <a:pt x="311" y="9"/>
                      <a:pt x="312" y="10"/>
                      <a:pt x="314" y="11"/>
                    </a:cubicBezTo>
                    <a:lnTo>
                      <a:pt x="311" y="16"/>
                    </a:lnTo>
                    <a:close/>
                    <a:moveTo>
                      <a:pt x="353" y="9"/>
                    </a:moveTo>
                    <a:cubicBezTo>
                      <a:pt x="349" y="4"/>
                      <a:pt x="349" y="4"/>
                      <a:pt x="349" y="4"/>
                    </a:cubicBezTo>
                    <a:cubicBezTo>
                      <a:pt x="351" y="3"/>
                      <a:pt x="353" y="3"/>
                      <a:pt x="355" y="3"/>
                    </a:cubicBezTo>
                    <a:cubicBezTo>
                      <a:pt x="356" y="3"/>
                      <a:pt x="357" y="3"/>
                      <a:pt x="357" y="3"/>
                    </a:cubicBezTo>
                    <a:cubicBezTo>
                      <a:pt x="357" y="8"/>
                      <a:pt x="357" y="8"/>
                      <a:pt x="357" y="8"/>
                    </a:cubicBezTo>
                    <a:cubicBezTo>
                      <a:pt x="356" y="8"/>
                      <a:pt x="356" y="8"/>
                      <a:pt x="355" y="8"/>
                    </a:cubicBezTo>
                    <a:cubicBezTo>
                      <a:pt x="354" y="8"/>
                      <a:pt x="353" y="9"/>
                      <a:pt x="353" y="9"/>
                    </a:cubicBezTo>
                    <a:close/>
                    <a:moveTo>
                      <a:pt x="295" y="6"/>
                    </a:moveTo>
                    <a:cubicBezTo>
                      <a:pt x="294" y="0"/>
                      <a:pt x="294" y="0"/>
                      <a:pt x="294" y="0"/>
                    </a:cubicBezTo>
                    <a:cubicBezTo>
                      <a:pt x="296" y="0"/>
                      <a:pt x="298" y="0"/>
                      <a:pt x="300" y="0"/>
                    </a:cubicBezTo>
                    <a:cubicBezTo>
                      <a:pt x="300" y="6"/>
                      <a:pt x="300" y="6"/>
                      <a:pt x="300" y="6"/>
                    </a:cubicBezTo>
                    <a:cubicBezTo>
                      <a:pt x="300" y="6"/>
                      <a:pt x="300" y="6"/>
                      <a:pt x="300" y="6"/>
                    </a:cubicBezTo>
                    <a:cubicBezTo>
                      <a:pt x="298" y="6"/>
                      <a:pt x="296" y="6"/>
                      <a:pt x="295" y="6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24" name="iṣlïdè"/>
              <p:cNvSpPr/>
              <p:nvPr/>
            </p:nvSpPr>
            <p:spPr bwMode="auto">
              <a:xfrm>
                <a:off x="9707563" y="5038725"/>
                <a:ext cx="150813" cy="166688"/>
              </a:xfrm>
              <a:custGeom>
                <a:avLst/>
                <a:gdLst>
                  <a:gd name="T0" fmla="*/ 0 w 70"/>
                  <a:gd name="T1" fmla="*/ 77 h 78"/>
                  <a:gd name="T2" fmla="*/ 1 w 70"/>
                  <a:gd name="T3" fmla="*/ 74 h 78"/>
                  <a:gd name="T4" fmla="*/ 4 w 70"/>
                  <a:gd name="T5" fmla="*/ 72 h 78"/>
                  <a:gd name="T6" fmla="*/ 8 w 70"/>
                  <a:gd name="T7" fmla="*/ 75 h 78"/>
                  <a:gd name="T8" fmla="*/ 16 w 70"/>
                  <a:gd name="T9" fmla="*/ 70 h 78"/>
                  <a:gd name="T10" fmla="*/ 15 w 70"/>
                  <a:gd name="T11" fmla="*/ 64 h 78"/>
                  <a:gd name="T12" fmla="*/ 21 w 70"/>
                  <a:gd name="T13" fmla="*/ 63 h 78"/>
                  <a:gd name="T14" fmla="*/ 19 w 70"/>
                  <a:gd name="T15" fmla="*/ 69 h 78"/>
                  <a:gd name="T16" fmla="*/ 16 w 70"/>
                  <a:gd name="T17" fmla="*/ 70 h 78"/>
                  <a:gd name="T18" fmla="*/ 24 w 70"/>
                  <a:gd name="T19" fmla="*/ 60 h 78"/>
                  <a:gd name="T20" fmla="*/ 24 w 70"/>
                  <a:gd name="T21" fmla="*/ 60 h 78"/>
                  <a:gd name="T22" fmla="*/ 21 w 70"/>
                  <a:gd name="T23" fmla="*/ 58 h 78"/>
                  <a:gd name="T24" fmla="*/ 27 w 70"/>
                  <a:gd name="T25" fmla="*/ 55 h 78"/>
                  <a:gd name="T26" fmla="*/ 26 w 70"/>
                  <a:gd name="T27" fmla="*/ 56 h 78"/>
                  <a:gd name="T28" fmla="*/ 27 w 70"/>
                  <a:gd name="T29" fmla="*/ 61 h 78"/>
                  <a:gd name="T30" fmla="*/ 34 w 70"/>
                  <a:gd name="T31" fmla="*/ 52 h 78"/>
                  <a:gd name="T32" fmla="*/ 30 w 70"/>
                  <a:gd name="T33" fmla="*/ 49 h 78"/>
                  <a:gd name="T34" fmla="*/ 33 w 70"/>
                  <a:gd name="T35" fmla="*/ 46 h 78"/>
                  <a:gd name="T36" fmla="*/ 37 w 70"/>
                  <a:gd name="T37" fmla="*/ 49 h 78"/>
                  <a:gd name="T38" fmla="*/ 34 w 70"/>
                  <a:gd name="T39" fmla="*/ 52 h 78"/>
                  <a:gd name="T40" fmla="*/ 46 w 70"/>
                  <a:gd name="T41" fmla="*/ 43 h 78"/>
                  <a:gd name="T42" fmla="*/ 41 w 70"/>
                  <a:gd name="T43" fmla="*/ 42 h 78"/>
                  <a:gd name="T44" fmla="*/ 41 w 70"/>
                  <a:gd name="T45" fmla="*/ 42 h 78"/>
                  <a:gd name="T46" fmla="*/ 45 w 70"/>
                  <a:gd name="T47" fmla="*/ 37 h 78"/>
                  <a:gd name="T48" fmla="*/ 46 w 70"/>
                  <a:gd name="T49" fmla="*/ 37 h 78"/>
                  <a:gd name="T50" fmla="*/ 46 w 70"/>
                  <a:gd name="T51" fmla="*/ 43 h 78"/>
                  <a:gd name="T52" fmla="*/ 49 w 70"/>
                  <a:gd name="T53" fmla="*/ 25 h 78"/>
                  <a:gd name="T54" fmla="*/ 55 w 70"/>
                  <a:gd name="T55" fmla="*/ 23 h 78"/>
                  <a:gd name="T56" fmla="*/ 55 w 70"/>
                  <a:gd name="T57" fmla="*/ 29 h 78"/>
                  <a:gd name="T58" fmla="*/ 56 w 70"/>
                  <a:gd name="T59" fmla="*/ 16 h 78"/>
                  <a:gd name="T60" fmla="*/ 55 w 70"/>
                  <a:gd name="T61" fmla="*/ 11 h 78"/>
                  <a:gd name="T62" fmla="*/ 56 w 70"/>
                  <a:gd name="T63" fmla="*/ 9 h 78"/>
                  <a:gd name="T64" fmla="*/ 62 w 70"/>
                  <a:gd name="T65" fmla="*/ 11 h 78"/>
                  <a:gd name="T66" fmla="*/ 64 w 70"/>
                  <a:gd name="T67" fmla="*/ 3 h 78"/>
                  <a:gd name="T68" fmla="*/ 69 w 70"/>
                  <a:gd name="T69" fmla="*/ 0 h 78"/>
                  <a:gd name="T70" fmla="*/ 64 w 70"/>
                  <a:gd name="T71" fmla="*/ 3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0" h="78">
                    <a:moveTo>
                      <a:pt x="4" y="78"/>
                    </a:moveTo>
                    <a:cubicBezTo>
                      <a:pt x="2" y="78"/>
                      <a:pt x="0" y="77"/>
                      <a:pt x="0" y="77"/>
                    </a:cubicBezTo>
                    <a:cubicBezTo>
                      <a:pt x="3" y="72"/>
                      <a:pt x="3" y="72"/>
                      <a:pt x="3" y="72"/>
                    </a:cubicBezTo>
                    <a:cubicBezTo>
                      <a:pt x="1" y="74"/>
                      <a:pt x="1" y="74"/>
                      <a:pt x="1" y="74"/>
                    </a:cubicBezTo>
                    <a:cubicBezTo>
                      <a:pt x="3" y="72"/>
                      <a:pt x="3" y="72"/>
                      <a:pt x="3" y="72"/>
                    </a:cubicBezTo>
                    <a:cubicBezTo>
                      <a:pt x="3" y="72"/>
                      <a:pt x="3" y="72"/>
                      <a:pt x="4" y="72"/>
                    </a:cubicBezTo>
                    <a:cubicBezTo>
                      <a:pt x="4" y="72"/>
                      <a:pt x="4" y="72"/>
                      <a:pt x="4" y="72"/>
                    </a:cubicBezTo>
                    <a:cubicBezTo>
                      <a:pt x="8" y="75"/>
                      <a:pt x="8" y="75"/>
                      <a:pt x="8" y="75"/>
                    </a:cubicBezTo>
                    <a:cubicBezTo>
                      <a:pt x="7" y="77"/>
                      <a:pt x="6" y="78"/>
                      <a:pt x="4" y="78"/>
                    </a:cubicBezTo>
                    <a:close/>
                    <a:moveTo>
                      <a:pt x="16" y="70"/>
                    </a:moveTo>
                    <a:cubicBezTo>
                      <a:pt x="14" y="65"/>
                      <a:pt x="14" y="65"/>
                      <a:pt x="14" y="65"/>
                    </a:cubicBezTo>
                    <a:cubicBezTo>
                      <a:pt x="15" y="65"/>
                      <a:pt x="15" y="64"/>
                      <a:pt x="15" y="64"/>
                    </a:cubicBezTo>
                    <a:cubicBezTo>
                      <a:pt x="16" y="64"/>
                      <a:pt x="18" y="63"/>
                      <a:pt x="19" y="63"/>
                    </a:cubicBezTo>
                    <a:cubicBezTo>
                      <a:pt x="20" y="63"/>
                      <a:pt x="20" y="63"/>
                      <a:pt x="21" y="63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21" y="69"/>
                      <a:pt x="20" y="69"/>
                      <a:pt x="19" y="69"/>
                    </a:cubicBezTo>
                    <a:cubicBezTo>
                      <a:pt x="19" y="69"/>
                      <a:pt x="18" y="69"/>
                      <a:pt x="18" y="70"/>
                    </a:cubicBezTo>
                    <a:cubicBezTo>
                      <a:pt x="17" y="70"/>
                      <a:pt x="17" y="70"/>
                      <a:pt x="16" y="70"/>
                    </a:cubicBezTo>
                    <a:close/>
                    <a:moveTo>
                      <a:pt x="27" y="61"/>
                    </a:moveTo>
                    <a:cubicBezTo>
                      <a:pt x="26" y="61"/>
                      <a:pt x="25" y="61"/>
                      <a:pt x="24" y="60"/>
                    </a:cubicBezTo>
                    <a:cubicBezTo>
                      <a:pt x="24" y="60"/>
                      <a:pt x="24" y="60"/>
                      <a:pt x="23" y="60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5" y="60"/>
                      <a:pt x="26" y="59"/>
                      <a:pt x="26" y="5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1" y="55"/>
                      <a:pt x="23" y="54"/>
                      <a:pt x="24" y="54"/>
                    </a:cubicBezTo>
                    <a:cubicBezTo>
                      <a:pt x="26" y="54"/>
                      <a:pt x="26" y="55"/>
                      <a:pt x="27" y="55"/>
                    </a:cubicBezTo>
                    <a:cubicBezTo>
                      <a:pt x="28" y="55"/>
                      <a:pt x="28" y="56"/>
                      <a:pt x="28" y="56"/>
                    </a:cubicBezTo>
                    <a:cubicBezTo>
                      <a:pt x="28" y="56"/>
                      <a:pt x="27" y="56"/>
                      <a:pt x="26" y="5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29" y="61"/>
                      <a:pt x="28" y="61"/>
                      <a:pt x="27" y="61"/>
                    </a:cubicBezTo>
                    <a:close/>
                    <a:moveTo>
                      <a:pt x="32" y="54"/>
                    </a:moveTo>
                    <a:cubicBezTo>
                      <a:pt x="34" y="52"/>
                      <a:pt x="34" y="52"/>
                      <a:pt x="34" y="52"/>
                    </a:cubicBezTo>
                    <a:cubicBezTo>
                      <a:pt x="32" y="53"/>
                      <a:pt x="32" y="53"/>
                      <a:pt x="32" y="53"/>
                    </a:cubicBezTo>
                    <a:cubicBezTo>
                      <a:pt x="31" y="52"/>
                      <a:pt x="30" y="51"/>
                      <a:pt x="30" y="49"/>
                    </a:cubicBezTo>
                    <a:cubicBezTo>
                      <a:pt x="30" y="48"/>
                      <a:pt x="30" y="47"/>
                      <a:pt x="31" y="47"/>
                    </a:cubicBezTo>
                    <a:cubicBezTo>
                      <a:pt x="32" y="46"/>
                      <a:pt x="33" y="46"/>
                      <a:pt x="33" y="46"/>
                    </a:cubicBezTo>
                    <a:cubicBezTo>
                      <a:pt x="33" y="46"/>
                      <a:pt x="32" y="46"/>
                      <a:pt x="32" y="47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37" y="50"/>
                      <a:pt x="36" y="51"/>
                      <a:pt x="34" y="52"/>
                    </a:cubicBezTo>
                    <a:lnTo>
                      <a:pt x="32" y="54"/>
                    </a:lnTo>
                    <a:close/>
                    <a:moveTo>
                      <a:pt x="46" y="43"/>
                    </a:moveTo>
                    <a:cubicBezTo>
                      <a:pt x="46" y="43"/>
                      <a:pt x="46" y="43"/>
                      <a:pt x="47" y="42"/>
                    </a:cubicBezTo>
                    <a:cubicBezTo>
                      <a:pt x="41" y="42"/>
                      <a:pt x="41" y="42"/>
                      <a:pt x="41" y="42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1" y="42"/>
                      <a:pt x="41" y="42"/>
                      <a:pt x="41" y="42"/>
                    </a:cubicBezTo>
                    <a:cubicBezTo>
                      <a:pt x="41" y="42"/>
                      <a:pt x="41" y="42"/>
                      <a:pt x="41" y="42"/>
                    </a:cubicBezTo>
                    <a:cubicBezTo>
                      <a:pt x="41" y="39"/>
                      <a:pt x="42" y="38"/>
                      <a:pt x="45" y="37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46" y="37"/>
                      <a:pt x="46" y="37"/>
                      <a:pt x="46" y="3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2"/>
                      <a:pt x="47" y="43"/>
                      <a:pt x="46" y="43"/>
                    </a:cubicBezTo>
                    <a:close/>
                    <a:moveTo>
                      <a:pt x="49" y="29"/>
                    </a:moveTo>
                    <a:cubicBezTo>
                      <a:pt x="49" y="28"/>
                      <a:pt x="49" y="27"/>
                      <a:pt x="49" y="25"/>
                    </a:cubicBezTo>
                    <a:cubicBezTo>
                      <a:pt x="49" y="24"/>
                      <a:pt x="49" y="24"/>
                      <a:pt x="49" y="23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5" y="23"/>
                      <a:pt x="55" y="24"/>
                      <a:pt x="55" y="25"/>
                    </a:cubicBezTo>
                    <a:cubicBezTo>
                      <a:pt x="55" y="26"/>
                      <a:pt x="55" y="28"/>
                      <a:pt x="55" y="29"/>
                    </a:cubicBezTo>
                    <a:lnTo>
                      <a:pt x="49" y="29"/>
                    </a:lnTo>
                    <a:close/>
                    <a:moveTo>
                      <a:pt x="56" y="16"/>
                    </a:moveTo>
                    <a:cubicBezTo>
                      <a:pt x="56" y="14"/>
                      <a:pt x="56" y="14"/>
                      <a:pt x="56" y="14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56" y="10"/>
                      <a:pt x="56" y="10"/>
                      <a:pt x="56" y="9"/>
                    </a:cubicBezTo>
                    <a:cubicBezTo>
                      <a:pt x="62" y="10"/>
                      <a:pt x="62" y="10"/>
                      <a:pt x="62" y="10"/>
                    </a:cubicBezTo>
                    <a:cubicBezTo>
                      <a:pt x="62" y="10"/>
                      <a:pt x="62" y="11"/>
                      <a:pt x="62" y="11"/>
                    </a:cubicBezTo>
                    <a:cubicBezTo>
                      <a:pt x="62" y="12"/>
                      <a:pt x="61" y="16"/>
                      <a:pt x="56" y="16"/>
                    </a:cubicBezTo>
                    <a:close/>
                    <a:moveTo>
                      <a:pt x="64" y="3"/>
                    </a:moveTo>
                    <a:cubicBezTo>
                      <a:pt x="64" y="3"/>
                      <a:pt x="64" y="2"/>
                      <a:pt x="64" y="2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"/>
                      <a:pt x="70" y="2"/>
                      <a:pt x="70" y="2"/>
                    </a:cubicBezTo>
                    <a:lnTo>
                      <a:pt x="64" y="3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25" name="îṣlïďe"/>
              <p:cNvSpPr/>
              <p:nvPr/>
            </p:nvSpPr>
            <p:spPr bwMode="auto">
              <a:xfrm>
                <a:off x="7386638" y="4649788"/>
                <a:ext cx="728663" cy="1190625"/>
              </a:xfrm>
              <a:custGeom>
                <a:avLst/>
                <a:gdLst>
                  <a:gd name="T0" fmla="*/ 324 w 339"/>
                  <a:gd name="T1" fmla="*/ 535 h 556"/>
                  <a:gd name="T2" fmla="*/ 315 w 339"/>
                  <a:gd name="T3" fmla="*/ 524 h 556"/>
                  <a:gd name="T4" fmla="*/ 292 w 339"/>
                  <a:gd name="T5" fmla="*/ 504 h 556"/>
                  <a:gd name="T6" fmla="*/ 288 w 339"/>
                  <a:gd name="T7" fmla="*/ 481 h 556"/>
                  <a:gd name="T8" fmla="*/ 285 w 339"/>
                  <a:gd name="T9" fmla="*/ 466 h 556"/>
                  <a:gd name="T10" fmla="*/ 80 w 339"/>
                  <a:gd name="T11" fmla="*/ 464 h 556"/>
                  <a:gd name="T12" fmla="*/ 106 w 339"/>
                  <a:gd name="T13" fmla="*/ 455 h 556"/>
                  <a:gd name="T14" fmla="*/ 274 w 339"/>
                  <a:gd name="T15" fmla="*/ 453 h 556"/>
                  <a:gd name="T16" fmla="*/ 193 w 339"/>
                  <a:gd name="T17" fmla="*/ 451 h 556"/>
                  <a:gd name="T18" fmla="*/ 125 w 339"/>
                  <a:gd name="T19" fmla="*/ 450 h 556"/>
                  <a:gd name="T20" fmla="*/ 62 w 339"/>
                  <a:gd name="T21" fmla="*/ 451 h 556"/>
                  <a:gd name="T22" fmla="*/ 179 w 339"/>
                  <a:gd name="T23" fmla="*/ 451 h 556"/>
                  <a:gd name="T24" fmla="*/ 255 w 339"/>
                  <a:gd name="T25" fmla="*/ 441 h 556"/>
                  <a:gd name="T26" fmla="*/ 137 w 339"/>
                  <a:gd name="T27" fmla="*/ 441 h 556"/>
                  <a:gd name="T28" fmla="*/ 152 w 339"/>
                  <a:gd name="T29" fmla="*/ 442 h 556"/>
                  <a:gd name="T30" fmla="*/ 186 w 339"/>
                  <a:gd name="T31" fmla="*/ 444 h 556"/>
                  <a:gd name="T32" fmla="*/ 268 w 339"/>
                  <a:gd name="T33" fmla="*/ 437 h 556"/>
                  <a:gd name="T34" fmla="*/ 162 w 339"/>
                  <a:gd name="T35" fmla="*/ 432 h 556"/>
                  <a:gd name="T36" fmla="*/ 246 w 339"/>
                  <a:gd name="T37" fmla="*/ 430 h 556"/>
                  <a:gd name="T38" fmla="*/ 224 w 339"/>
                  <a:gd name="T39" fmla="*/ 428 h 556"/>
                  <a:gd name="T40" fmla="*/ 78 w 339"/>
                  <a:gd name="T41" fmla="*/ 428 h 556"/>
                  <a:gd name="T42" fmla="*/ 237 w 339"/>
                  <a:gd name="T43" fmla="*/ 422 h 556"/>
                  <a:gd name="T44" fmla="*/ 208 w 339"/>
                  <a:gd name="T45" fmla="*/ 416 h 556"/>
                  <a:gd name="T46" fmla="*/ 96 w 339"/>
                  <a:gd name="T47" fmla="*/ 415 h 556"/>
                  <a:gd name="T48" fmla="*/ 107 w 339"/>
                  <a:gd name="T49" fmla="*/ 407 h 556"/>
                  <a:gd name="T50" fmla="*/ 74 w 339"/>
                  <a:gd name="T51" fmla="*/ 394 h 556"/>
                  <a:gd name="T52" fmla="*/ 74 w 339"/>
                  <a:gd name="T53" fmla="*/ 394 h 556"/>
                  <a:gd name="T54" fmla="*/ 43 w 339"/>
                  <a:gd name="T55" fmla="*/ 383 h 556"/>
                  <a:gd name="T56" fmla="*/ 88 w 339"/>
                  <a:gd name="T57" fmla="*/ 378 h 556"/>
                  <a:gd name="T58" fmla="*/ 46 w 339"/>
                  <a:gd name="T59" fmla="*/ 363 h 556"/>
                  <a:gd name="T60" fmla="*/ 46 w 339"/>
                  <a:gd name="T61" fmla="*/ 349 h 556"/>
                  <a:gd name="T62" fmla="*/ 49 w 339"/>
                  <a:gd name="T63" fmla="*/ 335 h 556"/>
                  <a:gd name="T64" fmla="*/ 56 w 339"/>
                  <a:gd name="T65" fmla="*/ 325 h 556"/>
                  <a:gd name="T66" fmla="*/ 52 w 339"/>
                  <a:gd name="T67" fmla="*/ 318 h 556"/>
                  <a:gd name="T68" fmla="*/ 45 w 339"/>
                  <a:gd name="T69" fmla="*/ 313 h 556"/>
                  <a:gd name="T70" fmla="*/ 51 w 339"/>
                  <a:gd name="T71" fmla="*/ 296 h 556"/>
                  <a:gd name="T72" fmla="*/ 52 w 339"/>
                  <a:gd name="T73" fmla="*/ 279 h 556"/>
                  <a:gd name="T74" fmla="*/ 34 w 339"/>
                  <a:gd name="T75" fmla="*/ 261 h 556"/>
                  <a:gd name="T76" fmla="*/ 34 w 339"/>
                  <a:gd name="T77" fmla="*/ 261 h 556"/>
                  <a:gd name="T78" fmla="*/ 35 w 339"/>
                  <a:gd name="T79" fmla="*/ 242 h 556"/>
                  <a:gd name="T80" fmla="*/ 31 w 339"/>
                  <a:gd name="T81" fmla="*/ 228 h 556"/>
                  <a:gd name="T82" fmla="*/ 10 w 339"/>
                  <a:gd name="T83" fmla="*/ 217 h 556"/>
                  <a:gd name="T84" fmla="*/ 25 w 339"/>
                  <a:gd name="T85" fmla="*/ 215 h 556"/>
                  <a:gd name="T86" fmla="*/ 14 w 339"/>
                  <a:gd name="T87" fmla="*/ 187 h 556"/>
                  <a:gd name="T88" fmla="*/ 15 w 339"/>
                  <a:gd name="T89" fmla="*/ 164 h 556"/>
                  <a:gd name="T90" fmla="*/ 30 w 339"/>
                  <a:gd name="T91" fmla="*/ 156 h 556"/>
                  <a:gd name="T92" fmla="*/ 42 w 339"/>
                  <a:gd name="T93" fmla="*/ 151 h 556"/>
                  <a:gd name="T94" fmla="*/ 43 w 339"/>
                  <a:gd name="T95" fmla="*/ 139 h 556"/>
                  <a:gd name="T96" fmla="*/ 48 w 339"/>
                  <a:gd name="T97" fmla="*/ 110 h 556"/>
                  <a:gd name="T98" fmla="*/ 48 w 339"/>
                  <a:gd name="T99" fmla="*/ 110 h 556"/>
                  <a:gd name="T100" fmla="*/ 39 w 339"/>
                  <a:gd name="T101" fmla="*/ 74 h 556"/>
                  <a:gd name="T102" fmla="*/ 31 w 339"/>
                  <a:gd name="T103" fmla="*/ 65 h 556"/>
                  <a:gd name="T104" fmla="*/ 12 w 339"/>
                  <a:gd name="T105" fmla="*/ 63 h 556"/>
                  <a:gd name="T106" fmla="*/ 6 w 339"/>
                  <a:gd name="T107" fmla="*/ 37 h 556"/>
                  <a:gd name="T108" fmla="*/ 6 w 339"/>
                  <a:gd name="T109" fmla="*/ 23 h 556"/>
                  <a:gd name="T110" fmla="*/ 0 w 339"/>
                  <a:gd name="T111" fmla="*/ 4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39" h="556">
                    <a:moveTo>
                      <a:pt x="336" y="556"/>
                    </a:moveTo>
                    <a:cubicBezTo>
                      <a:pt x="336" y="556"/>
                      <a:pt x="334" y="554"/>
                      <a:pt x="331" y="552"/>
                    </a:cubicBezTo>
                    <a:cubicBezTo>
                      <a:pt x="335" y="548"/>
                      <a:pt x="335" y="548"/>
                      <a:pt x="335" y="548"/>
                    </a:cubicBezTo>
                    <a:cubicBezTo>
                      <a:pt x="337" y="550"/>
                      <a:pt x="339" y="551"/>
                      <a:pt x="339" y="551"/>
                    </a:cubicBezTo>
                    <a:lnTo>
                      <a:pt x="336" y="556"/>
                    </a:lnTo>
                    <a:close/>
                    <a:moveTo>
                      <a:pt x="322" y="543"/>
                    </a:moveTo>
                    <a:cubicBezTo>
                      <a:pt x="319" y="538"/>
                      <a:pt x="319" y="538"/>
                      <a:pt x="319" y="538"/>
                    </a:cubicBezTo>
                    <a:cubicBezTo>
                      <a:pt x="324" y="535"/>
                      <a:pt x="324" y="535"/>
                      <a:pt x="324" y="535"/>
                    </a:cubicBezTo>
                    <a:cubicBezTo>
                      <a:pt x="327" y="540"/>
                      <a:pt x="327" y="540"/>
                      <a:pt x="327" y="540"/>
                    </a:cubicBezTo>
                    <a:lnTo>
                      <a:pt x="322" y="543"/>
                    </a:lnTo>
                    <a:close/>
                    <a:moveTo>
                      <a:pt x="313" y="530"/>
                    </a:moveTo>
                    <a:cubicBezTo>
                      <a:pt x="312" y="529"/>
                      <a:pt x="312" y="529"/>
                      <a:pt x="312" y="529"/>
                    </a:cubicBezTo>
                    <a:cubicBezTo>
                      <a:pt x="311" y="529"/>
                      <a:pt x="310" y="528"/>
                      <a:pt x="309" y="527"/>
                    </a:cubicBezTo>
                    <a:cubicBezTo>
                      <a:pt x="311" y="521"/>
                      <a:pt x="311" y="521"/>
                      <a:pt x="311" y="521"/>
                    </a:cubicBezTo>
                    <a:cubicBezTo>
                      <a:pt x="312" y="522"/>
                      <a:pt x="312" y="522"/>
                      <a:pt x="313" y="523"/>
                    </a:cubicBezTo>
                    <a:cubicBezTo>
                      <a:pt x="314" y="523"/>
                      <a:pt x="315" y="524"/>
                      <a:pt x="315" y="524"/>
                    </a:cubicBezTo>
                    <a:cubicBezTo>
                      <a:pt x="316" y="525"/>
                      <a:pt x="316" y="525"/>
                      <a:pt x="316" y="525"/>
                    </a:cubicBezTo>
                    <a:lnTo>
                      <a:pt x="313" y="530"/>
                    </a:lnTo>
                    <a:close/>
                    <a:moveTo>
                      <a:pt x="299" y="518"/>
                    </a:moveTo>
                    <a:cubicBezTo>
                      <a:pt x="299" y="516"/>
                      <a:pt x="298" y="515"/>
                      <a:pt x="298" y="514"/>
                    </a:cubicBezTo>
                    <a:cubicBezTo>
                      <a:pt x="303" y="511"/>
                      <a:pt x="303" y="511"/>
                      <a:pt x="303" y="511"/>
                    </a:cubicBezTo>
                    <a:cubicBezTo>
                      <a:pt x="304" y="513"/>
                      <a:pt x="304" y="515"/>
                      <a:pt x="304" y="518"/>
                    </a:cubicBezTo>
                    <a:lnTo>
                      <a:pt x="299" y="518"/>
                    </a:lnTo>
                    <a:close/>
                    <a:moveTo>
                      <a:pt x="292" y="504"/>
                    </a:moveTo>
                    <a:cubicBezTo>
                      <a:pt x="291" y="502"/>
                      <a:pt x="291" y="500"/>
                      <a:pt x="290" y="497"/>
                    </a:cubicBezTo>
                    <a:cubicBezTo>
                      <a:pt x="296" y="496"/>
                      <a:pt x="296" y="496"/>
                      <a:pt x="296" y="496"/>
                    </a:cubicBezTo>
                    <a:cubicBezTo>
                      <a:pt x="296" y="498"/>
                      <a:pt x="297" y="500"/>
                      <a:pt x="298" y="501"/>
                    </a:cubicBezTo>
                    <a:lnTo>
                      <a:pt x="292" y="504"/>
                    </a:lnTo>
                    <a:close/>
                    <a:moveTo>
                      <a:pt x="292" y="487"/>
                    </a:moveTo>
                    <a:cubicBezTo>
                      <a:pt x="286" y="486"/>
                      <a:pt x="286" y="486"/>
                      <a:pt x="286" y="486"/>
                    </a:cubicBezTo>
                    <a:cubicBezTo>
                      <a:pt x="286" y="485"/>
                      <a:pt x="286" y="485"/>
                      <a:pt x="287" y="484"/>
                    </a:cubicBezTo>
                    <a:cubicBezTo>
                      <a:pt x="287" y="483"/>
                      <a:pt x="288" y="482"/>
                      <a:pt x="288" y="481"/>
                    </a:cubicBezTo>
                    <a:cubicBezTo>
                      <a:pt x="288" y="480"/>
                      <a:pt x="288" y="480"/>
                      <a:pt x="288" y="480"/>
                    </a:cubicBezTo>
                    <a:cubicBezTo>
                      <a:pt x="294" y="482"/>
                      <a:pt x="294" y="482"/>
                      <a:pt x="294" y="482"/>
                    </a:cubicBezTo>
                    <a:cubicBezTo>
                      <a:pt x="293" y="483"/>
                      <a:pt x="293" y="483"/>
                      <a:pt x="293" y="483"/>
                    </a:cubicBezTo>
                    <a:cubicBezTo>
                      <a:pt x="293" y="484"/>
                      <a:pt x="293" y="485"/>
                      <a:pt x="292" y="486"/>
                    </a:cubicBezTo>
                    <a:cubicBezTo>
                      <a:pt x="292" y="486"/>
                      <a:pt x="292" y="487"/>
                      <a:pt x="292" y="487"/>
                    </a:cubicBezTo>
                    <a:close/>
                    <a:moveTo>
                      <a:pt x="284" y="474"/>
                    </a:moveTo>
                    <a:cubicBezTo>
                      <a:pt x="282" y="472"/>
                      <a:pt x="281" y="470"/>
                      <a:pt x="280" y="469"/>
                    </a:cubicBezTo>
                    <a:cubicBezTo>
                      <a:pt x="285" y="466"/>
                      <a:pt x="285" y="466"/>
                      <a:pt x="285" y="466"/>
                    </a:cubicBezTo>
                    <a:cubicBezTo>
                      <a:pt x="286" y="467"/>
                      <a:pt x="287" y="468"/>
                      <a:pt x="288" y="470"/>
                    </a:cubicBezTo>
                    <a:lnTo>
                      <a:pt x="284" y="474"/>
                    </a:lnTo>
                    <a:close/>
                    <a:moveTo>
                      <a:pt x="94" y="464"/>
                    </a:moveTo>
                    <a:cubicBezTo>
                      <a:pt x="92" y="459"/>
                      <a:pt x="92" y="459"/>
                      <a:pt x="92" y="459"/>
                    </a:cubicBezTo>
                    <a:cubicBezTo>
                      <a:pt x="95" y="458"/>
                      <a:pt x="96" y="457"/>
                      <a:pt x="96" y="457"/>
                    </a:cubicBezTo>
                    <a:cubicBezTo>
                      <a:pt x="100" y="461"/>
                      <a:pt x="100" y="461"/>
                      <a:pt x="100" y="461"/>
                    </a:cubicBezTo>
                    <a:cubicBezTo>
                      <a:pt x="98" y="463"/>
                      <a:pt x="96" y="464"/>
                      <a:pt x="94" y="464"/>
                    </a:cubicBezTo>
                    <a:close/>
                    <a:moveTo>
                      <a:pt x="80" y="464"/>
                    </a:moveTo>
                    <a:cubicBezTo>
                      <a:pt x="79" y="463"/>
                      <a:pt x="78" y="461"/>
                      <a:pt x="78" y="460"/>
                    </a:cubicBezTo>
                    <a:cubicBezTo>
                      <a:pt x="77" y="460"/>
                      <a:pt x="77" y="459"/>
                      <a:pt x="77" y="459"/>
                    </a:cubicBezTo>
                    <a:cubicBezTo>
                      <a:pt x="81" y="455"/>
                      <a:pt x="81" y="455"/>
                      <a:pt x="81" y="455"/>
                    </a:cubicBezTo>
                    <a:cubicBezTo>
                      <a:pt x="82" y="456"/>
                      <a:pt x="82" y="457"/>
                      <a:pt x="83" y="458"/>
                    </a:cubicBezTo>
                    <a:cubicBezTo>
                      <a:pt x="83" y="458"/>
                      <a:pt x="84" y="459"/>
                      <a:pt x="84" y="460"/>
                    </a:cubicBezTo>
                    <a:lnTo>
                      <a:pt x="80" y="464"/>
                    </a:lnTo>
                    <a:close/>
                    <a:moveTo>
                      <a:pt x="111" y="458"/>
                    </a:moveTo>
                    <a:cubicBezTo>
                      <a:pt x="106" y="455"/>
                      <a:pt x="106" y="455"/>
                      <a:pt x="106" y="455"/>
                    </a:cubicBezTo>
                    <a:cubicBezTo>
                      <a:pt x="107" y="455"/>
                      <a:pt x="107" y="454"/>
                      <a:pt x="107" y="453"/>
                    </a:cubicBezTo>
                    <a:cubicBezTo>
                      <a:pt x="108" y="451"/>
                      <a:pt x="110" y="450"/>
                      <a:pt x="112" y="450"/>
                    </a:cubicBezTo>
                    <a:cubicBezTo>
                      <a:pt x="113" y="455"/>
                      <a:pt x="113" y="455"/>
                      <a:pt x="113" y="455"/>
                    </a:cubicBezTo>
                    <a:cubicBezTo>
                      <a:pt x="113" y="455"/>
                      <a:pt x="113" y="455"/>
                      <a:pt x="113" y="455"/>
                    </a:cubicBezTo>
                    <a:cubicBezTo>
                      <a:pt x="112" y="457"/>
                      <a:pt x="112" y="458"/>
                      <a:pt x="111" y="458"/>
                    </a:cubicBezTo>
                    <a:close/>
                    <a:moveTo>
                      <a:pt x="277" y="457"/>
                    </a:moveTo>
                    <a:cubicBezTo>
                      <a:pt x="276" y="456"/>
                      <a:pt x="276" y="456"/>
                      <a:pt x="275" y="455"/>
                    </a:cubicBezTo>
                    <a:cubicBezTo>
                      <a:pt x="275" y="454"/>
                      <a:pt x="274" y="453"/>
                      <a:pt x="274" y="453"/>
                    </a:cubicBezTo>
                    <a:cubicBezTo>
                      <a:pt x="279" y="450"/>
                      <a:pt x="279" y="450"/>
                      <a:pt x="279" y="450"/>
                    </a:cubicBezTo>
                    <a:cubicBezTo>
                      <a:pt x="279" y="450"/>
                      <a:pt x="279" y="451"/>
                      <a:pt x="280" y="451"/>
                    </a:cubicBezTo>
                    <a:cubicBezTo>
                      <a:pt x="281" y="452"/>
                      <a:pt x="281" y="453"/>
                      <a:pt x="282" y="455"/>
                    </a:cubicBezTo>
                    <a:lnTo>
                      <a:pt x="277" y="457"/>
                    </a:lnTo>
                    <a:close/>
                    <a:moveTo>
                      <a:pt x="192" y="457"/>
                    </a:moveTo>
                    <a:cubicBezTo>
                      <a:pt x="191" y="457"/>
                      <a:pt x="191" y="457"/>
                      <a:pt x="190" y="457"/>
                    </a:cubicBezTo>
                    <a:cubicBezTo>
                      <a:pt x="191" y="451"/>
                      <a:pt x="191" y="451"/>
                      <a:pt x="191" y="451"/>
                    </a:cubicBezTo>
                    <a:cubicBezTo>
                      <a:pt x="192" y="452"/>
                      <a:pt x="193" y="451"/>
                      <a:pt x="193" y="451"/>
                    </a:cubicBezTo>
                    <a:cubicBezTo>
                      <a:pt x="198" y="453"/>
                      <a:pt x="198" y="453"/>
                      <a:pt x="198" y="453"/>
                    </a:cubicBezTo>
                    <a:cubicBezTo>
                      <a:pt x="198" y="454"/>
                      <a:pt x="198" y="454"/>
                      <a:pt x="197" y="455"/>
                    </a:cubicBezTo>
                    <a:cubicBezTo>
                      <a:pt x="196" y="457"/>
                      <a:pt x="194" y="457"/>
                      <a:pt x="192" y="457"/>
                    </a:cubicBezTo>
                    <a:close/>
                    <a:moveTo>
                      <a:pt x="119" y="455"/>
                    </a:moveTo>
                    <a:cubicBezTo>
                      <a:pt x="119" y="455"/>
                      <a:pt x="119" y="454"/>
                      <a:pt x="119" y="454"/>
                    </a:cubicBezTo>
                    <a:cubicBezTo>
                      <a:pt x="119" y="453"/>
                      <a:pt x="119" y="453"/>
                      <a:pt x="119" y="452"/>
                    </a:cubicBezTo>
                    <a:cubicBezTo>
                      <a:pt x="119" y="451"/>
                      <a:pt x="119" y="450"/>
                      <a:pt x="119" y="449"/>
                    </a:cubicBezTo>
                    <a:cubicBezTo>
                      <a:pt x="125" y="450"/>
                      <a:pt x="125" y="450"/>
                      <a:pt x="125" y="450"/>
                    </a:cubicBezTo>
                    <a:cubicBezTo>
                      <a:pt x="125" y="450"/>
                      <a:pt x="125" y="451"/>
                      <a:pt x="125" y="452"/>
                    </a:cubicBezTo>
                    <a:cubicBezTo>
                      <a:pt x="125" y="452"/>
                      <a:pt x="125" y="453"/>
                      <a:pt x="125" y="454"/>
                    </a:cubicBezTo>
                    <a:cubicBezTo>
                      <a:pt x="125" y="454"/>
                      <a:pt x="125" y="455"/>
                      <a:pt x="125" y="455"/>
                    </a:cubicBezTo>
                    <a:lnTo>
                      <a:pt x="119" y="455"/>
                    </a:lnTo>
                    <a:close/>
                    <a:moveTo>
                      <a:pt x="69" y="455"/>
                    </a:moveTo>
                    <a:cubicBezTo>
                      <a:pt x="68" y="454"/>
                      <a:pt x="68" y="454"/>
                      <a:pt x="67" y="454"/>
                    </a:cubicBezTo>
                    <a:cubicBezTo>
                      <a:pt x="66" y="454"/>
                      <a:pt x="66" y="454"/>
                      <a:pt x="65" y="454"/>
                    </a:cubicBezTo>
                    <a:cubicBezTo>
                      <a:pt x="63" y="454"/>
                      <a:pt x="62" y="452"/>
                      <a:pt x="62" y="451"/>
                    </a:cubicBezTo>
                    <a:cubicBezTo>
                      <a:pt x="62" y="450"/>
                      <a:pt x="62" y="449"/>
                      <a:pt x="62" y="449"/>
                    </a:cubicBezTo>
                    <a:cubicBezTo>
                      <a:pt x="68" y="451"/>
                      <a:pt x="68" y="451"/>
                      <a:pt x="68" y="451"/>
                    </a:cubicBezTo>
                    <a:cubicBezTo>
                      <a:pt x="68" y="451"/>
                      <a:pt x="68" y="451"/>
                      <a:pt x="68" y="451"/>
                    </a:cubicBezTo>
                    <a:cubicBezTo>
                      <a:pt x="68" y="449"/>
                      <a:pt x="67" y="448"/>
                      <a:pt x="66" y="448"/>
                    </a:cubicBezTo>
                    <a:cubicBezTo>
                      <a:pt x="67" y="448"/>
                      <a:pt x="67" y="448"/>
                      <a:pt x="67" y="449"/>
                    </a:cubicBezTo>
                    <a:cubicBezTo>
                      <a:pt x="69" y="449"/>
                      <a:pt x="70" y="449"/>
                      <a:pt x="71" y="449"/>
                    </a:cubicBezTo>
                    <a:lnTo>
                      <a:pt x="69" y="455"/>
                    </a:lnTo>
                    <a:close/>
                    <a:moveTo>
                      <a:pt x="179" y="451"/>
                    </a:moveTo>
                    <a:cubicBezTo>
                      <a:pt x="177" y="450"/>
                      <a:pt x="175" y="449"/>
                      <a:pt x="174" y="447"/>
                    </a:cubicBezTo>
                    <a:cubicBezTo>
                      <a:pt x="179" y="443"/>
                      <a:pt x="179" y="443"/>
                      <a:pt x="179" y="443"/>
                    </a:cubicBezTo>
                    <a:cubicBezTo>
                      <a:pt x="180" y="445"/>
                      <a:pt x="181" y="446"/>
                      <a:pt x="182" y="447"/>
                    </a:cubicBezTo>
                    <a:lnTo>
                      <a:pt x="179" y="451"/>
                    </a:lnTo>
                    <a:close/>
                    <a:moveTo>
                      <a:pt x="254" y="447"/>
                    </a:moveTo>
                    <a:cubicBezTo>
                      <a:pt x="253" y="447"/>
                      <a:pt x="251" y="447"/>
                      <a:pt x="250" y="446"/>
                    </a:cubicBezTo>
                    <a:cubicBezTo>
                      <a:pt x="255" y="442"/>
                      <a:pt x="255" y="442"/>
                      <a:pt x="255" y="442"/>
                    </a:cubicBezTo>
                    <a:cubicBezTo>
                      <a:pt x="254" y="441"/>
                      <a:pt x="255" y="441"/>
                      <a:pt x="255" y="441"/>
                    </a:cubicBezTo>
                    <a:cubicBezTo>
                      <a:pt x="255" y="441"/>
                      <a:pt x="256" y="441"/>
                      <a:pt x="257" y="441"/>
                    </a:cubicBezTo>
                    <a:cubicBezTo>
                      <a:pt x="259" y="446"/>
                      <a:pt x="259" y="446"/>
                      <a:pt x="259" y="446"/>
                    </a:cubicBezTo>
                    <a:cubicBezTo>
                      <a:pt x="258" y="447"/>
                      <a:pt x="257" y="447"/>
                      <a:pt x="256" y="447"/>
                    </a:cubicBezTo>
                    <a:cubicBezTo>
                      <a:pt x="256" y="447"/>
                      <a:pt x="255" y="447"/>
                      <a:pt x="254" y="447"/>
                    </a:cubicBezTo>
                    <a:close/>
                    <a:moveTo>
                      <a:pt x="136" y="447"/>
                    </a:moveTo>
                    <a:cubicBezTo>
                      <a:pt x="134" y="447"/>
                      <a:pt x="132" y="446"/>
                      <a:pt x="130" y="446"/>
                    </a:cubicBezTo>
                    <a:cubicBezTo>
                      <a:pt x="130" y="441"/>
                      <a:pt x="130" y="441"/>
                      <a:pt x="130" y="441"/>
                    </a:cubicBezTo>
                    <a:cubicBezTo>
                      <a:pt x="132" y="441"/>
                      <a:pt x="134" y="441"/>
                      <a:pt x="137" y="441"/>
                    </a:cubicBezTo>
                    <a:lnTo>
                      <a:pt x="136" y="447"/>
                    </a:lnTo>
                    <a:close/>
                    <a:moveTo>
                      <a:pt x="149" y="445"/>
                    </a:moveTo>
                    <a:cubicBezTo>
                      <a:pt x="145" y="440"/>
                      <a:pt x="145" y="440"/>
                      <a:pt x="145" y="440"/>
                    </a:cubicBezTo>
                    <a:cubicBezTo>
                      <a:pt x="146" y="440"/>
                      <a:pt x="146" y="440"/>
                      <a:pt x="146" y="440"/>
                    </a:cubicBezTo>
                    <a:cubicBezTo>
                      <a:pt x="146" y="439"/>
                      <a:pt x="147" y="438"/>
                      <a:pt x="148" y="438"/>
                    </a:cubicBezTo>
                    <a:cubicBezTo>
                      <a:pt x="149" y="437"/>
                      <a:pt x="150" y="437"/>
                      <a:pt x="150" y="436"/>
                    </a:cubicBezTo>
                    <a:cubicBezTo>
                      <a:pt x="153" y="442"/>
                      <a:pt x="153" y="442"/>
                      <a:pt x="153" y="442"/>
                    </a:cubicBezTo>
                    <a:cubicBezTo>
                      <a:pt x="153" y="442"/>
                      <a:pt x="152" y="442"/>
                      <a:pt x="152" y="442"/>
                    </a:cubicBezTo>
                    <a:cubicBezTo>
                      <a:pt x="151" y="443"/>
                      <a:pt x="150" y="444"/>
                      <a:pt x="149" y="444"/>
                    </a:cubicBezTo>
                    <a:lnTo>
                      <a:pt x="149" y="445"/>
                    </a:lnTo>
                    <a:close/>
                    <a:moveTo>
                      <a:pt x="75" y="444"/>
                    </a:moveTo>
                    <a:cubicBezTo>
                      <a:pt x="72" y="440"/>
                      <a:pt x="72" y="440"/>
                      <a:pt x="72" y="440"/>
                    </a:cubicBezTo>
                    <a:cubicBezTo>
                      <a:pt x="73" y="439"/>
                      <a:pt x="74" y="438"/>
                      <a:pt x="76" y="436"/>
                    </a:cubicBezTo>
                    <a:cubicBezTo>
                      <a:pt x="80" y="440"/>
                      <a:pt x="80" y="440"/>
                      <a:pt x="80" y="440"/>
                    </a:cubicBezTo>
                    <a:cubicBezTo>
                      <a:pt x="78" y="442"/>
                      <a:pt x="77" y="443"/>
                      <a:pt x="75" y="444"/>
                    </a:cubicBezTo>
                    <a:close/>
                    <a:moveTo>
                      <a:pt x="186" y="444"/>
                    </a:moveTo>
                    <a:cubicBezTo>
                      <a:pt x="186" y="443"/>
                      <a:pt x="186" y="442"/>
                      <a:pt x="186" y="441"/>
                    </a:cubicBezTo>
                    <a:cubicBezTo>
                      <a:pt x="186" y="440"/>
                      <a:pt x="186" y="438"/>
                      <a:pt x="186" y="437"/>
                    </a:cubicBezTo>
                    <a:cubicBezTo>
                      <a:pt x="192" y="438"/>
                      <a:pt x="192" y="438"/>
                      <a:pt x="192" y="438"/>
                    </a:cubicBezTo>
                    <a:cubicBezTo>
                      <a:pt x="192" y="439"/>
                      <a:pt x="192" y="440"/>
                      <a:pt x="192" y="441"/>
                    </a:cubicBezTo>
                    <a:cubicBezTo>
                      <a:pt x="192" y="442"/>
                      <a:pt x="192" y="442"/>
                      <a:pt x="192" y="443"/>
                    </a:cubicBezTo>
                    <a:lnTo>
                      <a:pt x="186" y="444"/>
                    </a:lnTo>
                    <a:close/>
                    <a:moveTo>
                      <a:pt x="270" y="442"/>
                    </a:moveTo>
                    <a:cubicBezTo>
                      <a:pt x="268" y="437"/>
                      <a:pt x="268" y="437"/>
                      <a:pt x="268" y="437"/>
                    </a:cubicBezTo>
                    <a:cubicBezTo>
                      <a:pt x="272" y="435"/>
                      <a:pt x="275" y="436"/>
                      <a:pt x="277" y="439"/>
                    </a:cubicBezTo>
                    <a:cubicBezTo>
                      <a:pt x="272" y="442"/>
                      <a:pt x="272" y="442"/>
                      <a:pt x="272" y="442"/>
                    </a:cubicBezTo>
                    <a:cubicBezTo>
                      <a:pt x="272" y="442"/>
                      <a:pt x="272" y="442"/>
                      <a:pt x="272" y="442"/>
                    </a:cubicBezTo>
                    <a:cubicBezTo>
                      <a:pt x="272" y="442"/>
                      <a:pt x="271" y="442"/>
                      <a:pt x="270" y="442"/>
                    </a:cubicBezTo>
                    <a:close/>
                    <a:moveTo>
                      <a:pt x="167" y="439"/>
                    </a:moveTo>
                    <a:cubicBezTo>
                      <a:pt x="166" y="438"/>
                      <a:pt x="164" y="438"/>
                      <a:pt x="164" y="438"/>
                    </a:cubicBezTo>
                    <a:cubicBezTo>
                      <a:pt x="163" y="438"/>
                      <a:pt x="163" y="438"/>
                      <a:pt x="163" y="438"/>
                    </a:cubicBezTo>
                    <a:cubicBezTo>
                      <a:pt x="162" y="432"/>
                      <a:pt x="162" y="432"/>
                      <a:pt x="162" y="432"/>
                    </a:cubicBezTo>
                    <a:cubicBezTo>
                      <a:pt x="163" y="432"/>
                      <a:pt x="163" y="432"/>
                      <a:pt x="164" y="432"/>
                    </a:cubicBezTo>
                    <a:cubicBezTo>
                      <a:pt x="165" y="432"/>
                      <a:pt x="168" y="433"/>
                      <a:pt x="170" y="434"/>
                    </a:cubicBezTo>
                    <a:lnTo>
                      <a:pt x="167" y="439"/>
                    </a:lnTo>
                    <a:close/>
                    <a:moveTo>
                      <a:pt x="246" y="436"/>
                    </a:moveTo>
                    <a:cubicBezTo>
                      <a:pt x="246" y="436"/>
                      <a:pt x="245" y="436"/>
                      <a:pt x="245" y="435"/>
                    </a:cubicBezTo>
                    <a:cubicBezTo>
                      <a:pt x="244" y="435"/>
                      <a:pt x="242" y="434"/>
                      <a:pt x="241" y="433"/>
                    </a:cubicBezTo>
                    <a:cubicBezTo>
                      <a:pt x="244" y="429"/>
                      <a:pt x="244" y="429"/>
                      <a:pt x="244" y="429"/>
                    </a:cubicBezTo>
                    <a:cubicBezTo>
                      <a:pt x="245" y="429"/>
                      <a:pt x="246" y="429"/>
                      <a:pt x="246" y="430"/>
                    </a:cubicBezTo>
                    <a:cubicBezTo>
                      <a:pt x="247" y="430"/>
                      <a:pt x="248" y="430"/>
                      <a:pt x="249" y="431"/>
                    </a:cubicBezTo>
                    <a:lnTo>
                      <a:pt x="246" y="436"/>
                    </a:lnTo>
                    <a:close/>
                    <a:moveTo>
                      <a:pt x="223" y="429"/>
                    </a:moveTo>
                    <a:cubicBezTo>
                      <a:pt x="222" y="423"/>
                      <a:pt x="222" y="423"/>
                      <a:pt x="222" y="423"/>
                    </a:cubicBezTo>
                    <a:cubicBezTo>
                      <a:pt x="223" y="423"/>
                      <a:pt x="223" y="423"/>
                      <a:pt x="223" y="423"/>
                    </a:cubicBezTo>
                    <a:cubicBezTo>
                      <a:pt x="226" y="422"/>
                      <a:pt x="228" y="422"/>
                      <a:pt x="230" y="423"/>
                    </a:cubicBezTo>
                    <a:cubicBezTo>
                      <a:pt x="227" y="429"/>
                      <a:pt x="227" y="429"/>
                      <a:pt x="227" y="429"/>
                    </a:cubicBezTo>
                    <a:cubicBezTo>
                      <a:pt x="227" y="428"/>
                      <a:pt x="226" y="428"/>
                      <a:pt x="224" y="428"/>
                    </a:cubicBezTo>
                    <a:lnTo>
                      <a:pt x="223" y="429"/>
                    </a:lnTo>
                    <a:close/>
                    <a:moveTo>
                      <a:pt x="78" y="428"/>
                    </a:moveTo>
                    <a:cubicBezTo>
                      <a:pt x="78" y="427"/>
                      <a:pt x="78" y="426"/>
                      <a:pt x="78" y="425"/>
                    </a:cubicBezTo>
                    <a:cubicBezTo>
                      <a:pt x="78" y="423"/>
                      <a:pt x="78" y="422"/>
                      <a:pt x="78" y="421"/>
                    </a:cubicBezTo>
                    <a:cubicBezTo>
                      <a:pt x="84" y="423"/>
                      <a:pt x="84" y="423"/>
                      <a:pt x="84" y="423"/>
                    </a:cubicBezTo>
                    <a:cubicBezTo>
                      <a:pt x="84" y="423"/>
                      <a:pt x="84" y="424"/>
                      <a:pt x="84" y="425"/>
                    </a:cubicBezTo>
                    <a:cubicBezTo>
                      <a:pt x="84" y="426"/>
                      <a:pt x="84" y="426"/>
                      <a:pt x="84" y="427"/>
                    </a:cubicBezTo>
                    <a:lnTo>
                      <a:pt x="78" y="428"/>
                    </a:lnTo>
                    <a:close/>
                    <a:moveTo>
                      <a:pt x="195" y="428"/>
                    </a:moveTo>
                    <a:cubicBezTo>
                      <a:pt x="190" y="425"/>
                      <a:pt x="190" y="425"/>
                      <a:pt x="190" y="425"/>
                    </a:cubicBezTo>
                    <a:cubicBezTo>
                      <a:pt x="191" y="423"/>
                      <a:pt x="193" y="421"/>
                      <a:pt x="195" y="420"/>
                    </a:cubicBezTo>
                    <a:cubicBezTo>
                      <a:pt x="198" y="425"/>
                      <a:pt x="198" y="425"/>
                      <a:pt x="198" y="425"/>
                    </a:cubicBezTo>
                    <a:cubicBezTo>
                      <a:pt x="197" y="426"/>
                      <a:pt x="196" y="427"/>
                      <a:pt x="195" y="428"/>
                    </a:cubicBezTo>
                    <a:close/>
                    <a:moveTo>
                      <a:pt x="240" y="428"/>
                    </a:moveTo>
                    <a:cubicBezTo>
                      <a:pt x="235" y="424"/>
                      <a:pt x="235" y="424"/>
                      <a:pt x="235" y="424"/>
                    </a:cubicBezTo>
                    <a:cubicBezTo>
                      <a:pt x="235" y="424"/>
                      <a:pt x="236" y="423"/>
                      <a:pt x="237" y="422"/>
                    </a:cubicBezTo>
                    <a:cubicBezTo>
                      <a:pt x="237" y="420"/>
                      <a:pt x="238" y="419"/>
                      <a:pt x="240" y="419"/>
                    </a:cubicBezTo>
                    <a:cubicBezTo>
                      <a:pt x="242" y="424"/>
                      <a:pt x="242" y="424"/>
                      <a:pt x="242" y="424"/>
                    </a:cubicBezTo>
                    <a:cubicBezTo>
                      <a:pt x="242" y="424"/>
                      <a:pt x="242" y="424"/>
                      <a:pt x="242" y="424"/>
                    </a:cubicBezTo>
                    <a:cubicBezTo>
                      <a:pt x="242" y="424"/>
                      <a:pt x="242" y="424"/>
                      <a:pt x="242" y="425"/>
                    </a:cubicBezTo>
                    <a:cubicBezTo>
                      <a:pt x="241" y="426"/>
                      <a:pt x="240" y="427"/>
                      <a:pt x="240" y="428"/>
                    </a:cubicBezTo>
                    <a:close/>
                    <a:moveTo>
                      <a:pt x="210" y="424"/>
                    </a:moveTo>
                    <a:cubicBezTo>
                      <a:pt x="209" y="423"/>
                      <a:pt x="208" y="422"/>
                      <a:pt x="207" y="422"/>
                    </a:cubicBezTo>
                    <a:cubicBezTo>
                      <a:pt x="208" y="416"/>
                      <a:pt x="208" y="416"/>
                      <a:pt x="208" y="416"/>
                    </a:cubicBezTo>
                    <a:cubicBezTo>
                      <a:pt x="210" y="417"/>
                      <a:pt x="212" y="418"/>
                      <a:pt x="214" y="419"/>
                    </a:cubicBezTo>
                    <a:lnTo>
                      <a:pt x="210" y="424"/>
                    </a:lnTo>
                    <a:close/>
                    <a:moveTo>
                      <a:pt x="93" y="417"/>
                    </a:moveTo>
                    <a:cubicBezTo>
                      <a:pt x="90" y="416"/>
                      <a:pt x="90" y="416"/>
                      <a:pt x="90" y="416"/>
                    </a:cubicBezTo>
                    <a:cubicBezTo>
                      <a:pt x="88" y="414"/>
                      <a:pt x="88" y="414"/>
                      <a:pt x="88" y="414"/>
                    </a:cubicBezTo>
                    <a:cubicBezTo>
                      <a:pt x="88" y="413"/>
                      <a:pt x="88" y="413"/>
                      <a:pt x="88" y="413"/>
                    </a:cubicBezTo>
                    <a:cubicBezTo>
                      <a:pt x="89" y="412"/>
                      <a:pt x="91" y="411"/>
                      <a:pt x="94" y="410"/>
                    </a:cubicBezTo>
                    <a:cubicBezTo>
                      <a:pt x="96" y="415"/>
                      <a:pt x="96" y="415"/>
                      <a:pt x="96" y="415"/>
                    </a:cubicBezTo>
                    <a:cubicBezTo>
                      <a:pt x="94" y="416"/>
                      <a:pt x="93" y="416"/>
                      <a:pt x="93" y="417"/>
                    </a:cubicBezTo>
                    <a:close/>
                    <a:moveTo>
                      <a:pt x="107" y="407"/>
                    </a:moveTo>
                    <a:cubicBezTo>
                      <a:pt x="102" y="406"/>
                      <a:pt x="102" y="406"/>
                      <a:pt x="102" y="406"/>
                    </a:cubicBezTo>
                    <a:cubicBezTo>
                      <a:pt x="102" y="405"/>
                      <a:pt x="102" y="404"/>
                      <a:pt x="102" y="403"/>
                    </a:cubicBezTo>
                    <a:cubicBezTo>
                      <a:pt x="102" y="402"/>
                      <a:pt x="102" y="401"/>
                      <a:pt x="102" y="400"/>
                    </a:cubicBezTo>
                    <a:cubicBezTo>
                      <a:pt x="108" y="401"/>
                      <a:pt x="108" y="401"/>
                      <a:pt x="108" y="401"/>
                    </a:cubicBezTo>
                    <a:cubicBezTo>
                      <a:pt x="108" y="402"/>
                      <a:pt x="108" y="403"/>
                      <a:pt x="108" y="403"/>
                    </a:cubicBezTo>
                    <a:cubicBezTo>
                      <a:pt x="108" y="405"/>
                      <a:pt x="108" y="406"/>
                      <a:pt x="107" y="407"/>
                    </a:cubicBezTo>
                    <a:close/>
                    <a:moveTo>
                      <a:pt x="55" y="397"/>
                    </a:moveTo>
                    <a:cubicBezTo>
                      <a:pt x="53" y="392"/>
                      <a:pt x="53" y="392"/>
                      <a:pt x="53" y="392"/>
                    </a:cubicBezTo>
                    <a:cubicBezTo>
                      <a:pt x="54" y="391"/>
                      <a:pt x="54" y="391"/>
                      <a:pt x="55" y="390"/>
                    </a:cubicBezTo>
                    <a:cubicBezTo>
                      <a:pt x="55" y="389"/>
                      <a:pt x="56" y="389"/>
                      <a:pt x="57" y="388"/>
                    </a:cubicBezTo>
                    <a:cubicBezTo>
                      <a:pt x="60" y="393"/>
                      <a:pt x="60" y="393"/>
                      <a:pt x="60" y="393"/>
                    </a:cubicBezTo>
                    <a:cubicBezTo>
                      <a:pt x="60" y="393"/>
                      <a:pt x="60" y="393"/>
                      <a:pt x="60" y="393"/>
                    </a:cubicBezTo>
                    <a:cubicBezTo>
                      <a:pt x="59" y="395"/>
                      <a:pt x="57" y="396"/>
                      <a:pt x="55" y="397"/>
                    </a:cubicBezTo>
                    <a:close/>
                    <a:moveTo>
                      <a:pt x="74" y="394"/>
                    </a:moveTo>
                    <a:cubicBezTo>
                      <a:pt x="74" y="394"/>
                      <a:pt x="73" y="394"/>
                      <a:pt x="73" y="394"/>
                    </a:cubicBezTo>
                    <a:cubicBezTo>
                      <a:pt x="73" y="394"/>
                      <a:pt x="72" y="394"/>
                      <a:pt x="71" y="394"/>
                    </a:cubicBezTo>
                    <a:cubicBezTo>
                      <a:pt x="69" y="393"/>
                      <a:pt x="69" y="393"/>
                      <a:pt x="69" y="393"/>
                    </a:cubicBezTo>
                    <a:cubicBezTo>
                      <a:pt x="70" y="387"/>
                      <a:pt x="70" y="387"/>
                      <a:pt x="70" y="387"/>
                    </a:cubicBezTo>
                    <a:cubicBezTo>
                      <a:pt x="74" y="388"/>
                      <a:pt x="74" y="388"/>
                      <a:pt x="74" y="388"/>
                    </a:cubicBezTo>
                    <a:cubicBezTo>
                      <a:pt x="74" y="388"/>
                      <a:pt x="75" y="388"/>
                      <a:pt x="75" y="388"/>
                    </a:cubicBezTo>
                    <a:cubicBezTo>
                      <a:pt x="76" y="394"/>
                      <a:pt x="76" y="394"/>
                      <a:pt x="76" y="394"/>
                    </a:cubicBezTo>
                    <a:cubicBezTo>
                      <a:pt x="76" y="394"/>
                      <a:pt x="75" y="394"/>
                      <a:pt x="74" y="394"/>
                    </a:cubicBezTo>
                    <a:close/>
                    <a:moveTo>
                      <a:pt x="102" y="392"/>
                    </a:moveTo>
                    <a:cubicBezTo>
                      <a:pt x="101" y="391"/>
                      <a:pt x="99" y="390"/>
                      <a:pt x="98" y="388"/>
                    </a:cubicBezTo>
                    <a:cubicBezTo>
                      <a:pt x="101" y="384"/>
                      <a:pt x="101" y="384"/>
                      <a:pt x="101" y="384"/>
                    </a:cubicBezTo>
                    <a:cubicBezTo>
                      <a:pt x="103" y="385"/>
                      <a:pt x="104" y="386"/>
                      <a:pt x="106" y="388"/>
                    </a:cubicBezTo>
                    <a:lnTo>
                      <a:pt x="102" y="392"/>
                    </a:lnTo>
                    <a:close/>
                    <a:moveTo>
                      <a:pt x="47" y="388"/>
                    </a:moveTo>
                    <a:cubicBezTo>
                      <a:pt x="46" y="387"/>
                      <a:pt x="46" y="387"/>
                      <a:pt x="46" y="386"/>
                    </a:cubicBezTo>
                    <a:cubicBezTo>
                      <a:pt x="45" y="385"/>
                      <a:pt x="44" y="384"/>
                      <a:pt x="43" y="383"/>
                    </a:cubicBezTo>
                    <a:cubicBezTo>
                      <a:pt x="49" y="381"/>
                      <a:pt x="49" y="381"/>
                      <a:pt x="49" y="381"/>
                    </a:cubicBezTo>
                    <a:cubicBezTo>
                      <a:pt x="49" y="381"/>
                      <a:pt x="49" y="382"/>
                      <a:pt x="50" y="383"/>
                    </a:cubicBezTo>
                    <a:cubicBezTo>
                      <a:pt x="51" y="384"/>
                      <a:pt x="51" y="384"/>
                      <a:pt x="52" y="385"/>
                    </a:cubicBezTo>
                    <a:lnTo>
                      <a:pt x="47" y="388"/>
                    </a:lnTo>
                    <a:close/>
                    <a:moveTo>
                      <a:pt x="87" y="385"/>
                    </a:moveTo>
                    <a:cubicBezTo>
                      <a:pt x="82" y="382"/>
                      <a:pt x="82" y="382"/>
                      <a:pt x="82" y="382"/>
                    </a:cubicBezTo>
                    <a:cubicBezTo>
                      <a:pt x="82" y="382"/>
                      <a:pt x="82" y="382"/>
                      <a:pt x="82" y="382"/>
                    </a:cubicBezTo>
                    <a:cubicBezTo>
                      <a:pt x="84" y="379"/>
                      <a:pt x="86" y="378"/>
                      <a:pt x="88" y="378"/>
                    </a:cubicBezTo>
                    <a:cubicBezTo>
                      <a:pt x="89" y="378"/>
                      <a:pt x="89" y="378"/>
                      <a:pt x="90" y="378"/>
                    </a:cubicBezTo>
                    <a:cubicBezTo>
                      <a:pt x="88" y="384"/>
                      <a:pt x="88" y="384"/>
                      <a:pt x="88" y="384"/>
                    </a:cubicBezTo>
                    <a:cubicBezTo>
                      <a:pt x="88" y="384"/>
                      <a:pt x="88" y="384"/>
                      <a:pt x="88" y="384"/>
                    </a:cubicBezTo>
                    <a:cubicBezTo>
                      <a:pt x="88" y="384"/>
                      <a:pt x="88" y="384"/>
                      <a:pt x="87" y="385"/>
                    </a:cubicBezTo>
                    <a:close/>
                    <a:moveTo>
                      <a:pt x="42" y="371"/>
                    </a:moveTo>
                    <a:cubicBezTo>
                      <a:pt x="42" y="369"/>
                      <a:pt x="41" y="368"/>
                      <a:pt x="41" y="366"/>
                    </a:cubicBezTo>
                    <a:cubicBezTo>
                      <a:pt x="40" y="366"/>
                      <a:pt x="40" y="366"/>
                      <a:pt x="40" y="366"/>
                    </a:cubicBezTo>
                    <a:cubicBezTo>
                      <a:pt x="46" y="363"/>
                      <a:pt x="46" y="363"/>
                      <a:pt x="46" y="363"/>
                    </a:cubicBezTo>
                    <a:cubicBezTo>
                      <a:pt x="46" y="364"/>
                      <a:pt x="46" y="364"/>
                      <a:pt x="46" y="364"/>
                    </a:cubicBezTo>
                    <a:cubicBezTo>
                      <a:pt x="47" y="366"/>
                      <a:pt x="47" y="367"/>
                      <a:pt x="48" y="369"/>
                    </a:cubicBezTo>
                    <a:lnTo>
                      <a:pt x="42" y="371"/>
                    </a:lnTo>
                    <a:close/>
                    <a:moveTo>
                      <a:pt x="44" y="354"/>
                    </a:moveTo>
                    <a:cubicBezTo>
                      <a:pt x="38" y="353"/>
                      <a:pt x="38" y="353"/>
                      <a:pt x="38" y="353"/>
                    </a:cubicBezTo>
                    <a:cubicBezTo>
                      <a:pt x="38" y="352"/>
                      <a:pt x="39" y="351"/>
                      <a:pt x="39" y="350"/>
                    </a:cubicBezTo>
                    <a:cubicBezTo>
                      <a:pt x="40" y="349"/>
                      <a:pt x="40" y="348"/>
                      <a:pt x="40" y="347"/>
                    </a:cubicBezTo>
                    <a:cubicBezTo>
                      <a:pt x="46" y="349"/>
                      <a:pt x="46" y="349"/>
                      <a:pt x="46" y="349"/>
                    </a:cubicBezTo>
                    <a:cubicBezTo>
                      <a:pt x="45" y="350"/>
                      <a:pt x="45" y="351"/>
                      <a:pt x="44" y="352"/>
                    </a:cubicBezTo>
                    <a:cubicBezTo>
                      <a:pt x="44" y="353"/>
                      <a:pt x="44" y="353"/>
                      <a:pt x="44" y="354"/>
                    </a:cubicBezTo>
                    <a:close/>
                    <a:moveTo>
                      <a:pt x="49" y="337"/>
                    </a:moveTo>
                    <a:cubicBezTo>
                      <a:pt x="43" y="336"/>
                      <a:pt x="43" y="336"/>
                      <a:pt x="43" y="336"/>
                    </a:cubicBezTo>
                    <a:cubicBezTo>
                      <a:pt x="43" y="335"/>
                      <a:pt x="43" y="335"/>
                      <a:pt x="43" y="334"/>
                    </a:cubicBezTo>
                    <a:cubicBezTo>
                      <a:pt x="44" y="332"/>
                      <a:pt x="44" y="331"/>
                      <a:pt x="45" y="330"/>
                    </a:cubicBezTo>
                    <a:cubicBezTo>
                      <a:pt x="50" y="332"/>
                      <a:pt x="50" y="332"/>
                      <a:pt x="50" y="332"/>
                    </a:cubicBezTo>
                    <a:cubicBezTo>
                      <a:pt x="50" y="333"/>
                      <a:pt x="49" y="334"/>
                      <a:pt x="49" y="335"/>
                    </a:cubicBezTo>
                    <a:cubicBezTo>
                      <a:pt x="49" y="336"/>
                      <a:pt x="49" y="336"/>
                      <a:pt x="49" y="337"/>
                    </a:cubicBezTo>
                    <a:close/>
                    <a:moveTo>
                      <a:pt x="56" y="325"/>
                    </a:moveTo>
                    <a:cubicBezTo>
                      <a:pt x="54" y="320"/>
                      <a:pt x="54" y="320"/>
                      <a:pt x="54" y="320"/>
                    </a:cubicBezTo>
                    <a:cubicBezTo>
                      <a:pt x="54" y="319"/>
                      <a:pt x="54" y="319"/>
                      <a:pt x="54" y="319"/>
                    </a:cubicBezTo>
                    <a:cubicBezTo>
                      <a:pt x="56" y="318"/>
                      <a:pt x="57" y="318"/>
                      <a:pt x="58" y="317"/>
                    </a:cubicBezTo>
                    <a:cubicBezTo>
                      <a:pt x="62" y="321"/>
                      <a:pt x="62" y="321"/>
                      <a:pt x="62" y="321"/>
                    </a:cubicBezTo>
                    <a:cubicBezTo>
                      <a:pt x="61" y="322"/>
                      <a:pt x="59" y="323"/>
                      <a:pt x="57" y="324"/>
                    </a:cubicBezTo>
                    <a:lnTo>
                      <a:pt x="56" y="325"/>
                    </a:lnTo>
                    <a:close/>
                    <a:moveTo>
                      <a:pt x="51" y="318"/>
                    </a:moveTo>
                    <a:cubicBezTo>
                      <a:pt x="49" y="313"/>
                      <a:pt x="49" y="313"/>
                      <a:pt x="49" y="313"/>
                    </a:cubicBezTo>
                    <a:cubicBezTo>
                      <a:pt x="50" y="312"/>
                      <a:pt x="50" y="312"/>
                      <a:pt x="50" y="312"/>
                    </a:cubicBezTo>
                    <a:cubicBezTo>
                      <a:pt x="51" y="312"/>
                      <a:pt x="52" y="311"/>
                      <a:pt x="53" y="311"/>
                    </a:cubicBezTo>
                    <a:cubicBezTo>
                      <a:pt x="54" y="311"/>
                      <a:pt x="54" y="311"/>
                      <a:pt x="55" y="310"/>
                    </a:cubicBezTo>
                    <a:cubicBezTo>
                      <a:pt x="56" y="316"/>
                      <a:pt x="56" y="316"/>
                      <a:pt x="56" y="316"/>
                    </a:cubicBezTo>
                    <a:cubicBezTo>
                      <a:pt x="56" y="316"/>
                      <a:pt x="56" y="316"/>
                      <a:pt x="55" y="316"/>
                    </a:cubicBezTo>
                    <a:cubicBezTo>
                      <a:pt x="54" y="317"/>
                      <a:pt x="53" y="317"/>
                      <a:pt x="52" y="318"/>
                    </a:cubicBezTo>
                    <a:lnTo>
                      <a:pt x="51" y="318"/>
                    </a:lnTo>
                    <a:close/>
                    <a:moveTo>
                      <a:pt x="45" y="313"/>
                    </a:moveTo>
                    <a:cubicBezTo>
                      <a:pt x="40" y="311"/>
                      <a:pt x="40" y="311"/>
                      <a:pt x="40" y="311"/>
                    </a:cubicBezTo>
                    <a:cubicBezTo>
                      <a:pt x="41" y="309"/>
                      <a:pt x="42" y="308"/>
                      <a:pt x="43" y="307"/>
                    </a:cubicBezTo>
                    <a:cubicBezTo>
                      <a:pt x="44" y="307"/>
                      <a:pt x="44" y="307"/>
                      <a:pt x="45" y="306"/>
                    </a:cubicBezTo>
                    <a:cubicBezTo>
                      <a:pt x="49" y="310"/>
                      <a:pt x="49" y="310"/>
                      <a:pt x="49" y="310"/>
                    </a:cubicBezTo>
                    <a:cubicBezTo>
                      <a:pt x="48" y="311"/>
                      <a:pt x="47" y="312"/>
                      <a:pt x="47" y="312"/>
                    </a:cubicBezTo>
                    <a:cubicBezTo>
                      <a:pt x="46" y="313"/>
                      <a:pt x="45" y="313"/>
                      <a:pt x="45" y="313"/>
                    </a:cubicBezTo>
                    <a:close/>
                    <a:moveTo>
                      <a:pt x="51" y="297"/>
                    </a:moveTo>
                    <a:cubicBezTo>
                      <a:pt x="45" y="296"/>
                      <a:pt x="45" y="296"/>
                      <a:pt x="45" y="296"/>
                    </a:cubicBezTo>
                    <a:cubicBezTo>
                      <a:pt x="45" y="295"/>
                      <a:pt x="46" y="294"/>
                      <a:pt x="47" y="293"/>
                    </a:cubicBezTo>
                    <a:cubicBezTo>
                      <a:pt x="47" y="292"/>
                      <a:pt x="47" y="292"/>
                      <a:pt x="48" y="291"/>
                    </a:cubicBezTo>
                    <a:cubicBezTo>
                      <a:pt x="48" y="291"/>
                      <a:pt x="48" y="291"/>
                      <a:pt x="49" y="290"/>
                    </a:cubicBezTo>
                    <a:cubicBezTo>
                      <a:pt x="53" y="294"/>
                      <a:pt x="53" y="294"/>
                      <a:pt x="53" y="294"/>
                    </a:cubicBezTo>
                    <a:cubicBezTo>
                      <a:pt x="53" y="294"/>
                      <a:pt x="52" y="295"/>
                      <a:pt x="52" y="295"/>
                    </a:cubicBezTo>
                    <a:cubicBezTo>
                      <a:pt x="52" y="296"/>
                      <a:pt x="51" y="296"/>
                      <a:pt x="51" y="296"/>
                    </a:cubicBezTo>
                    <a:cubicBezTo>
                      <a:pt x="51" y="296"/>
                      <a:pt x="51" y="296"/>
                      <a:pt x="51" y="296"/>
                    </a:cubicBezTo>
                    <a:cubicBezTo>
                      <a:pt x="51" y="296"/>
                      <a:pt x="51" y="297"/>
                      <a:pt x="51" y="297"/>
                    </a:cubicBezTo>
                    <a:close/>
                    <a:moveTo>
                      <a:pt x="48" y="283"/>
                    </a:moveTo>
                    <a:cubicBezTo>
                      <a:pt x="48" y="283"/>
                      <a:pt x="47" y="283"/>
                      <a:pt x="46" y="283"/>
                    </a:cubicBezTo>
                    <a:cubicBezTo>
                      <a:pt x="46" y="283"/>
                      <a:pt x="45" y="282"/>
                      <a:pt x="44" y="282"/>
                    </a:cubicBezTo>
                    <a:cubicBezTo>
                      <a:pt x="45" y="276"/>
                      <a:pt x="45" y="276"/>
                      <a:pt x="45" y="276"/>
                    </a:cubicBezTo>
                    <a:cubicBezTo>
                      <a:pt x="46" y="277"/>
                      <a:pt x="47" y="277"/>
                      <a:pt x="48" y="277"/>
                    </a:cubicBezTo>
                    <a:cubicBezTo>
                      <a:pt x="49" y="277"/>
                      <a:pt x="51" y="278"/>
                      <a:pt x="52" y="279"/>
                    </a:cubicBezTo>
                    <a:cubicBezTo>
                      <a:pt x="48" y="283"/>
                      <a:pt x="48" y="283"/>
                      <a:pt x="48" y="283"/>
                    </a:cubicBezTo>
                    <a:cubicBezTo>
                      <a:pt x="48" y="283"/>
                      <a:pt x="48" y="283"/>
                      <a:pt x="48" y="283"/>
                    </a:cubicBezTo>
                    <a:close/>
                    <a:moveTo>
                      <a:pt x="31" y="279"/>
                    </a:moveTo>
                    <a:cubicBezTo>
                      <a:pt x="29" y="277"/>
                      <a:pt x="28" y="275"/>
                      <a:pt x="27" y="272"/>
                    </a:cubicBezTo>
                    <a:cubicBezTo>
                      <a:pt x="33" y="271"/>
                      <a:pt x="33" y="271"/>
                      <a:pt x="33" y="271"/>
                    </a:cubicBezTo>
                    <a:cubicBezTo>
                      <a:pt x="33" y="272"/>
                      <a:pt x="34" y="273"/>
                      <a:pt x="35" y="274"/>
                    </a:cubicBezTo>
                    <a:lnTo>
                      <a:pt x="31" y="279"/>
                    </a:lnTo>
                    <a:close/>
                    <a:moveTo>
                      <a:pt x="34" y="261"/>
                    </a:moveTo>
                    <a:cubicBezTo>
                      <a:pt x="29" y="259"/>
                      <a:pt x="29" y="259"/>
                      <a:pt x="29" y="259"/>
                    </a:cubicBezTo>
                    <a:cubicBezTo>
                      <a:pt x="29" y="258"/>
                      <a:pt x="30" y="257"/>
                      <a:pt x="30" y="255"/>
                    </a:cubicBezTo>
                    <a:cubicBezTo>
                      <a:pt x="31" y="255"/>
                      <a:pt x="31" y="255"/>
                      <a:pt x="31" y="255"/>
                    </a:cubicBezTo>
                    <a:cubicBezTo>
                      <a:pt x="31" y="254"/>
                      <a:pt x="31" y="254"/>
                      <a:pt x="31" y="253"/>
                    </a:cubicBezTo>
                    <a:cubicBezTo>
                      <a:pt x="37" y="255"/>
                      <a:pt x="37" y="255"/>
                      <a:pt x="37" y="255"/>
                    </a:cubicBezTo>
                    <a:cubicBezTo>
                      <a:pt x="36" y="256"/>
                      <a:pt x="36" y="257"/>
                      <a:pt x="36" y="257"/>
                    </a:cubicBezTo>
                    <a:cubicBezTo>
                      <a:pt x="36" y="258"/>
                      <a:pt x="36" y="258"/>
                      <a:pt x="36" y="258"/>
                    </a:cubicBezTo>
                    <a:cubicBezTo>
                      <a:pt x="35" y="259"/>
                      <a:pt x="35" y="260"/>
                      <a:pt x="34" y="261"/>
                    </a:cubicBezTo>
                    <a:close/>
                    <a:moveTo>
                      <a:pt x="30" y="245"/>
                    </a:moveTo>
                    <a:cubicBezTo>
                      <a:pt x="30" y="245"/>
                      <a:pt x="30" y="244"/>
                      <a:pt x="29" y="244"/>
                    </a:cubicBezTo>
                    <a:cubicBezTo>
                      <a:pt x="28" y="243"/>
                      <a:pt x="28" y="243"/>
                      <a:pt x="28" y="243"/>
                    </a:cubicBezTo>
                    <a:cubicBezTo>
                      <a:pt x="28" y="242"/>
                      <a:pt x="27" y="241"/>
                      <a:pt x="27" y="241"/>
                    </a:cubicBezTo>
                    <a:cubicBezTo>
                      <a:pt x="31" y="237"/>
                      <a:pt x="31" y="237"/>
                      <a:pt x="31" y="237"/>
                    </a:cubicBezTo>
                    <a:cubicBezTo>
                      <a:pt x="32" y="238"/>
                      <a:pt x="32" y="238"/>
                      <a:pt x="33" y="239"/>
                    </a:cubicBezTo>
                    <a:cubicBezTo>
                      <a:pt x="34" y="240"/>
                      <a:pt x="34" y="240"/>
                      <a:pt x="34" y="240"/>
                    </a:cubicBezTo>
                    <a:cubicBezTo>
                      <a:pt x="34" y="241"/>
                      <a:pt x="35" y="241"/>
                      <a:pt x="35" y="242"/>
                    </a:cubicBezTo>
                    <a:lnTo>
                      <a:pt x="30" y="245"/>
                    </a:lnTo>
                    <a:close/>
                    <a:moveTo>
                      <a:pt x="31" y="228"/>
                    </a:moveTo>
                    <a:cubicBezTo>
                      <a:pt x="25" y="227"/>
                      <a:pt x="25" y="227"/>
                      <a:pt x="25" y="227"/>
                    </a:cubicBezTo>
                    <a:cubicBezTo>
                      <a:pt x="26" y="225"/>
                      <a:pt x="26" y="225"/>
                      <a:pt x="26" y="225"/>
                    </a:cubicBezTo>
                    <a:cubicBezTo>
                      <a:pt x="26" y="224"/>
                      <a:pt x="26" y="223"/>
                      <a:pt x="26" y="222"/>
                    </a:cubicBezTo>
                    <a:cubicBezTo>
                      <a:pt x="32" y="222"/>
                      <a:pt x="32" y="222"/>
                      <a:pt x="32" y="222"/>
                    </a:cubicBezTo>
                    <a:cubicBezTo>
                      <a:pt x="32" y="223"/>
                      <a:pt x="32" y="225"/>
                      <a:pt x="31" y="226"/>
                    </a:cubicBezTo>
                    <a:lnTo>
                      <a:pt x="31" y="228"/>
                    </a:lnTo>
                    <a:close/>
                    <a:moveTo>
                      <a:pt x="10" y="217"/>
                    </a:moveTo>
                    <a:cubicBezTo>
                      <a:pt x="10" y="216"/>
                      <a:pt x="10" y="216"/>
                      <a:pt x="10" y="216"/>
                    </a:cubicBezTo>
                    <a:cubicBezTo>
                      <a:pt x="10" y="215"/>
                      <a:pt x="9" y="215"/>
                      <a:pt x="9" y="214"/>
                    </a:cubicBezTo>
                    <a:cubicBezTo>
                      <a:pt x="9" y="213"/>
                      <a:pt x="8" y="212"/>
                      <a:pt x="8" y="211"/>
                    </a:cubicBezTo>
                    <a:cubicBezTo>
                      <a:pt x="13" y="209"/>
                      <a:pt x="13" y="209"/>
                      <a:pt x="13" y="209"/>
                    </a:cubicBezTo>
                    <a:cubicBezTo>
                      <a:pt x="14" y="210"/>
                      <a:pt x="14" y="210"/>
                      <a:pt x="14" y="211"/>
                    </a:cubicBezTo>
                    <a:cubicBezTo>
                      <a:pt x="15" y="212"/>
                      <a:pt x="15" y="213"/>
                      <a:pt x="16" y="214"/>
                    </a:cubicBezTo>
                    <a:lnTo>
                      <a:pt x="10" y="217"/>
                    </a:lnTo>
                    <a:close/>
                    <a:moveTo>
                      <a:pt x="25" y="215"/>
                    </a:moveTo>
                    <a:cubicBezTo>
                      <a:pt x="22" y="210"/>
                      <a:pt x="22" y="210"/>
                      <a:pt x="22" y="210"/>
                    </a:cubicBezTo>
                    <a:cubicBezTo>
                      <a:pt x="23" y="209"/>
                      <a:pt x="24" y="208"/>
                      <a:pt x="24" y="208"/>
                    </a:cubicBezTo>
                    <a:cubicBezTo>
                      <a:pt x="27" y="207"/>
                      <a:pt x="29" y="207"/>
                      <a:pt x="30" y="208"/>
                    </a:cubicBezTo>
                    <a:cubicBezTo>
                      <a:pt x="27" y="213"/>
                      <a:pt x="27" y="213"/>
                      <a:pt x="27" y="213"/>
                    </a:cubicBezTo>
                    <a:cubicBezTo>
                      <a:pt x="27" y="213"/>
                      <a:pt x="27" y="213"/>
                      <a:pt x="27" y="213"/>
                    </a:cubicBezTo>
                    <a:cubicBezTo>
                      <a:pt x="27" y="213"/>
                      <a:pt x="27" y="213"/>
                      <a:pt x="27" y="213"/>
                    </a:cubicBezTo>
                    <a:cubicBezTo>
                      <a:pt x="26" y="214"/>
                      <a:pt x="25" y="214"/>
                      <a:pt x="25" y="215"/>
                    </a:cubicBezTo>
                    <a:close/>
                    <a:moveTo>
                      <a:pt x="9" y="200"/>
                    </a:moveTo>
                    <a:cubicBezTo>
                      <a:pt x="7" y="199"/>
                      <a:pt x="6" y="198"/>
                      <a:pt x="5" y="196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4"/>
                      <a:pt x="11" y="195"/>
                      <a:pt x="11" y="195"/>
                    </a:cubicBezTo>
                    <a:cubicBezTo>
                      <a:pt x="13" y="196"/>
                      <a:pt x="14" y="197"/>
                      <a:pt x="14" y="199"/>
                    </a:cubicBezTo>
                    <a:cubicBezTo>
                      <a:pt x="8" y="199"/>
                      <a:pt x="8" y="199"/>
                      <a:pt x="8" y="199"/>
                    </a:cubicBezTo>
                    <a:cubicBezTo>
                      <a:pt x="8" y="199"/>
                      <a:pt x="8" y="200"/>
                      <a:pt x="9" y="200"/>
                    </a:cubicBezTo>
                    <a:close/>
                    <a:moveTo>
                      <a:pt x="14" y="187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11" y="182"/>
                      <a:pt x="12" y="181"/>
                      <a:pt x="13" y="179"/>
                    </a:cubicBezTo>
                    <a:cubicBezTo>
                      <a:pt x="18" y="181"/>
                      <a:pt x="18" y="181"/>
                      <a:pt x="18" y="181"/>
                    </a:cubicBezTo>
                    <a:cubicBezTo>
                      <a:pt x="17" y="184"/>
                      <a:pt x="16" y="185"/>
                      <a:pt x="14" y="187"/>
                    </a:cubicBezTo>
                    <a:close/>
                    <a:moveTo>
                      <a:pt x="21" y="169"/>
                    </a:moveTo>
                    <a:cubicBezTo>
                      <a:pt x="15" y="169"/>
                      <a:pt x="15" y="169"/>
                      <a:pt x="15" y="169"/>
                    </a:cubicBezTo>
                    <a:cubicBezTo>
                      <a:pt x="15" y="168"/>
                      <a:pt x="15" y="168"/>
                      <a:pt x="15" y="168"/>
                    </a:cubicBezTo>
                    <a:cubicBezTo>
                      <a:pt x="15" y="166"/>
                      <a:pt x="15" y="165"/>
                      <a:pt x="15" y="164"/>
                    </a:cubicBezTo>
                    <a:cubicBezTo>
                      <a:pt x="20" y="162"/>
                      <a:pt x="20" y="162"/>
                      <a:pt x="20" y="162"/>
                    </a:cubicBezTo>
                    <a:cubicBezTo>
                      <a:pt x="21" y="164"/>
                      <a:pt x="21" y="166"/>
                      <a:pt x="21" y="168"/>
                    </a:cubicBezTo>
                    <a:lnTo>
                      <a:pt x="21" y="169"/>
                    </a:lnTo>
                    <a:close/>
                    <a:moveTo>
                      <a:pt x="25" y="157"/>
                    </a:moveTo>
                    <a:cubicBezTo>
                      <a:pt x="24" y="155"/>
                      <a:pt x="24" y="155"/>
                      <a:pt x="24" y="155"/>
                    </a:cubicBezTo>
                    <a:cubicBezTo>
                      <a:pt x="22" y="152"/>
                      <a:pt x="22" y="152"/>
                      <a:pt x="22" y="152"/>
                    </a:cubicBezTo>
                    <a:cubicBezTo>
                      <a:pt x="24" y="151"/>
                      <a:pt x="26" y="150"/>
                      <a:pt x="29" y="150"/>
                    </a:cubicBezTo>
                    <a:cubicBezTo>
                      <a:pt x="30" y="156"/>
                      <a:pt x="30" y="156"/>
                      <a:pt x="30" y="156"/>
                    </a:cubicBezTo>
                    <a:cubicBezTo>
                      <a:pt x="29" y="156"/>
                      <a:pt x="26" y="156"/>
                      <a:pt x="25" y="157"/>
                    </a:cubicBezTo>
                    <a:close/>
                    <a:moveTo>
                      <a:pt x="42" y="151"/>
                    </a:moveTo>
                    <a:cubicBezTo>
                      <a:pt x="38" y="147"/>
                      <a:pt x="38" y="147"/>
                      <a:pt x="38" y="147"/>
                    </a:cubicBezTo>
                    <a:cubicBezTo>
                      <a:pt x="38" y="146"/>
                      <a:pt x="37" y="146"/>
                      <a:pt x="37" y="145"/>
                    </a:cubicBezTo>
                    <a:cubicBezTo>
                      <a:pt x="42" y="142"/>
                      <a:pt x="42" y="142"/>
                      <a:pt x="42" y="142"/>
                    </a:cubicBezTo>
                    <a:cubicBezTo>
                      <a:pt x="43" y="144"/>
                      <a:pt x="43" y="145"/>
                      <a:pt x="43" y="147"/>
                    </a:cubicBezTo>
                    <a:cubicBezTo>
                      <a:pt x="43" y="147"/>
                      <a:pt x="43" y="147"/>
                      <a:pt x="43" y="147"/>
                    </a:cubicBezTo>
                    <a:cubicBezTo>
                      <a:pt x="43" y="148"/>
                      <a:pt x="43" y="150"/>
                      <a:pt x="42" y="151"/>
                    </a:cubicBezTo>
                    <a:close/>
                    <a:moveTo>
                      <a:pt x="42" y="139"/>
                    </a:moveTo>
                    <a:cubicBezTo>
                      <a:pt x="42" y="133"/>
                      <a:pt x="42" y="133"/>
                      <a:pt x="42" y="133"/>
                    </a:cubicBezTo>
                    <a:cubicBezTo>
                      <a:pt x="42" y="133"/>
                      <a:pt x="43" y="133"/>
                      <a:pt x="43" y="133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44" y="133"/>
                      <a:pt x="44" y="133"/>
                      <a:pt x="45" y="133"/>
                    </a:cubicBezTo>
                    <a:cubicBezTo>
                      <a:pt x="50" y="136"/>
                      <a:pt x="50" y="136"/>
                      <a:pt x="50" y="136"/>
                    </a:cubicBezTo>
                    <a:cubicBezTo>
                      <a:pt x="48" y="138"/>
                      <a:pt x="47" y="139"/>
                      <a:pt x="44" y="139"/>
                    </a:cubicBezTo>
                    <a:cubicBezTo>
                      <a:pt x="43" y="139"/>
                      <a:pt x="43" y="139"/>
                      <a:pt x="43" y="139"/>
                    </a:cubicBezTo>
                    <a:cubicBezTo>
                      <a:pt x="43" y="139"/>
                      <a:pt x="43" y="139"/>
                      <a:pt x="42" y="139"/>
                    </a:cubicBezTo>
                    <a:close/>
                    <a:moveTo>
                      <a:pt x="56" y="126"/>
                    </a:moveTo>
                    <a:cubicBezTo>
                      <a:pt x="51" y="123"/>
                      <a:pt x="51" y="123"/>
                      <a:pt x="51" y="123"/>
                    </a:cubicBezTo>
                    <a:cubicBezTo>
                      <a:pt x="53" y="121"/>
                      <a:pt x="53" y="120"/>
                      <a:pt x="53" y="120"/>
                    </a:cubicBezTo>
                    <a:cubicBezTo>
                      <a:pt x="59" y="119"/>
                      <a:pt x="59" y="119"/>
                      <a:pt x="59" y="119"/>
                    </a:cubicBezTo>
                    <a:cubicBezTo>
                      <a:pt x="59" y="119"/>
                      <a:pt x="59" y="119"/>
                      <a:pt x="59" y="120"/>
                    </a:cubicBezTo>
                    <a:cubicBezTo>
                      <a:pt x="59" y="122"/>
                      <a:pt x="57" y="124"/>
                      <a:pt x="56" y="126"/>
                    </a:cubicBezTo>
                    <a:close/>
                    <a:moveTo>
                      <a:pt x="48" y="110"/>
                    </a:moveTo>
                    <a:cubicBezTo>
                      <a:pt x="48" y="110"/>
                      <a:pt x="47" y="109"/>
                      <a:pt x="47" y="109"/>
                    </a:cubicBezTo>
                    <a:cubicBezTo>
                      <a:pt x="46" y="109"/>
                      <a:pt x="45" y="108"/>
                      <a:pt x="45" y="108"/>
                    </a:cubicBezTo>
                    <a:cubicBezTo>
                      <a:pt x="48" y="103"/>
                      <a:pt x="48" y="103"/>
                      <a:pt x="48" y="103"/>
                    </a:cubicBezTo>
                    <a:cubicBezTo>
                      <a:pt x="49" y="103"/>
                      <a:pt x="49" y="104"/>
                      <a:pt x="50" y="104"/>
                    </a:cubicBezTo>
                    <a:cubicBezTo>
                      <a:pt x="51" y="105"/>
                      <a:pt x="53" y="106"/>
                      <a:pt x="54" y="108"/>
                    </a:cubicBezTo>
                    <a:cubicBezTo>
                      <a:pt x="48" y="110"/>
                      <a:pt x="48" y="110"/>
                      <a:pt x="48" y="110"/>
                    </a:cubicBezTo>
                    <a:cubicBezTo>
                      <a:pt x="51" y="109"/>
                      <a:pt x="51" y="109"/>
                      <a:pt x="51" y="109"/>
                    </a:cubicBezTo>
                    <a:lnTo>
                      <a:pt x="48" y="110"/>
                    </a:lnTo>
                    <a:close/>
                    <a:moveTo>
                      <a:pt x="48" y="95"/>
                    </a:moveTo>
                    <a:cubicBezTo>
                      <a:pt x="42" y="94"/>
                      <a:pt x="42" y="94"/>
                      <a:pt x="42" y="94"/>
                    </a:cubicBezTo>
                    <a:cubicBezTo>
                      <a:pt x="43" y="92"/>
                      <a:pt x="43" y="90"/>
                      <a:pt x="43" y="89"/>
                    </a:cubicBezTo>
                    <a:cubicBezTo>
                      <a:pt x="49" y="89"/>
                      <a:pt x="49" y="89"/>
                      <a:pt x="49" y="89"/>
                    </a:cubicBezTo>
                    <a:cubicBezTo>
                      <a:pt x="49" y="91"/>
                      <a:pt x="49" y="93"/>
                      <a:pt x="48" y="95"/>
                    </a:cubicBezTo>
                    <a:close/>
                    <a:moveTo>
                      <a:pt x="42" y="81"/>
                    </a:moveTo>
                    <a:cubicBezTo>
                      <a:pt x="40" y="81"/>
                      <a:pt x="37" y="80"/>
                      <a:pt x="35" y="78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40" y="75"/>
                      <a:pt x="42" y="76"/>
                      <a:pt x="42" y="76"/>
                    </a:cubicBezTo>
                    <a:lnTo>
                      <a:pt x="42" y="81"/>
                    </a:lnTo>
                    <a:close/>
                    <a:moveTo>
                      <a:pt x="28" y="69"/>
                    </a:moveTo>
                    <a:cubicBezTo>
                      <a:pt x="27" y="69"/>
                      <a:pt x="27" y="69"/>
                      <a:pt x="27" y="69"/>
                    </a:cubicBezTo>
                    <a:cubicBezTo>
                      <a:pt x="25" y="67"/>
                      <a:pt x="23" y="66"/>
                      <a:pt x="23" y="64"/>
                    </a:cubicBezTo>
                    <a:cubicBezTo>
                      <a:pt x="29" y="62"/>
                      <a:pt x="29" y="62"/>
                      <a:pt x="29" y="62"/>
                    </a:cubicBezTo>
                    <a:cubicBezTo>
                      <a:pt x="29" y="63"/>
                      <a:pt x="30" y="63"/>
                      <a:pt x="30" y="64"/>
                    </a:cubicBezTo>
                    <a:cubicBezTo>
                      <a:pt x="31" y="65"/>
                      <a:pt x="31" y="65"/>
                      <a:pt x="31" y="65"/>
                    </a:cubicBezTo>
                    <a:lnTo>
                      <a:pt x="28" y="69"/>
                    </a:lnTo>
                    <a:close/>
                    <a:moveTo>
                      <a:pt x="12" y="63"/>
                    </a:moveTo>
                    <a:cubicBezTo>
                      <a:pt x="11" y="63"/>
                      <a:pt x="10" y="63"/>
                      <a:pt x="9" y="62"/>
                    </a:cubicBezTo>
                    <a:cubicBezTo>
                      <a:pt x="12" y="57"/>
                      <a:pt x="12" y="57"/>
                      <a:pt x="12" y="57"/>
                    </a:cubicBezTo>
                    <a:cubicBezTo>
                      <a:pt x="13" y="57"/>
                      <a:pt x="14" y="56"/>
                      <a:pt x="15" y="56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17" y="61"/>
                      <a:pt x="17" y="61"/>
                      <a:pt x="17" y="61"/>
                    </a:cubicBezTo>
                    <a:cubicBezTo>
                      <a:pt x="15" y="62"/>
                      <a:pt x="14" y="63"/>
                      <a:pt x="12" y="63"/>
                    </a:cubicBezTo>
                    <a:close/>
                    <a:moveTo>
                      <a:pt x="5" y="50"/>
                    </a:moveTo>
                    <a:cubicBezTo>
                      <a:pt x="5" y="49"/>
                      <a:pt x="5" y="49"/>
                      <a:pt x="4" y="49"/>
                    </a:cubicBezTo>
                    <a:cubicBezTo>
                      <a:pt x="3" y="48"/>
                      <a:pt x="2" y="48"/>
                      <a:pt x="1" y="47"/>
                    </a:cubicBezTo>
                    <a:cubicBezTo>
                      <a:pt x="5" y="43"/>
                      <a:pt x="5" y="43"/>
                      <a:pt x="5" y="43"/>
                    </a:cubicBezTo>
                    <a:cubicBezTo>
                      <a:pt x="5" y="43"/>
                      <a:pt x="6" y="43"/>
                      <a:pt x="6" y="43"/>
                    </a:cubicBezTo>
                    <a:cubicBezTo>
                      <a:pt x="8" y="44"/>
                      <a:pt x="9" y="46"/>
                      <a:pt x="10" y="47"/>
                    </a:cubicBezTo>
                    <a:lnTo>
                      <a:pt x="5" y="50"/>
                    </a:lnTo>
                    <a:close/>
                    <a:moveTo>
                      <a:pt x="6" y="37"/>
                    </a:moveTo>
                    <a:cubicBezTo>
                      <a:pt x="2" y="33"/>
                      <a:pt x="2" y="33"/>
                      <a:pt x="2" y="33"/>
                    </a:cubicBezTo>
                    <a:cubicBezTo>
                      <a:pt x="4" y="31"/>
                      <a:pt x="5" y="30"/>
                      <a:pt x="6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11" y="33"/>
                      <a:pt x="11" y="33"/>
                      <a:pt x="11" y="33"/>
                    </a:cubicBezTo>
                    <a:cubicBezTo>
                      <a:pt x="10" y="34"/>
                      <a:pt x="10" y="34"/>
                      <a:pt x="9" y="34"/>
                    </a:cubicBezTo>
                    <a:cubicBezTo>
                      <a:pt x="9" y="35"/>
                      <a:pt x="8" y="35"/>
                      <a:pt x="6" y="37"/>
                    </a:cubicBezTo>
                    <a:close/>
                    <a:moveTo>
                      <a:pt x="7" y="23"/>
                    </a:moveTo>
                    <a:cubicBezTo>
                      <a:pt x="7" y="23"/>
                      <a:pt x="6" y="23"/>
                      <a:pt x="6" y="23"/>
                    </a:cubicBezTo>
                    <a:cubicBezTo>
                      <a:pt x="3" y="22"/>
                      <a:pt x="2" y="20"/>
                      <a:pt x="2" y="18"/>
                    </a:cubicBezTo>
                    <a:cubicBezTo>
                      <a:pt x="2" y="18"/>
                      <a:pt x="3" y="17"/>
                      <a:pt x="3" y="15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9" y="18"/>
                      <a:pt x="9" y="18"/>
                      <a:pt x="9" y="18"/>
                    </a:cubicBezTo>
                    <a:lnTo>
                      <a:pt x="7" y="23"/>
                    </a:lnTo>
                    <a:close/>
                    <a:moveTo>
                      <a:pt x="4" y="8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8" y="4"/>
                      <a:pt x="8" y="4"/>
                      <a:pt x="8" y="4"/>
                    </a:cubicBezTo>
                    <a:lnTo>
                      <a:pt x="4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26" name="îšľiḓê"/>
              <p:cNvSpPr/>
              <p:nvPr/>
            </p:nvSpPr>
            <p:spPr bwMode="auto">
              <a:xfrm>
                <a:off x="6657975" y="4583113"/>
                <a:ext cx="658813" cy="198438"/>
              </a:xfrm>
              <a:custGeom>
                <a:avLst/>
                <a:gdLst>
                  <a:gd name="T0" fmla="*/ 5 w 307"/>
                  <a:gd name="T1" fmla="*/ 86 h 93"/>
                  <a:gd name="T2" fmla="*/ 12 w 307"/>
                  <a:gd name="T3" fmla="*/ 82 h 93"/>
                  <a:gd name="T4" fmla="*/ 14 w 307"/>
                  <a:gd name="T5" fmla="*/ 75 h 93"/>
                  <a:gd name="T6" fmla="*/ 12 w 307"/>
                  <a:gd name="T7" fmla="*/ 82 h 93"/>
                  <a:gd name="T8" fmla="*/ 17 w 307"/>
                  <a:gd name="T9" fmla="*/ 62 h 93"/>
                  <a:gd name="T10" fmla="*/ 23 w 307"/>
                  <a:gd name="T11" fmla="*/ 61 h 93"/>
                  <a:gd name="T12" fmla="*/ 22 w 307"/>
                  <a:gd name="T13" fmla="*/ 66 h 93"/>
                  <a:gd name="T14" fmla="*/ 241 w 307"/>
                  <a:gd name="T15" fmla="*/ 58 h 93"/>
                  <a:gd name="T16" fmla="*/ 246 w 307"/>
                  <a:gd name="T17" fmla="*/ 51 h 93"/>
                  <a:gd name="T18" fmla="*/ 31 w 307"/>
                  <a:gd name="T19" fmla="*/ 56 h 93"/>
                  <a:gd name="T20" fmla="*/ 29 w 307"/>
                  <a:gd name="T21" fmla="*/ 46 h 93"/>
                  <a:gd name="T22" fmla="*/ 31 w 307"/>
                  <a:gd name="T23" fmla="*/ 56 h 93"/>
                  <a:gd name="T24" fmla="*/ 299 w 307"/>
                  <a:gd name="T25" fmla="*/ 48 h 93"/>
                  <a:gd name="T26" fmla="*/ 303 w 307"/>
                  <a:gd name="T27" fmla="*/ 48 h 93"/>
                  <a:gd name="T28" fmla="*/ 256 w 307"/>
                  <a:gd name="T29" fmla="*/ 45 h 93"/>
                  <a:gd name="T30" fmla="*/ 263 w 307"/>
                  <a:gd name="T31" fmla="*/ 50 h 93"/>
                  <a:gd name="T32" fmla="*/ 44 w 307"/>
                  <a:gd name="T33" fmla="*/ 50 h 93"/>
                  <a:gd name="T34" fmla="*/ 42 w 307"/>
                  <a:gd name="T35" fmla="*/ 42 h 93"/>
                  <a:gd name="T36" fmla="*/ 47 w 307"/>
                  <a:gd name="T37" fmla="*/ 46 h 93"/>
                  <a:gd name="T38" fmla="*/ 101 w 307"/>
                  <a:gd name="T39" fmla="*/ 48 h 93"/>
                  <a:gd name="T40" fmla="*/ 102 w 307"/>
                  <a:gd name="T41" fmla="*/ 39 h 93"/>
                  <a:gd name="T42" fmla="*/ 101 w 307"/>
                  <a:gd name="T43" fmla="*/ 48 h 93"/>
                  <a:gd name="T44" fmla="*/ 232 w 307"/>
                  <a:gd name="T45" fmla="*/ 43 h 93"/>
                  <a:gd name="T46" fmla="*/ 236 w 307"/>
                  <a:gd name="T47" fmla="*/ 46 h 93"/>
                  <a:gd name="T48" fmla="*/ 236 w 307"/>
                  <a:gd name="T49" fmla="*/ 48 h 93"/>
                  <a:gd name="T50" fmla="*/ 83 w 307"/>
                  <a:gd name="T51" fmla="*/ 42 h 93"/>
                  <a:gd name="T52" fmla="*/ 91 w 307"/>
                  <a:gd name="T53" fmla="*/ 43 h 93"/>
                  <a:gd name="T54" fmla="*/ 270 w 307"/>
                  <a:gd name="T55" fmla="*/ 42 h 93"/>
                  <a:gd name="T56" fmla="*/ 274 w 307"/>
                  <a:gd name="T57" fmla="*/ 46 h 93"/>
                  <a:gd name="T58" fmla="*/ 225 w 307"/>
                  <a:gd name="T59" fmla="*/ 36 h 93"/>
                  <a:gd name="T60" fmla="*/ 117 w 307"/>
                  <a:gd name="T61" fmla="*/ 38 h 93"/>
                  <a:gd name="T62" fmla="*/ 110 w 307"/>
                  <a:gd name="T63" fmla="*/ 33 h 93"/>
                  <a:gd name="T64" fmla="*/ 117 w 307"/>
                  <a:gd name="T65" fmla="*/ 38 h 93"/>
                  <a:gd name="T66" fmla="*/ 53 w 307"/>
                  <a:gd name="T67" fmla="*/ 32 h 93"/>
                  <a:gd name="T68" fmla="*/ 71 w 307"/>
                  <a:gd name="T69" fmla="*/ 37 h 93"/>
                  <a:gd name="T70" fmla="*/ 77 w 307"/>
                  <a:gd name="T71" fmla="*/ 30 h 93"/>
                  <a:gd name="T72" fmla="*/ 71 w 307"/>
                  <a:gd name="T73" fmla="*/ 37 h 93"/>
                  <a:gd name="T74" fmla="*/ 290 w 307"/>
                  <a:gd name="T75" fmla="*/ 29 h 93"/>
                  <a:gd name="T76" fmla="*/ 307 w 307"/>
                  <a:gd name="T77" fmla="*/ 36 h 93"/>
                  <a:gd name="T78" fmla="*/ 301 w 307"/>
                  <a:gd name="T79" fmla="*/ 33 h 93"/>
                  <a:gd name="T80" fmla="*/ 307 w 307"/>
                  <a:gd name="T81" fmla="*/ 35 h 93"/>
                  <a:gd name="T82" fmla="*/ 208 w 307"/>
                  <a:gd name="T83" fmla="*/ 29 h 93"/>
                  <a:gd name="T84" fmla="*/ 213 w 307"/>
                  <a:gd name="T85" fmla="*/ 32 h 93"/>
                  <a:gd name="T86" fmla="*/ 101 w 307"/>
                  <a:gd name="T87" fmla="*/ 17 h 93"/>
                  <a:gd name="T88" fmla="*/ 103 w 307"/>
                  <a:gd name="T89" fmla="*/ 26 h 93"/>
                  <a:gd name="T90" fmla="*/ 177 w 307"/>
                  <a:gd name="T91" fmla="*/ 21 h 93"/>
                  <a:gd name="T92" fmla="*/ 181 w 307"/>
                  <a:gd name="T93" fmla="*/ 25 h 93"/>
                  <a:gd name="T94" fmla="*/ 200 w 307"/>
                  <a:gd name="T95" fmla="*/ 18 h 93"/>
                  <a:gd name="T96" fmla="*/ 167 w 307"/>
                  <a:gd name="T97" fmla="*/ 21 h 93"/>
                  <a:gd name="T98" fmla="*/ 169 w 307"/>
                  <a:gd name="T99" fmla="*/ 15 h 93"/>
                  <a:gd name="T100" fmla="*/ 156 w 307"/>
                  <a:gd name="T101" fmla="*/ 11 h 93"/>
                  <a:gd name="T102" fmla="*/ 150 w 307"/>
                  <a:gd name="T103" fmla="*/ 5 h 93"/>
                  <a:gd name="T104" fmla="*/ 156 w 307"/>
                  <a:gd name="T105" fmla="*/ 11 h 93"/>
                  <a:gd name="T106" fmla="*/ 132 w 307"/>
                  <a:gd name="T107" fmla="*/ 4 h 93"/>
                  <a:gd name="T108" fmla="*/ 139 w 307"/>
                  <a:gd name="T109" fmla="*/ 5 h 93"/>
                  <a:gd name="T110" fmla="*/ 138 w 307"/>
                  <a:gd name="T111" fmla="*/ 5 h 93"/>
                  <a:gd name="T112" fmla="*/ 138 w 307"/>
                  <a:gd name="T113" fmla="*/ 4 h 93"/>
                  <a:gd name="T114" fmla="*/ 121 w 307"/>
                  <a:gd name="T115" fmla="*/ 4 h 93"/>
                  <a:gd name="T116" fmla="*/ 126 w 307"/>
                  <a:gd name="T117" fmla="*/ 5 h 93"/>
                  <a:gd name="T118" fmla="*/ 109 w 307"/>
                  <a:gd name="T119" fmla="*/ 8 h 93"/>
                  <a:gd name="T120" fmla="*/ 110 w 307"/>
                  <a:gd name="T121" fmla="*/ 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7" h="93">
                    <a:moveTo>
                      <a:pt x="0" y="93"/>
                    </a:moveTo>
                    <a:cubicBezTo>
                      <a:pt x="0" y="87"/>
                      <a:pt x="0" y="87"/>
                      <a:pt x="0" y="87"/>
                    </a:cubicBezTo>
                    <a:cubicBezTo>
                      <a:pt x="2" y="87"/>
                      <a:pt x="3" y="86"/>
                      <a:pt x="5" y="86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5" y="92"/>
                      <a:pt x="3" y="93"/>
                      <a:pt x="0" y="93"/>
                    </a:cubicBezTo>
                    <a:close/>
                    <a:moveTo>
                      <a:pt x="12" y="82"/>
                    </a:moveTo>
                    <a:cubicBezTo>
                      <a:pt x="9" y="77"/>
                      <a:pt x="9" y="77"/>
                      <a:pt x="9" y="77"/>
                    </a:cubicBezTo>
                    <a:cubicBezTo>
                      <a:pt x="10" y="76"/>
                      <a:pt x="11" y="76"/>
                      <a:pt x="12" y="76"/>
                    </a:cubicBezTo>
                    <a:cubicBezTo>
                      <a:pt x="13" y="76"/>
                      <a:pt x="14" y="75"/>
                      <a:pt x="14" y="75"/>
                    </a:cubicBezTo>
                    <a:cubicBezTo>
                      <a:pt x="18" y="79"/>
                      <a:pt x="18" y="79"/>
                      <a:pt x="18" y="79"/>
                    </a:cubicBezTo>
                    <a:cubicBezTo>
                      <a:pt x="17" y="80"/>
                      <a:pt x="15" y="81"/>
                      <a:pt x="13" y="81"/>
                    </a:cubicBezTo>
                    <a:cubicBezTo>
                      <a:pt x="13" y="82"/>
                      <a:pt x="13" y="82"/>
                      <a:pt x="12" y="82"/>
                    </a:cubicBezTo>
                    <a:close/>
                    <a:moveTo>
                      <a:pt x="16" y="66"/>
                    </a:moveTo>
                    <a:cubicBezTo>
                      <a:pt x="16" y="66"/>
                      <a:pt x="16" y="66"/>
                      <a:pt x="16" y="66"/>
                    </a:cubicBezTo>
                    <a:cubicBezTo>
                      <a:pt x="16" y="64"/>
                      <a:pt x="16" y="63"/>
                      <a:pt x="17" y="62"/>
                    </a:cubicBezTo>
                    <a:cubicBezTo>
                      <a:pt x="17" y="61"/>
                      <a:pt x="17" y="61"/>
                      <a:pt x="17" y="61"/>
                    </a:cubicBezTo>
                    <a:cubicBezTo>
                      <a:pt x="17" y="60"/>
                      <a:pt x="17" y="60"/>
                      <a:pt x="17" y="59"/>
                    </a:cubicBezTo>
                    <a:cubicBezTo>
                      <a:pt x="23" y="61"/>
                      <a:pt x="23" y="61"/>
                      <a:pt x="23" y="61"/>
                    </a:cubicBezTo>
                    <a:cubicBezTo>
                      <a:pt x="23" y="62"/>
                      <a:pt x="22" y="62"/>
                      <a:pt x="22" y="62"/>
                    </a:cubicBezTo>
                    <a:cubicBezTo>
                      <a:pt x="22" y="63"/>
                      <a:pt x="22" y="63"/>
                      <a:pt x="22" y="63"/>
                    </a:cubicBezTo>
                    <a:cubicBezTo>
                      <a:pt x="22" y="65"/>
                      <a:pt x="22" y="65"/>
                      <a:pt x="22" y="66"/>
                    </a:cubicBezTo>
                    <a:lnTo>
                      <a:pt x="16" y="66"/>
                    </a:lnTo>
                    <a:close/>
                    <a:moveTo>
                      <a:pt x="243" y="58"/>
                    </a:moveTo>
                    <a:cubicBezTo>
                      <a:pt x="242" y="58"/>
                      <a:pt x="242" y="58"/>
                      <a:pt x="241" y="58"/>
                    </a:cubicBezTo>
                    <a:cubicBezTo>
                      <a:pt x="243" y="52"/>
                      <a:pt x="243" y="52"/>
                      <a:pt x="243" y="52"/>
                    </a:cubicBezTo>
                    <a:cubicBezTo>
                      <a:pt x="243" y="52"/>
                      <a:pt x="243" y="52"/>
                      <a:pt x="243" y="52"/>
                    </a:cubicBezTo>
                    <a:cubicBezTo>
                      <a:pt x="243" y="52"/>
                      <a:pt x="244" y="52"/>
                      <a:pt x="246" y="51"/>
                    </a:cubicBezTo>
                    <a:cubicBezTo>
                      <a:pt x="249" y="57"/>
                      <a:pt x="249" y="57"/>
                      <a:pt x="249" y="57"/>
                    </a:cubicBezTo>
                    <a:cubicBezTo>
                      <a:pt x="247" y="57"/>
                      <a:pt x="245" y="58"/>
                      <a:pt x="243" y="58"/>
                    </a:cubicBezTo>
                    <a:close/>
                    <a:moveTo>
                      <a:pt x="31" y="56"/>
                    </a:moveTo>
                    <a:cubicBezTo>
                      <a:pt x="26" y="52"/>
                      <a:pt x="26" y="52"/>
                      <a:pt x="26" y="52"/>
                    </a:cubicBezTo>
                    <a:cubicBezTo>
                      <a:pt x="27" y="51"/>
                      <a:pt x="27" y="51"/>
                      <a:pt x="27" y="51"/>
                    </a:cubicBezTo>
                    <a:cubicBezTo>
                      <a:pt x="27" y="48"/>
                      <a:pt x="28" y="46"/>
                      <a:pt x="29" y="46"/>
                    </a:cubicBezTo>
                    <a:cubicBezTo>
                      <a:pt x="32" y="51"/>
                      <a:pt x="32" y="51"/>
                      <a:pt x="32" y="51"/>
                    </a:cubicBezTo>
                    <a:cubicBezTo>
                      <a:pt x="32" y="51"/>
                      <a:pt x="33" y="50"/>
                      <a:pt x="33" y="50"/>
                    </a:cubicBezTo>
                    <a:cubicBezTo>
                      <a:pt x="33" y="52"/>
                      <a:pt x="32" y="54"/>
                      <a:pt x="31" y="56"/>
                    </a:cubicBezTo>
                    <a:close/>
                    <a:moveTo>
                      <a:pt x="300" y="51"/>
                    </a:moveTo>
                    <a:cubicBezTo>
                      <a:pt x="298" y="45"/>
                      <a:pt x="298" y="45"/>
                      <a:pt x="298" y="45"/>
                    </a:cubicBezTo>
                    <a:cubicBezTo>
                      <a:pt x="299" y="48"/>
                      <a:pt x="299" y="48"/>
                      <a:pt x="299" y="48"/>
                    </a:cubicBezTo>
                    <a:cubicBezTo>
                      <a:pt x="298" y="45"/>
                      <a:pt x="298" y="45"/>
                      <a:pt x="298" y="45"/>
                    </a:cubicBezTo>
                    <a:cubicBezTo>
                      <a:pt x="298" y="45"/>
                      <a:pt x="298" y="45"/>
                      <a:pt x="298" y="45"/>
                    </a:cubicBezTo>
                    <a:cubicBezTo>
                      <a:pt x="303" y="48"/>
                      <a:pt x="303" y="48"/>
                      <a:pt x="303" y="48"/>
                    </a:cubicBezTo>
                    <a:cubicBezTo>
                      <a:pt x="302" y="50"/>
                      <a:pt x="301" y="51"/>
                      <a:pt x="300" y="51"/>
                    </a:cubicBezTo>
                    <a:close/>
                    <a:moveTo>
                      <a:pt x="258" y="50"/>
                    </a:moveTo>
                    <a:cubicBezTo>
                      <a:pt x="256" y="45"/>
                      <a:pt x="256" y="45"/>
                      <a:pt x="256" y="45"/>
                    </a:cubicBezTo>
                    <a:cubicBezTo>
                      <a:pt x="258" y="44"/>
                      <a:pt x="260" y="44"/>
                      <a:pt x="261" y="44"/>
                    </a:cubicBezTo>
                    <a:cubicBezTo>
                      <a:pt x="262" y="44"/>
                      <a:pt x="263" y="44"/>
                      <a:pt x="264" y="44"/>
                    </a:cubicBezTo>
                    <a:cubicBezTo>
                      <a:pt x="263" y="50"/>
                      <a:pt x="263" y="50"/>
                      <a:pt x="263" y="50"/>
                    </a:cubicBezTo>
                    <a:cubicBezTo>
                      <a:pt x="262" y="50"/>
                      <a:pt x="262" y="50"/>
                      <a:pt x="261" y="50"/>
                    </a:cubicBezTo>
                    <a:cubicBezTo>
                      <a:pt x="260" y="50"/>
                      <a:pt x="259" y="50"/>
                      <a:pt x="258" y="50"/>
                    </a:cubicBezTo>
                    <a:close/>
                    <a:moveTo>
                      <a:pt x="44" y="50"/>
                    </a:moveTo>
                    <a:cubicBezTo>
                      <a:pt x="40" y="45"/>
                      <a:pt x="40" y="45"/>
                      <a:pt x="40" y="45"/>
                    </a:cubicBezTo>
                    <a:cubicBezTo>
                      <a:pt x="41" y="45"/>
                      <a:pt x="41" y="44"/>
                      <a:pt x="41" y="43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2" y="42"/>
                      <a:pt x="43" y="42"/>
                      <a:pt x="43" y="41"/>
                    </a:cubicBezTo>
                    <a:cubicBezTo>
                      <a:pt x="48" y="44"/>
                      <a:pt x="48" y="44"/>
                      <a:pt x="48" y="44"/>
                    </a:cubicBezTo>
                    <a:cubicBezTo>
                      <a:pt x="48" y="45"/>
                      <a:pt x="47" y="45"/>
                      <a:pt x="47" y="46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46" y="48"/>
                      <a:pt x="45" y="49"/>
                      <a:pt x="44" y="50"/>
                    </a:cubicBezTo>
                    <a:close/>
                    <a:moveTo>
                      <a:pt x="101" y="48"/>
                    </a:moveTo>
                    <a:cubicBezTo>
                      <a:pt x="98" y="43"/>
                      <a:pt x="98" y="43"/>
                      <a:pt x="98" y="43"/>
                    </a:cubicBezTo>
                    <a:cubicBezTo>
                      <a:pt x="99" y="42"/>
                      <a:pt x="99" y="42"/>
                      <a:pt x="100" y="41"/>
                    </a:cubicBezTo>
                    <a:cubicBezTo>
                      <a:pt x="100" y="40"/>
                      <a:pt x="101" y="40"/>
                      <a:pt x="102" y="39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05" y="45"/>
                      <a:pt x="104" y="45"/>
                      <a:pt x="104" y="45"/>
                    </a:cubicBezTo>
                    <a:cubicBezTo>
                      <a:pt x="103" y="46"/>
                      <a:pt x="102" y="47"/>
                      <a:pt x="101" y="48"/>
                    </a:cubicBezTo>
                    <a:close/>
                    <a:moveTo>
                      <a:pt x="236" y="48"/>
                    </a:moveTo>
                    <a:cubicBezTo>
                      <a:pt x="232" y="44"/>
                      <a:pt x="232" y="44"/>
                      <a:pt x="232" y="44"/>
                    </a:cubicBezTo>
                    <a:cubicBezTo>
                      <a:pt x="232" y="43"/>
                      <a:pt x="232" y="43"/>
                      <a:pt x="232" y="43"/>
                    </a:cubicBezTo>
                    <a:cubicBezTo>
                      <a:pt x="233" y="41"/>
                      <a:pt x="235" y="41"/>
                      <a:pt x="236" y="41"/>
                    </a:cubicBezTo>
                    <a:cubicBezTo>
                      <a:pt x="237" y="41"/>
                      <a:pt x="239" y="41"/>
                      <a:pt x="241" y="4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36" y="46"/>
                      <a:pt x="237" y="47"/>
                      <a:pt x="237" y="46"/>
                    </a:cubicBezTo>
                    <a:cubicBezTo>
                      <a:pt x="237" y="46"/>
                      <a:pt x="237" y="47"/>
                      <a:pt x="236" y="47"/>
                    </a:cubicBezTo>
                    <a:cubicBezTo>
                      <a:pt x="236" y="47"/>
                      <a:pt x="236" y="47"/>
                      <a:pt x="236" y="48"/>
                    </a:cubicBezTo>
                    <a:close/>
                    <a:moveTo>
                      <a:pt x="86" y="47"/>
                    </a:moveTo>
                    <a:cubicBezTo>
                      <a:pt x="86" y="47"/>
                      <a:pt x="86" y="46"/>
                      <a:pt x="85" y="46"/>
                    </a:cubicBezTo>
                    <a:cubicBezTo>
                      <a:pt x="85" y="44"/>
                      <a:pt x="84" y="43"/>
                      <a:pt x="83" y="42"/>
                    </a:cubicBezTo>
                    <a:cubicBezTo>
                      <a:pt x="88" y="38"/>
                      <a:pt x="88" y="38"/>
                      <a:pt x="88" y="38"/>
                    </a:cubicBezTo>
                    <a:cubicBezTo>
                      <a:pt x="89" y="40"/>
                      <a:pt x="90" y="41"/>
                      <a:pt x="90" y="43"/>
                    </a:cubicBezTo>
                    <a:cubicBezTo>
                      <a:pt x="91" y="43"/>
                      <a:pt x="91" y="43"/>
                      <a:pt x="91" y="43"/>
                    </a:cubicBezTo>
                    <a:lnTo>
                      <a:pt x="86" y="47"/>
                    </a:lnTo>
                    <a:close/>
                    <a:moveTo>
                      <a:pt x="274" y="46"/>
                    </a:moveTo>
                    <a:cubicBezTo>
                      <a:pt x="270" y="42"/>
                      <a:pt x="270" y="42"/>
                      <a:pt x="270" y="42"/>
                    </a:cubicBezTo>
                    <a:cubicBezTo>
                      <a:pt x="270" y="41"/>
                      <a:pt x="272" y="40"/>
                      <a:pt x="275" y="38"/>
                    </a:cubicBezTo>
                    <a:cubicBezTo>
                      <a:pt x="278" y="43"/>
                      <a:pt x="278" y="43"/>
                      <a:pt x="278" y="43"/>
                    </a:cubicBezTo>
                    <a:cubicBezTo>
                      <a:pt x="275" y="45"/>
                      <a:pt x="274" y="46"/>
                      <a:pt x="274" y="46"/>
                    </a:cubicBezTo>
                    <a:close/>
                    <a:moveTo>
                      <a:pt x="223" y="44"/>
                    </a:moveTo>
                    <a:cubicBezTo>
                      <a:pt x="222" y="42"/>
                      <a:pt x="222" y="41"/>
                      <a:pt x="221" y="40"/>
                    </a:cubicBezTo>
                    <a:cubicBezTo>
                      <a:pt x="225" y="36"/>
                      <a:pt x="225" y="36"/>
                      <a:pt x="225" y="36"/>
                    </a:cubicBezTo>
                    <a:cubicBezTo>
                      <a:pt x="226" y="38"/>
                      <a:pt x="228" y="39"/>
                      <a:pt x="228" y="42"/>
                    </a:cubicBezTo>
                    <a:lnTo>
                      <a:pt x="223" y="44"/>
                    </a:lnTo>
                    <a:close/>
                    <a:moveTo>
                      <a:pt x="117" y="38"/>
                    </a:moveTo>
                    <a:cubicBezTo>
                      <a:pt x="111" y="37"/>
                      <a:pt x="111" y="37"/>
                      <a:pt x="111" y="37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11" y="37"/>
                      <a:pt x="111" y="36"/>
                      <a:pt x="110" y="33"/>
                    </a:cubicBezTo>
                    <a:cubicBezTo>
                      <a:pt x="115" y="31"/>
                      <a:pt x="115" y="31"/>
                      <a:pt x="115" y="31"/>
                    </a:cubicBezTo>
                    <a:cubicBezTo>
                      <a:pt x="116" y="32"/>
                      <a:pt x="117" y="35"/>
                      <a:pt x="117" y="37"/>
                    </a:cubicBezTo>
                    <a:cubicBezTo>
                      <a:pt x="117" y="37"/>
                      <a:pt x="117" y="38"/>
                      <a:pt x="117" y="38"/>
                    </a:cubicBezTo>
                    <a:close/>
                    <a:moveTo>
                      <a:pt x="59" y="38"/>
                    </a:moveTo>
                    <a:cubicBezTo>
                      <a:pt x="57" y="38"/>
                      <a:pt x="54" y="38"/>
                      <a:pt x="53" y="38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55" y="32"/>
                      <a:pt x="57" y="32"/>
                      <a:pt x="59" y="32"/>
                    </a:cubicBezTo>
                    <a:lnTo>
                      <a:pt x="59" y="38"/>
                    </a:lnTo>
                    <a:close/>
                    <a:moveTo>
                      <a:pt x="71" y="37"/>
                    </a:moveTo>
                    <a:cubicBezTo>
                      <a:pt x="70" y="32"/>
                      <a:pt x="70" y="32"/>
                      <a:pt x="70" y="32"/>
                    </a:cubicBezTo>
                    <a:cubicBezTo>
                      <a:pt x="71" y="31"/>
                      <a:pt x="72" y="31"/>
                      <a:pt x="72" y="31"/>
                    </a:cubicBezTo>
                    <a:cubicBezTo>
                      <a:pt x="74" y="30"/>
                      <a:pt x="75" y="30"/>
                      <a:pt x="77" y="30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75" y="36"/>
                      <a:pt x="75" y="36"/>
                      <a:pt x="75" y="36"/>
                    </a:cubicBezTo>
                    <a:cubicBezTo>
                      <a:pt x="74" y="37"/>
                      <a:pt x="73" y="37"/>
                      <a:pt x="71" y="37"/>
                    </a:cubicBezTo>
                    <a:close/>
                    <a:moveTo>
                      <a:pt x="288" y="37"/>
                    </a:moveTo>
                    <a:cubicBezTo>
                      <a:pt x="285" y="32"/>
                      <a:pt x="285" y="32"/>
                      <a:pt x="285" y="32"/>
                    </a:cubicBezTo>
                    <a:cubicBezTo>
                      <a:pt x="287" y="31"/>
                      <a:pt x="289" y="30"/>
                      <a:pt x="290" y="29"/>
                    </a:cubicBezTo>
                    <a:cubicBezTo>
                      <a:pt x="293" y="35"/>
                      <a:pt x="293" y="35"/>
                      <a:pt x="293" y="35"/>
                    </a:cubicBezTo>
                    <a:cubicBezTo>
                      <a:pt x="291" y="35"/>
                      <a:pt x="289" y="36"/>
                      <a:pt x="288" y="37"/>
                    </a:cubicBezTo>
                    <a:close/>
                    <a:moveTo>
                      <a:pt x="307" y="36"/>
                    </a:moveTo>
                    <a:cubicBezTo>
                      <a:pt x="301" y="36"/>
                      <a:pt x="301" y="36"/>
                      <a:pt x="301" y="36"/>
                    </a:cubicBezTo>
                    <a:cubicBezTo>
                      <a:pt x="301" y="35"/>
                      <a:pt x="301" y="35"/>
                      <a:pt x="301" y="35"/>
                    </a:cubicBezTo>
                    <a:cubicBezTo>
                      <a:pt x="301" y="34"/>
                      <a:pt x="301" y="33"/>
                      <a:pt x="301" y="33"/>
                    </a:cubicBezTo>
                    <a:cubicBezTo>
                      <a:pt x="304" y="28"/>
                      <a:pt x="304" y="28"/>
                      <a:pt x="304" y="28"/>
                    </a:cubicBezTo>
                    <a:cubicBezTo>
                      <a:pt x="305" y="28"/>
                      <a:pt x="305" y="28"/>
                      <a:pt x="305" y="28"/>
                    </a:cubicBezTo>
                    <a:cubicBezTo>
                      <a:pt x="306" y="30"/>
                      <a:pt x="307" y="32"/>
                      <a:pt x="307" y="35"/>
                    </a:cubicBezTo>
                    <a:lnTo>
                      <a:pt x="307" y="36"/>
                    </a:lnTo>
                    <a:close/>
                    <a:moveTo>
                      <a:pt x="213" y="32"/>
                    </a:moveTo>
                    <a:cubicBezTo>
                      <a:pt x="211" y="31"/>
                      <a:pt x="209" y="30"/>
                      <a:pt x="208" y="29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3" y="25"/>
                      <a:pt x="214" y="26"/>
                      <a:pt x="216" y="27"/>
                    </a:cubicBezTo>
                    <a:lnTo>
                      <a:pt x="213" y="32"/>
                    </a:lnTo>
                    <a:close/>
                    <a:moveTo>
                      <a:pt x="103" y="26"/>
                    </a:moveTo>
                    <a:cubicBezTo>
                      <a:pt x="100" y="24"/>
                      <a:pt x="100" y="22"/>
                      <a:pt x="100" y="20"/>
                    </a:cubicBezTo>
                    <a:cubicBezTo>
                      <a:pt x="100" y="19"/>
                      <a:pt x="100" y="18"/>
                      <a:pt x="101" y="17"/>
                    </a:cubicBezTo>
                    <a:cubicBezTo>
                      <a:pt x="106" y="20"/>
                      <a:pt x="106" y="20"/>
                      <a:pt x="106" y="20"/>
                    </a:cubicBezTo>
                    <a:cubicBezTo>
                      <a:pt x="106" y="20"/>
                      <a:pt x="106" y="21"/>
                      <a:pt x="107" y="22"/>
                    </a:cubicBezTo>
                    <a:lnTo>
                      <a:pt x="103" y="26"/>
                    </a:lnTo>
                    <a:close/>
                    <a:moveTo>
                      <a:pt x="181" y="25"/>
                    </a:moveTo>
                    <a:cubicBezTo>
                      <a:pt x="180" y="25"/>
                      <a:pt x="180" y="24"/>
                      <a:pt x="179" y="23"/>
                    </a:cubicBezTo>
                    <a:cubicBezTo>
                      <a:pt x="178" y="22"/>
                      <a:pt x="177" y="21"/>
                      <a:pt x="177" y="21"/>
                    </a:cubicBezTo>
                    <a:cubicBezTo>
                      <a:pt x="180" y="16"/>
                      <a:pt x="180" y="16"/>
                      <a:pt x="180" y="16"/>
                    </a:cubicBezTo>
                    <a:cubicBezTo>
                      <a:pt x="181" y="17"/>
                      <a:pt x="182" y="18"/>
                      <a:pt x="184" y="20"/>
                    </a:cubicBezTo>
                    <a:lnTo>
                      <a:pt x="181" y="25"/>
                    </a:lnTo>
                    <a:close/>
                    <a:moveTo>
                      <a:pt x="194" y="24"/>
                    </a:moveTo>
                    <a:cubicBezTo>
                      <a:pt x="193" y="18"/>
                      <a:pt x="193" y="18"/>
                      <a:pt x="193" y="18"/>
                    </a:cubicBezTo>
                    <a:cubicBezTo>
                      <a:pt x="196" y="18"/>
                      <a:pt x="198" y="18"/>
                      <a:pt x="200" y="18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3"/>
                      <a:pt x="196" y="24"/>
                      <a:pt x="194" y="24"/>
                    </a:cubicBezTo>
                    <a:close/>
                    <a:moveTo>
                      <a:pt x="167" y="21"/>
                    </a:moveTo>
                    <a:cubicBezTo>
                      <a:pt x="166" y="20"/>
                      <a:pt x="163" y="18"/>
                      <a:pt x="163" y="15"/>
                    </a:cubicBezTo>
                    <a:cubicBezTo>
                      <a:pt x="169" y="12"/>
                      <a:pt x="169" y="12"/>
                      <a:pt x="169" y="12"/>
                    </a:cubicBezTo>
                    <a:cubicBezTo>
                      <a:pt x="169" y="13"/>
                      <a:pt x="169" y="14"/>
                      <a:pt x="169" y="15"/>
                    </a:cubicBezTo>
                    <a:cubicBezTo>
                      <a:pt x="169" y="15"/>
                      <a:pt x="169" y="15"/>
                      <a:pt x="170" y="16"/>
                    </a:cubicBezTo>
                    <a:lnTo>
                      <a:pt x="167" y="21"/>
                    </a:lnTo>
                    <a:close/>
                    <a:moveTo>
                      <a:pt x="156" y="11"/>
                    </a:moveTo>
                    <a:cubicBezTo>
                      <a:pt x="155" y="11"/>
                      <a:pt x="154" y="11"/>
                      <a:pt x="154" y="11"/>
                    </a:cubicBezTo>
                    <a:cubicBezTo>
                      <a:pt x="150" y="11"/>
                      <a:pt x="150" y="11"/>
                      <a:pt x="150" y="11"/>
                    </a:cubicBezTo>
                    <a:cubicBezTo>
                      <a:pt x="150" y="5"/>
                      <a:pt x="150" y="5"/>
                      <a:pt x="150" y="5"/>
                    </a:cubicBezTo>
                    <a:cubicBezTo>
                      <a:pt x="154" y="5"/>
                      <a:pt x="154" y="5"/>
                      <a:pt x="154" y="5"/>
                    </a:cubicBezTo>
                    <a:cubicBezTo>
                      <a:pt x="155" y="5"/>
                      <a:pt x="155" y="5"/>
                      <a:pt x="156" y="6"/>
                    </a:cubicBezTo>
                    <a:lnTo>
                      <a:pt x="156" y="11"/>
                    </a:lnTo>
                    <a:close/>
                    <a:moveTo>
                      <a:pt x="138" y="10"/>
                    </a:moveTo>
                    <a:cubicBezTo>
                      <a:pt x="134" y="9"/>
                      <a:pt x="133" y="7"/>
                      <a:pt x="133" y="5"/>
                    </a:cubicBezTo>
                    <a:cubicBezTo>
                      <a:pt x="133" y="5"/>
                      <a:pt x="133" y="4"/>
                      <a:pt x="132" y="4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8" y="3"/>
                      <a:pt x="138" y="4"/>
                      <a:pt x="138" y="4"/>
                    </a:cubicBezTo>
                    <a:cubicBezTo>
                      <a:pt x="139" y="4"/>
                      <a:pt x="139" y="5"/>
                      <a:pt x="139" y="5"/>
                    </a:cubicBezTo>
                    <a:lnTo>
                      <a:pt x="138" y="10"/>
                    </a:lnTo>
                    <a:close/>
                    <a:moveTo>
                      <a:pt x="138" y="5"/>
                    </a:moveTo>
                    <a:cubicBezTo>
                      <a:pt x="138" y="5"/>
                      <a:pt x="138" y="5"/>
                      <a:pt x="138" y="5"/>
                    </a:cubicBezTo>
                    <a:cubicBezTo>
                      <a:pt x="138" y="5"/>
                      <a:pt x="138" y="5"/>
                      <a:pt x="138" y="5"/>
                    </a:cubicBezTo>
                    <a:close/>
                    <a:moveTo>
                      <a:pt x="138" y="4"/>
                    </a:moveTo>
                    <a:cubicBezTo>
                      <a:pt x="138" y="4"/>
                      <a:pt x="138" y="4"/>
                      <a:pt x="138" y="4"/>
                    </a:cubicBezTo>
                    <a:close/>
                    <a:moveTo>
                      <a:pt x="123" y="10"/>
                    </a:moveTo>
                    <a:cubicBezTo>
                      <a:pt x="120" y="5"/>
                      <a:pt x="120" y="5"/>
                      <a:pt x="120" y="5"/>
                    </a:cubicBezTo>
                    <a:cubicBezTo>
                      <a:pt x="120" y="5"/>
                      <a:pt x="120" y="5"/>
                      <a:pt x="121" y="4"/>
                    </a:cubicBezTo>
                    <a:cubicBezTo>
                      <a:pt x="121" y="2"/>
                      <a:pt x="122" y="1"/>
                      <a:pt x="123" y="0"/>
                    </a:cubicBezTo>
                    <a:cubicBezTo>
                      <a:pt x="127" y="4"/>
                      <a:pt x="127" y="4"/>
                      <a:pt x="127" y="4"/>
                    </a:cubicBezTo>
                    <a:cubicBezTo>
                      <a:pt x="127" y="4"/>
                      <a:pt x="127" y="5"/>
                      <a:pt x="126" y="5"/>
                    </a:cubicBezTo>
                    <a:cubicBezTo>
                      <a:pt x="126" y="8"/>
                      <a:pt x="124" y="9"/>
                      <a:pt x="123" y="10"/>
                    </a:cubicBezTo>
                    <a:close/>
                    <a:moveTo>
                      <a:pt x="109" y="9"/>
                    </a:moveTo>
                    <a:cubicBezTo>
                      <a:pt x="109" y="9"/>
                      <a:pt x="109" y="8"/>
                      <a:pt x="109" y="8"/>
                    </a:cubicBezTo>
                    <a:cubicBezTo>
                      <a:pt x="105" y="8"/>
                      <a:pt x="105" y="8"/>
                      <a:pt x="105" y="8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103" y="7"/>
                      <a:pt x="104" y="3"/>
                      <a:pt x="110" y="3"/>
                    </a:cubicBezTo>
                    <a:cubicBezTo>
                      <a:pt x="110" y="9"/>
                      <a:pt x="110" y="9"/>
                      <a:pt x="110" y="9"/>
                    </a:cubicBezTo>
                    <a:cubicBezTo>
                      <a:pt x="109" y="9"/>
                      <a:pt x="109" y="9"/>
                      <a:pt x="109" y="9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27" name="íśļiḓè"/>
              <p:cNvSpPr/>
              <p:nvPr/>
            </p:nvSpPr>
            <p:spPr bwMode="auto">
              <a:xfrm>
                <a:off x="7804150" y="4876800"/>
                <a:ext cx="396875" cy="674688"/>
              </a:xfrm>
              <a:custGeom>
                <a:avLst/>
                <a:gdLst>
                  <a:gd name="T0" fmla="*/ 8 w 185"/>
                  <a:gd name="T1" fmla="*/ 313 h 315"/>
                  <a:gd name="T2" fmla="*/ 0 w 185"/>
                  <a:gd name="T3" fmla="*/ 296 h 315"/>
                  <a:gd name="T4" fmla="*/ 5 w 185"/>
                  <a:gd name="T5" fmla="*/ 301 h 315"/>
                  <a:gd name="T6" fmla="*/ 8 w 185"/>
                  <a:gd name="T7" fmla="*/ 279 h 315"/>
                  <a:gd name="T8" fmla="*/ 9 w 185"/>
                  <a:gd name="T9" fmla="*/ 268 h 315"/>
                  <a:gd name="T10" fmla="*/ 16 w 185"/>
                  <a:gd name="T11" fmla="*/ 265 h 315"/>
                  <a:gd name="T12" fmla="*/ 14 w 185"/>
                  <a:gd name="T13" fmla="*/ 245 h 315"/>
                  <a:gd name="T14" fmla="*/ 23 w 185"/>
                  <a:gd name="T15" fmla="*/ 236 h 315"/>
                  <a:gd name="T16" fmla="*/ 22 w 185"/>
                  <a:gd name="T17" fmla="*/ 236 h 315"/>
                  <a:gd name="T18" fmla="*/ 26 w 185"/>
                  <a:gd name="T19" fmla="*/ 241 h 315"/>
                  <a:gd name="T20" fmla="*/ 28 w 185"/>
                  <a:gd name="T21" fmla="*/ 222 h 315"/>
                  <a:gd name="T22" fmla="*/ 40 w 185"/>
                  <a:gd name="T23" fmla="*/ 216 h 315"/>
                  <a:gd name="T24" fmla="*/ 38 w 185"/>
                  <a:gd name="T25" fmla="*/ 209 h 315"/>
                  <a:gd name="T26" fmla="*/ 40 w 185"/>
                  <a:gd name="T27" fmla="*/ 204 h 315"/>
                  <a:gd name="T28" fmla="*/ 44 w 185"/>
                  <a:gd name="T29" fmla="*/ 197 h 315"/>
                  <a:gd name="T30" fmla="*/ 43 w 185"/>
                  <a:gd name="T31" fmla="*/ 203 h 315"/>
                  <a:gd name="T32" fmla="*/ 39 w 185"/>
                  <a:gd name="T33" fmla="*/ 185 h 315"/>
                  <a:gd name="T34" fmla="*/ 46 w 185"/>
                  <a:gd name="T35" fmla="*/ 181 h 315"/>
                  <a:gd name="T36" fmla="*/ 55 w 185"/>
                  <a:gd name="T37" fmla="*/ 182 h 315"/>
                  <a:gd name="T38" fmla="*/ 48 w 185"/>
                  <a:gd name="T39" fmla="*/ 165 h 315"/>
                  <a:gd name="T40" fmla="*/ 50 w 185"/>
                  <a:gd name="T41" fmla="*/ 170 h 315"/>
                  <a:gd name="T42" fmla="*/ 43 w 185"/>
                  <a:gd name="T43" fmla="*/ 147 h 315"/>
                  <a:gd name="T44" fmla="*/ 48 w 185"/>
                  <a:gd name="T45" fmla="*/ 153 h 315"/>
                  <a:gd name="T46" fmla="*/ 50 w 185"/>
                  <a:gd name="T47" fmla="*/ 130 h 315"/>
                  <a:gd name="T48" fmla="*/ 61 w 185"/>
                  <a:gd name="T49" fmla="*/ 122 h 315"/>
                  <a:gd name="T50" fmla="*/ 65 w 185"/>
                  <a:gd name="T51" fmla="*/ 127 h 315"/>
                  <a:gd name="T52" fmla="*/ 81 w 185"/>
                  <a:gd name="T53" fmla="*/ 115 h 315"/>
                  <a:gd name="T54" fmla="*/ 87 w 185"/>
                  <a:gd name="T55" fmla="*/ 106 h 315"/>
                  <a:gd name="T56" fmla="*/ 94 w 185"/>
                  <a:gd name="T57" fmla="*/ 106 h 315"/>
                  <a:gd name="T58" fmla="*/ 86 w 185"/>
                  <a:gd name="T59" fmla="*/ 87 h 315"/>
                  <a:gd name="T60" fmla="*/ 92 w 185"/>
                  <a:gd name="T61" fmla="*/ 90 h 315"/>
                  <a:gd name="T62" fmla="*/ 86 w 185"/>
                  <a:gd name="T63" fmla="*/ 78 h 315"/>
                  <a:gd name="T64" fmla="*/ 85 w 185"/>
                  <a:gd name="T65" fmla="*/ 72 h 315"/>
                  <a:gd name="T66" fmla="*/ 85 w 185"/>
                  <a:gd name="T67" fmla="*/ 68 h 315"/>
                  <a:gd name="T68" fmla="*/ 91 w 185"/>
                  <a:gd name="T69" fmla="*/ 66 h 315"/>
                  <a:gd name="T70" fmla="*/ 97 w 185"/>
                  <a:gd name="T71" fmla="*/ 52 h 315"/>
                  <a:gd name="T72" fmla="*/ 100 w 185"/>
                  <a:gd name="T73" fmla="*/ 57 h 315"/>
                  <a:gd name="T74" fmla="*/ 137 w 185"/>
                  <a:gd name="T75" fmla="*/ 42 h 315"/>
                  <a:gd name="T76" fmla="*/ 111 w 185"/>
                  <a:gd name="T77" fmla="*/ 43 h 315"/>
                  <a:gd name="T78" fmla="*/ 111 w 185"/>
                  <a:gd name="T79" fmla="*/ 43 h 315"/>
                  <a:gd name="T80" fmla="*/ 129 w 185"/>
                  <a:gd name="T81" fmla="*/ 40 h 315"/>
                  <a:gd name="T82" fmla="*/ 147 w 185"/>
                  <a:gd name="T83" fmla="*/ 30 h 315"/>
                  <a:gd name="T84" fmla="*/ 147 w 185"/>
                  <a:gd name="T85" fmla="*/ 36 h 315"/>
                  <a:gd name="T86" fmla="*/ 162 w 185"/>
                  <a:gd name="T87" fmla="*/ 27 h 315"/>
                  <a:gd name="T88" fmla="*/ 168 w 185"/>
                  <a:gd name="T89" fmla="*/ 27 h 315"/>
                  <a:gd name="T90" fmla="*/ 177 w 185"/>
                  <a:gd name="T91" fmla="*/ 24 h 315"/>
                  <a:gd name="T92" fmla="*/ 177 w 185"/>
                  <a:gd name="T93" fmla="*/ 24 h 315"/>
                  <a:gd name="T94" fmla="*/ 182 w 185"/>
                  <a:gd name="T95" fmla="*/ 0 h 315"/>
                  <a:gd name="T96" fmla="*/ 177 w 185"/>
                  <a:gd name="T97" fmla="*/ 7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5" h="315">
                    <a:moveTo>
                      <a:pt x="3" y="315"/>
                    </a:moveTo>
                    <a:cubicBezTo>
                      <a:pt x="3" y="315"/>
                      <a:pt x="1" y="312"/>
                      <a:pt x="1" y="309"/>
                    </a:cubicBezTo>
                    <a:cubicBezTo>
                      <a:pt x="7" y="308"/>
                      <a:pt x="7" y="308"/>
                      <a:pt x="7" y="308"/>
                    </a:cubicBezTo>
                    <a:cubicBezTo>
                      <a:pt x="7" y="310"/>
                      <a:pt x="8" y="313"/>
                      <a:pt x="8" y="313"/>
                    </a:cubicBezTo>
                    <a:lnTo>
                      <a:pt x="3" y="315"/>
                    </a:lnTo>
                    <a:close/>
                    <a:moveTo>
                      <a:pt x="5" y="301"/>
                    </a:moveTo>
                    <a:cubicBezTo>
                      <a:pt x="4" y="301"/>
                      <a:pt x="4" y="301"/>
                      <a:pt x="4" y="301"/>
                    </a:cubicBezTo>
                    <a:cubicBezTo>
                      <a:pt x="3" y="299"/>
                      <a:pt x="1" y="297"/>
                      <a:pt x="0" y="296"/>
                    </a:cubicBezTo>
                    <a:cubicBezTo>
                      <a:pt x="6" y="293"/>
                      <a:pt x="6" y="293"/>
                      <a:pt x="6" y="293"/>
                    </a:cubicBezTo>
                    <a:cubicBezTo>
                      <a:pt x="6" y="294"/>
                      <a:pt x="7" y="295"/>
                      <a:pt x="8" y="296"/>
                    </a:cubicBezTo>
                    <a:cubicBezTo>
                      <a:pt x="9" y="297"/>
                      <a:pt x="9" y="297"/>
                      <a:pt x="9" y="297"/>
                    </a:cubicBezTo>
                    <a:lnTo>
                      <a:pt x="5" y="301"/>
                    </a:lnTo>
                    <a:close/>
                    <a:moveTo>
                      <a:pt x="9" y="286"/>
                    </a:moveTo>
                    <a:cubicBezTo>
                      <a:pt x="5" y="282"/>
                      <a:pt x="5" y="282"/>
                      <a:pt x="5" y="282"/>
                    </a:cubicBezTo>
                    <a:cubicBezTo>
                      <a:pt x="5" y="282"/>
                      <a:pt x="5" y="282"/>
                      <a:pt x="5" y="282"/>
                    </a:cubicBezTo>
                    <a:cubicBezTo>
                      <a:pt x="6" y="281"/>
                      <a:pt x="7" y="280"/>
                      <a:pt x="8" y="279"/>
                    </a:cubicBezTo>
                    <a:cubicBezTo>
                      <a:pt x="13" y="281"/>
                      <a:pt x="13" y="281"/>
                      <a:pt x="13" y="281"/>
                    </a:cubicBezTo>
                    <a:cubicBezTo>
                      <a:pt x="12" y="284"/>
                      <a:pt x="10" y="285"/>
                      <a:pt x="9" y="286"/>
                    </a:cubicBezTo>
                    <a:close/>
                    <a:moveTo>
                      <a:pt x="15" y="269"/>
                    </a:moveTo>
                    <a:cubicBezTo>
                      <a:pt x="9" y="268"/>
                      <a:pt x="9" y="268"/>
                      <a:pt x="9" y="268"/>
                    </a:cubicBezTo>
                    <a:cubicBezTo>
                      <a:pt x="9" y="267"/>
                      <a:pt x="10" y="265"/>
                      <a:pt x="10" y="263"/>
                    </a:cubicBezTo>
                    <a:cubicBezTo>
                      <a:pt x="10" y="262"/>
                      <a:pt x="11" y="262"/>
                      <a:pt x="11" y="261"/>
                    </a:cubicBezTo>
                    <a:cubicBezTo>
                      <a:pt x="16" y="264"/>
                      <a:pt x="16" y="264"/>
                      <a:pt x="16" y="264"/>
                    </a:cubicBezTo>
                    <a:cubicBezTo>
                      <a:pt x="16" y="264"/>
                      <a:pt x="16" y="265"/>
                      <a:pt x="16" y="265"/>
                    </a:cubicBezTo>
                    <a:cubicBezTo>
                      <a:pt x="15" y="266"/>
                      <a:pt x="15" y="267"/>
                      <a:pt x="15" y="269"/>
                    </a:cubicBezTo>
                    <a:close/>
                    <a:moveTo>
                      <a:pt x="19" y="252"/>
                    </a:moveTo>
                    <a:cubicBezTo>
                      <a:pt x="13" y="252"/>
                      <a:pt x="13" y="252"/>
                      <a:pt x="13" y="252"/>
                    </a:cubicBezTo>
                    <a:cubicBezTo>
                      <a:pt x="14" y="249"/>
                      <a:pt x="14" y="247"/>
                      <a:pt x="14" y="245"/>
                    </a:cubicBezTo>
                    <a:cubicBezTo>
                      <a:pt x="20" y="247"/>
                      <a:pt x="20" y="247"/>
                      <a:pt x="20" y="247"/>
                    </a:cubicBezTo>
                    <a:cubicBezTo>
                      <a:pt x="20" y="248"/>
                      <a:pt x="19" y="250"/>
                      <a:pt x="19" y="252"/>
                    </a:cubicBezTo>
                    <a:close/>
                    <a:moveTo>
                      <a:pt x="26" y="241"/>
                    </a:moveTo>
                    <a:cubicBezTo>
                      <a:pt x="23" y="236"/>
                      <a:pt x="23" y="236"/>
                      <a:pt x="23" y="236"/>
                    </a:cubicBezTo>
                    <a:cubicBezTo>
                      <a:pt x="23" y="236"/>
                      <a:pt x="23" y="236"/>
                      <a:pt x="23" y="237"/>
                    </a:cubicBezTo>
                    <a:cubicBezTo>
                      <a:pt x="23" y="237"/>
                      <a:pt x="23" y="238"/>
                      <a:pt x="23" y="238"/>
                    </a:cubicBezTo>
                    <a:cubicBezTo>
                      <a:pt x="23" y="238"/>
                      <a:pt x="23" y="237"/>
                      <a:pt x="23" y="237"/>
                    </a:cubicBezTo>
                    <a:cubicBezTo>
                      <a:pt x="22" y="237"/>
                      <a:pt x="22" y="236"/>
                      <a:pt x="22" y="236"/>
                    </a:cubicBezTo>
                    <a:cubicBezTo>
                      <a:pt x="26" y="232"/>
                      <a:pt x="26" y="232"/>
                      <a:pt x="26" y="232"/>
                    </a:cubicBezTo>
                    <a:cubicBezTo>
                      <a:pt x="26" y="232"/>
                      <a:pt x="27" y="233"/>
                      <a:pt x="27" y="233"/>
                    </a:cubicBezTo>
                    <a:cubicBezTo>
                      <a:pt x="27" y="234"/>
                      <a:pt x="29" y="235"/>
                      <a:pt x="29" y="237"/>
                    </a:cubicBezTo>
                    <a:cubicBezTo>
                      <a:pt x="29" y="239"/>
                      <a:pt x="28" y="240"/>
                      <a:pt x="26" y="241"/>
                    </a:cubicBezTo>
                    <a:close/>
                    <a:moveTo>
                      <a:pt x="24" y="228"/>
                    </a:moveTo>
                    <a:cubicBezTo>
                      <a:pt x="23" y="222"/>
                      <a:pt x="23" y="222"/>
                      <a:pt x="23" y="222"/>
                    </a:cubicBezTo>
                    <a:cubicBezTo>
                      <a:pt x="24" y="222"/>
                      <a:pt x="25" y="222"/>
                      <a:pt x="25" y="222"/>
                    </a:cubicBezTo>
                    <a:cubicBezTo>
                      <a:pt x="26" y="222"/>
                      <a:pt x="27" y="222"/>
                      <a:pt x="28" y="222"/>
                    </a:cubicBezTo>
                    <a:cubicBezTo>
                      <a:pt x="31" y="227"/>
                      <a:pt x="31" y="227"/>
                      <a:pt x="31" y="227"/>
                    </a:cubicBezTo>
                    <a:cubicBezTo>
                      <a:pt x="29" y="228"/>
                      <a:pt x="27" y="228"/>
                      <a:pt x="25" y="228"/>
                    </a:cubicBezTo>
                    <a:cubicBezTo>
                      <a:pt x="25" y="228"/>
                      <a:pt x="24" y="228"/>
                      <a:pt x="24" y="228"/>
                    </a:cubicBezTo>
                    <a:close/>
                    <a:moveTo>
                      <a:pt x="40" y="216"/>
                    </a:moveTo>
                    <a:cubicBezTo>
                      <a:pt x="34" y="216"/>
                      <a:pt x="34" y="216"/>
                      <a:pt x="34" y="216"/>
                    </a:cubicBezTo>
                    <a:cubicBezTo>
                      <a:pt x="34" y="216"/>
                      <a:pt x="34" y="216"/>
                      <a:pt x="34" y="216"/>
                    </a:cubicBezTo>
                    <a:cubicBezTo>
                      <a:pt x="34" y="212"/>
                      <a:pt x="36" y="211"/>
                      <a:pt x="37" y="210"/>
                    </a:cubicBezTo>
                    <a:cubicBezTo>
                      <a:pt x="37" y="210"/>
                      <a:pt x="38" y="209"/>
                      <a:pt x="38" y="209"/>
                    </a:cubicBezTo>
                    <a:cubicBezTo>
                      <a:pt x="42" y="213"/>
                      <a:pt x="42" y="213"/>
                      <a:pt x="42" y="213"/>
                    </a:cubicBezTo>
                    <a:cubicBezTo>
                      <a:pt x="42" y="214"/>
                      <a:pt x="41" y="214"/>
                      <a:pt x="41" y="214"/>
                    </a:cubicBezTo>
                    <a:cubicBezTo>
                      <a:pt x="40" y="215"/>
                      <a:pt x="40" y="215"/>
                      <a:pt x="40" y="216"/>
                    </a:cubicBezTo>
                    <a:close/>
                    <a:moveTo>
                      <a:pt x="40" y="204"/>
                    </a:moveTo>
                    <a:cubicBezTo>
                      <a:pt x="40" y="198"/>
                      <a:pt x="40" y="198"/>
                      <a:pt x="40" y="198"/>
                    </a:cubicBezTo>
                    <a:cubicBezTo>
                      <a:pt x="40" y="198"/>
                      <a:pt x="41" y="198"/>
                      <a:pt x="41" y="198"/>
                    </a:cubicBezTo>
                    <a:cubicBezTo>
                      <a:pt x="42" y="198"/>
                      <a:pt x="42" y="197"/>
                      <a:pt x="43" y="197"/>
                    </a:cubicBezTo>
                    <a:cubicBezTo>
                      <a:pt x="43" y="197"/>
                      <a:pt x="44" y="197"/>
                      <a:pt x="44" y="197"/>
                    </a:cubicBezTo>
                    <a:cubicBezTo>
                      <a:pt x="46" y="197"/>
                      <a:pt x="48" y="199"/>
                      <a:pt x="48" y="201"/>
                    </a:cubicBezTo>
                    <a:cubicBezTo>
                      <a:pt x="42" y="201"/>
                      <a:pt x="42" y="201"/>
                      <a:pt x="42" y="201"/>
                    </a:cubicBezTo>
                    <a:cubicBezTo>
                      <a:pt x="42" y="202"/>
                      <a:pt x="43" y="203"/>
                      <a:pt x="44" y="203"/>
                    </a:cubicBezTo>
                    <a:cubicBezTo>
                      <a:pt x="44" y="203"/>
                      <a:pt x="43" y="203"/>
                      <a:pt x="43" y="203"/>
                    </a:cubicBezTo>
                    <a:cubicBezTo>
                      <a:pt x="42" y="204"/>
                      <a:pt x="41" y="204"/>
                      <a:pt x="40" y="204"/>
                    </a:cubicBezTo>
                    <a:close/>
                    <a:moveTo>
                      <a:pt x="42" y="193"/>
                    </a:moveTo>
                    <a:cubicBezTo>
                      <a:pt x="37" y="191"/>
                      <a:pt x="37" y="191"/>
                      <a:pt x="37" y="191"/>
                    </a:cubicBezTo>
                    <a:cubicBezTo>
                      <a:pt x="38" y="189"/>
                      <a:pt x="38" y="187"/>
                      <a:pt x="39" y="185"/>
                    </a:cubicBezTo>
                    <a:cubicBezTo>
                      <a:pt x="44" y="187"/>
                      <a:pt x="44" y="187"/>
                      <a:pt x="44" y="187"/>
                    </a:cubicBezTo>
                    <a:cubicBezTo>
                      <a:pt x="44" y="189"/>
                      <a:pt x="43" y="191"/>
                      <a:pt x="42" y="193"/>
                    </a:cubicBezTo>
                    <a:close/>
                    <a:moveTo>
                      <a:pt x="51" y="184"/>
                    </a:moveTo>
                    <a:cubicBezTo>
                      <a:pt x="49" y="184"/>
                      <a:pt x="48" y="183"/>
                      <a:pt x="46" y="181"/>
                    </a:cubicBezTo>
                    <a:cubicBezTo>
                      <a:pt x="50" y="177"/>
                      <a:pt x="50" y="177"/>
                      <a:pt x="50" y="177"/>
                    </a:cubicBezTo>
                    <a:cubicBezTo>
                      <a:pt x="50" y="177"/>
                      <a:pt x="51" y="178"/>
                      <a:pt x="52" y="178"/>
                    </a:cubicBezTo>
                    <a:cubicBezTo>
                      <a:pt x="51" y="178"/>
                      <a:pt x="50" y="178"/>
                      <a:pt x="50" y="178"/>
                    </a:cubicBezTo>
                    <a:cubicBezTo>
                      <a:pt x="55" y="182"/>
                      <a:pt x="55" y="182"/>
                      <a:pt x="55" y="182"/>
                    </a:cubicBezTo>
                    <a:cubicBezTo>
                      <a:pt x="54" y="183"/>
                      <a:pt x="52" y="184"/>
                      <a:pt x="51" y="184"/>
                    </a:cubicBezTo>
                    <a:close/>
                    <a:moveTo>
                      <a:pt x="50" y="170"/>
                    </a:moveTo>
                    <a:cubicBezTo>
                      <a:pt x="50" y="169"/>
                      <a:pt x="49" y="168"/>
                      <a:pt x="48" y="166"/>
                    </a:cubicBezTo>
                    <a:cubicBezTo>
                      <a:pt x="48" y="165"/>
                      <a:pt x="48" y="165"/>
                      <a:pt x="48" y="165"/>
                    </a:cubicBezTo>
                    <a:cubicBezTo>
                      <a:pt x="53" y="162"/>
                      <a:pt x="53" y="162"/>
                      <a:pt x="53" y="162"/>
                    </a:cubicBezTo>
                    <a:cubicBezTo>
                      <a:pt x="53" y="163"/>
                      <a:pt x="53" y="163"/>
                      <a:pt x="53" y="163"/>
                    </a:cubicBezTo>
                    <a:cubicBezTo>
                      <a:pt x="54" y="165"/>
                      <a:pt x="55" y="166"/>
                      <a:pt x="56" y="168"/>
                    </a:cubicBezTo>
                    <a:lnTo>
                      <a:pt x="50" y="170"/>
                    </a:lnTo>
                    <a:close/>
                    <a:moveTo>
                      <a:pt x="42" y="154"/>
                    </a:moveTo>
                    <a:cubicBezTo>
                      <a:pt x="42" y="153"/>
                      <a:pt x="42" y="153"/>
                      <a:pt x="42" y="153"/>
                    </a:cubicBezTo>
                    <a:cubicBezTo>
                      <a:pt x="42" y="151"/>
                      <a:pt x="43" y="150"/>
                      <a:pt x="43" y="148"/>
                    </a:cubicBezTo>
                    <a:cubicBezTo>
                      <a:pt x="43" y="147"/>
                      <a:pt x="43" y="147"/>
                      <a:pt x="43" y="147"/>
                    </a:cubicBezTo>
                    <a:cubicBezTo>
                      <a:pt x="49" y="148"/>
                      <a:pt x="49" y="148"/>
                      <a:pt x="49" y="148"/>
                    </a:cubicBezTo>
                    <a:cubicBezTo>
                      <a:pt x="49" y="149"/>
                      <a:pt x="49" y="149"/>
                      <a:pt x="49" y="149"/>
                    </a:cubicBezTo>
                    <a:cubicBezTo>
                      <a:pt x="48" y="151"/>
                      <a:pt x="48" y="152"/>
                      <a:pt x="48" y="153"/>
                    </a:cubicBezTo>
                    <a:cubicBezTo>
                      <a:pt x="48" y="153"/>
                      <a:pt x="48" y="153"/>
                      <a:pt x="48" y="153"/>
                    </a:cubicBezTo>
                    <a:lnTo>
                      <a:pt x="42" y="154"/>
                    </a:lnTo>
                    <a:close/>
                    <a:moveTo>
                      <a:pt x="52" y="138"/>
                    </a:moveTo>
                    <a:cubicBezTo>
                      <a:pt x="46" y="135"/>
                      <a:pt x="46" y="135"/>
                      <a:pt x="46" y="135"/>
                    </a:cubicBezTo>
                    <a:cubicBezTo>
                      <a:pt x="47" y="133"/>
                      <a:pt x="49" y="131"/>
                      <a:pt x="50" y="130"/>
                    </a:cubicBezTo>
                    <a:cubicBezTo>
                      <a:pt x="54" y="133"/>
                      <a:pt x="54" y="133"/>
                      <a:pt x="54" y="133"/>
                    </a:cubicBezTo>
                    <a:cubicBezTo>
                      <a:pt x="53" y="135"/>
                      <a:pt x="52" y="136"/>
                      <a:pt x="52" y="138"/>
                    </a:cubicBezTo>
                    <a:close/>
                    <a:moveTo>
                      <a:pt x="63" y="128"/>
                    </a:moveTo>
                    <a:cubicBezTo>
                      <a:pt x="61" y="122"/>
                      <a:pt x="61" y="122"/>
                      <a:pt x="61" y="122"/>
                    </a:cubicBezTo>
                    <a:cubicBezTo>
                      <a:pt x="62" y="122"/>
                      <a:pt x="62" y="122"/>
                      <a:pt x="63" y="122"/>
                    </a:cubicBezTo>
                    <a:cubicBezTo>
                      <a:pt x="64" y="121"/>
                      <a:pt x="66" y="121"/>
                      <a:pt x="67" y="121"/>
                    </a:cubicBezTo>
                    <a:cubicBezTo>
                      <a:pt x="68" y="126"/>
                      <a:pt x="68" y="126"/>
                      <a:pt x="68" y="126"/>
                    </a:cubicBezTo>
                    <a:cubicBezTo>
                      <a:pt x="67" y="127"/>
                      <a:pt x="66" y="127"/>
                      <a:pt x="65" y="127"/>
                    </a:cubicBezTo>
                    <a:cubicBezTo>
                      <a:pt x="64" y="128"/>
                      <a:pt x="63" y="128"/>
                      <a:pt x="63" y="128"/>
                    </a:cubicBezTo>
                    <a:close/>
                    <a:moveTo>
                      <a:pt x="80" y="124"/>
                    </a:moveTo>
                    <a:cubicBezTo>
                      <a:pt x="78" y="118"/>
                      <a:pt x="78" y="118"/>
                      <a:pt x="78" y="118"/>
                    </a:cubicBezTo>
                    <a:cubicBezTo>
                      <a:pt x="79" y="118"/>
                      <a:pt x="79" y="117"/>
                      <a:pt x="81" y="115"/>
                    </a:cubicBezTo>
                    <a:cubicBezTo>
                      <a:pt x="85" y="119"/>
                      <a:pt x="85" y="119"/>
                      <a:pt x="85" y="119"/>
                    </a:cubicBezTo>
                    <a:cubicBezTo>
                      <a:pt x="84" y="121"/>
                      <a:pt x="82" y="123"/>
                      <a:pt x="80" y="124"/>
                    </a:cubicBezTo>
                    <a:close/>
                    <a:moveTo>
                      <a:pt x="92" y="109"/>
                    </a:moveTo>
                    <a:cubicBezTo>
                      <a:pt x="87" y="106"/>
                      <a:pt x="87" y="106"/>
                      <a:pt x="87" y="106"/>
                    </a:cubicBezTo>
                    <a:cubicBezTo>
                      <a:pt x="88" y="105"/>
                      <a:pt x="89" y="104"/>
                      <a:pt x="90" y="102"/>
                    </a:cubicBezTo>
                    <a:cubicBezTo>
                      <a:pt x="90" y="102"/>
                      <a:pt x="90" y="102"/>
                      <a:pt x="91" y="101"/>
                    </a:cubicBezTo>
                    <a:cubicBezTo>
                      <a:pt x="96" y="104"/>
                      <a:pt x="96" y="104"/>
                      <a:pt x="96" y="104"/>
                    </a:cubicBezTo>
                    <a:cubicBezTo>
                      <a:pt x="95" y="105"/>
                      <a:pt x="95" y="106"/>
                      <a:pt x="94" y="106"/>
                    </a:cubicBezTo>
                    <a:cubicBezTo>
                      <a:pt x="93" y="107"/>
                      <a:pt x="92" y="108"/>
                      <a:pt x="92" y="109"/>
                    </a:cubicBezTo>
                    <a:close/>
                    <a:moveTo>
                      <a:pt x="87" y="94"/>
                    </a:moveTo>
                    <a:cubicBezTo>
                      <a:pt x="86" y="92"/>
                      <a:pt x="86" y="91"/>
                      <a:pt x="86" y="90"/>
                    </a:cubicBezTo>
                    <a:cubicBezTo>
                      <a:pt x="86" y="89"/>
                      <a:pt x="86" y="88"/>
                      <a:pt x="86" y="87"/>
                    </a:cubicBezTo>
                    <a:cubicBezTo>
                      <a:pt x="87" y="87"/>
                      <a:pt x="87" y="87"/>
                      <a:pt x="87" y="86"/>
                    </a:cubicBezTo>
                    <a:cubicBezTo>
                      <a:pt x="93" y="87"/>
                      <a:pt x="93" y="87"/>
                      <a:pt x="93" y="87"/>
                    </a:cubicBezTo>
                    <a:cubicBezTo>
                      <a:pt x="92" y="88"/>
                      <a:pt x="92" y="89"/>
                      <a:pt x="92" y="89"/>
                    </a:cubicBezTo>
                    <a:cubicBezTo>
                      <a:pt x="92" y="89"/>
                      <a:pt x="92" y="89"/>
                      <a:pt x="92" y="90"/>
                    </a:cubicBezTo>
                    <a:cubicBezTo>
                      <a:pt x="92" y="90"/>
                      <a:pt x="92" y="91"/>
                      <a:pt x="92" y="91"/>
                    </a:cubicBezTo>
                    <a:lnTo>
                      <a:pt x="87" y="94"/>
                    </a:lnTo>
                    <a:close/>
                    <a:moveTo>
                      <a:pt x="87" y="78"/>
                    </a:moveTo>
                    <a:cubicBezTo>
                      <a:pt x="87" y="78"/>
                      <a:pt x="87" y="78"/>
                      <a:pt x="86" y="78"/>
                    </a:cubicBezTo>
                    <a:cubicBezTo>
                      <a:pt x="86" y="78"/>
                      <a:pt x="85" y="78"/>
                      <a:pt x="85" y="78"/>
                    </a:cubicBezTo>
                    <a:cubicBezTo>
                      <a:pt x="83" y="78"/>
                      <a:pt x="82" y="78"/>
                      <a:pt x="82" y="77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84" y="72"/>
                      <a:pt x="85" y="72"/>
                      <a:pt x="85" y="72"/>
                    </a:cubicBezTo>
                    <a:cubicBezTo>
                      <a:pt x="86" y="72"/>
                      <a:pt x="87" y="72"/>
                      <a:pt x="87" y="72"/>
                    </a:cubicBezTo>
                    <a:cubicBezTo>
                      <a:pt x="88" y="73"/>
                      <a:pt x="89" y="73"/>
                      <a:pt x="90" y="73"/>
                    </a:cubicBezTo>
                    <a:lnTo>
                      <a:pt x="87" y="78"/>
                    </a:lnTo>
                    <a:close/>
                    <a:moveTo>
                      <a:pt x="85" y="68"/>
                    </a:moveTo>
                    <a:cubicBezTo>
                      <a:pt x="83" y="62"/>
                      <a:pt x="83" y="62"/>
                      <a:pt x="83" y="62"/>
                    </a:cubicBezTo>
                    <a:cubicBezTo>
                      <a:pt x="84" y="62"/>
                      <a:pt x="84" y="62"/>
                      <a:pt x="84" y="62"/>
                    </a:cubicBezTo>
                    <a:cubicBezTo>
                      <a:pt x="85" y="62"/>
                      <a:pt x="87" y="61"/>
                      <a:pt x="89" y="61"/>
                    </a:cubicBezTo>
                    <a:cubicBezTo>
                      <a:pt x="91" y="66"/>
                      <a:pt x="91" y="66"/>
                      <a:pt x="91" y="66"/>
                    </a:cubicBezTo>
                    <a:cubicBezTo>
                      <a:pt x="89" y="67"/>
                      <a:pt x="87" y="67"/>
                      <a:pt x="85" y="68"/>
                    </a:cubicBezTo>
                    <a:close/>
                    <a:moveTo>
                      <a:pt x="100" y="57"/>
                    </a:moveTo>
                    <a:cubicBezTo>
                      <a:pt x="96" y="53"/>
                      <a:pt x="96" y="53"/>
                      <a:pt x="96" y="53"/>
                    </a:cubicBezTo>
                    <a:cubicBezTo>
                      <a:pt x="97" y="52"/>
                      <a:pt x="97" y="52"/>
                      <a:pt x="97" y="52"/>
                    </a:cubicBezTo>
                    <a:cubicBezTo>
                      <a:pt x="98" y="51"/>
                      <a:pt x="99" y="50"/>
                      <a:pt x="100" y="49"/>
                    </a:cubicBezTo>
                    <a:cubicBezTo>
                      <a:pt x="104" y="53"/>
                      <a:pt x="104" y="53"/>
                      <a:pt x="104" y="53"/>
                    </a:cubicBezTo>
                    <a:cubicBezTo>
                      <a:pt x="103" y="54"/>
                      <a:pt x="102" y="55"/>
                      <a:pt x="101" y="56"/>
                    </a:cubicBezTo>
                    <a:lnTo>
                      <a:pt x="100" y="57"/>
                    </a:lnTo>
                    <a:close/>
                    <a:moveTo>
                      <a:pt x="137" y="50"/>
                    </a:moveTo>
                    <a:cubicBezTo>
                      <a:pt x="135" y="44"/>
                      <a:pt x="135" y="44"/>
                      <a:pt x="135" y="44"/>
                    </a:cubicBezTo>
                    <a:cubicBezTo>
                      <a:pt x="135" y="44"/>
                      <a:pt x="136" y="44"/>
                      <a:pt x="136" y="43"/>
                    </a:cubicBezTo>
                    <a:cubicBezTo>
                      <a:pt x="137" y="43"/>
                      <a:pt x="137" y="42"/>
                      <a:pt x="137" y="42"/>
                    </a:cubicBezTo>
                    <a:cubicBezTo>
                      <a:pt x="143" y="44"/>
                      <a:pt x="143" y="44"/>
                      <a:pt x="143" y="44"/>
                    </a:cubicBezTo>
                    <a:cubicBezTo>
                      <a:pt x="142" y="45"/>
                      <a:pt x="141" y="47"/>
                      <a:pt x="140" y="47"/>
                    </a:cubicBezTo>
                    <a:cubicBezTo>
                      <a:pt x="139" y="48"/>
                      <a:pt x="138" y="49"/>
                      <a:pt x="137" y="50"/>
                    </a:cubicBezTo>
                    <a:close/>
                    <a:moveTo>
                      <a:pt x="111" y="43"/>
                    </a:moveTo>
                    <a:cubicBezTo>
                      <a:pt x="106" y="39"/>
                      <a:pt x="106" y="39"/>
                      <a:pt x="106" y="39"/>
                    </a:cubicBezTo>
                    <a:cubicBezTo>
                      <a:pt x="108" y="38"/>
                      <a:pt x="109" y="36"/>
                      <a:pt x="111" y="35"/>
                    </a:cubicBezTo>
                    <a:cubicBezTo>
                      <a:pt x="115" y="40"/>
                      <a:pt x="115" y="40"/>
                      <a:pt x="115" y="40"/>
                    </a:cubicBezTo>
                    <a:cubicBezTo>
                      <a:pt x="113" y="41"/>
                      <a:pt x="112" y="42"/>
                      <a:pt x="111" y="43"/>
                    </a:cubicBezTo>
                    <a:close/>
                    <a:moveTo>
                      <a:pt x="124" y="43"/>
                    </a:moveTo>
                    <a:cubicBezTo>
                      <a:pt x="124" y="42"/>
                      <a:pt x="123" y="40"/>
                      <a:pt x="122" y="39"/>
                    </a:cubicBezTo>
                    <a:cubicBezTo>
                      <a:pt x="126" y="35"/>
                      <a:pt x="126" y="35"/>
                      <a:pt x="126" y="35"/>
                    </a:cubicBezTo>
                    <a:cubicBezTo>
                      <a:pt x="127" y="36"/>
                      <a:pt x="128" y="38"/>
                      <a:pt x="129" y="40"/>
                    </a:cubicBezTo>
                    <a:lnTo>
                      <a:pt x="124" y="43"/>
                    </a:lnTo>
                    <a:close/>
                    <a:moveTo>
                      <a:pt x="147" y="36"/>
                    </a:moveTo>
                    <a:cubicBezTo>
                      <a:pt x="144" y="30"/>
                      <a:pt x="144" y="30"/>
                      <a:pt x="144" y="30"/>
                    </a:cubicBezTo>
                    <a:cubicBezTo>
                      <a:pt x="145" y="30"/>
                      <a:pt x="146" y="30"/>
                      <a:pt x="147" y="30"/>
                    </a:cubicBezTo>
                    <a:cubicBezTo>
                      <a:pt x="151" y="29"/>
                      <a:pt x="151" y="29"/>
                      <a:pt x="151" y="29"/>
                    </a:cubicBezTo>
                    <a:cubicBezTo>
                      <a:pt x="152" y="34"/>
                      <a:pt x="152" y="34"/>
                      <a:pt x="152" y="34"/>
                    </a:cubicBezTo>
                    <a:cubicBezTo>
                      <a:pt x="148" y="35"/>
                      <a:pt x="148" y="35"/>
                      <a:pt x="148" y="35"/>
                    </a:cubicBezTo>
                    <a:cubicBezTo>
                      <a:pt x="148" y="35"/>
                      <a:pt x="147" y="35"/>
                      <a:pt x="147" y="36"/>
                    </a:cubicBezTo>
                    <a:close/>
                    <a:moveTo>
                      <a:pt x="164" y="33"/>
                    </a:moveTo>
                    <a:cubicBezTo>
                      <a:pt x="162" y="28"/>
                      <a:pt x="162" y="28"/>
                      <a:pt x="162" y="28"/>
                    </a:cubicBezTo>
                    <a:cubicBezTo>
                      <a:pt x="162" y="28"/>
                      <a:pt x="162" y="28"/>
                      <a:pt x="162" y="28"/>
                    </a:cubicBezTo>
                    <a:cubicBezTo>
                      <a:pt x="162" y="28"/>
                      <a:pt x="162" y="27"/>
                      <a:pt x="162" y="27"/>
                    </a:cubicBezTo>
                    <a:cubicBezTo>
                      <a:pt x="162" y="26"/>
                      <a:pt x="162" y="26"/>
                      <a:pt x="162" y="26"/>
                    </a:cubicBezTo>
                    <a:cubicBezTo>
                      <a:pt x="162" y="25"/>
                      <a:pt x="162" y="24"/>
                      <a:pt x="163" y="23"/>
                    </a:cubicBezTo>
                    <a:cubicBezTo>
                      <a:pt x="168" y="27"/>
                      <a:pt x="168" y="27"/>
                      <a:pt x="168" y="27"/>
                    </a:cubicBezTo>
                    <a:cubicBezTo>
                      <a:pt x="168" y="27"/>
                      <a:pt x="168" y="27"/>
                      <a:pt x="168" y="27"/>
                    </a:cubicBezTo>
                    <a:cubicBezTo>
                      <a:pt x="168" y="27"/>
                      <a:pt x="168" y="27"/>
                      <a:pt x="168" y="27"/>
                    </a:cubicBezTo>
                    <a:cubicBezTo>
                      <a:pt x="168" y="28"/>
                      <a:pt x="168" y="28"/>
                      <a:pt x="168" y="28"/>
                    </a:cubicBezTo>
                    <a:cubicBezTo>
                      <a:pt x="167" y="30"/>
                      <a:pt x="167" y="32"/>
                      <a:pt x="164" y="33"/>
                    </a:cubicBezTo>
                    <a:close/>
                    <a:moveTo>
                      <a:pt x="177" y="24"/>
                    </a:moveTo>
                    <a:cubicBezTo>
                      <a:pt x="175" y="18"/>
                      <a:pt x="175" y="18"/>
                      <a:pt x="175" y="18"/>
                    </a:cubicBezTo>
                    <a:cubicBezTo>
                      <a:pt x="176" y="18"/>
                      <a:pt x="179" y="17"/>
                      <a:pt x="179" y="16"/>
                    </a:cubicBezTo>
                    <a:cubicBezTo>
                      <a:pt x="184" y="20"/>
                      <a:pt x="184" y="20"/>
                      <a:pt x="184" y="20"/>
                    </a:cubicBezTo>
                    <a:cubicBezTo>
                      <a:pt x="182" y="22"/>
                      <a:pt x="180" y="23"/>
                      <a:pt x="177" y="24"/>
                    </a:cubicBezTo>
                    <a:close/>
                    <a:moveTo>
                      <a:pt x="177" y="7"/>
                    </a:moveTo>
                    <a:cubicBezTo>
                      <a:pt x="177" y="7"/>
                      <a:pt x="177" y="6"/>
                      <a:pt x="177" y="6"/>
                    </a:cubicBezTo>
                    <a:cubicBezTo>
                      <a:pt x="177" y="5"/>
                      <a:pt x="178" y="4"/>
                      <a:pt x="178" y="3"/>
                    </a:cubicBezTo>
                    <a:cubicBezTo>
                      <a:pt x="179" y="2"/>
                      <a:pt x="180" y="1"/>
                      <a:pt x="182" y="0"/>
                    </a:cubicBezTo>
                    <a:cubicBezTo>
                      <a:pt x="185" y="5"/>
                      <a:pt x="185" y="5"/>
                      <a:pt x="185" y="5"/>
                    </a:cubicBezTo>
                    <a:cubicBezTo>
                      <a:pt x="183" y="6"/>
                      <a:pt x="183" y="7"/>
                      <a:pt x="183" y="7"/>
                    </a:cubicBezTo>
                    <a:cubicBezTo>
                      <a:pt x="183" y="6"/>
                      <a:pt x="183" y="6"/>
                      <a:pt x="183" y="6"/>
                    </a:cubicBezTo>
                    <a:lnTo>
                      <a:pt x="177" y="7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28" name="ïs1ïďé"/>
              <p:cNvSpPr/>
              <p:nvPr/>
            </p:nvSpPr>
            <p:spPr bwMode="auto">
              <a:xfrm>
                <a:off x="8115300" y="4332288"/>
                <a:ext cx="495300" cy="758825"/>
              </a:xfrm>
              <a:custGeom>
                <a:avLst/>
                <a:gdLst>
                  <a:gd name="T0" fmla="*/ 229 w 231"/>
                  <a:gd name="T1" fmla="*/ 354 h 354"/>
                  <a:gd name="T2" fmla="*/ 213 w 231"/>
                  <a:gd name="T3" fmla="*/ 348 h 354"/>
                  <a:gd name="T4" fmla="*/ 166 w 231"/>
                  <a:gd name="T5" fmla="*/ 335 h 354"/>
                  <a:gd name="T6" fmla="*/ 198 w 231"/>
                  <a:gd name="T7" fmla="*/ 329 h 354"/>
                  <a:gd name="T8" fmla="*/ 112 w 231"/>
                  <a:gd name="T9" fmla="*/ 325 h 354"/>
                  <a:gd name="T10" fmla="*/ 150 w 231"/>
                  <a:gd name="T11" fmla="*/ 329 h 354"/>
                  <a:gd name="T12" fmla="*/ 151 w 231"/>
                  <a:gd name="T13" fmla="*/ 330 h 354"/>
                  <a:gd name="T14" fmla="*/ 173 w 231"/>
                  <a:gd name="T15" fmla="*/ 321 h 354"/>
                  <a:gd name="T16" fmla="*/ 178 w 231"/>
                  <a:gd name="T17" fmla="*/ 329 h 354"/>
                  <a:gd name="T18" fmla="*/ 86 w 231"/>
                  <a:gd name="T19" fmla="*/ 321 h 354"/>
                  <a:gd name="T20" fmla="*/ 98 w 231"/>
                  <a:gd name="T21" fmla="*/ 319 h 354"/>
                  <a:gd name="T22" fmla="*/ 186 w 231"/>
                  <a:gd name="T23" fmla="*/ 322 h 354"/>
                  <a:gd name="T24" fmla="*/ 127 w 231"/>
                  <a:gd name="T25" fmla="*/ 319 h 354"/>
                  <a:gd name="T26" fmla="*/ 133 w 231"/>
                  <a:gd name="T27" fmla="*/ 315 h 354"/>
                  <a:gd name="T28" fmla="*/ 147 w 231"/>
                  <a:gd name="T29" fmla="*/ 312 h 354"/>
                  <a:gd name="T30" fmla="*/ 86 w 231"/>
                  <a:gd name="T31" fmla="*/ 309 h 354"/>
                  <a:gd name="T32" fmla="*/ 136 w 231"/>
                  <a:gd name="T33" fmla="*/ 299 h 354"/>
                  <a:gd name="T34" fmla="*/ 134 w 231"/>
                  <a:gd name="T35" fmla="*/ 305 h 354"/>
                  <a:gd name="T36" fmla="*/ 75 w 231"/>
                  <a:gd name="T37" fmla="*/ 294 h 354"/>
                  <a:gd name="T38" fmla="*/ 69 w 231"/>
                  <a:gd name="T39" fmla="*/ 276 h 354"/>
                  <a:gd name="T40" fmla="*/ 71 w 231"/>
                  <a:gd name="T41" fmla="*/ 264 h 354"/>
                  <a:gd name="T42" fmla="*/ 73 w 231"/>
                  <a:gd name="T43" fmla="*/ 259 h 354"/>
                  <a:gd name="T44" fmla="*/ 40 w 231"/>
                  <a:gd name="T45" fmla="*/ 254 h 354"/>
                  <a:gd name="T46" fmla="*/ 57 w 231"/>
                  <a:gd name="T47" fmla="*/ 259 h 354"/>
                  <a:gd name="T48" fmla="*/ 62 w 231"/>
                  <a:gd name="T49" fmla="*/ 256 h 354"/>
                  <a:gd name="T50" fmla="*/ 44 w 231"/>
                  <a:gd name="T51" fmla="*/ 235 h 354"/>
                  <a:gd name="T52" fmla="*/ 37 w 231"/>
                  <a:gd name="T53" fmla="*/ 221 h 354"/>
                  <a:gd name="T54" fmla="*/ 26 w 231"/>
                  <a:gd name="T55" fmla="*/ 208 h 354"/>
                  <a:gd name="T56" fmla="*/ 13 w 231"/>
                  <a:gd name="T57" fmla="*/ 198 h 354"/>
                  <a:gd name="T58" fmla="*/ 0 w 231"/>
                  <a:gd name="T59" fmla="*/ 183 h 354"/>
                  <a:gd name="T60" fmla="*/ 8 w 231"/>
                  <a:gd name="T61" fmla="*/ 172 h 354"/>
                  <a:gd name="T62" fmla="*/ 7 w 231"/>
                  <a:gd name="T63" fmla="*/ 172 h 354"/>
                  <a:gd name="T64" fmla="*/ 18 w 231"/>
                  <a:gd name="T65" fmla="*/ 160 h 354"/>
                  <a:gd name="T66" fmla="*/ 31 w 231"/>
                  <a:gd name="T67" fmla="*/ 148 h 354"/>
                  <a:gd name="T68" fmla="*/ 37 w 231"/>
                  <a:gd name="T69" fmla="*/ 136 h 354"/>
                  <a:gd name="T70" fmla="*/ 52 w 231"/>
                  <a:gd name="T71" fmla="*/ 130 h 354"/>
                  <a:gd name="T72" fmla="*/ 52 w 231"/>
                  <a:gd name="T73" fmla="*/ 130 h 354"/>
                  <a:gd name="T74" fmla="*/ 61 w 231"/>
                  <a:gd name="T75" fmla="*/ 109 h 354"/>
                  <a:gd name="T76" fmla="*/ 58 w 231"/>
                  <a:gd name="T77" fmla="*/ 94 h 354"/>
                  <a:gd name="T78" fmla="*/ 64 w 231"/>
                  <a:gd name="T79" fmla="*/ 82 h 354"/>
                  <a:gd name="T80" fmla="*/ 64 w 231"/>
                  <a:gd name="T81" fmla="*/ 80 h 354"/>
                  <a:gd name="T82" fmla="*/ 84 w 231"/>
                  <a:gd name="T83" fmla="*/ 69 h 354"/>
                  <a:gd name="T84" fmla="*/ 63 w 231"/>
                  <a:gd name="T85" fmla="*/ 64 h 354"/>
                  <a:gd name="T86" fmla="*/ 93 w 231"/>
                  <a:gd name="T87" fmla="*/ 61 h 354"/>
                  <a:gd name="T88" fmla="*/ 86 w 231"/>
                  <a:gd name="T89" fmla="*/ 49 h 354"/>
                  <a:gd name="T90" fmla="*/ 85 w 231"/>
                  <a:gd name="T91" fmla="*/ 39 h 354"/>
                  <a:gd name="T92" fmla="*/ 87 w 231"/>
                  <a:gd name="T93" fmla="*/ 45 h 354"/>
                  <a:gd name="T94" fmla="*/ 100 w 231"/>
                  <a:gd name="T95" fmla="*/ 35 h 354"/>
                  <a:gd name="T96" fmla="*/ 109 w 231"/>
                  <a:gd name="T97" fmla="*/ 24 h 354"/>
                  <a:gd name="T98" fmla="*/ 109 w 231"/>
                  <a:gd name="T99" fmla="*/ 21 h 354"/>
                  <a:gd name="T100" fmla="*/ 112 w 231"/>
                  <a:gd name="T101" fmla="*/ 1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31" h="354">
                    <a:moveTo>
                      <a:pt x="229" y="354"/>
                    </a:moveTo>
                    <a:cubicBezTo>
                      <a:pt x="229" y="354"/>
                      <a:pt x="227" y="354"/>
                      <a:pt x="224" y="352"/>
                    </a:cubicBezTo>
                    <a:cubicBezTo>
                      <a:pt x="226" y="347"/>
                      <a:pt x="226" y="347"/>
                      <a:pt x="226" y="347"/>
                    </a:cubicBezTo>
                    <a:cubicBezTo>
                      <a:pt x="229" y="348"/>
                      <a:pt x="231" y="349"/>
                      <a:pt x="231" y="349"/>
                    </a:cubicBezTo>
                    <a:lnTo>
                      <a:pt x="229" y="354"/>
                    </a:lnTo>
                    <a:close/>
                    <a:moveTo>
                      <a:pt x="213" y="348"/>
                    </a:moveTo>
                    <a:cubicBezTo>
                      <a:pt x="211" y="347"/>
                      <a:pt x="209" y="346"/>
                      <a:pt x="207" y="344"/>
                    </a:cubicBezTo>
                    <a:cubicBezTo>
                      <a:pt x="211" y="340"/>
                      <a:pt x="211" y="340"/>
                      <a:pt x="211" y="340"/>
                    </a:cubicBezTo>
                    <a:cubicBezTo>
                      <a:pt x="212" y="341"/>
                      <a:pt x="214" y="342"/>
                      <a:pt x="215" y="343"/>
                    </a:cubicBezTo>
                    <a:lnTo>
                      <a:pt x="213" y="348"/>
                    </a:lnTo>
                    <a:close/>
                    <a:moveTo>
                      <a:pt x="162" y="336"/>
                    </a:moveTo>
                    <a:cubicBezTo>
                      <a:pt x="159" y="330"/>
                      <a:pt x="159" y="330"/>
                      <a:pt x="159" y="330"/>
                    </a:cubicBezTo>
                    <a:cubicBezTo>
                      <a:pt x="161" y="330"/>
                      <a:pt x="163" y="329"/>
                      <a:pt x="164" y="329"/>
                    </a:cubicBezTo>
                    <a:cubicBezTo>
                      <a:pt x="165" y="329"/>
                      <a:pt x="165" y="329"/>
                      <a:pt x="166" y="329"/>
                    </a:cubicBezTo>
                    <a:cubicBezTo>
                      <a:pt x="166" y="335"/>
                      <a:pt x="166" y="335"/>
                      <a:pt x="166" y="335"/>
                    </a:cubicBezTo>
                    <a:cubicBezTo>
                      <a:pt x="166" y="335"/>
                      <a:pt x="165" y="335"/>
                      <a:pt x="164" y="335"/>
                    </a:cubicBezTo>
                    <a:cubicBezTo>
                      <a:pt x="164" y="335"/>
                      <a:pt x="162" y="335"/>
                      <a:pt x="162" y="336"/>
                    </a:cubicBezTo>
                    <a:close/>
                    <a:moveTo>
                      <a:pt x="199" y="334"/>
                    </a:moveTo>
                    <a:cubicBezTo>
                      <a:pt x="199" y="333"/>
                      <a:pt x="199" y="333"/>
                      <a:pt x="199" y="333"/>
                    </a:cubicBezTo>
                    <a:cubicBezTo>
                      <a:pt x="198" y="332"/>
                      <a:pt x="198" y="330"/>
                      <a:pt x="198" y="329"/>
                    </a:cubicBezTo>
                    <a:cubicBezTo>
                      <a:pt x="203" y="327"/>
                      <a:pt x="203" y="327"/>
                      <a:pt x="203" y="327"/>
                    </a:cubicBezTo>
                    <a:cubicBezTo>
                      <a:pt x="204" y="329"/>
                      <a:pt x="204" y="331"/>
                      <a:pt x="204" y="333"/>
                    </a:cubicBezTo>
                    <a:lnTo>
                      <a:pt x="199" y="334"/>
                    </a:lnTo>
                    <a:close/>
                    <a:moveTo>
                      <a:pt x="114" y="330"/>
                    </a:moveTo>
                    <a:cubicBezTo>
                      <a:pt x="112" y="325"/>
                      <a:pt x="112" y="325"/>
                      <a:pt x="112" y="325"/>
                    </a:cubicBezTo>
                    <a:cubicBezTo>
                      <a:pt x="113" y="324"/>
                      <a:pt x="115" y="323"/>
                      <a:pt x="116" y="322"/>
                    </a:cubicBezTo>
                    <a:cubicBezTo>
                      <a:pt x="120" y="327"/>
                      <a:pt x="120" y="327"/>
                      <a:pt x="120" y="327"/>
                    </a:cubicBezTo>
                    <a:cubicBezTo>
                      <a:pt x="118" y="328"/>
                      <a:pt x="116" y="329"/>
                      <a:pt x="114" y="330"/>
                    </a:cubicBezTo>
                    <a:close/>
                    <a:moveTo>
                      <a:pt x="151" y="330"/>
                    </a:moveTo>
                    <a:cubicBezTo>
                      <a:pt x="150" y="329"/>
                      <a:pt x="150" y="329"/>
                      <a:pt x="150" y="329"/>
                    </a:cubicBezTo>
                    <a:cubicBezTo>
                      <a:pt x="148" y="328"/>
                      <a:pt x="147" y="326"/>
                      <a:pt x="146" y="325"/>
                    </a:cubicBezTo>
                    <a:cubicBezTo>
                      <a:pt x="151" y="322"/>
                      <a:pt x="151" y="322"/>
                      <a:pt x="151" y="322"/>
                    </a:cubicBezTo>
                    <a:cubicBezTo>
                      <a:pt x="152" y="323"/>
                      <a:pt x="153" y="324"/>
                      <a:pt x="154" y="325"/>
                    </a:cubicBezTo>
                    <a:cubicBezTo>
                      <a:pt x="155" y="326"/>
                      <a:pt x="155" y="326"/>
                      <a:pt x="155" y="326"/>
                    </a:cubicBezTo>
                    <a:lnTo>
                      <a:pt x="151" y="330"/>
                    </a:lnTo>
                    <a:close/>
                    <a:moveTo>
                      <a:pt x="178" y="329"/>
                    </a:moveTo>
                    <a:cubicBezTo>
                      <a:pt x="177" y="329"/>
                      <a:pt x="177" y="329"/>
                      <a:pt x="176" y="329"/>
                    </a:cubicBezTo>
                    <a:cubicBezTo>
                      <a:pt x="175" y="328"/>
                      <a:pt x="174" y="328"/>
                      <a:pt x="173" y="328"/>
                    </a:cubicBezTo>
                    <a:cubicBezTo>
                      <a:pt x="173" y="327"/>
                      <a:pt x="172" y="327"/>
                      <a:pt x="172" y="327"/>
                    </a:cubicBezTo>
                    <a:cubicBezTo>
                      <a:pt x="173" y="321"/>
                      <a:pt x="173" y="321"/>
                      <a:pt x="173" y="321"/>
                    </a:cubicBezTo>
                    <a:cubicBezTo>
                      <a:pt x="174" y="321"/>
                      <a:pt x="175" y="322"/>
                      <a:pt x="176" y="322"/>
                    </a:cubicBezTo>
                    <a:cubicBezTo>
                      <a:pt x="176" y="323"/>
                      <a:pt x="177" y="323"/>
                      <a:pt x="178" y="323"/>
                    </a:cubicBezTo>
                    <a:cubicBezTo>
                      <a:pt x="178" y="329"/>
                      <a:pt x="178" y="329"/>
                      <a:pt x="178" y="329"/>
                    </a:cubicBezTo>
                    <a:cubicBezTo>
                      <a:pt x="178" y="329"/>
                      <a:pt x="178" y="329"/>
                      <a:pt x="178" y="329"/>
                    </a:cubicBezTo>
                    <a:cubicBezTo>
                      <a:pt x="178" y="329"/>
                      <a:pt x="178" y="329"/>
                      <a:pt x="178" y="329"/>
                    </a:cubicBezTo>
                    <a:close/>
                    <a:moveTo>
                      <a:pt x="87" y="327"/>
                    </a:moveTo>
                    <a:cubicBezTo>
                      <a:pt x="81" y="327"/>
                      <a:pt x="81" y="324"/>
                      <a:pt x="81" y="322"/>
                    </a:cubicBezTo>
                    <a:cubicBezTo>
                      <a:pt x="81" y="322"/>
                      <a:pt x="81" y="321"/>
                      <a:pt x="81" y="321"/>
                    </a:cubicBezTo>
                    <a:cubicBezTo>
                      <a:pt x="86" y="321"/>
                      <a:pt x="86" y="321"/>
                      <a:pt x="86" y="321"/>
                    </a:cubicBezTo>
                    <a:cubicBezTo>
                      <a:pt x="86" y="321"/>
                      <a:pt x="86" y="321"/>
                      <a:pt x="86" y="321"/>
                    </a:cubicBezTo>
                    <a:cubicBezTo>
                      <a:pt x="86" y="321"/>
                      <a:pt x="86" y="321"/>
                      <a:pt x="87" y="321"/>
                    </a:cubicBezTo>
                    <a:cubicBezTo>
                      <a:pt x="87" y="327"/>
                      <a:pt x="87" y="327"/>
                      <a:pt x="87" y="327"/>
                    </a:cubicBezTo>
                    <a:close/>
                    <a:moveTo>
                      <a:pt x="102" y="325"/>
                    </a:moveTo>
                    <a:cubicBezTo>
                      <a:pt x="101" y="325"/>
                      <a:pt x="101" y="324"/>
                      <a:pt x="100" y="325"/>
                    </a:cubicBezTo>
                    <a:cubicBezTo>
                      <a:pt x="98" y="319"/>
                      <a:pt x="98" y="319"/>
                      <a:pt x="98" y="319"/>
                    </a:cubicBezTo>
                    <a:cubicBezTo>
                      <a:pt x="98" y="319"/>
                      <a:pt x="98" y="319"/>
                      <a:pt x="98" y="319"/>
                    </a:cubicBezTo>
                    <a:cubicBezTo>
                      <a:pt x="101" y="318"/>
                      <a:pt x="104" y="319"/>
                      <a:pt x="106" y="321"/>
                    </a:cubicBezTo>
                    <a:lnTo>
                      <a:pt x="102" y="325"/>
                    </a:lnTo>
                    <a:close/>
                    <a:moveTo>
                      <a:pt x="190" y="323"/>
                    </a:moveTo>
                    <a:cubicBezTo>
                      <a:pt x="189" y="323"/>
                      <a:pt x="187" y="322"/>
                      <a:pt x="186" y="322"/>
                    </a:cubicBezTo>
                    <a:cubicBezTo>
                      <a:pt x="186" y="316"/>
                      <a:pt x="186" y="316"/>
                      <a:pt x="186" y="316"/>
                    </a:cubicBezTo>
                    <a:cubicBezTo>
                      <a:pt x="188" y="316"/>
                      <a:pt x="191" y="317"/>
                      <a:pt x="193" y="318"/>
                    </a:cubicBezTo>
                    <a:lnTo>
                      <a:pt x="190" y="323"/>
                    </a:lnTo>
                    <a:close/>
                    <a:moveTo>
                      <a:pt x="128" y="319"/>
                    </a:moveTo>
                    <a:cubicBezTo>
                      <a:pt x="127" y="319"/>
                      <a:pt x="127" y="319"/>
                      <a:pt x="127" y="319"/>
                    </a:cubicBezTo>
                    <a:cubicBezTo>
                      <a:pt x="127" y="319"/>
                      <a:pt x="127" y="319"/>
                      <a:pt x="127" y="319"/>
                    </a:cubicBezTo>
                    <a:cubicBezTo>
                      <a:pt x="125" y="313"/>
                      <a:pt x="125" y="313"/>
                      <a:pt x="125" y="313"/>
                    </a:cubicBezTo>
                    <a:cubicBezTo>
                      <a:pt x="126" y="313"/>
                      <a:pt x="127" y="313"/>
                      <a:pt x="128" y="313"/>
                    </a:cubicBezTo>
                    <a:cubicBezTo>
                      <a:pt x="128" y="313"/>
                      <a:pt x="128" y="313"/>
                      <a:pt x="128" y="313"/>
                    </a:cubicBezTo>
                    <a:cubicBezTo>
                      <a:pt x="133" y="315"/>
                      <a:pt x="133" y="315"/>
                      <a:pt x="133" y="315"/>
                    </a:cubicBezTo>
                    <a:cubicBezTo>
                      <a:pt x="132" y="318"/>
                      <a:pt x="130" y="319"/>
                      <a:pt x="128" y="319"/>
                    </a:cubicBezTo>
                    <a:close/>
                    <a:moveTo>
                      <a:pt x="145" y="317"/>
                    </a:moveTo>
                    <a:cubicBezTo>
                      <a:pt x="143" y="316"/>
                      <a:pt x="140" y="315"/>
                      <a:pt x="139" y="311"/>
                    </a:cubicBezTo>
                    <a:cubicBezTo>
                      <a:pt x="145" y="309"/>
                      <a:pt x="145" y="309"/>
                      <a:pt x="145" y="309"/>
                    </a:cubicBezTo>
                    <a:cubicBezTo>
                      <a:pt x="145" y="311"/>
                      <a:pt x="146" y="311"/>
                      <a:pt x="147" y="312"/>
                    </a:cubicBezTo>
                    <a:lnTo>
                      <a:pt x="145" y="317"/>
                    </a:lnTo>
                    <a:close/>
                    <a:moveTo>
                      <a:pt x="81" y="310"/>
                    </a:moveTo>
                    <a:cubicBezTo>
                      <a:pt x="80" y="308"/>
                      <a:pt x="80" y="306"/>
                      <a:pt x="79" y="305"/>
                    </a:cubicBezTo>
                    <a:cubicBezTo>
                      <a:pt x="85" y="303"/>
                      <a:pt x="85" y="303"/>
                      <a:pt x="85" y="303"/>
                    </a:cubicBezTo>
                    <a:cubicBezTo>
                      <a:pt x="85" y="305"/>
                      <a:pt x="86" y="306"/>
                      <a:pt x="86" y="309"/>
                    </a:cubicBezTo>
                    <a:lnTo>
                      <a:pt x="81" y="310"/>
                    </a:lnTo>
                    <a:close/>
                    <a:moveTo>
                      <a:pt x="134" y="305"/>
                    </a:moveTo>
                    <a:cubicBezTo>
                      <a:pt x="131" y="300"/>
                      <a:pt x="131" y="300"/>
                      <a:pt x="131" y="300"/>
                    </a:cubicBezTo>
                    <a:cubicBezTo>
                      <a:pt x="132" y="300"/>
                      <a:pt x="133" y="300"/>
                      <a:pt x="133" y="299"/>
                    </a:cubicBezTo>
                    <a:cubicBezTo>
                      <a:pt x="134" y="299"/>
                      <a:pt x="135" y="299"/>
                      <a:pt x="136" y="299"/>
                    </a:cubicBezTo>
                    <a:cubicBezTo>
                      <a:pt x="136" y="299"/>
                      <a:pt x="136" y="298"/>
                      <a:pt x="137" y="298"/>
                    </a:cubicBezTo>
                    <a:cubicBezTo>
                      <a:pt x="139" y="304"/>
                      <a:pt x="139" y="304"/>
                      <a:pt x="139" y="304"/>
                    </a:cubicBezTo>
                    <a:cubicBezTo>
                      <a:pt x="138" y="304"/>
                      <a:pt x="138" y="304"/>
                      <a:pt x="138" y="304"/>
                    </a:cubicBezTo>
                    <a:cubicBezTo>
                      <a:pt x="137" y="305"/>
                      <a:pt x="136" y="305"/>
                      <a:pt x="135" y="305"/>
                    </a:cubicBezTo>
                    <a:cubicBezTo>
                      <a:pt x="134" y="305"/>
                      <a:pt x="134" y="305"/>
                      <a:pt x="134" y="305"/>
                    </a:cubicBezTo>
                    <a:close/>
                    <a:moveTo>
                      <a:pt x="75" y="294"/>
                    </a:moveTo>
                    <a:cubicBezTo>
                      <a:pt x="74" y="292"/>
                      <a:pt x="73" y="291"/>
                      <a:pt x="72" y="290"/>
                    </a:cubicBezTo>
                    <a:cubicBezTo>
                      <a:pt x="77" y="286"/>
                      <a:pt x="77" y="286"/>
                      <a:pt x="77" y="286"/>
                    </a:cubicBezTo>
                    <a:cubicBezTo>
                      <a:pt x="78" y="288"/>
                      <a:pt x="79" y="290"/>
                      <a:pt x="80" y="292"/>
                    </a:cubicBezTo>
                    <a:lnTo>
                      <a:pt x="75" y="294"/>
                    </a:lnTo>
                    <a:close/>
                    <a:moveTo>
                      <a:pt x="64" y="282"/>
                    </a:moveTo>
                    <a:cubicBezTo>
                      <a:pt x="63" y="280"/>
                      <a:pt x="62" y="279"/>
                      <a:pt x="62" y="277"/>
                    </a:cubicBezTo>
                    <a:cubicBezTo>
                      <a:pt x="62" y="277"/>
                      <a:pt x="63" y="276"/>
                      <a:pt x="63" y="275"/>
                    </a:cubicBezTo>
                    <a:cubicBezTo>
                      <a:pt x="63" y="274"/>
                      <a:pt x="63" y="274"/>
                      <a:pt x="64" y="273"/>
                    </a:cubicBezTo>
                    <a:cubicBezTo>
                      <a:pt x="69" y="276"/>
                      <a:pt x="69" y="276"/>
                      <a:pt x="69" y="276"/>
                    </a:cubicBezTo>
                    <a:cubicBezTo>
                      <a:pt x="69" y="276"/>
                      <a:pt x="68" y="277"/>
                      <a:pt x="68" y="277"/>
                    </a:cubicBezTo>
                    <a:cubicBezTo>
                      <a:pt x="68" y="278"/>
                      <a:pt x="68" y="278"/>
                      <a:pt x="69" y="278"/>
                    </a:cubicBezTo>
                    <a:lnTo>
                      <a:pt x="64" y="282"/>
                    </a:lnTo>
                    <a:close/>
                    <a:moveTo>
                      <a:pt x="68" y="265"/>
                    </a:moveTo>
                    <a:cubicBezTo>
                      <a:pt x="71" y="264"/>
                      <a:pt x="71" y="264"/>
                      <a:pt x="71" y="264"/>
                    </a:cubicBezTo>
                    <a:cubicBezTo>
                      <a:pt x="68" y="265"/>
                      <a:pt x="68" y="265"/>
                      <a:pt x="68" y="265"/>
                    </a:cubicBezTo>
                    <a:cubicBezTo>
                      <a:pt x="68" y="263"/>
                      <a:pt x="67" y="262"/>
                      <a:pt x="67" y="259"/>
                    </a:cubicBezTo>
                    <a:cubicBezTo>
                      <a:pt x="67" y="259"/>
                      <a:pt x="67" y="259"/>
                      <a:pt x="67" y="259"/>
                    </a:cubicBezTo>
                    <a:cubicBezTo>
                      <a:pt x="73" y="258"/>
                      <a:pt x="73" y="258"/>
                      <a:pt x="73" y="258"/>
                    </a:cubicBezTo>
                    <a:cubicBezTo>
                      <a:pt x="73" y="258"/>
                      <a:pt x="73" y="259"/>
                      <a:pt x="73" y="259"/>
                    </a:cubicBezTo>
                    <a:cubicBezTo>
                      <a:pt x="73" y="261"/>
                      <a:pt x="73" y="262"/>
                      <a:pt x="74" y="263"/>
                    </a:cubicBezTo>
                    <a:cubicBezTo>
                      <a:pt x="71" y="264"/>
                      <a:pt x="71" y="264"/>
                      <a:pt x="71" y="264"/>
                    </a:cubicBezTo>
                    <a:lnTo>
                      <a:pt x="68" y="265"/>
                    </a:lnTo>
                    <a:close/>
                    <a:moveTo>
                      <a:pt x="46" y="260"/>
                    </a:moveTo>
                    <a:cubicBezTo>
                      <a:pt x="42" y="260"/>
                      <a:pt x="41" y="256"/>
                      <a:pt x="40" y="254"/>
                    </a:cubicBezTo>
                    <a:cubicBezTo>
                      <a:pt x="46" y="252"/>
                      <a:pt x="46" y="252"/>
                      <a:pt x="46" y="252"/>
                    </a:cubicBezTo>
                    <a:cubicBezTo>
                      <a:pt x="46" y="254"/>
                      <a:pt x="47" y="255"/>
                      <a:pt x="47" y="255"/>
                    </a:cubicBezTo>
                    <a:cubicBezTo>
                      <a:pt x="47" y="255"/>
                      <a:pt x="47" y="254"/>
                      <a:pt x="46" y="254"/>
                    </a:cubicBezTo>
                    <a:lnTo>
                      <a:pt x="46" y="260"/>
                    </a:lnTo>
                    <a:close/>
                    <a:moveTo>
                      <a:pt x="57" y="259"/>
                    </a:moveTo>
                    <a:cubicBezTo>
                      <a:pt x="55" y="254"/>
                      <a:pt x="55" y="254"/>
                      <a:pt x="55" y="254"/>
                    </a:cubicBezTo>
                    <a:cubicBezTo>
                      <a:pt x="56" y="253"/>
                      <a:pt x="58" y="252"/>
                      <a:pt x="59" y="251"/>
                    </a:cubicBezTo>
                    <a:cubicBezTo>
                      <a:pt x="60" y="251"/>
                      <a:pt x="60" y="251"/>
                      <a:pt x="60" y="251"/>
                    </a:cubicBezTo>
                    <a:cubicBezTo>
                      <a:pt x="63" y="256"/>
                      <a:pt x="63" y="256"/>
                      <a:pt x="63" y="256"/>
                    </a:cubicBezTo>
                    <a:cubicBezTo>
                      <a:pt x="62" y="256"/>
                      <a:pt x="62" y="256"/>
                      <a:pt x="62" y="256"/>
                    </a:cubicBezTo>
                    <a:cubicBezTo>
                      <a:pt x="61" y="257"/>
                      <a:pt x="59" y="258"/>
                      <a:pt x="57" y="259"/>
                    </a:cubicBezTo>
                    <a:close/>
                    <a:moveTo>
                      <a:pt x="40" y="242"/>
                    </a:moveTo>
                    <a:cubicBezTo>
                      <a:pt x="40" y="241"/>
                      <a:pt x="40" y="241"/>
                      <a:pt x="39" y="240"/>
                    </a:cubicBezTo>
                    <a:cubicBezTo>
                      <a:pt x="39" y="238"/>
                      <a:pt x="38" y="237"/>
                      <a:pt x="38" y="236"/>
                    </a:cubicBezTo>
                    <a:cubicBezTo>
                      <a:pt x="44" y="235"/>
                      <a:pt x="44" y="235"/>
                      <a:pt x="44" y="235"/>
                    </a:cubicBezTo>
                    <a:cubicBezTo>
                      <a:pt x="44" y="236"/>
                      <a:pt x="44" y="237"/>
                      <a:pt x="45" y="238"/>
                    </a:cubicBezTo>
                    <a:cubicBezTo>
                      <a:pt x="45" y="239"/>
                      <a:pt x="45" y="240"/>
                      <a:pt x="46" y="241"/>
                    </a:cubicBezTo>
                    <a:lnTo>
                      <a:pt x="40" y="242"/>
                    </a:lnTo>
                    <a:close/>
                    <a:moveTo>
                      <a:pt x="39" y="225"/>
                    </a:moveTo>
                    <a:cubicBezTo>
                      <a:pt x="39" y="224"/>
                      <a:pt x="38" y="222"/>
                      <a:pt x="37" y="221"/>
                    </a:cubicBezTo>
                    <a:cubicBezTo>
                      <a:pt x="42" y="217"/>
                      <a:pt x="42" y="217"/>
                      <a:pt x="42" y="217"/>
                    </a:cubicBezTo>
                    <a:cubicBezTo>
                      <a:pt x="43" y="220"/>
                      <a:pt x="44" y="222"/>
                      <a:pt x="45" y="224"/>
                    </a:cubicBezTo>
                    <a:lnTo>
                      <a:pt x="39" y="225"/>
                    </a:lnTo>
                    <a:close/>
                    <a:moveTo>
                      <a:pt x="30" y="212"/>
                    </a:moveTo>
                    <a:cubicBezTo>
                      <a:pt x="26" y="208"/>
                      <a:pt x="26" y="208"/>
                      <a:pt x="26" y="208"/>
                    </a:cubicBezTo>
                    <a:cubicBezTo>
                      <a:pt x="31" y="204"/>
                      <a:pt x="31" y="204"/>
                      <a:pt x="31" y="204"/>
                    </a:cubicBezTo>
                    <a:cubicBezTo>
                      <a:pt x="35" y="208"/>
                      <a:pt x="35" y="208"/>
                      <a:pt x="35" y="208"/>
                    </a:cubicBezTo>
                    <a:lnTo>
                      <a:pt x="30" y="212"/>
                    </a:lnTo>
                    <a:close/>
                    <a:moveTo>
                      <a:pt x="18" y="201"/>
                    </a:moveTo>
                    <a:cubicBezTo>
                      <a:pt x="17" y="200"/>
                      <a:pt x="15" y="199"/>
                      <a:pt x="13" y="198"/>
                    </a:cubicBezTo>
                    <a:cubicBezTo>
                      <a:pt x="16" y="193"/>
                      <a:pt x="16" y="193"/>
                      <a:pt x="16" y="193"/>
                    </a:cubicBezTo>
                    <a:cubicBezTo>
                      <a:pt x="17" y="194"/>
                      <a:pt x="19" y="195"/>
                      <a:pt x="21" y="196"/>
                    </a:cubicBezTo>
                    <a:lnTo>
                      <a:pt x="18" y="201"/>
                    </a:lnTo>
                    <a:close/>
                    <a:moveTo>
                      <a:pt x="3" y="190"/>
                    </a:moveTo>
                    <a:cubicBezTo>
                      <a:pt x="1" y="188"/>
                      <a:pt x="1" y="186"/>
                      <a:pt x="0" y="183"/>
                    </a:cubicBezTo>
                    <a:cubicBezTo>
                      <a:pt x="6" y="183"/>
                      <a:pt x="6" y="183"/>
                      <a:pt x="6" y="183"/>
                    </a:cubicBezTo>
                    <a:cubicBezTo>
                      <a:pt x="6" y="184"/>
                      <a:pt x="7" y="185"/>
                      <a:pt x="8" y="187"/>
                    </a:cubicBezTo>
                    <a:lnTo>
                      <a:pt x="3" y="190"/>
                    </a:lnTo>
                    <a:close/>
                    <a:moveTo>
                      <a:pt x="7" y="172"/>
                    </a:moveTo>
                    <a:cubicBezTo>
                      <a:pt x="7" y="172"/>
                      <a:pt x="8" y="172"/>
                      <a:pt x="8" y="172"/>
                    </a:cubicBezTo>
                    <a:cubicBezTo>
                      <a:pt x="2" y="170"/>
                      <a:pt x="2" y="170"/>
                      <a:pt x="2" y="170"/>
                    </a:cubicBezTo>
                    <a:cubicBezTo>
                      <a:pt x="3" y="167"/>
                      <a:pt x="5" y="167"/>
                      <a:pt x="7" y="167"/>
                    </a:cubicBezTo>
                    <a:cubicBezTo>
                      <a:pt x="8" y="167"/>
                      <a:pt x="8" y="166"/>
                      <a:pt x="9" y="166"/>
                    </a:cubicBezTo>
                    <a:cubicBezTo>
                      <a:pt x="11" y="172"/>
                      <a:pt x="11" y="172"/>
                      <a:pt x="11" y="172"/>
                    </a:cubicBezTo>
                    <a:cubicBezTo>
                      <a:pt x="10" y="172"/>
                      <a:pt x="8" y="172"/>
                      <a:pt x="7" y="172"/>
                    </a:cubicBezTo>
                    <a:close/>
                    <a:moveTo>
                      <a:pt x="18" y="160"/>
                    </a:moveTo>
                    <a:cubicBezTo>
                      <a:pt x="13" y="159"/>
                      <a:pt x="13" y="159"/>
                      <a:pt x="13" y="159"/>
                    </a:cubicBezTo>
                    <a:cubicBezTo>
                      <a:pt x="13" y="157"/>
                      <a:pt x="14" y="155"/>
                      <a:pt x="16" y="153"/>
                    </a:cubicBezTo>
                    <a:cubicBezTo>
                      <a:pt x="20" y="157"/>
                      <a:pt x="20" y="157"/>
                      <a:pt x="20" y="157"/>
                    </a:cubicBezTo>
                    <a:cubicBezTo>
                      <a:pt x="19" y="158"/>
                      <a:pt x="19" y="159"/>
                      <a:pt x="18" y="160"/>
                    </a:cubicBezTo>
                    <a:close/>
                    <a:moveTo>
                      <a:pt x="26" y="149"/>
                    </a:moveTo>
                    <a:cubicBezTo>
                      <a:pt x="24" y="143"/>
                      <a:pt x="24" y="143"/>
                      <a:pt x="24" y="143"/>
                    </a:cubicBezTo>
                    <a:cubicBezTo>
                      <a:pt x="25" y="143"/>
                      <a:pt x="26" y="143"/>
                      <a:pt x="27" y="143"/>
                    </a:cubicBezTo>
                    <a:cubicBezTo>
                      <a:pt x="28" y="143"/>
                      <a:pt x="30" y="142"/>
                      <a:pt x="31" y="142"/>
                    </a:cubicBezTo>
                    <a:cubicBezTo>
                      <a:pt x="31" y="148"/>
                      <a:pt x="31" y="148"/>
                      <a:pt x="31" y="148"/>
                    </a:cubicBezTo>
                    <a:cubicBezTo>
                      <a:pt x="30" y="148"/>
                      <a:pt x="29" y="148"/>
                      <a:pt x="27" y="149"/>
                    </a:cubicBezTo>
                    <a:cubicBezTo>
                      <a:pt x="27" y="149"/>
                      <a:pt x="26" y="149"/>
                      <a:pt x="26" y="149"/>
                    </a:cubicBezTo>
                    <a:close/>
                    <a:moveTo>
                      <a:pt x="42" y="140"/>
                    </a:moveTo>
                    <a:cubicBezTo>
                      <a:pt x="36" y="138"/>
                      <a:pt x="36" y="138"/>
                      <a:pt x="36" y="138"/>
                    </a:cubicBezTo>
                    <a:cubicBezTo>
                      <a:pt x="36" y="137"/>
                      <a:pt x="37" y="137"/>
                      <a:pt x="37" y="136"/>
                    </a:cubicBezTo>
                    <a:cubicBezTo>
                      <a:pt x="37" y="135"/>
                      <a:pt x="37" y="133"/>
                      <a:pt x="38" y="132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43" y="136"/>
                      <a:pt x="42" y="136"/>
                      <a:pt x="42" y="136"/>
                    </a:cubicBezTo>
                    <a:cubicBezTo>
                      <a:pt x="42" y="137"/>
                      <a:pt x="42" y="138"/>
                      <a:pt x="42" y="140"/>
                    </a:cubicBezTo>
                    <a:close/>
                    <a:moveTo>
                      <a:pt x="52" y="130"/>
                    </a:moveTo>
                    <a:cubicBezTo>
                      <a:pt x="49" y="125"/>
                      <a:pt x="49" y="125"/>
                      <a:pt x="49" y="125"/>
                    </a:cubicBezTo>
                    <a:cubicBezTo>
                      <a:pt x="50" y="124"/>
                      <a:pt x="50" y="123"/>
                      <a:pt x="51" y="123"/>
                    </a:cubicBezTo>
                    <a:cubicBezTo>
                      <a:pt x="57" y="124"/>
                      <a:pt x="57" y="124"/>
                      <a:pt x="57" y="124"/>
                    </a:cubicBezTo>
                    <a:cubicBezTo>
                      <a:pt x="57" y="125"/>
                      <a:pt x="56" y="126"/>
                      <a:pt x="55" y="127"/>
                    </a:cubicBezTo>
                    <a:cubicBezTo>
                      <a:pt x="54" y="128"/>
                      <a:pt x="53" y="129"/>
                      <a:pt x="52" y="130"/>
                    </a:cubicBezTo>
                    <a:close/>
                    <a:moveTo>
                      <a:pt x="58" y="113"/>
                    </a:moveTo>
                    <a:cubicBezTo>
                      <a:pt x="53" y="110"/>
                      <a:pt x="53" y="110"/>
                      <a:pt x="53" y="110"/>
                    </a:cubicBezTo>
                    <a:cubicBezTo>
                      <a:pt x="53" y="110"/>
                      <a:pt x="53" y="110"/>
                      <a:pt x="54" y="109"/>
                    </a:cubicBezTo>
                    <a:cubicBezTo>
                      <a:pt x="55" y="108"/>
                      <a:pt x="56" y="106"/>
                      <a:pt x="58" y="105"/>
                    </a:cubicBezTo>
                    <a:cubicBezTo>
                      <a:pt x="61" y="109"/>
                      <a:pt x="61" y="109"/>
                      <a:pt x="61" y="109"/>
                    </a:cubicBezTo>
                    <a:cubicBezTo>
                      <a:pt x="60" y="110"/>
                      <a:pt x="59" y="111"/>
                      <a:pt x="58" y="113"/>
                    </a:cubicBezTo>
                    <a:cubicBezTo>
                      <a:pt x="58" y="113"/>
                      <a:pt x="58" y="113"/>
                      <a:pt x="58" y="113"/>
                    </a:cubicBezTo>
                    <a:close/>
                    <a:moveTo>
                      <a:pt x="61" y="99"/>
                    </a:moveTo>
                    <a:cubicBezTo>
                      <a:pt x="60" y="98"/>
                      <a:pt x="59" y="97"/>
                      <a:pt x="59" y="96"/>
                    </a:cubicBezTo>
                    <a:cubicBezTo>
                      <a:pt x="58" y="96"/>
                      <a:pt x="58" y="95"/>
                      <a:pt x="58" y="94"/>
                    </a:cubicBezTo>
                    <a:cubicBezTo>
                      <a:pt x="63" y="91"/>
                      <a:pt x="63" y="91"/>
                      <a:pt x="63" y="91"/>
                    </a:cubicBezTo>
                    <a:cubicBezTo>
                      <a:pt x="63" y="92"/>
                      <a:pt x="63" y="93"/>
                      <a:pt x="64" y="93"/>
                    </a:cubicBezTo>
                    <a:cubicBezTo>
                      <a:pt x="64" y="94"/>
                      <a:pt x="65" y="95"/>
                      <a:pt x="66" y="96"/>
                    </a:cubicBezTo>
                    <a:lnTo>
                      <a:pt x="61" y="99"/>
                    </a:lnTo>
                    <a:close/>
                    <a:moveTo>
                      <a:pt x="64" y="82"/>
                    </a:moveTo>
                    <a:cubicBezTo>
                      <a:pt x="58" y="81"/>
                      <a:pt x="58" y="81"/>
                      <a:pt x="58" y="81"/>
                    </a:cubicBezTo>
                    <a:cubicBezTo>
                      <a:pt x="58" y="81"/>
                      <a:pt x="58" y="80"/>
                      <a:pt x="58" y="80"/>
                    </a:cubicBezTo>
                    <a:cubicBezTo>
                      <a:pt x="58" y="78"/>
                      <a:pt x="58" y="78"/>
                      <a:pt x="57" y="77"/>
                    </a:cubicBezTo>
                    <a:cubicBezTo>
                      <a:pt x="62" y="74"/>
                      <a:pt x="62" y="74"/>
                      <a:pt x="62" y="74"/>
                    </a:cubicBezTo>
                    <a:cubicBezTo>
                      <a:pt x="63" y="75"/>
                      <a:pt x="64" y="77"/>
                      <a:pt x="64" y="80"/>
                    </a:cubicBezTo>
                    <a:cubicBezTo>
                      <a:pt x="64" y="80"/>
                      <a:pt x="64" y="81"/>
                      <a:pt x="64" y="82"/>
                    </a:cubicBezTo>
                    <a:close/>
                    <a:moveTo>
                      <a:pt x="82" y="76"/>
                    </a:moveTo>
                    <a:cubicBezTo>
                      <a:pt x="81" y="76"/>
                      <a:pt x="80" y="75"/>
                      <a:pt x="79" y="75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82" y="70"/>
                      <a:pt x="83" y="70"/>
                      <a:pt x="84" y="69"/>
                    </a:cubicBezTo>
                    <a:cubicBezTo>
                      <a:pt x="87" y="74"/>
                      <a:pt x="87" y="74"/>
                      <a:pt x="87" y="74"/>
                    </a:cubicBezTo>
                    <a:cubicBezTo>
                      <a:pt x="85" y="75"/>
                      <a:pt x="84" y="76"/>
                      <a:pt x="82" y="76"/>
                    </a:cubicBezTo>
                    <a:close/>
                    <a:moveTo>
                      <a:pt x="68" y="71"/>
                    </a:moveTo>
                    <a:cubicBezTo>
                      <a:pt x="67" y="70"/>
                      <a:pt x="65" y="70"/>
                      <a:pt x="63" y="70"/>
                    </a:cubicBezTo>
                    <a:cubicBezTo>
                      <a:pt x="63" y="64"/>
                      <a:pt x="63" y="64"/>
                      <a:pt x="63" y="64"/>
                    </a:cubicBezTo>
                    <a:cubicBezTo>
                      <a:pt x="65" y="65"/>
                      <a:pt x="67" y="65"/>
                      <a:pt x="69" y="65"/>
                    </a:cubicBezTo>
                    <a:lnTo>
                      <a:pt x="68" y="71"/>
                    </a:lnTo>
                    <a:close/>
                    <a:moveTo>
                      <a:pt x="92" y="67"/>
                    </a:moveTo>
                    <a:cubicBezTo>
                      <a:pt x="92" y="61"/>
                      <a:pt x="92" y="61"/>
                      <a:pt x="92" y="61"/>
                    </a:cubicBezTo>
                    <a:cubicBezTo>
                      <a:pt x="92" y="61"/>
                      <a:pt x="93" y="61"/>
                      <a:pt x="93" y="61"/>
                    </a:cubicBezTo>
                    <a:cubicBezTo>
                      <a:pt x="98" y="60"/>
                      <a:pt x="98" y="60"/>
                      <a:pt x="98" y="60"/>
                    </a:cubicBezTo>
                    <a:cubicBezTo>
                      <a:pt x="98" y="62"/>
                      <a:pt x="98" y="66"/>
                      <a:pt x="92" y="67"/>
                    </a:cubicBezTo>
                    <a:close/>
                    <a:moveTo>
                      <a:pt x="89" y="55"/>
                    </a:moveTo>
                    <a:cubicBezTo>
                      <a:pt x="87" y="55"/>
                      <a:pt x="85" y="55"/>
                      <a:pt x="84" y="54"/>
                    </a:cubicBezTo>
                    <a:cubicBezTo>
                      <a:pt x="86" y="49"/>
                      <a:pt x="86" y="49"/>
                      <a:pt x="86" y="49"/>
                    </a:cubicBezTo>
                    <a:cubicBezTo>
                      <a:pt x="87" y="49"/>
                      <a:pt x="89" y="49"/>
                      <a:pt x="90" y="49"/>
                    </a:cubicBezTo>
                    <a:cubicBezTo>
                      <a:pt x="91" y="55"/>
                      <a:pt x="91" y="55"/>
                      <a:pt x="91" y="55"/>
                    </a:cubicBezTo>
                    <a:cubicBezTo>
                      <a:pt x="90" y="55"/>
                      <a:pt x="90" y="55"/>
                      <a:pt x="89" y="55"/>
                    </a:cubicBezTo>
                    <a:close/>
                    <a:moveTo>
                      <a:pt x="87" y="45"/>
                    </a:moveTo>
                    <a:cubicBezTo>
                      <a:pt x="85" y="39"/>
                      <a:pt x="85" y="39"/>
                      <a:pt x="85" y="39"/>
                    </a:cubicBezTo>
                    <a:cubicBezTo>
                      <a:pt x="86" y="39"/>
                      <a:pt x="86" y="39"/>
                      <a:pt x="86" y="39"/>
                    </a:cubicBezTo>
                    <a:cubicBezTo>
                      <a:pt x="87" y="38"/>
                      <a:pt x="88" y="38"/>
                      <a:pt x="88" y="38"/>
                    </a:cubicBezTo>
                    <a:cubicBezTo>
                      <a:pt x="93" y="41"/>
                      <a:pt x="93" y="41"/>
                      <a:pt x="93" y="41"/>
                    </a:cubicBezTo>
                    <a:cubicBezTo>
                      <a:pt x="92" y="43"/>
                      <a:pt x="91" y="43"/>
                      <a:pt x="88" y="44"/>
                    </a:cubicBezTo>
                    <a:lnTo>
                      <a:pt x="87" y="45"/>
                    </a:lnTo>
                    <a:close/>
                    <a:moveTo>
                      <a:pt x="100" y="41"/>
                    </a:moveTo>
                    <a:cubicBezTo>
                      <a:pt x="100" y="41"/>
                      <a:pt x="100" y="41"/>
                      <a:pt x="99" y="41"/>
                    </a:cubicBezTo>
                    <a:cubicBezTo>
                      <a:pt x="100" y="35"/>
                      <a:pt x="100" y="35"/>
                      <a:pt x="100" y="35"/>
                    </a:cubicBezTo>
                    <a:cubicBezTo>
                      <a:pt x="100" y="35"/>
                      <a:pt x="100" y="35"/>
                      <a:pt x="100" y="35"/>
                    </a:cubicBezTo>
                    <a:cubicBezTo>
                      <a:pt x="100" y="35"/>
                      <a:pt x="100" y="35"/>
                      <a:pt x="100" y="35"/>
                    </a:cubicBezTo>
                    <a:cubicBezTo>
                      <a:pt x="100" y="34"/>
                      <a:pt x="100" y="34"/>
                      <a:pt x="100" y="34"/>
                    </a:cubicBezTo>
                    <a:cubicBezTo>
                      <a:pt x="106" y="34"/>
                      <a:pt x="106" y="34"/>
                      <a:pt x="106" y="34"/>
                    </a:cubicBezTo>
                    <a:cubicBezTo>
                      <a:pt x="106" y="35"/>
                      <a:pt x="106" y="36"/>
                      <a:pt x="105" y="37"/>
                    </a:cubicBezTo>
                    <a:cubicBezTo>
                      <a:pt x="104" y="40"/>
                      <a:pt x="102" y="41"/>
                      <a:pt x="100" y="41"/>
                    </a:cubicBezTo>
                    <a:close/>
                    <a:moveTo>
                      <a:pt x="109" y="24"/>
                    </a:moveTo>
                    <a:cubicBezTo>
                      <a:pt x="103" y="23"/>
                      <a:pt x="103" y="23"/>
                      <a:pt x="103" y="23"/>
                    </a:cubicBezTo>
                    <a:cubicBezTo>
                      <a:pt x="104" y="22"/>
                      <a:pt x="104" y="22"/>
                      <a:pt x="104" y="21"/>
                    </a:cubicBezTo>
                    <a:cubicBezTo>
                      <a:pt x="104" y="18"/>
                      <a:pt x="104" y="18"/>
                      <a:pt x="104" y="18"/>
                    </a:cubicBezTo>
                    <a:cubicBezTo>
                      <a:pt x="109" y="18"/>
                      <a:pt x="109" y="18"/>
                      <a:pt x="109" y="18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09" y="22"/>
                      <a:pt x="109" y="23"/>
                      <a:pt x="109" y="24"/>
                    </a:cubicBezTo>
                    <a:close/>
                    <a:moveTo>
                      <a:pt x="110" y="8"/>
                    </a:moveTo>
                    <a:cubicBezTo>
                      <a:pt x="105" y="5"/>
                      <a:pt x="105" y="5"/>
                      <a:pt x="105" y="5"/>
                    </a:cubicBezTo>
                    <a:cubicBezTo>
                      <a:pt x="106" y="4"/>
                      <a:pt x="106" y="2"/>
                      <a:pt x="106" y="0"/>
                    </a:cubicBezTo>
                    <a:cubicBezTo>
                      <a:pt x="112" y="1"/>
                      <a:pt x="112" y="1"/>
                      <a:pt x="112" y="1"/>
                    </a:cubicBezTo>
                    <a:cubicBezTo>
                      <a:pt x="112" y="4"/>
                      <a:pt x="111" y="6"/>
                      <a:pt x="110" y="8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29" name="î$ľïḋè"/>
              <p:cNvSpPr/>
              <p:nvPr/>
            </p:nvSpPr>
            <p:spPr bwMode="auto">
              <a:xfrm>
                <a:off x="7432675" y="4613275"/>
                <a:ext cx="268288" cy="165100"/>
              </a:xfrm>
              <a:custGeom>
                <a:avLst/>
                <a:gdLst>
                  <a:gd name="T0" fmla="*/ 0 w 125"/>
                  <a:gd name="T1" fmla="*/ 73 h 77"/>
                  <a:gd name="T2" fmla="*/ 8 w 125"/>
                  <a:gd name="T3" fmla="*/ 74 h 77"/>
                  <a:gd name="T4" fmla="*/ 19 w 125"/>
                  <a:gd name="T5" fmla="*/ 69 h 77"/>
                  <a:gd name="T6" fmla="*/ 20 w 125"/>
                  <a:gd name="T7" fmla="*/ 61 h 77"/>
                  <a:gd name="T8" fmla="*/ 19 w 125"/>
                  <a:gd name="T9" fmla="*/ 69 h 77"/>
                  <a:gd name="T10" fmla="*/ 27 w 125"/>
                  <a:gd name="T11" fmla="*/ 59 h 77"/>
                  <a:gd name="T12" fmla="*/ 27 w 125"/>
                  <a:gd name="T13" fmla="*/ 55 h 77"/>
                  <a:gd name="T14" fmla="*/ 33 w 125"/>
                  <a:gd name="T15" fmla="*/ 54 h 77"/>
                  <a:gd name="T16" fmla="*/ 33 w 125"/>
                  <a:gd name="T17" fmla="*/ 57 h 77"/>
                  <a:gd name="T18" fmla="*/ 27 w 125"/>
                  <a:gd name="T19" fmla="*/ 59 h 77"/>
                  <a:gd name="T20" fmla="*/ 41 w 125"/>
                  <a:gd name="T21" fmla="*/ 55 h 77"/>
                  <a:gd name="T22" fmla="*/ 39 w 125"/>
                  <a:gd name="T23" fmla="*/ 49 h 77"/>
                  <a:gd name="T24" fmla="*/ 45 w 125"/>
                  <a:gd name="T25" fmla="*/ 49 h 77"/>
                  <a:gd name="T26" fmla="*/ 57 w 125"/>
                  <a:gd name="T27" fmla="*/ 51 h 77"/>
                  <a:gd name="T28" fmla="*/ 53 w 125"/>
                  <a:gd name="T29" fmla="*/ 47 h 77"/>
                  <a:gd name="T30" fmla="*/ 60 w 125"/>
                  <a:gd name="T31" fmla="*/ 49 h 77"/>
                  <a:gd name="T32" fmla="*/ 57 w 125"/>
                  <a:gd name="T33" fmla="*/ 51 h 77"/>
                  <a:gd name="T34" fmla="*/ 71 w 125"/>
                  <a:gd name="T35" fmla="*/ 43 h 77"/>
                  <a:gd name="T36" fmla="*/ 78 w 125"/>
                  <a:gd name="T37" fmla="*/ 45 h 77"/>
                  <a:gd name="T38" fmla="*/ 86 w 125"/>
                  <a:gd name="T39" fmla="*/ 35 h 77"/>
                  <a:gd name="T40" fmla="*/ 82 w 125"/>
                  <a:gd name="T41" fmla="*/ 32 h 77"/>
                  <a:gd name="T42" fmla="*/ 84 w 125"/>
                  <a:gd name="T43" fmla="*/ 27 h 77"/>
                  <a:gd name="T44" fmla="*/ 88 w 125"/>
                  <a:gd name="T45" fmla="*/ 31 h 77"/>
                  <a:gd name="T46" fmla="*/ 86 w 125"/>
                  <a:gd name="T47" fmla="*/ 35 h 77"/>
                  <a:gd name="T48" fmla="*/ 95 w 125"/>
                  <a:gd name="T49" fmla="*/ 30 h 77"/>
                  <a:gd name="T50" fmla="*/ 94 w 125"/>
                  <a:gd name="T51" fmla="*/ 29 h 77"/>
                  <a:gd name="T52" fmla="*/ 100 w 125"/>
                  <a:gd name="T53" fmla="*/ 26 h 77"/>
                  <a:gd name="T54" fmla="*/ 100 w 125"/>
                  <a:gd name="T55" fmla="*/ 32 h 77"/>
                  <a:gd name="T56" fmla="*/ 113 w 125"/>
                  <a:gd name="T57" fmla="*/ 23 h 77"/>
                  <a:gd name="T58" fmla="*/ 111 w 125"/>
                  <a:gd name="T59" fmla="*/ 17 h 77"/>
                  <a:gd name="T60" fmla="*/ 118 w 125"/>
                  <a:gd name="T61" fmla="*/ 17 h 77"/>
                  <a:gd name="T62" fmla="*/ 113 w 125"/>
                  <a:gd name="T63" fmla="*/ 23 h 77"/>
                  <a:gd name="T64" fmla="*/ 97 w 125"/>
                  <a:gd name="T65" fmla="*/ 19 h 77"/>
                  <a:gd name="T66" fmla="*/ 94 w 125"/>
                  <a:gd name="T67" fmla="*/ 13 h 77"/>
                  <a:gd name="T68" fmla="*/ 102 w 125"/>
                  <a:gd name="T69" fmla="*/ 15 h 77"/>
                  <a:gd name="T70" fmla="*/ 123 w 125"/>
                  <a:gd name="T71" fmla="*/ 7 h 77"/>
                  <a:gd name="T72" fmla="*/ 122 w 125"/>
                  <a:gd name="T73" fmla="*/ 0 h 77"/>
                  <a:gd name="T74" fmla="*/ 123 w 125"/>
                  <a:gd name="T75" fmla="*/ 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77">
                    <a:moveTo>
                      <a:pt x="4" y="77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3"/>
                      <a:pt x="2" y="71"/>
                      <a:pt x="5" y="69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6" y="76"/>
                      <a:pt x="4" y="77"/>
                      <a:pt x="4" y="77"/>
                    </a:cubicBezTo>
                    <a:close/>
                    <a:moveTo>
                      <a:pt x="19" y="69"/>
                    </a:moveTo>
                    <a:cubicBezTo>
                      <a:pt x="14" y="66"/>
                      <a:pt x="14" y="66"/>
                      <a:pt x="14" y="66"/>
                    </a:cubicBezTo>
                    <a:cubicBezTo>
                      <a:pt x="16" y="63"/>
                      <a:pt x="18" y="62"/>
                      <a:pt x="20" y="61"/>
                    </a:cubicBezTo>
                    <a:cubicBezTo>
                      <a:pt x="22" y="67"/>
                      <a:pt x="22" y="67"/>
                      <a:pt x="22" y="67"/>
                    </a:cubicBezTo>
                    <a:cubicBezTo>
                      <a:pt x="20" y="67"/>
                      <a:pt x="19" y="68"/>
                      <a:pt x="19" y="69"/>
                    </a:cubicBezTo>
                    <a:close/>
                    <a:moveTo>
                      <a:pt x="27" y="59"/>
                    </a:moveTo>
                    <a:cubicBezTo>
                      <a:pt x="27" y="59"/>
                      <a:pt x="27" y="59"/>
                      <a:pt x="27" y="59"/>
                    </a:cubicBezTo>
                    <a:cubicBezTo>
                      <a:pt x="27" y="58"/>
                      <a:pt x="27" y="58"/>
                      <a:pt x="27" y="57"/>
                    </a:cubicBezTo>
                    <a:cubicBezTo>
                      <a:pt x="27" y="56"/>
                      <a:pt x="27" y="55"/>
                      <a:pt x="27" y="55"/>
                    </a:cubicBezTo>
                    <a:cubicBezTo>
                      <a:pt x="27" y="54"/>
                      <a:pt x="27" y="54"/>
                      <a:pt x="27" y="53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3" y="54"/>
                      <a:pt x="33" y="54"/>
                      <a:pt x="33" y="55"/>
                    </a:cubicBezTo>
                    <a:cubicBezTo>
                      <a:pt x="33" y="55"/>
                      <a:pt x="33" y="56"/>
                      <a:pt x="33" y="57"/>
                    </a:cubicBezTo>
                    <a:cubicBezTo>
                      <a:pt x="33" y="57"/>
                      <a:pt x="33" y="58"/>
                      <a:pt x="33" y="59"/>
                    </a:cubicBezTo>
                    <a:lnTo>
                      <a:pt x="27" y="59"/>
                    </a:lnTo>
                    <a:close/>
                    <a:moveTo>
                      <a:pt x="44" y="55"/>
                    </a:moveTo>
                    <a:cubicBezTo>
                      <a:pt x="43" y="55"/>
                      <a:pt x="42" y="55"/>
                      <a:pt x="41" y="55"/>
                    </a:cubicBezTo>
                    <a:cubicBezTo>
                      <a:pt x="40" y="55"/>
                      <a:pt x="39" y="55"/>
                      <a:pt x="39" y="55"/>
                    </a:cubicBezTo>
                    <a:cubicBezTo>
                      <a:pt x="39" y="49"/>
                      <a:pt x="39" y="49"/>
                      <a:pt x="39" y="49"/>
                    </a:cubicBezTo>
                    <a:cubicBezTo>
                      <a:pt x="40" y="49"/>
                      <a:pt x="41" y="49"/>
                      <a:pt x="42" y="49"/>
                    </a:cubicBezTo>
                    <a:cubicBezTo>
                      <a:pt x="43" y="49"/>
                      <a:pt x="44" y="49"/>
                      <a:pt x="45" y="49"/>
                    </a:cubicBezTo>
                    <a:lnTo>
                      <a:pt x="44" y="55"/>
                    </a:lnTo>
                    <a:close/>
                    <a:moveTo>
                      <a:pt x="57" y="51"/>
                    </a:moveTo>
                    <a:cubicBezTo>
                      <a:pt x="53" y="47"/>
                      <a:pt x="53" y="47"/>
                      <a:pt x="53" y="47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55" y="45"/>
                      <a:pt x="56" y="44"/>
                      <a:pt x="59" y="43"/>
                    </a:cubicBezTo>
                    <a:cubicBezTo>
                      <a:pt x="60" y="49"/>
                      <a:pt x="60" y="49"/>
                      <a:pt x="60" y="49"/>
                    </a:cubicBezTo>
                    <a:cubicBezTo>
                      <a:pt x="59" y="49"/>
                      <a:pt x="59" y="49"/>
                      <a:pt x="58" y="51"/>
                    </a:cubicBezTo>
                    <a:lnTo>
                      <a:pt x="57" y="51"/>
                    </a:lnTo>
                    <a:close/>
                    <a:moveTo>
                      <a:pt x="72" y="48"/>
                    </a:moveTo>
                    <a:cubicBezTo>
                      <a:pt x="71" y="43"/>
                      <a:pt x="71" y="43"/>
                      <a:pt x="71" y="43"/>
                    </a:cubicBezTo>
                    <a:cubicBezTo>
                      <a:pt x="72" y="42"/>
                      <a:pt x="74" y="42"/>
                      <a:pt x="75" y="41"/>
                    </a:cubicBezTo>
                    <a:cubicBezTo>
                      <a:pt x="78" y="45"/>
                      <a:pt x="78" y="45"/>
                      <a:pt x="78" y="45"/>
                    </a:cubicBezTo>
                    <a:cubicBezTo>
                      <a:pt x="77" y="47"/>
                      <a:pt x="75" y="48"/>
                      <a:pt x="72" y="48"/>
                    </a:cubicBezTo>
                    <a:close/>
                    <a:moveTo>
                      <a:pt x="86" y="35"/>
                    </a:moveTo>
                    <a:cubicBezTo>
                      <a:pt x="81" y="32"/>
                      <a:pt x="81" y="32"/>
                      <a:pt x="81" y="32"/>
                    </a:cubicBezTo>
                    <a:cubicBezTo>
                      <a:pt x="82" y="32"/>
                      <a:pt x="82" y="32"/>
                      <a:pt x="82" y="32"/>
                    </a:cubicBezTo>
                    <a:cubicBezTo>
                      <a:pt x="82" y="31"/>
                      <a:pt x="83" y="30"/>
                      <a:pt x="83" y="29"/>
                    </a:cubicBezTo>
                    <a:cubicBezTo>
                      <a:pt x="83" y="28"/>
                      <a:pt x="83" y="28"/>
                      <a:pt x="84" y="27"/>
                    </a:cubicBezTo>
                    <a:cubicBezTo>
                      <a:pt x="89" y="30"/>
                      <a:pt x="89" y="30"/>
                      <a:pt x="89" y="30"/>
                    </a:cubicBezTo>
                    <a:cubicBezTo>
                      <a:pt x="89" y="30"/>
                      <a:pt x="89" y="31"/>
                      <a:pt x="88" y="31"/>
                    </a:cubicBezTo>
                    <a:cubicBezTo>
                      <a:pt x="88" y="32"/>
                      <a:pt x="87" y="33"/>
                      <a:pt x="87" y="35"/>
                    </a:cubicBezTo>
                    <a:lnTo>
                      <a:pt x="86" y="35"/>
                    </a:lnTo>
                    <a:close/>
                    <a:moveTo>
                      <a:pt x="97" y="35"/>
                    </a:moveTo>
                    <a:cubicBezTo>
                      <a:pt x="95" y="30"/>
                      <a:pt x="95" y="30"/>
                      <a:pt x="95" y="30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28"/>
                      <a:pt x="94" y="28"/>
                      <a:pt x="94" y="28"/>
                    </a:cubicBezTo>
                    <a:cubicBezTo>
                      <a:pt x="100" y="26"/>
                      <a:pt x="100" y="26"/>
                      <a:pt x="100" y="26"/>
                    </a:cubicBezTo>
                    <a:cubicBezTo>
                      <a:pt x="100" y="27"/>
                      <a:pt x="100" y="28"/>
                      <a:pt x="100" y="29"/>
                    </a:cubicBezTo>
                    <a:cubicBezTo>
                      <a:pt x="100" y="30"/>
                      <a:pt x="100" y="31"/>
                      <a:pt x="100" y="32"/>
                    </a:cubicBezTo>
                    <a:cubicBezTo>
                      <a:pt x="99" y="34"/>
                      <a:pt x="98" y="35"/>
                      <a:pt x="97" y="35"/>
                    </a:cubicBezTo>
                    <a:close/>
                    <a:moveTo>
                      <a:pt x="113" y="23"/>
                    </a:moveTo>
                    <a:cubicBezTo>
                      <a:pt x="111" y="18"/>
                      <a:pt x="111" y="18"/>
                      <a:pt x="111" y="18"/>
                    </a:cubicBezTo>
                    <a:cubicBezTo>
                      <a:pt x="111" y="18"/>
                      <a:pt x="111" y="17"/>
                      <a:pt x="111" y="17"/>
                    </a:cubicBezTo>
                    <a:cubicBezTo>
                      <a:pt x="112" y="17"/>
                      <a:pt x="112" y="16"/>
                      <a:pt x="113" y="15"/>
                    </a:cubicBezTo>
                    <a:cubicBezTo>
                      <a:pt x="118" y="17"/>
                      <a:pt x="118" y="17"/>
                      <a:pt x="118" y="17"/>
                    </a:cubicBezTo>
                    <a:cubicBezTo>
                      <a:pt x="118" y="19"/>
                      <a:pt x="117" y="20"/>
                      <a:pt x="116" y="21"/>
                    </a:cubicBezTo>
                    <a:cubicBezTo>
                      <a:pt x="115" y="22"/>
                      <a:pt x="114" y="23"/>
                      <a:pt x="113" y="23"/>
                    </a:cubicBezTo>
                    <a:close/>
                    <a:moveTo>
                      <a:pt x="100" y="20"/>
                    </a:moveTo>
                    <a:cubicBezTo>
                      <a:pt x="99" y="20"/>
                      <a:pt x="98" y="19"/>
                      <a:pt x="97" y="19"/>
                    </a:cubicBezTo>
                    <a:cubicBezTo>
                      <a:pt x="97" y="19"/>
                      <a:pt x="96" y="19"/>
                      <a:pt x="96" y="19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6" y="13"/>
                      <a:pt x="97" y="13"/>
                      <a:pt x="99" y="14"/>
                    </a:cubicBezTo>
                    <a:cubicBezTo>
                      <a:pt x="100" y="14"/>
                      <a:pt x="101" y="14"/>
                      <a:pt x="102" y="15"/>
                    </a:cubicBezTo>
                    <a:lnTo>
                      <a:pt x="100" y="20"/>
                    </a:lnTo>
                    <a:close/>
                    <a:moveTo>
                      <a:pt x="123" y="7"/>
                    </a:moveTo>
                    <a:cubicBezTo>
                      <a:pt x="118" y="4"/>
                      <a:pt x="118" y="4"/>
                      <a:pt x="118" y="4"/>
                    </a:cubicBezTo>
                    <a:cubicBezTo>
                      <a:pt x="119" y="2"/>
                      <a:pt x="120" y="1"/>
                      <a:pt x="122" y="0"/>
                    </a:cubicBezTo>
                    <a:cubicBezTo>
                      <a:pt x="125" y="4"/>
                      <a:pt x="125" y="4"/>
                      <a:pt x="125" y="4"/>
                    </a:cubicBezTo>
                    <a:cubicBezTo>
                      <a:pt x="125" y="5"/>
                      <a:pt x="124" y="6"/>
                      <a:pt x="123" y="7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30" name="îSliḓe"/>
              <p:cNvSpPr/>
              <p:nvPr/>
            </p:nvSpPr>
            <p:spPr bwMode="auto">
              <a:xfrm>
                <a:off x="7861300" y="4537075"/>
                <a:ext cx="285750" cy="134938"/>
              </a:xfrm>
              <a:custGeom>
                <a:avLst/>
                <a:gdLst>
                  <a:gd name="T0" fmla="*/ 126 w 133"/>
                  <a:gd name="T1" fmla="*/ 57 h 63"/>
                  <a:gd name="T2" fmla="*/ 133 w 133"/>
                  <a:gd name="T3" fmla="*/ 58 h 63"/>
                  <a:gd name="T4" fmla="*/ 16 w 133"/>
                  <a:gd name="T5" fmla="*/ 57 h 63"/>
                  <a:gd name="T6" fmla="*/ 13 w 133"/>
                  <a:gd name="T7" fmla="*/ 50 h 63"/>
                  <a:gd name="T8" fmla="*/ 16 w 133"/>
                  <a:gd name="T9" fmla="*/ 57 h 63"/>
                  <a:gd name="T10" fmla="*/ 26 w 133"/>
                  <a:gd name="T11" fmla="*/ 51 h 63"/>
                  <a:gd name="T12" fmla="*/ 34 w 133"/>
                  <a:gd name="T13" fmla="*/ 52 h 63"/>
                  <a:gd name="T14" fmla="*/ 100 w 133"/>
                  <a:gd name="T15" fmla="*/ 55 h 63"/>
                  <a:gd name="T16" fmla="*/ 99 w 133"/>
                  <a:gd name="T17" fmla="*/ 49 h 63"/>
                  <a:gd name="T18" fmla="*/ 105 w 133"/>
                  <a:gd name="T19" fmla="*/ 53 h 63"/>
                  <a:gd name="T20" fmla="*/ 100 w 133"/>
                  <a:gd name="T21" fmla="*/ 55 h 63"/>
                  <a:gd name="T22" fmla="*/ 83 w 133"/>
                  <a:gd name="T23" fmla="*/ 45 h 63"/>
                  <a:gd name="T24" fmla="*/ 86 w 133"/>
                  <a:gd name="T25" fmla="*/ 45 h 63"/>
                  <a:gd name="T26" fmla="*/ 88 w 133"/>
                  <a:gd name="T27" fmla="*/ 51 h 63"/>
                  <a:gd name="T28" fmla="*/ 86 w 133"/>
                  <a:gd name="T29" fmla="*/ 51 h 63"/>
                  <a:gd name="T30" fmla="*/ 121 w 133"/>
                  <a:gd name="T31" fmla="*/ 51 h 63"/>
                  <a:gd name="T32" fmla="*/ 116 w 133"/>
                  <a:gd name="T33" fmla="*/ 45 h 63"/>
                  <a:gd name="T34" fmla="*/ 121 w 133"/>
                  <a:gd name="T35" fmla="*/ 51 h 63"/>
                  <a:gd name="T36" fmla="*/ 9 w 133"/>
                  <a:gd name="T37" fmla="*/ 40 h 63"/>
                  <a:gd name="T38" fmla="*/ 16 w 133"/>
                  <a:gd name="T39" fmla="*/ 38 h 63"/>
                  <a:gd name="T40" fmla="*/ 74 w 133"/>
                  <a:gd name="T41" fmla="*/ 41 h 63"/>
                  <a:gd name="T42" fmla="*/ 75 w 133"/>
                  <a:gd name="T43" fmla="*/ 33 h 63"/>
                  <a:gd name="T44" fmla="*/ 74 w 133"/>
                  <a:gd name="T45" fmla="*/ 41 h 63"/>
                  <a:gd name="T46" fmla="*/ 37 w 133"/>
                  <a:gd name="T47" fmla="*/ 39 h 63"/>
                  <a:gd name="T48" fmla="*/ 44 w 133"/>
                  <a:gd name="T49" fmla="*/ 36 h 63"/>
                  <a:gd name="T50" fmla="*/ 61 w 133"/>
                  <a:gd name="T51" fmla="*/ 33 h 63"/>
                  <a:gd name="T52" fmla="*/ 56 w 133"/>
                  <a:gd name="T53" fmla="*/ 28 h 63"/>
                  <a:gd name="T54" fmla="*/ 62 w 133"/>
                  <a:gd name="T55" fmla="*/ 25 h 63"/>
                  <a:gd name="T56" fmla="*/ 61 w 133"/>
                  <a:gd name="T57" fmla="*/ 33 h 63"/>
                  <a:gd name="T58" fmla="*/ 22 w 133"/>
                  <a:gd name="T59" fmla="*/ 27 h 63"/>
                  <a:gd name="T60" fmla="*/ 30 w 133"/>
                  <a:gd name="T61" fmla="*/ 25 h 63"/>
                  <a:gd name="T62" fmla="*/ 26 w 133"/>
                  <a:gd name="T63" fmla="*/ 31 h 63"/>
                  <a:gd name="T64" fmla="*/ 42 w 133"/>
                  <a:gd name="T65" fmla="*/ 22 h 63"/>
                  <a:gd name="T66" fmla="*/ 51 w 133"/>
                  <a:gd name="T67" fmla="*/ 23 h 63"/>
                  <a:gd name="T68" fmla="*/ 5 w 133"/>
                  <a:gd name="T69" fmla="*/ 22 h 63"/>
                  <a:gd name="T70" fmla="*/ 1 w 133"/>
                  <a:gd name="T71" fmla="*/ 14 h 63"/>
                  <a:gd name="T72" fmla="*/ 5 w 133"/>
                  <a:gd name="T73" fmla="*/ 22 h 63"/>
                  <a:gd name="T74" fmla="*/ 22 w 133"/>
                  <a:gd name="T75" fmla="*/ 8 h 63"/>
                  <a:gd name="T76" fmla="*/ 29 w 133"/>
                  <a:gd name="T77" fmla="*/ 12 h 63"/>
                  <a:gd name="T78" fmla="*/ 12 w 133"/>
                  <a:gd name="T79" fmla="*/ 8 h 63"/>
                  <a:gd name="T80" fmla="*/ 14 w 133"/>
                  <a:gd name="T81" fmla="*/ 0 h 63"/>
                  <a:gd name="T82" fmla="*/ 12 w 133"/>
                  <a:gd name="T83" fmla="*/ 8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33" h="63">
                    <a:moveTo>
                      <a:pt x="133" y="63"/>
                    </a:moveTo>
                    <a:cubicBezTo>
                      <a:pt x="131" y="63"/>
                      <a:pt x="127" y="62"/>
                      <a:pt x="126" y="57"/>
                    </a:cubicBezTo>
                    <a:cubicBezTo>
                      <a:pt x="132" y="56"/>
                      <a:pt x="132" y="56"/>
                      <a:pt x="132" y="56"/>
                    </a:cubicBezTo>
                    <a:cubicBezTo>
                      <a:pt x="132" y="57"/>
                      <a:pt x="132" y="57"/>
                      <a:pt x="133" y="58"/>
                    </a:cubicBezTo>
                    <a:lnTo>
                      <a:pt x="133" y="63"/>
                    </a:lnTo>
                    <a:close/>
                    <a:moveTo>
                      <a:pt x="16" y="57"/>
                    </a:moveTo>
                    <a:cubicBezTo>
                      <a:pt x="13" y="57"/>
                      <a:pt x="11" y="56"/>
                      <a:pt x="9" y="54"/>
                    </a:cubicBezTo>
                    <a:cubicBezTo>
                      <a:pt x="13" y="50"/>
                      <a:pt x="13" y="50"/>
                      <a:pt x="13" y="50"/>
                    </a:cubicBezTo>
                    <a:cubicBezTo>
                      <a:pt x="14" y="51"/>
                      <a:pt x="15" y="51"/>
                      <a:pt x="17" y="52"/>
                    </a:cubicBezTo>
                    <a:lnTo>
                      <a:pt x="16" y="57"/>
                    </a:lnTo>
                    <a:close/>
                    <a:moveTo>
                      <a:pt x="29" y="56"/>
                    </a:moveTo>
                    <a:cubicBezTo>
                      <a:pt x="26" y="51"/>
                      <a:pt x="26" y="51"/>
                      <a:pt x="26" y="51"/>
                    </a:cubicBezTo>
                    <a:cubicBezTo>
                      <a:pt x="27" y="50"/>
                      <a:pt x="29" y="49"/>
                      <a:pt x="30" y="47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2" y="53"/>
                      <a:pt x="31" y="55"/>
                      <a:pt x="29" y="56"/>
                    </a:cubicBezTo>
                    <a:close/>
                    <a:moveTo>
                      <a:pt x="100" y="55"/>
                    </a:moveTo>
                    <a:cubicBezTo>
                      <a:pt x="98" y="49"/>
                      <a:pt x="98" y="49"/>
                      <a:pt x="98" y="49"/>
                    </a:cubicBezTo>
                    <a:cubicBezTo>
                      <a:pt x="99" y="49"/>
                      <a:pt x="99" y="49"/>
                      <a:pt x="99" y="49"/>
                    </a:cubicBezTo>
                    <a:cubicBezTo>
                      <a:pt x="100" y="48"/>
                      <a:pt x="102" y="48"/>
                      <a:pt x="104" y="47"/>
                    </a:cubicBezTo>
                    <a:cubicBezTo>
                      <a:pt x="105" y="53"/>
                      <a:pt x="105" y="53"/>
                      <a:pt x="105" y="53"/>
                    </a:cubicBezTo>
                    <a:cubicBezTo>
                      <a:pt x="103" y="53"/>
                      <a:pt x="102" y="54"/>
                      <a:pt x="102" y="54"/>
                    </a:cubicBezTo>
                    <a:cubicBezTo>
                      <a:pt x="101" y="54"/>
                      <a:pt x="101" y="54"/>
                      <a:pt x="100" y="55"/>
                    </a:cubicBezTo>
                    <a:close/>
                    <a:moveTo>
                      <a:pt x="83" y="51"/>
                    </a:moveTo>
                    <a:cubicBezTo>
                      <a:pt x="83" y="45"/>
                      <a:pt x="83" y="45"/>
                      <a:pt x="83" y="45"/>
                    </a:cubicBezTo>
                    <a:cubicBezTo>
                      <a:pt x="83" y="45"/>
                      <a:pt x="84" y="45"/>
                      <a:pt x="85" y="45"/>
                    </a:cubicBezTo>
                    <a:cubicBezTo>
                      <a:pt x="86" y="45"/>
                      <a:pt x="86" y="45"/>
                      <a:pt x="86" y="45"/>
                    </a:cubicBezTo>
                    <a:cubicBezTo>
                      <a:pt x="87" y="45"/>
                      <a:pt x="88" y="45"/>
                      <a:pt x="89" y="45"/>
                    </a:cubicBezTo>
                    <a:cubicBezTo>
                      <a:pt x="88" y="51"/>
                      <a:pt x="88" y="51"/>
                      <a:pt x="88" y="51"/>
                    </a:cubicBezTo>
                    <a:cubicBezTo>
                      <a:pt x="88" y="51"/>
                      <a:pt x="87" y="51"/>
                      <a:pt x="87" y="51"/>
                    </a:cubicBezTo>
                    <a:cubicBezTo>
                      <a:pt x="86" y="51"/>
                      <a:pt x="86" y="51"/>
                      <a:pt x="86" y="51"/>
                    </a:cubicBezTo>
                    <a:cubicBezTo>
                      <a:pt x="85" y="51"/>
                      <a:pt x="84" y="51"/>
                      <a:pt x="83" y="51"/>
                    </a:cubicBezTo>
                    <a:close/>
                    <a:moveTo>
                      <a:pt x="121" y="51"/>
                    </a:moveTo>
                    <a:cubicBezTo>
                      <a:pt x="120" y="50"/>
                      <a:pt x="118" y="50"/>
                      <a:pt x="117" y="50"/>
                    </a:cubicBezTo>
                    <a:cubicBezTo>
                      <a:pt x="116" y="45"/>
                      <a:pt x="116" y="45"/>
                      <a:pt x="116" y="45"/>
                    </a:cubicBezTo>
                    <a:cubicBezTo>
                      <a:pt x="118" y="44"/>
                      <a:pt x="121" y="45"/>
                      <a:pt x="123" y="45"/>
                    </a:cubicBezTo>
                    <a:lnTo>
                      <a:pt x="121" y="51"/>
                    </a:lnTo>
                    <a:close/>
                    <a:moveTo>
                      <a:pt x="14" y="42"/>
                    </a:moveTo>
                    <a:cubicBezTo>
                      <a:pt x="9" y="40"/>
                      <a:pt x="9" y="40"/>
                      <a:pt x="9" y="40"/>
                    </a:cubicBezTo>
                    <a:cubicBezTo>
                      <a:pt x="9" y="38"/>
                      <a:pt x="11" y="36"/>
                      <a:pt x="12" y="34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5" y="39"/>
                      <a:pt x="15" y="41"/>
                      <a:pt x="14" y="42"/>
                    </a:cubicBezTo>
                    <a:close/>
                    <a:moveTo>
                      <a:pt x="74" y="41"/>
                    </a:moveTo>
                    <a:cubicBezTo>
                      <a:pt x="73" y="40"/>
                      <a:pt x="72" y="38"/>
                      <a:pt x="71" y="37"/>
                    </a:cubicBezTo>
                    <a:cubicBezTo>
                      <a:pt x="75" y="33"/>
                      <a:pt x="75" y="33"/>
                      <a:pt x="75" y="33"/>
                    </a:cubicBezTo>
                    <a:cubicBezTo>
                      <a:pt x="76" y="35"/>
                      <a:pt x="78" y="37"/>
                      <a:pt x="79" y="39"/>
                    </a:cubicBezTo>
                    <a:lnTo>
                      <a:pt x="74" y="41"/>
                    </a:lnTo>
                    <a:close/>
                    <a:moveTo>
                      <a:pt x="42" y="41"/>
                    </a:moveTo>
                    <a:cubicBezTo>
                      <a:pt x="37" y="39"/>
                      <a:pt x="37" y="39"/>
                      <a:pt x="37" y="39"/>
                    </a:cubicBezTo>
                    <a:cubicBezTo>
                      <a:pt x="37" y="37"/>
                      <a:pt x="38" y="36"/>
                      <a:pt x="39" y="34"/>
                    </a:cubicBezTo>
                    <a:cubicBezTo>
                      <a:pt x="44" y="36"/>
                      <a:pt x="44" y="36"/>
                      <a:pt x="44" y="36"/>
                    </a:cubicBezTo>
                    <a:cubicBezTo>
                      <a:pt x="44" y="38"/>
                      <a:pt x="43" y="40"/>
                      <a:pt x="42" y="41"/>
                    </a:cubicBezTo>
                    <a:close/>
                    <a:moveTo>
                      <a:pt x="61" y="33"/>
                    </a:moveTo>
                    <a:cubicBezTo>
                      <a:pt x="59" y="31"/>
                      <a:pt x="57" y="30"/>
                      <a:pt x="56" y="28"/>
                    </a:cubicBezTo>
                    <a:cubicBezTo>
                      <a:pt x="56" y="28"/>
                      <a:pt x="56" y="28"/>
                      <a:pt x="56" y="28"/>
                    </a:cubicBezTo>
                    <a:cubicBezTo>
                      <a:pt x="61" y="25"/>
                      <a:pt x="61" y="25"/>
                      <a:pt x="61" y="25"/>
                    </a:cubicBezTo>
                    <a:cubicBezTo>
                      <a:pt x="61" y="25"/>
                      <a:pt x="62" y="25"/>
                      <a:pt x="62" y="25"/>
                    </a:cubicBezTo>
                    <a:cubicBezTo>
                      <a:pt x="62" y="26"/>
                      <a:pt x="63" y="27"/>
                      <a:pt x="64" y="28"/>
                    </a:cubicBezTo>
                    <a:lnTo>
                      <a:pt x="61" y="33"/>
                    </a:lnTo>
                    <a:close/>
                    <a:moveTo>
                      <a:pt x="26" y="31"/>
                    </a:moveTo>
                    <a:cubicBezTo>
                      <a:pt x="22" y="27"/>
                      <a:pt x="22" y="27"/>
                      <a:pt x="22" y="27"/>
                    </a:cubicBezTo>
                    <a:cubicBezTo>
                      <a:pt x="23" y="26"/>
                      <a:pt x="23" y="25"/>
                      <a:pt x="24" y="23"/>
                    </a:cubicBezTo>
                    <a:cubicBezTo>
                      <a:pt x="30" y="25"/>
                      <a:pt x="30" y="25"/>
                      <a:pt x="30" y="25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8" y="28"/>
                      <a:pt x="27" y="29"/>
                      <a:pt x="26" y="31"/>
                    </a:cubicBezTo>
                    <a:close/>
                    <a:moveTo>
                      <a:pt x="47" y="25"/>
                    </a:moveTo>
                    <a:cubicBezTo>
                      <a:pt x="42" y="22"/>
                      <a:pt x="42" y="22"/>
                      <a:pt x="42" y="22"/>
                    </a:cubicBezTo>
                    <a:cubicBezTo>
                      <a:pt x="44" y="20"/>
                      <a:pt x="47" y="19"/>
                      <a:pt x="49" y="18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49" y="24"/>
                      <a:pt x="48" y="25"/>
                      <a:pt x="47" y="25"/>
                    </a:cubicBezTo>
                    <a:close/>
                    <a:moveTo>
                      <a:pt x="5" y="22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7" y="16"/>
                      <a:pt x="7" y="16"/>
                      <a:pt x="7" y="16"/>
                    </a:cubicBezTo>
                    <a:lnTo>
                      <a:pt x="5" y="22"/>
                    </a:lnTo>
                    <a:close/>
                    <a:moveTo>
                      <a:pt x="24" y="13"/>
                    </a:moveTo>
                    <a:cubicBezTo>
                      <a:pt x="23" y="11"/>
                      <a:pt x="23" y="10"/>
                      <a:pt x="22" y="8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8" y="8"/>
                      <a:pt x="29" y="10"/>
                      <a:pt x="29" y="12"/>
                    </a:cubicBezTo>
                    <a:lnTo>
                      <a:pt x="24" y="13"/>
                    </a:lnTo>
                    <a:close/>
                    <a:moveTo>
                      <a:pt x="12" y="8"/>
                    </a:moveTo>
                    <a:cubicBezTo>
                      <a:pt x="9" y="4"/>
                      <a:pt x="9" y="4"/>
                      <a:pt x="9" y="4"/>
                    </a:cubicBezTo>
                    <a:cubicBezTo>
                      <a:pt x="11" y="2"/>
                      <a:pt x="12" y="1"/>
                      <a:pt x="14" y="0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5" y="6"/>
                      <a:pt x="14" y="7"/>
                      <a:pt x="12" y="8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31" name="îṩļîďê"/>
              <p:cNvSpPr/>
              <p:nvPr/>
            </p:nvSpPr>
            <p:spPr bwMode="auto">
              <a:xfrm>
                <a:off x="7661275" y="4322763"/>
                <a:ext cx="142875" cy="312738"/>
              </a:xfrm>
              <a:custGeom>
                <a:avLst/>
                <a:gdLst>
                  <a:gd name="T0" fmla="*/ 59 w 66"/>
                  <a:gd name="T1" fmla="*/ 140 h 146"/>
                  <a:gd name="T2" fmla="*/ 66 w 66"/>
                  <a:gd name="T3" fmla="*/ 144 h 146"/>
                  <a:gd name="T4" fmla="*/ 55 w 66"/>
                  <a:gd name="T5" fmla="*/ 129 h 146"/>
                  <a:gd name="T6" fmla="*/ 59 w 66"/>
                  <a:gd name="T7" fmla="*/ 122 h 146"/>
                  <a:gd name="T8" fmla="*/ 55 w 66"/>
                  <a:gd name="T9" fmla="*/ 129 h 146"/>
                  <a:gd name="T10" fmla="*/ 52 w 66"/>
                  <a:gd name="T11" fmla="*/ 110 h 146"/>
                  <a:gd name="T12" fmla="*/ 52 w 66"/>
                  <a:gd name="T13" fmla="*/ 105 h 146"/>
                  <a:gd name="T14" fmla="*/ 58 w 66"/>
                  <a:gd name="T15" fmla="*/ 107 h 146"/>
                  <a:gd name="T16" fmla="*/ 58 w 66"/>
                  <a:gd name="T17" fmla="*/ 111 h 146"/>
                  <a:gd name="T18" fmla="*/ 47 w 66"/>
                  <a:gd name="T19" fmla="*/ 98 h 146"/>
                  <a:gd name="T20" fmla="*/ 42 w 66"/>
                  <a:gd name="T21" fmla="*/ 94 h 146"/>
                  <a:gd name="T22" fmla="*/ 50 w 66"/>
                  <a:gd name="T23" fmla="*/ 93 h 146"/>
                  <a:gd name="T24" fmla="*/ 47 w 66"/>
                  <a:gd name="T25" fmla="*/ 98 h 146"/>
                  <a:gd name="T26" fmla="*/ 40 w 66"/>
                  <a:gd name="T27" fmla="*/ 80 h 146"/>
                  <a:gd name="T28" fmla="*/ 40 w 66"/>
                  <a:gd name="T29" fmla="*/ 79 h 146"/>
                  <a:gd name="T30" fmla="*/ 47 w 66"/>
                  <a:gd name="T31" fmla="*/ 80 h 146"/>
                  <a:gd name="T32" fmla="*/ 36 w 66"/>
                  <a:gd name="T33" fmla="*/ 69 h 146"/>
                  <a:gd name="T34" fmla="*/ 31 w 66"/>
                  <a:gd name="T35" fmla="*/ 66 h 146"/>
                  <a:gd name="T36" fmla="*/ 38 w 66"/>
                  <a:gd name="T37" fmla="*/ 63 h 146"/>
                  <a:gd name="T38" fmla="*/ 36 w 66"/>
                  <a:gd name="T39" fmla="*/ 69 h 146"/>
                  <a:gd name="T40" fmla="*/ 29 w 66"/>
                  <a:gd name="T41" fmla="*/ 51 h 146"/>
                  <a:gd name="T42" fmla="*/ 33 w 66"/>
                  <a:gd name="T43" fmla="*/ 48 h 146"/>
                  <a:gd name="T44" fmla="*/ 36 w 66"/>
                  <a:gd name="T45" fmla="*/ 53 h 146"/>
                  <a:gd name="T46" fmla="*/ 34 w 66"/>
                  <a:gd name="T47" fmla="*/ 55 h 146"/>
                  <a:gd name="T48" fmla="*/ 39 w 66"/>
                  <a:gd name="T49" fmla="*/ 37 h 146"/>
                  <a:gd name="T50" fmla="*/ 48 w 66"/>
                  <a:gd name="T51" fmla="*/ 38 h 146"/>
                  <a:gd name="T52" fmla="*/ 45 w 66"/>
                  <a:gd name="T53" fmla="*/ 31 h 146"/>
                  <a:gd name="T54" fmla="*/ 45 w 66"/>
                  <a:gd name="T55" fmla="*/ 31 h 146"/>
                  <a:gd name="T56" fmla="*/ 39 w 66"/>
                  <a:gd name="T57" fmla="*/ 27 h 146"/>
                  <a:gd name="T58" fmla="*/ 44 w 66"/>
                  <a:gd name="T59" fmla="*/ 24 h 146"/>
                  <a:gd name="T60" fmla="*/ 46 w 66"/>
                  <a:gd name="T61" fmla="*/ 28 h 146"/>
                  <a:gd name="T62" fmla="*/ 30 w 66"/>
                  <a:gd name="T63" fmla="*/ 22 h 146"/>
                  <a:gd name="T64" fmla="*/ 29 w 66"/>
                  <a:gd name="T65" fmla="*/ 16 h 146"/>
                  <a:gd name="T66" fmla="*/ 33 w 66"/>
                  <a:gd name="T67" fmla="*/ 22 h 146"/>
                  <a:gd name="T68" fmla="*/ 13 w 66"/>
                  <a:gd name="T69" fmla="*/ 20 h 146"/>
                  <a:gd name="T70" fmla="*/ 10 w 66"/>
                  <a:gd name="T71" fmla="*/ 19 h 146"/>
                  <a:gd name="T72" fmla="*/ 15 w 66"/>
                  <a:gd name="T73" fmla="*/ 13 h 146"/>
                  <a:gd name="T74" fmla="*/ 18 w 66"/>
                  <a:gd name="T75" fmla="*/ 18 h 146"/>
                  <a:gd name="T76" fmla="*/ 13 w 66"/>
                  <a:gd name="T77" fmla="*/ 20 h 146"/>
                  <a:gd name="T78" fmla="*/ 0 w 66"/>
                  <a:gd name="T79" fmla="*/ 5 h 146"/>
                  <a:gd name="T80" fmla="*/ 8 w 66"/>
                  <a:gd name="T81" fmla="*/ 5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6" h="146">
                    <a:moveTo>
                      <a:pt x="61" y="146"/>
                    </a:moveTo>
                    <a:cubicBezTo>
                      <a:pt x="61" y="146"/>
                      <a:pt x="60" y="144"/>
                      <a:pt x="59" y="140"/>
                    </a:cubicBezTo>
                    <a:cubicBezTo>
                      <a:pt x="64" y="138"/>
                      <a:pt x="64" y="138"/>
                      <a:pt x="64" y="138"/>
                    </a:cubicBezTo>
                    <a:cubicBezTo>
                      <a:pt x="65" y="141"/>
                      <a:pt x="66" y="143"/>
                      <a:pt x="66" y="144"/>
                    </a:cubicBezTo>
                    <a:lnTo>
                      <a:pt x="61" y="146"/>
                    </a:lnTo>
                    <a:close/>
                    <a:moveTo>
                      <a:pt x="55" y="129"/>
                    </a:moveTo>
                    <a:cubicBezTo>
                      <a:pt x="54" y="127"/>
                      <a:pt x="54" y="125"/>
                      <a:pt x="54" y="123"/>
                    </a:cubicBezTo>
                    <a:cubicBezTo>
                      <a:pt x="59" y="122"/>
                      <a:pt x="59" y="122"/>
                      <a:pt x="59" y="122"/>
                    </a:cubicBezTo>
                    <a:cubicBezTo>
                      <a:pt x="60" y="124"/>
                      <a:pt x="60" y="126"/>
                      <a:pt x="61" y="127"/>
                    </a:cubicBezTo>
                    <a:lnTo>
                      <a:pt x="55" y="129"/>
                    </a:lnTo>
                    <a:close/>
                    <a:moveTo>
                      <a:pt x="52" y="111"/>
                    </a:moveTo>
                    <a:cubicBezTo>
                      <a:pt x="52" y="110"/>
                      <a:pt x="52" y="110"/>
                      <a:pt x="52" y="110"/>
                    </a:cubicBezTo>
                    <a:cubicBezTo>
                      <a:pt x="52" y="109"/>
                      <a:pt x="52" y="108"/>
                      <a:pt x="52" y="107"/>
                    </a:cubicBezTo>
                    <a:cubicBezTo>
                      <a:pt x="52" y="106"/>
                      <a:pt x="52" y="106"/>
                      <a:pt x="52" y="105"/>
                    </a:cubicBezTo>
                    <a:cubicBezTo>
                      <a:pt x="58" y="105"/>
                      <a:pt x="58" y="105"/>
                      <a:pt x="58" y="105"/>
                    </a:cubicBezTo>
                    <a:cubicBezTo>
                      <a:pt x="58" y="106"/>
                      <a:pt x="58" y="106"/>
                      <a:pt x="58" y="107"/>
                    </a:cubicBezTo>
                    <a:cubicBezTo>
                      <a:pt x="58" y="108"/>
                      <a:pt x="58" y="109"/>
                      <a:pt x="58" y="110"/>
                    </a:cubicBezTo>
                    <a:cubicBezTo>
                      <a:pt x="58" y="111"/>
                      <a:pt x="58" y="111"/>
                      <a:pt x="58" y="111"/>
                    </a:cubicBezTo>
                    <a:lnTo>
                      <a:pt x="52" y="111"/>
                    </a:lnTo>
                    <a:close/>
                    <a:moveTo>
                      <a:pt x="47" y="98"/>
                    </a:moveTo>
                    <a:cubicBezTo>
                      <a:pt x="46" y="97"/>
                      <a:pt x="46" y="97"/>
                      <a:pt x="46" y="97"/>
                    </a:cubicBezTo>
                    <a:cubicBezTo>
                      <a:pt x="45" y="96"/>
                      <a:pt x="43" y="95"/>
                      <a:pt x="42" y="94"/>
                    </a:cubicBezTo>
                    <a:cubicBezTo>
                      <a:pt x="46" y="90"/>
                      <a:pt x="46" y="90"/>
                      <a:pt x="46" y="90"/>
                    </a:cubicBezTo>
                    <a:cubicBezTo>
                      <a:pt x="47" y="91"/>
                      <a:pt x="48" y="92"/>
                      <a:pt x="50" y="93"/>
                    </a:cubicBezTo>
                    <a:cubicBezTo>
                      <a:pt x="51" y="93"/>
                      <a:pt x="51" y="93"/>
                      <a:pt x="51" y="93"/>
                    </a:cubicBezTo>
                    <a:lnTo>
                      <a:pt x="47" y="98"/>
                    </a:lnTo>
                    <a:close/>
                    <a:moveTo>
                      <a:pt x="45" y="84"/>
                    </a:moveTo>
                    <a:cubicBezTo>
                      <a:pt x="40" y="80"/>
                      <a:pt x="40" y="80"/>
                      <a:pt x="40" y="80"/>
                    </a:cubicBezTo>
                    <a:cubicBezTo>
                      <a:pt x="41" y="80"/>
                      <a:pt x="41" y="80"/>
                      <a:pt x="41" y="80"/>
                    </a:cubicBezTo>
                    <a:cubicBezTo>
                      <a:pt x="41" y="80"/>
                      <a:pt x="41" y="79"/>
                      <a:pt x="40" y="79"/>
                    </a:cubicBezTo>
                    <a:cubicBezTo>
                      <a:pt x="45" y="75"/>
                      <a:pt x="45" y="75"/>
                      <a:pt x="45" y="75"/>
                    </a:cubicBezTo>
                    <a:cubicBezTo>
                      <a:pt x="46" y="77"/>
                      <a:pt x="47" y="78"/>
                      <a:pt x="47" y="80"/>
                    </a:cubicBezTo>
                    <a:cubicBezTo>
                      <a:pt x="47" y="82"/>
                      <a:pt x="46" y="83"/>
                      <a:pt x="45" y="84"/>
                    </a:cubicBezTo>
                    <a:close/>
                    <a:moveTo>
                      <a:pt x="36" y="69"/>
                    </a:moveTo>
                    <a:cubicBezTo>
                      <a:pt x="36" y="69"/>
                      <a:pt x="36" y="69"/>
                      <a:pt x="36" y="69"/>
                    </a:cubicBezTo>
                    <a:cubicBezTo>
                      <a:pt x="34" y="68"/>
                      <a:pt x="32" y="67"/>
                      <a:pt x="31" y="66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6" y="62"/>
                      <a:pt x="37" y="63"/>
                      <a:pt x="38" y="63"/>
                    </a:cubicBezTo>
                    <a:cubicBezTo>
                      <a:pt x="39" y="64"/>
                      <a:pt x="40" y="64"/>
                      <a:pt x="40" y="65"/>
                    </a:cubicBezTo>
                    <a:lnTo>
                      <a:pt x="36" y="69"/>
                    </a:lnTo>
                    <a:close/>
                    <a:moveTo>
                      <a:pt x="34" y="55"/>
                    </a:moveTo>
                    <a:cubicBezTo>
                      <a:pt x="29" y="51"/>
                      <a:pt x="29" y="51"/>
                      <a:pt x="29" y="51"/>
                    </a:cubicBezTo>
                    <a:cubicBezTo>
                      <a:pt x="29" y="51"/>
                      <a:pt x="30" y="51"/>
                      <a:pt x="30" y="50"/>
                    </a:cubicBezTo>
                    <a:cubicBezTo>
                      <a:pt x="31" y="49"/>
                      <a:pt x="32" y="49"/>
                      <a:pt x="33" y="48"/>
                    </a:cubicBezTo>
                    <a:cubicBezTo>
                      <a:pt x="38" y="50"/>
                      <a:pt x="38" y="50"/>
                      <a:pt x="38" y="50"/>
                    </a:cubicBezTo>
                    <a:cubicBezTo>
                      <a:pt x="38" y="52"/>
                      <a:pt x="37" y="52"/>
                      <a:pt x="36" y="53"/>
                    </a:cubicBezTo>
                    <a:cubicBezTo>
                      <a:pt x="35" y="53"/>
                      <a:pt x="35" y="54"/>
                      <a:pt x="34" y="54"/>
                    </a:cubicBezTo>
                    <a:cubicBezTo>
                      <a:pt x="34" y="55"/>
                      <a:pt x="34" y="55"/>
                      <a:pt x="34" y="55"/>
                    </a:cubicBezTo>
                    <a:close/>
                    <a:moveTo>
                      <a:pt x="43" y="42"/>
                    </a:moveTo>
                    <a:cubicBezTo>
                      <a:pt x="39" y="37"/>
                      <a:pt x="39" y="37"/>
                      <a:pt x="39" y="37"/>
                    </a:cubicBezTo>
                    <a:cubicBezTo>
                      <a:pt x="41" y="36"/>
                      <a:pt x="42" y="35"/>
                      <a:pt x="44" y="33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6" y="40"/>
                      <a:pt x="45" y="40"/>
                      <a:pt x="43" y="42"/>
                    </a:cubicBezTo>
                    <a:close/>
                    <a:moveTo>
                      <a:pt x="45" y="31"/>
                    </a:moveTo>
                    <a:cubicBezTo>
                      <a:pt x="46" y="28"/>
                      <a:pt x="46" y="28"/>
                      <a:pt x="46" y="28"/>
                    </a:cubicBezTo>
                    <a:cubicBezTo>
                      <a:pt x="45" y="31"/>
                      <a:pt x="45" y="31"/>
                      <a:pt x="45" y="31"/>
                    </a:cubicBezTo>
                    <a:cubicBezTo>
                      <a:pt x="44" y="31"/>
                      <a:pt x="42" y="30"/>
                      <a:pt x="40" y="29"/>
                    </a:cubicBezTo>
                    <a:cubicBezTo>
                      <a:pt x="40" y="28"/>
                      <a:pt x="40" y="28"/>
                      <a:pt x="39" y="27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5" y="25"/>
                      <a:pt x="46" y="25"/>
                      <a:pt x="47" y="26"/>
                    </a:cubicBezTo>
                    <a:cubicBezTo>
                      <a:pt x="46" y="28"/>
                      <a:pt x="46" y="28"/>
                      <a:pt x="46" y="28"/>
                    </a:cubicBezTo>
                    <a:lnTo>
                      <a:pt x="45" y="31"/>
                    </a:lnTo>
                    <a:close/>
                    <a:moveTo>
                      <a:pt x="30" y="22"/>
                    </a:moveTo>
                    <a:cubicBezTo>
                      <a:pt x="28" y="22"/>
                      <a:pt x="27" y="22"/>
                      <a:pt x="25" y="21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29" y="16"/>
                      <a:pt x="31" y="16"/>
                      <a:pt x="32" y="16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2" y="22"/>
                      <a:pt x="31" y="22"/>
                      <a:pt x="30" y="22"/>
                    </a:cubicBezTo>
                    <a:close/>
                    <a:moveTo>
                      <a:pt x="13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20"/>
                      <a:pt x="11" y="20"/>
                      <a:pt x="10" y="19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14"/>
                      <a:pt x="14" y="13"/>
                      <a:pt x="15" y="13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6" y="19"/>
                      <a:pt x="15" y="20"/>
                      <a:pt x="13" y="20"/>
                    </a:cubicBezTo>
                    <a:close/>
                    <a:moveTo>
                      <a:pt x="3" y="8"/>
                    </a:moveTo>
                    <a:cubicBezTo>
                      <a:pt x="2" y="7"/>
                      <a:pt x="1" y="5"/>
                      <a:pt x="0" y="5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1"/>
                      <a:pt x="7" y="3"/>
                      <a:pt x="8" y="5"/>
                    </a:cubicBezTo>
                    <a:lnTo>
                      <a:pt x="3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32" name="îSlîde"/>
              <p:cNvSpPr/>
              <p:nvPr/>
            </p:nvSpPr>
            <p:spPr bwMode="auto">
              <a:xfrm>
                <a:off x="6842125" y="3694113"/>
                <a:ext cx="989013" cy="633413"/>
              </a:xfrm>
              <a:custGeom>
                <a:avLst/>
                <a:gdLst>
                  <a:gd name="T0" fmla="*/ 342 w 461"/>
                  <a:gd name="T1" fmla="*/ 287 h 296"/>
                  <a:gd name="T2" fmla="*/ 334 w 461"/>
                  <a:gd name="T3" fmla="*/ 284 h 296"/>
                  <a:gd name="T4" fmla="*/ 361 w 461"/>
                  <a:gd name="T5" fmla="*/ 286 h 296"/>
                  <a:gd name="T6" fmla="*/ 370 w 461"/>
                  <a:gd name="T7" fmla="*/ 285 h 296"/>
                  <a:gd name="T8" fmla="*/ 315 w 461"/>
                  <a:gd name="T9" fmla="*/ 283 h 296"/>
                  <a:gd name="T10" fmla="*/ 270 w 461"/>
                  <a:gd name="T11" fmla="*/ 270 h 296"/>
                  <a:gd name="T12" fmla="*/ 301 w 461"/>
                  <a:gd name="T13" fmla="*/ 260 h 296"/>
                  <a:gd name="T14" fmla="*/ 323 w 461"/>
                  <a:gd name="T15" fmla="*/ 264 h 296"/>
                  <a:gd name="T16" fmla="*/ 283 w 461"/>
                  <a:gd name="T17" fmla="*/ 260 h 296"/>
                  <a:gd name="T18" fmla="*/ 276 w 461"/>
                  <a:gd name="T19" fmla="*/ 256 h 296"/>
                  <a:gd name="T20" fmla="*/ 412 w 461"/>
                  <a:gd name="T21" fmla="*/ 259 h 296"/>
                  <a:gd name="T22" fmla="*/ 267 w 461"/>
                  <a:gd name="T23" fmla="*/ 251 h 296"/>
                  <a:gd name="T24" fmla="*/ 421 w 461"/>
                  <a:gd name="T25" fmla="*/ 249 h 296"/>
                  <a:gd name="T26" fmla="*/ 253 w 461"/>
                  <a:gd name="T27" fmla="*/ 237 h 296"/>
                  <a:gd name="T28" fmla="*/ 256 w 461"/>
                  <a:gd name="T29" fmla="*/ 216 h 296"/>
                  <a:gd name="T30" fmla="*/ 236 w 461"/>
                  <a:gd name="T31" fmla="*/ 221 h 296"/>
                  <a:gd name="T32" fmla="*/ 183 w 461"/>
                  <a:gd name="T33" fmla="*/ 215 h 296"/>
                  <a:gd name="T34" fmla="*/ 171 w 461"/>
                  <a:gd name="T35" fmla="*/ 219 h 296"/>
                  <a:gd name="T36" fmla="*/ 136 w 461"/>
                  <a:gd name="T37" fmla="*/ 216 h 296"/>
                  <a:gd name="T38" fmla="*/ 413 w 461"/>
                  <a:gd name="T39" fmla="*/ 210 h 296"/>
                  <a:gd name="T40" fmla="*/ 204 w 461"/>
                  <a:gd name="T41" fmla="*/ 209 h 296"/>
                  <a:gd name="T42" fmla="*/ 219 w 461"/>
                  <a:gd name="T43" fmla="*/ 214 h 296"/>
                  <a:gd name="T44" fmla="*/ 393 w 461"/>
                  <a:gd name="T45" fmla="*/ 197 h 296"/>
                  <a:gd name="T46" fmla="*/ 412 w 461"/>
                  <a:gd name="T47" fmla="*/ 193 h 296"/>
                  <a:gd name="T48" fmla="*/ 111 w 461"/>
                  <a:gd name="T49" fmla="*/ 196 h 296"/>
                  <a:gd name="T50" fmla="*/ 387 w 461"/>
                  <a:gd name="T51" fmla="*/ 196 h 296"/>
                  <a:gd name="T52" fmla="*/ 409 w 461"/>
                  <a:gd name="T53" fmla="*/ 194 h 296"/>
                  <a:gd name="T54" fmla="*/ 366 w 461"/>
                  <a:gd name="T55" fmla="*/ 191 h 296"/>
                  <a:gd name="T56" fmla="*/ 371 w 461"/>
                  <a:gd name="T57" fmla="*/ 192 h 296"/>
                  <a:gd name="T58" fmla="*/ 355 w 461"/>
                  <a:gd name="T59" fmla="*/ 182 h 296"/>
                  <a:gd name="T60" fmla="*/ 67 w 461"/>
                  <a:gd name="T61" fmla="*/ 161 h 296"/>
                  <a:gd name="T62" fmla="*/ 360 w 461"/>
                  <a:gd name="T63" fmla="*/ 163 h 296"/>
                  <a:gd name="T64" fmla="*/ 59 w 461"/>
                  <a:gd name="T65" fmla="*/ 153 h 296"/>
                  <a:gd name="T66" fmla="*/ 353 w 461"/>
                  <a:gd name="T67" fmla="*/ 140 h 296"/>
                  <a:gd name="T68" fmla="*/ 343 w 461"/>
                  <a:gd name="T69" fmla="*/ 138 h 296"/>
                  <a:gd name="T70" fmla="*/ 57 w 461"/>
                  <a:gd name="T71" fmla="*/ 133 h 296"/>
                  <a:gd name="T72" fmla="*/ 369 w 461"/>
                  <a:gd name="T73" fmla="*/ 129 h 296"/>
                  <a:gd name="T74" fmla="*/ 364 w 461"/>
                  <a:gd name="T75" fmla="*/ 115 h 296"/>
                  <a:gd name="T76" fmla="*/ 42 w 461"/>
                  <a:gd name="T77" fmla="*/ 108 h 296"/>
                  <a:gd name="T78" fmla="*/ 379 w 461"/>
                  <a:gd name="T79" fmla="*/ 96 h 296"/>
                  <a:gd name="T80" fmla="*/ 382 w 461"/>
                  <a:gd name="T81" fmla="*/ 93 h 296"/>
                  <a:gd name="T82" fmla="*/ 388 w 461"/>
                  <a:gd name="T83" fmla="*/ 92 h 296"/>
                  <a:gd name="T84" fmla="*/ 429 w 461"/>
                  <a:gd name="T85" fmla="*/ 85 h 296"/>
                  <a:gd name="T86" fmla="*/ 28 w 461"/>
                  <a:gd name="T87" fmla="*/ 82 h 296"/>
                  <a:gd name="T88" fmla="*/ 441 w 461"/>
                  <a:gd name="T89" fmla="*/ 80 h 296"/>
                  <a:gd name="T90" fmla="*/ 411 w 461"/>
                  <a:gd name="T91" fmla="*/ 67 h 296"/>
                  <a:gd name="T92" fmla="*/ 460 w 461"/>
                  <a:gd name="T93" fmla="*/ 66 h 296"/>
                  <a:gd name="T94" fmla="*/ 25 w 461"/>
                  <a:gd name="T95" fmla="*/ 67 h 296"/>
                  <a:gd name="T96" fmla="*/ 402 w 461"/>
                  <a:gd name="T97" fmla="*/ 52 h 296"/>
                  <a:gd name="T98" fmla="*/ 18 w 461"/>
                  <a:gd name="T99" fmla="*/ 52 h 296"/>
                  <a:gd name="T100" fmla="*/ 456 w 461"/>
                  <a:gd name="T101" fmla="*/ 55 h 296"/>
                  <a:gd name="T102" fmla="*/ 14 w 461"/>
                  <a:gd name="T103" fmla="*/ 46 h 296"/>
                  <a:gd name="T104" fmla="*/ 455 w 461"/>
                  <a:gd name="T105" fmla="*/ 38 h 296"/>
                  <a:gd name="T106" fmla="*/ 1 w 461"/>
                  <a:gd name="T107" fmla="*/ 35 h 296"/>
                  <a:gd name="T108" fmla="*/ 428 w 461"/>
                  <a:gd name="T109" fmla="*/ 17 h 296"/>
                  <a:gd name="T110" fmla="*/ 430 w 461"/>
                  <a:gd name="T111" fmla="*/ 8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61" h="296">
                    <a:moveTo>
                      <a:pt x="374" y="296"/>
                    </a:moveTo>
                    <a:cubicBezTo>
                      <a:pt x="374" y="290"/>
                      <a:pt x="374" y="290"/>
                      <a:pt x="374" y="290"/>
                    </a:cubicBezTo>
                    <a:cubicBezTo>
                      <a:pt x="375" y="290"/>
                      <a:pt x="376" y="290"/>
                      <a:pt x="377" y="289"/>
                    </a:cubicBezTo>
                    <a:cubicBezTo>
                      <a:pt x="381" y="293"/>
                      <a:pt x="381" y="293"/>
                      <a:pt x="381" y="293"/>
                    </a:cubicBezTo>
                    <a:cubicBezTo>
                      <a:pt x="379" y="296"/>
                      <a:pt x="376" y="296"/>
                      <a:pt x="374" y="296"/>
                    </a:cubicBezTo>
                    <a:close/>
                    <a:moveTo>
                      <a:pt x="346" y="293"/>
                    </a:moveTo>
                    <a:cubicBezTo>
                      <a:pt x="345" y="293"/>
                      <a:pt x="344" y="293"/>
                      <a:pt x="342" y="293"/>
                    </a:cubicBezTo>
                    <a:cubicBezTo>
                      <a:pt x="342" y="287"/>
                      <a:pt x="342" y="287"/>
                      <a:pt x="342" y="287"/>
                    </a:cubicBezTo>
                    <a:cubicBezTo>
                      <a:pt x="344" y="287"/>
                      <a:pt x="345" y="287"/>
                      <a:pt x="346" y="287"/>
                    </a:cubicBezTo>
                    <a:cubicBezTo>
                      <a:pt x="347" y="287"/>
                      <a:pt x="347" y="287"/>
                      <a:pt x="348" y="287"/>
                    </a:cubicBezTo>
                    <a:cubicBezTo>
                      <a:pt x="348" y="293"/>
                      <a:pt x="348" y="293"/>
                      <a:pt x="348" y="293"/>
                    </a:cubicBezTo>
                    <a:cubicBezTo>
                      <a:pt x="348" y="293"/>
                      <a:pt x="347" y="293"/>
                      <a:pt x="346" y="293"/>
                    </a:cubicBezTo>
                    <a:close/>
                    <a:moveTo>
                      <a:pt x="330" y="288"/>
                    </a:moveTo>
                    <a:cubicBezTo>
                      <a:pt x="329" y="287"/>
                      <a:pt x="328" y="286"/>
                      <a:pt x="326" y="285"/>
                    </a:cubicBezTo>
                    <a:cubicBezTo>
                      <a:pt x="329" y="280"/>
                      <a:pt x="329" y="280"/>
                      <a:pt x="329" y="280"/>
                    </a:cubicBezTo>
                    <a:cubicBezTo>
                      <a:pt x="332" y="281"/>
                      <a:pt x="333" y="283"/>
                      <a:pt x="334" y="284"/>
                    </a:cubicBezTo>
                    <a:lnTo>
                      <a:pt x="330" y="288"/>
                    </a:lnTo>
                    <a:close/>
                    <a:moveTo>
                      <a:pt x="361" y="286"/>
                    </a:moveTo>
                    <a:cubicBezTo>
                      <a:pt x="355" y="284"/>
                      <a:pt x="355" y="284"/>
                      <a:pt x="355" y="284"/>
                    </a:cubicBezTo>
                    <a:cubicBezTo>
                      <a:pt x="355" y="284"/>
                      <a:pt x="355" y="284"/>
                      <a:pt x="355" y="284"/>
                    </a:cubicBezTo>
                    <a:cubicBezTo>
                      <a:pt x="356" y="282"/>
                      <a:pt x="356" y="280"/>
                      <a:pt x="357" y="279"/>
                    </a:cubicBezTo>
                    <a:cubicBezTo>
                      <a:pt x="362" y="281"/>
                      <a:pt x="362" y="281"/>
                      <a:pt x="362" y="281"/>
                    </a:cubicBezTo>
                    <a:cubicBezTo>
                      <a:pt x="362" y="282"/>
                      <a:pt x="361" y="283"/>
                      <a:pt x="361" y="285"/>
                    </a:cubicBezTo>
                    <a:cubicBezTo>
                      <a:pt x="361" y="285"/>
                      <a:pt x="361" y="286"/>
                      <a:pt x="361" y="286"/>
                    </a:cubicBezTo>
                    <a:close/>
                    <a:moveTo>
                      <a:pt x="370" y="286"/>
                    </a:moveTo>
                    <a:cubicBezTo>
                      <a:pt x="364" y="286"/>
                      <a:pt x="364" y="286"/>
                      <a:pt x="364" y="286"/>
                    </a:cubicBezTo>
                    <a:cubicBezTo>
                      <a:pt x="365" y="285"/>
                      <a:pt x="365" y="285"/>
                      <a:pt x="365" y="284"/>
                    </a:cubicBezTo>
                    <a:cubicBezTo>
                      <a:pt x="365" y="283"/>
                      <a:pt x="365" y="283"/>
                      <a:pt x="365" y="282"/>
                    </a:cubicBezTo>
                    <a:cubicBezTo>
                      <a:pt x="365" y="281"/>
                      <a:pt x="365" y="281"/>
                      <a:pt x="365" y="280"/>
                    </a:cubicBezTo>
                    <a:cubicBezTo>
                      <a:pt x="370" y="280"/>
                      <a:pt x="370" y="280"/>
                      <a:pt x="370" y="280"/>
                    </a:cubicBezTo>
                    <a:cubicBezTo>
                      <a:pt x="370" y="280"/>
                      <a:pt x="371" y="281"/>
                      <a:pt x="371" y="282"/>
                    </a:cubicBezTo>
                    <a:cubicBezTo>
                      <a:pt x="371" y="283"/>
                      <a:pt x="370" y="284"/>
                      <a:pt x="370" y="285"/>
                    </a:cubicBezTo>
                    <a:cubicBezTo>
                      <a:pt x="370" y="285"/>
                      <a:pt x="370" y="286"/>
                      <a:pt x="370" y="286"/>
                    </a:cubicBezTo>
                    <a:close/>
                    <a:moveTo>
                      <a:pt x="315" y="283"/>
                    </a:moveTo>
                    <a:cubicBezTo>
                      <a:pt x="314" y="282"/>
                      <a:pt x="314" y="282"/>
                      <a:pt x="314" y="281"/>
                    </a:cubicBezTo>
                    <a:cubicBezTo>
                      <a:pt x="314" y="279"/>
                      <a:pt x="315" y="277"/>
                      <a:pt x="318" y="275"/>
                    </a:cubicBezTo>
                    <a:cubicBezTo>
                      <a:pt x="322" y="279"/>
                      <a:pt x="322" y="279"/>
                      <a:pt x="322" y="279"/>
                    </a:cubicBezTo>
                    <a:cubicBezTo>
                      <a:pt x="320" y="280"/>
                      <a:pt x="320" y="281"/>
                      <a:pt x="320" y="281"/>
                    </a:cubicBezTo>
                    <a:cubicBezTo>
                      <a:pt x="320" y="281"/>
                      <a:pt x="320" y="280"/>
                      <a:pt x="320" y="280"/>
                    </a:cubicBezTo>
                    <a:lnTo>
                      <a:pt x="315" y="283"/>
                    </a:lnTo>
                    <a:close/>
                    <a:moveTo>
                      <a:pt x="385" y="281"/>
                    </a:moveTo>
                    <a:cubicBezTo>
                      <a:pt x="379" y="280"/>
                      <a:pt x="379" y="280"/>
                      <a:pt x="379" y="280"/>
                    </a:cubicBezTo>
                    <a:cubicBezTo>
                      <a:pt x="380" y="278"/>
                      <a:pt x="380" y="276"/>
                      <a:pt x="380" y="274"/>
                    </a:cubicBezTo>
                    <a:cubicBezTo>
                      <a:pt x="386" y="275"/>
                      <a:pt x="386" y="275"/>
                      <a:pt x="386" y="275"/>
                    </a:cubicBezTo>
                    <a:cubicBezTo>
                      <a:pt x="386" y="277"/>
                      <a:pt x="385" y="279"/>
                      <a:pt x="385" y="281"/>
                    </a:cubicBezTo>
                    <a:close/>
                    <a:moveTo>
                      <a:pt x="275" y="274"/>
                    </a:moveTo>
                    <a:cubicBezTo>
                      <a:pt x="274" y="274"/>
                      <a:pt x="273" y="274"/>
                      <a:pt x="272" y="272"/>
                    </a:cubicBezTo>
                    <a:cubicBezTo>
                      <a:pt x="271" y="272"/>
                      <a:pt x="270" y="271"/>
                      <a:pt x="270" y="270"/>
                    </a:cubicBezTo>
                    <a:cubicBezTo>
                      <a:pt x="276" y="268"/>
                      <a:pt x="276" y="268"/>
                      <a:pt x="276" y="268"/>
                    </a:cubicBezTo>
                    <a:cubicBezTo>
                      <a:pt x="276" y="268"/>
                      <a:pt x="276" y="269"/>
                      <a:pt x="276" y="269"/>
                    </a:cubicBezTo>
                    <a:cubicBezTo>
                      <a:pt x="276" y="269"/>
                      <a:pt x="276" y="269"/>
                      <a:pt x="276" y="269"/>
                    </a:cubicBezTo>
                    <a:cubicBezTo>
                      <a:pt x="279" y="273"/>
                      <a:pt x="279" y="273"/>
                      <a:pt x="279" y="273"/>
                    </a:cubicBezTo>
                    <a:cubicBezTo>
                      <a:pt x="278" y="274"/>
                      <a:pt x="277" y="274"/>
                      <a:pt x="275" y="274"/>
                    </a:cubicBezTo>
                    <a:close/>
                    <a:moveTo>
                      <a:pt x="303" y="268"/>
                    </a:moveTo>
                    <a:cubicBezTo>
                      <a:pt x="302" y="268"/>
                      <a:pt x="300" y="267"/>
                      <a:pt x="298" y="265"/>
                    </a:cubicBezTo>
                    <a:cubicBezTo>
                      <a:pt x="301" y="260"/>
                      <a:pt x="301" y="260"/>
                      <a:pt x="301" y="260"/>
                    </a:cubicBezTo>
                    <a:cubicBezTo>
                      <a:pt x="303" y="261"/>
                      <a:pt x="304" y="262"/>
                      <a:pt x="306" y="263"/>
                    </a:cubicBezTo>
                    <a:lnTo>
                      <a:pt x="303" y="268"/>
                    </a:lnTo>
                    <a:close/>
                    <a:moveTo>
                      <a:pt x="318" y="267"/>
                    </a:moveTo>
                    <a:cubicBezTo>
                      <a:pt x="318" y="267"/>
                      <a:pt x="317" y="267"/>
                      <a:pt x="317" y="267"/>
                    </a:cubicBezTo>
                    <a:cubicBezTo>
                      <a:pt x="317" y="267"/>
                      <a:pt x="317" y="267"/>
                      <a:pt x="317" y="267"/>
                    </a:cubicBezTo>
                    <a:cubicBezTo>
                      <a:pt x="314" y="262"/>
                      <a:pt x="314" y="262"/>
                      <a:pt x="314" y="262"/>
                    </a:cubicBezTo>
                    <a:cubicBezTo>
                      <a:pt x="315" y="261"/>
                      <a:pt x="316" y="261"/>
                      <a:pt x="318" y="261"/>
                    </a:cubicBezTo>
                    <a:cubicBezTo>
                      <a:pt x="320" y="261"/>
                      <a:pt x="322" y="262"/>
                      <a:pt x="323" y="264"/>
                    </a:cubicBezTo>
                    <a:lnTo>
                      <a:pt x="318" y="267"/>
                    </a:lnTo>
                    <a:close/>
                    <a:moveTo>
                      <a:pt x="391" y="267"/>
                    </a:moveTo>
                    <a:cubicBezTo>
                      <a:pt x="388" y="263"/>
                      <a:pt x="388" y="263"/>
                      <a:pt x="388" y="263"/>
                    </a:cubicBezTo>
                    <a:cubicBezTo>
                      <a:pt x="389" y="261"/>
                      <a:pt x="391" y="260"/>
                      <a:pt x="393" y="259"/>
                    </a:cubicBezTo>
                    <a:cubicBezTo>
                      <a:pt x="396" y="264"/>
                      <a:pt x="396" y="264"/>
                      <a:pt x="396" y="264"/>
                    </a:cubicBezTo>
                    <a:cubicBezTo>
                      <a:pt x="394" y="265"/>
                      <a:pt x="393" y="266"/>
                      <a:pt x="391" y="267"/>
                    </a:cubicBezTo>
                    <a:close/>
                    <a:moveTo>
                      <a:pt x="287" y="264"/>
                    </a:moveTo>
                    <a:cubicBezTo>
                      <a:pt x="283" y="260"/>
                      <a:pt x="283" y="260"/>
                      <a:pt x="283" y="260"/>
                    </a:cubicBezTo>
                    <a:cubicBezTo>
                      <a:pt x="284" y="258"/>
                      <a:pt x="286" y="256"/>
                      <a:pt x="288" y="255"/>
                    </a:cubicBezTo>
                    <a:cubicBezTo>
                      <a:pt x="290" y="261"/>
                      <a:pt x="290" y="261"/>
                      <a:pt x="290" y="261"/>
                    </a:cubicBezTo>
                    <a:cubicBezTo>
                      <a:pt x="289" y="261"/>
                      <a:pt x="288" y="263"/>
                      <a:pt x="287" y="264"/>
                    </a:cubicBezTo>
                    <a:close/>
                    <a:moveTo>
                      <a:pt x="272" y="260"/>
                    </a:moveTo>
                    <a:cubicBezTo>
                      <a:pt x="269" y="260"/>
                      <a:pt x="269" y="260"/>
                      <a:pt x="269" y="260"/>
                    </a:cubicBezTo>
                    <a:cubicBezTo>
                      <a:pt x="267" y="259"/>
                      <a:pt x="267" y="259"/>
                      <a:pt x="267" y="259"/>
                    </a:cubicBezTo>
                    <a:cubicBezTo>
                      <a:pt x="268" y="256"/>
                      <a:pt x="270" y="254"/>
                      <a:pt x="272" y="254"/>
                    </a:cubicBezTo>
                    <a:cubicBezTo>
                      <a:pt x="273" y="254"/>
                      <a:pt x="275" y="255"/>
                      <a:pt x="276" y="256"/>
                    </a:cubicBezTo>
                    <a:cubicBezTo>
                      <a:pt x="272" y="260"/>
                      <a:pt x="272" y="260"/>
                      <a:pt x="272" y="260"/>
                    </a:cubicBezTo>
                    <a:cubicBezTo>
                      <a:pt x="272" y="260"/>
                      <a:pt x="273" y="260"/>
                      <a:pt x="273" y="260"/>
                    </a:cubicBezTo>
                    <a:cubicBezTo>
                      <a:pt x="273" y="260"/>
                      <a:pt x="272" y="260"/>
                      <a:pt x="272" y="260"/>
                    </a:cubicBezTo>
                    <a:close/>
                    <a:moveTo>
                      <a:pt x="406" y="260"/>
                    </a:moveTo>
                    <a:cubicBezTo>
                      <a:pt x="405" y="255"/>
                      <a:pt x="405" y="255"/>
                      <a:pt x="405" y="255"/>
                    </a:cubicBezTo>
                    <a:cubicBezTo>
                      <a:pt x="406" y="254"/>
                      <a:pt x="408" y="254"/>
                      <a:pt x="410" y="254"/>
                    </a:cubicBezTo>
                    <a:cubicBezTo>
                      <a:pt x="410" y="254"/>
                      <a:pt x="410" y="254"/>
                      <a:pt x="410" y="254"/>
                    </a:cubicBezTo>
                    <a:cubicBezTo>
                      <a:pt x="412" y="259"/>
                      <a:pt x="412" y="259"/>
                      <a:pt x="412" y="259"/>
                    </a:cubicBezTo>
                    <a:cubicBezTo>
                      <a:pt x="411" y="259"/>
                      <a:pt x="411" y="259"/>
                      <a:pt x="411" y="259"/>
                    </a:cubicBezTo>
                    <a:cubicBezTo>
                      <a:pt x="409" y="260"/>
                      <a:pt x="408" y="260"/>
                      <a:pt x="406" y="260"/>
                    </a:cubicBezTo>
                    <a:close/>
                    <a:moveTo>
                      <a:pt x="261" y="253"/>
                    </a:moveTo>
                    <a:cubicBezTo>
                      <a:pt x="261" y="251"/>
                      <a:pt x="261" y="251"/>
                      <a:pt x="261" y="251"/>
                    </a:cubicBezTo>
                    <a:cubicBezTo>
                      <a:pt x="261" y="250"/>
                      <a:pt x="260" y="249"/>
                      <a:pt x="260" y="249"/>
                    </a:cubicBezTo>
                    <a:cubicBezTo>
                      <a:pt x="264" y="244"/>
                      <a:pt x="264" y="244"/>
                      <a:pt x="264" y="244"/>
                    </a:cubicBezTo>
                    <a:cubicBezTo>
                      <a:pt x="265" y="246"/>
                      <a:pt x="266" y="248"/>
                      <a:pt x="267" y="250"/>
                    </a:cubicBezTo>
                    <a:cubicBezTo>
                      <a:pt x="267" y="251"/>
                      <a:pt x="267" y="251"/>
                      <a:pt x="267" y="251"/>
                    </a:cubicBezTo>
                    <a:lnTo>
                      <a:pt x="261" y="253"/>
                    </a:lnTo>
                    <a:close/>
                    <a:moveTo>
                      <a:pt x="415" y="251"/>
                    </a:moveTo>
                    <a:cubicBezTo>
                      <a:pt x="415" y="250"/>
                      <a:pt x="415" y="250"/>
                      <a:pt x="415" y="250"/>
                    </a:cubicBezTo>
                    <a:cubicBezTo>
                      <a:pt x="415" y="250"/>
                      <a:pt x="414" y="249"/>
                      <a:pt x="414" y="247"/>
                    </a:cubicBezTo>
                    <a:cubicBezTo>
                      <a:pt x="414" y="246"/>
                      <a:pt x="414" y="245"/>
                      <a:pt x="414" y="244"/>
                    </a:cubicBezTo>
                    <a:cubicBezTo>
                      <a:pt x="420" y="245"/>
                      <a:pt x="420" y="245"/>
                      <a:pt x="420" y="245"/>
                    </a:cubicBezTo>
                    <a:cubicBezTo>
                      <a:pt x="419" y="246"/>
                      <a:pt x="419" y="246"/>
                      <a:pt x="419" y="246"/>
                    </a:cubicBezTo>
                    <a:cubicBezTo>
                      <a:pt x="420" y="247"/>
                      <a:pt x="421" y="248"/>
                      <a:pt x="421" y="249"/>
                    </a:cubicBezTo>
                    <a:lnTo>
                      <a:pt x="415" y="251"/>
                    </a:lnTo>
                    <a:close/>
                    <a:moveTo>
                      <a:pt x="253" y="237"/>
                    </a:moveTo>
                    <a:cubicBezTo>
                      <a:pt x="253" y="237"/>
                      <a:pt x="253" y="236"/>
                      <a:pt x="253" y="236"/>
                    </a:cubicBezTo>
                    <a:cubicBezTo>
                      <a:pt x="253" y="234"/>
                      <a:pt x="254" y="232"/>
                      <a:pt x="256" y="232"/>
                    </a:cubicBezTo>
                    <a:cubicBezTo>
                      <a:pt x="261" y="232"/>
                      <a:pt x="261" y="232"/>
                      <a:pt x="261" y="232"/>
                    </a:cubicBezTo>
                    <a:cubicBezTo>
                      <a:pt x="261" y="234"/>
                      <a:pt x="260" y="236"/>
                      <a:pt x="258" y="237"/>
                    </a:cubicBezTo>
                    <a:cubicBezTo>
                      <a:pt x="259" y="237"/>
                      <a:pt x="259" y="236"/>
                      <a:pt x="259" y="236"/>
                    </a:cubicBezTo>
                    <a:lnTo>
                      <a:pt x="253" y="237"/>
                    </a:lnTo>
                    <a:close/>
                    <a:moveTo>
                      <a:pt x="415" y="233"/>
                    </a:moveTo>
                    <a:cubicBezTo>
                      <a:pt x="415" y="232"/>
                      <a:pt x="415" y="230"/>
                      <a:pt x="415" y="228"/>
                    </a:cubicBezTo>
                    <a:cubicBezTo>
                      <a:pt x="421" y="227"/>
                      <a:pt x="421" y="227"/>
                      <a:pt x="421" y="227"/>
                    </a:cubicBezTo>
                    <a:cubicBezTo>
                      <a:pt x="421" y="229"/>
                      <a:pt x="421" y="231"/>
                      <a:pt x="421" y="233"/>
                    </a:cubicBezTo>
                    <a:lnTo>
                      <a:pt x="415" y="233"/>
                    </a:lnTo>
                    <a:close/>
                    <a:moveTo>
                      <a:pt x="259" y="223"/>
                    </a:moveTo>
                    <a:cubicBezTo>
                      <a:pt x="254" y="220"/>
                      <a:pt x="254" y="220"/>
                      <a:pt x="254" y="220"/>
                    </a:cubicBezTo>
                    <a:cubicBezTo>
                      <a:pt x="255" y="219"/>
                      <a:pt x="256" y="217"/>
                      <a:pt x="256" y="216"/>
                    </a:cubicBezTo>
                    <a:cubicBezTo>
                      <a:pt x="262" y="217"/>
                      <a:pt x="262" y="217"/>
                      <a:pt x="262" y="217"/>
                    </a:cubicBezTo>
                    <a:cubicBezTo>
                      <a:pt x="261" y="219"/>
                      <a:pt x="260" y="221"/>
                      <a:pt x="259" y="223"/>
                    </a:cubicBezTo>
                    <a:close/>
                    <a:moveTo>
                      <a:pt x="154" y="222"/>
                    </a:moveTo>
                    <a:cubicBezTo>
                      <a:pt x="152" y="222"/>
                      <a:pt x="150" y="222"/>
                      <a:pt x="147" y="221"/>
                    </a:cubicBezTo>
                    <a:cubicBezTo>
                      <a:pt x="149" y="216"/>
                      <a:pt x="149" y="216"/>
                      <a:pt x="149" y="216"/>
                    </a:cubicBezTo>
                    <a:cubicBezTo>
                      <a:pt x="151" y="216"/>
                      <a:pt x="152" y="217"/>
                      <a:pt x="154" y="217"/>
                    </a:cubicBezTo>
                    <a:cubicBezTo>
                      <a:pt x="154" y="222"/>
                      <a:pt x="154" y="222"/>
                      <a:pt x="154" y="222"/>
                    </a:cubicBezTo>
                    <a:close/>
                    <a:moveTo>
                      <a:pt x="236" y="221"/>
                    </a:moveTo>
                    <a:cubicBezTo>
                      <a:pt x="234" y="221"/>
                      <a:pt x="232" y="221"/>
                      <a:pt x="230" y="220"/>
                    </a:cubicBezTo>
                    <a:cubicBezTo>
                      <a:pt x="232" y="215"/>
                      <a:pt x="232" y="215"/>
                      <a:pt x="232" y="215"/>
                    </a:cubicBezTo>
                    <a:cubicBezTo>
                      <a:pt x="234" y="215"/>
                      <a:pt x="235" y="216"/>
                      <a:pt x="237" y="216"/>
                    </a:cubicBezTo>
                    <a:lnTo>
                      <a:pt x="236" y="221"/>
                    </a:lnTo>
                    <a:close/>
                    <a:moveTo>
                      <a:pt x="183" y="221"/>
                    </a:moveTo>
                    <a:cubicBezTo>
                      <a:pt x="183" y="221"/>
                      <a:pt x="183" y="221"/>
                      <a:pt x="183" y="221"/>
                    </a:cubicBezTo>
                    <a:cubicBezTo>
                      <a:pt x="183" y="215"/>
                      <a:pt x="183" y="215"/>
                      <a:pt x="183" y="215"/>
                    </a:cubicBezTo>
                    <a:cubicBezTo>
                      <a:pt x="183" y="215"/>
                      <a:pt x="183" y="215"/>
                      <a:pt x="183" y="215"/>
                    </a:cubicBezTo>
                    <a:cubicBezTo>
                      <a:pt x="185" y="215"/>
                      <a:pt x="186" y="214"/>
                      <a:pt x="187" y="214"/>
                    </a:cubicBezTo>
                    <a:cubicBezTo>
                      <a:pt x="190" y="219"/>
                      <a:pt x="190" y="219"/>
                      <a:pt x="190" y="219"/>
                    </a:cubicBezTo>
                    <a:cubicBezTo>
                      <a:pt x="188" y="220"/>
                      <a:pt x="186" y="221"/>
                      <a:pt x="183" y="221"/>
                    </a:cubicBezTo>
                    <a:close/>
                    <a:moveTo>
                      <a:pt x="166" y="220"/>
                    </a:moveTo>
                    <a:cubicBezTo>
                      <a:pt x="165" y="214"/>
                      <a:pt x="165" y="214"/>
                      <a:pt x="165" y="214"/>
                    </a:cubicBezTo>
                    <a:cubicBezTo>
                      <a:pt x="167" y="214"/>
                      <a:pt x="169" y="213"/>
                      <a:pt x="171" y="213"/>
                    </a:cubicBezTo>
                    <a:cubicBezTo>
                      <a:pt x="171" y="213"/>
                      <a:pt x="171" y="213"/>
                      <a:pt x="171" y="213"/>
                    </a:cubicBezTo>
                    <a:cubicBezTo>
                      <a:pt x="171" y="219"/>
                      <a:pt x="171" y="219"/>
                      <a:pt x="171" y="219"/>
                    </a:cubicBezTo>
                    <a:cubicBezTo>
                      <a:pt x="171" y="219"/>
                      <a:pt x="171" y="219"/>
                      <a:pt x="171" y="219"/>
                    </a:cubicBezTo>
                    <a:cubicBezTo>
                      <a:pt x="169" y="219"/>
                      <a:pt x="167" y="219"/>
                      <a:pt x="166" y="220"/>
                    </a:cubicBezTo>
                    <a:close/>
                    <a:moveTo>
                      <a:pt x="249" y="217"/>
                    </a:moveTo>
                    <a:cubicBezTo>
                      <a:pt x="245" y="213"/>
                      <a:pt x="245" y="213"/>
                      <a:pt x="245" y="213"/>
                    </a:cubicBezTo>
                    <a:cubicBezTo>
                      <a:pt x="247" y="210"/>
                      <a:pt x="249" y="209"/>
                      <a:pt x="250" y="208"/>
                    </a:cubicBezTo>
                    <a:cubicBezTo>
                      <a:pt x="253" y="213"/>
                      <a:pt x="253" y="213"/>
                      <a:pt x="253" y="213"/>
                    </a:cubicBezTo>
                    <a:cubicBezTo>
                      <a:pt x="252" y="214"/>
                      <a:pt x="251" y="215"/>
                      <a:pt x="249" y="217"/>
                    </a:cubicBezTo>
                    <a:close/>
                    <a:moveTo>
                      <a:pt x="136" y="216"/>
                    </a:moveTo>
                    <a:cubicBezTo>
                      <a:pt x="135" y="216"/>
                      <a:pt x="135" y="216"/>
                      <a:pt x="135" y="216"/>
                    </a:cubicBezTo>
                    <a:cubicBezTo>
                      <a:pt x="134" y="215"/>
                      <a:pt x="133" y="214"/>
                      <a:pt x="132" y="214"/>
                    </a:cubicBezTo>
                    <a:cubicBezTo>
                      <a:pt x="133" y="208"/>
                      <a:pt x="133" y="208"/>
                      <a:pt x="133" y="208"/>
                    </a:cubicBezTo>
                    <a:cubicBezTo>
                      <a:pt x="135" y="209"/>
                      <a:pt x="137" y="210"/>
                      <a:pt x="138" y="211"/>
                    </a:cubicBezTo>
                    <a:cubicBezTo>
                      <a:pt x="139" y="211"/>
                      <a:pt x="139" y="211"/>
                      <a:pt x="139" y="211"/>
                    </a:cubicBezTo>
                    <a:lnTo>
                      <a:pt x="136" y="216"/>
                    </a:lnTo>
                    <a:close/>
                    <a:moveTo>
                      <a:pt x="413" y="216"/>
                    </a:moveTo>
                    <a:cubicBezTo>
                      <a:pt x="413" y="214"/>
                      <a:pt x="413" y="212"/>
                      <a:pt x="413" y="210"/>
                    </a:cubicBezTo>
                    <a:cubicBezTo>
                      <a:pt x="418" y="210"/>
                      <a:pt x="418" y="210"/>
                      <a:pt x="418" y="210"/>
                    </a:cubicBezTo>
                    <a:cubicBezTo>
                      <a:pt x="419" y="212"/>
                      <a:pt x="419" y="214"/>
                      <a:pt x="419" y="215"/>
                    </a:cubicBezTo>
                    <a:lnTo>
                      <a:pt x="413" y="216"/>
                    </a:lnTo>
                    <a:close/>
                    <a:moveTo>
                      <a:pt x="204" y="215"/>
                    </a:moveTo>
                    <a:cubicBezTo>
                      <a:pt x="203" y="215"/>
                      <a:pt x="203" y="215"/>
                      <a:pt x="203" y="215"/>
                    </a:cubicBezTo>
                    <a:cubicBezTo>
                      <a:pt x="201" y="214"/>
                      <a:pt x="200" y="214"/>
                      <a:pt x="199" y="214"/>
                    </a:cubicBezTo>
                    <a:cubicBezTo>
                      <a:pt x="198" y="208"/>
                      <a:pt x="198" y="208"/>
                      <a:pt x="198" y="208"/>
                    </a:cubicBezTo>
                    <a:cubicBezTo>
                      <a:pt x="200" y="208"/>
                      <a:pt x="202" y="208"/>
                      <a:pt x="204" y="209"/>
                    </a:cubicBezTo>
                    <a:cubicBezTo>
                      <a:pt x="205" y="209"/>
                      <a:pt x="205" y="209"/>
                      <a:pt x="205" y="209"/>
                    </a:cubicBezTo>
                    <a:lnTo>
                      <a:pt x="204" y="215"/>
                    </a:lnTo>
                    <a:close/>
                    <a:moveTo>
                      <a:pt x="219" y="214"/>
                    </a:moveTo>
                    <a:cubicBezTo>
                      <a:pt x="217" y="213"/>
                      <a:pt x="217" y="212"/>
                      <a:pt x="216" y="212"/>
                    </a:cubicBezTo>
                    <a:cubicBezTo>
                      <a:pt x="215" y="207"/>
                      <a:pt x="215" y="207"/>
                      <a:pt x="215" y="207"/>
                    </a:cubicBezTo>
                    <a:cubicBezTo>
                      <a:pt x="215" y="207"/>
                      <a:pt x="216" y="207"/>
                      <a:pt x="216" y="207"/>
                    </a:cubicBezTo>
                    <a:cubicBezTo>
                      <a:pt x="219" y="207"/>
                      <a:pt x="220" y="208"/>
                      <a:pt x="222" y="209"/>
                    </a:cubicBezTo>
                    <a:lnTo>
                      <a:pt x="219" y="214"/>
                    </a:lnTo>
                    <a:close/>
                    <a:moveTo>
                      <a:pt x="120" y="210"/>
                    </a:moveTo>
                    <a:cubicBezTo>
                      <a:pt x="119" y="209"/>
                      <a:pt x="118" y="209"/>
                      <a:pt x="116" y="208"/>
                    </a:cubicBezTo>
                    <a:cubicBezTo>
                      <a:pt x="116" y="203"/>
                      <a:pt x="116" y="203"/>
                      <a:pt x="116" y="203"/>
                    </a:cubicBezTo>
                    <a:cubicBezTo>
                      <a:pt x="117" y="203"/>
                      <a:pt x="117" y="203"/>
                      <a:pt x="117" y="203"/>
                    </a:cubicBezTo>
                    <a:cubicBezTo>
                      <a:pt x="119" y="203"/>
                      <a:pt x="121" y="204"/>
                      <a:pt x="123" y="204"/>
                    </a:cubicBezTo>
                    <a:lnTo>
                      <a:pt x="120" y="210"/>
                    </a:lnTo>
                    <a:close/>
                    <a:moveTo>
                      <a:pt x="395" y="202"/>
                    </a:moveTo>
                    <a:cubicBezTo>
                      <a:pt x="393" y="197"/>
                      <a:pt x="393" y="197"/>
                      <a:pt x="393" y="197"/>
                    </a:cubicBezTo>
                    <a:cubicBezTo>
                      <a:pt x="394" y="196"/>
                      <a:pt x="394" y="196"/>
                      <a:pt x="394" y="195"/>
                    </a:cubicBezTo>
                    <a:cubicBezTo>
                      <a:pt x="394" y="195"/>
                      <a:pt x="394" y="195"/>
                      <a:pt x="394" y="195"/>
                    </a:cubicBezTo>
                    <a:cubicBezTo>
                      <a:pt x="394" y="194"/>
                      <a:pt x="394" y="194"/>
                      <a:pt x="395" y="193"/>
                    </a:cubicBezTo>
                    <a:cubicBezTo>
                      <a:pt x="400" y="196"/>
                      <a:pt x="400" y="196"/>
                      <a:pt x="400" y="196"/>
                    </a:cubicBezTo>
                    <a:cubicBezTo>
                      <a:pt x="400" y="196"/>
                      <a:pt x="400" y="196"/>
                      <a:pt x="400" y="196"/>
                    </a:cubicBezTo>
                    <a:cubicBezTo>
                      <a:pt x="399" y="198"/>
                      <a:pt x="399" y="201"/>
                      <a:pt x="395" y="202"/>
                    </a:cubicBezTo>
                    <a:close/>
                    <a:moveTo>
                      <a:pt x="412" y="198"/>
                    </a:moveTo>
                    <a:cubicBezTo>
                      <a:pt x="412" y="193"/>
                      <a:pt x="412" y="193"/>
                      <a:pt x="412" y="193"/>
                    </a:cubicBezTo>
                    <a:cubicBezTo>
                      <a:pt x="417" y="192"/>
                      <a:pt x="417" y="192"/>
                      <a:pt x="417" y="192"/>
                    </a:cubicBezTo>
                    <a:cubicBezTo>
                      <a:pt x="418" y="198"/>
                      <a:pt x="418" y="198"/>
                      <a:pt x="418" y="198"/>
                    </a:cubicBezTo>
                    <a:lnTo>
                      <a:pt x="412" y="198"/>
                    </a:lnTo>
                    <a:close/>
                    <a:moveTo>
                      <a:pt x="106" y="198"/>
                    </a:moveTo>
                    <a:cubicBezTo>
                      <a:pt x="106" y="198"/>
                      <a:pt x="106" y="198"/>
                      <a:pt x="106" y="198"/>
                    </a:cubicBezTo>
                    <a:cubicBezTo>
                      <a:pt x="106" y="198"/>
                      <a:pt x="105" y="198"/>
                      <a:pt x="104" y="197"/>
                    </a:cubicBezTo>
                    <a:cubicBezTo>
                      <a:pt x="105" y="191"/>
                      <a:pt x="105" y="191"/>
                      <a:pt x="105" y="191"/>
                    </a:cubicBezTo>
                    <a:cubicBezTo>
                      <a:pt x="108" y="192"/>
                      <a:pt x="110" y="193"/>
                      <a:pt x="111" y="196"/>
                    </a:cubicBezTo>
                    <a:cubicBezTo>
                      <a:pt x="111" y="196"/>
                      <a:pt x="112" y="196"/>
                      <a:pt x="112" y="197"/>
                    </a:cubicBezTo>
                    <a:lnTo>
                      <a:pt x="106" y="198"/>
                    </a:lnTo>
                    <a:close/>
                    <a:moveTo>
                      <a:pt x="381" y="198"/>
                    </a:moveTo>
                    <a:cubicBezTo>
                      <a:pt x="381" y="198"/>
                      <a:pt x="381" y="197"/>
                      <a:pt x="381" y="197"/>
                    </a:cubicBezTo>
                    <a:cubicBezTo>
                      <a:pt x="381" y="196"/>
                      <a:pt x="380" y="194"/>
                      <a:pt x="379" y="193"/>
                    </a:cubicBezTo>
                    <a:cubicBezTo>
                      <a:pt x="384" y="190"/>
                      <a:pt x="384" y="190"/>
                      <a:pt x="384" y="190"/>
                    </a:cubicBezTo>
                    <a:cubicBezTo>
                      <a:pt x="385" y="191"/>
                      <a:pt x="386" y="193"/>
                      <a:pt x="387" y="195"/>
                    </a:cubicBezTo>
                    <a:cubicBezTo>
                      <a:pt x="387" y="196"/>
                      <a:pt x="387" y="196"/>
                      <a:pt x="387" y="196"/>
                    </a:cubicBezTo>
                    <a:lnTo>
                      <a:pt x="381" y="198"/>
                    </a:lnTo>
                    <a:close/>
                    <a:moveTo>
                      <a:pt x="92" y="194"/>
                    </a:moveTo>
                    <a:cubicBezTo>
                      <a:pt x="90" y="193"/>
                      <a:pt x="88" y="192"/>
                      <a:pt x="86" y="189"/>
                    </a:cubicBezTo>
                    <a:cubicBezTo>
                      <a:pt x="91" y="186"/>
                      <a:pt x="91" y="186"/>
                      <a:pt x="91" y="186"/>
                    </a:cubicBezTo>
                    <a:cubicBezTo>
                      <a:pt x="92" y="187"/>
                      <a:pt x="93" y="188"/>
                      <a:pt x="94" y="189"/>
                    </a:cubicBezTo>
                    <a:cubicBezTo>
                      <a:pt x="93" y="191"/>
                      <a:pt x="93" y="191"/>
                      <a:pt x="93" y="191"/>
                    </a:cubicBezTo>
                    <a:lnTo>
                      <a:pt x="92" y="194"/>
                    </a:lnTo>
                    <a:close/>
                    <a:moveTo>
                      <a:pt x="409" y="194"/>
                    </a:moveTo>
                    <a:cubicBezTo>
                      <a:pt x="405" y="190"/>
                      <a:pt x="405" y="190"/>
                      <a:pt x="405" y="190"/>
                    </a:cubicBezTo>
                    <a:cubicBezTo>
                      <a:pt x="406" y="189"/>
                      <a:pt x="407" y="188"/>
                      <a:pt x="408" y="186"/>
                    </a:cubicBezTo>
                    <a:cubicBezTo>
                      <a:pt x="408" y="186"/>
                      <a:pt x="408" y="186"/>
                      <a:pt x="408" y="186"/>
                    </a:cubicBezTo>
                    <a:cubicBezTo>
                      <a:pt x="413" y="189"/>
                      <a:pt x="413" y="189"/>
                      <a:pt x="413" y="189"/>
                    </a:cubicBezTo>
                    <a:cubicBezTo>
                      <a:pt x="413" y="190"/>
                      <a:pt x="413" y="190"/>
                      <a:pt x="413" y="190"/>
                    </a:cubicBezTo>
                    <a:cubicBezTo>
                      <a:pt x="412" y="191"/>
                      <a:pt x="411" y="193"/>
                      <a:pt x="409" y="194"/>
                    </a:cubicBezTo>
                    <a:close/>
                    <a:moveTo>
                      <a:pt x="370" y="192"/>
                    </a:moveTo>
                    <a:cubicBezTo>
                      <a:pt x="368" y="192"/>
                      <a:pt x="367" y="191"/>
                      <a:pt x="366" y="191"/>
                    </a:cubicBezTo>
                    <a:cubicBezTo>
                      <a:pt x="366" y="190"/>
                      <a:pt x="366" y="190"/>
                      <a:pt x="365" y="190"/>
                    </a:cubicBezTo>
                    <a:cubicBezTo>
                      <a:pt x="367" y="184"/>
                      <a:pt x="367" y="184"/>
                      <a:pt x="367" y="184"/>
                    </a:cubicBezTo>
                    <a:cubicBezTo>
                      <a:pt x="368" y="185"/>
                      <a:pt x="369" y="185"/>
                      <a:pt x="370" y="186"/>
                    </a:cubicBezTo>
                    <a:cubicBezTo>
                      <a:pt x="370" y="186"/>
                      <a:pt x="370" y="186"/>
                      <a:pt x="370" y="186"/>
                    </a:cubicBezTo>
                    <a:cubicBezTo>
                      <a:pt x="371" y="186"/>
                      <a:pt x="371" y="186"/>
                      <a:pt x="371" y="186"/>
                    </a:cubicBezTo>
                    <a:cubicBezTo>
                      <a:pt x="371" y="186"/>
                      <a:pt x="371" y="186"/>
                      <a:pt x="371" y="186"/>
                    </a:cubicBezTo>
                    <a:cubicBezTo>
                      <a:pt x="371" y="186"/>
                      <a:pt x="371" y="186"/>
                      <a:pt x="371" y="186"/>
                    </a:cubicBezTo>
                    <a:cubicBezTo>
                      <a:pt x="371" y="192"/>
                      <a:pt x="371" y="192"/>
                      <a:pt x="371" y="192"/>
                    </a:cubicBezTo>
                    <a:cubicBezTo>
                      <a:pt x="371" y="192"/>
                      <a:pt x="370" y="192"/>
                      <a:pt x="370" y="192"/>
                    </a:cubicBezTo>
                    <a:close/>
                    <a:moveTo>
                      <a:pt x="355" y="182"/>
                    </a:moveTo>
                    <a:cubicBezTo>
                      <a:pt x="354" y="181"/>
                      <a:pt x="354" y="180"/>
                      <a:pt x="354" y="178"/>
                    </a:cubicBezTo>
                    <a:cubicBezTo>
                      <a:pt x="354" y="177"/>
                      <a:pt x="354" y="176"/>
                      <a:pt x="354" y="175"/>
                    </a:cubicBezTo>
                    <a:cubicBezTo>
                      <a:pt x="360" y="175"/>
                      <a:pt x="360" y="175"/>
                      <a:pt x="360" y="175"/>
                    </a:cubicBezTo>
                    <a:cubicBezTo>
                      <a:pt x="360" y="176"/>
                      <a:pt x="360" y="177"/>
                      <a:pt x="360" y="178"/>
                    </a:cubicBezTo>
                    <a:cubicBezTo>
                      <a:pt x="360" y="179"/>
                      <a:pt x="360" y="180"/>
                      <a:pt x="360" y="180"/>
                    </a:cubicBezTo>
                    <a:lnTo>
                      <a:pt x="355" y="182"/>
                    </a:lnTo>
                    <a:close/>
                    <a:moveTo>
                      <a:pt x="82" y="179"/>
                    </a:moveTo>
                    <a:cubicBezTo>
                      <a:pt x="81" y="178"/>
                      <a:pt x="79" y="178"/>
                      <a:pt x="77" y="177"/>
                    </a:cubicBezTo>
                    <a:cubicBezTo>
                      <a:pt x="80" y="172"/>
                      <a:pt x="80" y="172"/>
                      <a:pt x="80" y="172"/>
                    </a:cubicBezTo>
                    <a:cubicBezTo>
                      <a:pt x="82" y="173"/>
                      <a:pt x="84" y="174"/>
                      <a:pt x="86" y="175"/>
                    </a:cubicBezTo>
                    <a:lnTo>
                      <a:pt x="82" y="179"/>
                    </a:lnTo>
                    <a:close/>
                    <a:moveTo>
                      <a:pt x="67" y="168"/>
                    </a:moveTo>
                    <a:cubicBezTo>
                      <a:pt x="67" y="167"/>
                      <a:pt x="67" y="165"/>
                      <a:pt x="67" y="164"/>
                    </a:cubicBezTo>
                    <a:cubicBezTo>
                      <a:pt x="67" y="163"/>
                      <a:pt x="67" y="162"/>
                      <a:pt x="67" y="161"/>
                    </a:cubicBezTo>
                    <a:cubicBezTo>
                      <a:pt x="73" y="161"/>
                      <a:pt x="73" y="161"/>
                      <a:pt x="73" y="161"/>
                    </a:cubicBezTo>
                    <a:cubicBezTo>
                      <a:pt x="73" y="162"/>
                      <a:pt x="73" y="163"/>
                      <a:pt x="73" y="164"/>
                    </a:cubicBezTo>
                    <a:cubicBezTo>
                      <a:pt x="73" y="165"/>
                      <a:pt x="73" y="165"/>
                      <a:pt x="73" y="166"/>
                    </a:cubicBezTo>
                    <a:lnTo>
                      <a:pt x="67" y="168"/>
                    </a:lnTo>
                    <a:close/>
                    <a:moveTo>
                      <a:pt x="354" y="164"/>
                    </a:moveTo>
                    <a:cubicBezTo>
                      <a:pt x="354" y="162"/>
                      <a:pt x="353" y="162"/>
                      <a:pt x="353" y="162"/>
                    </a:cubicBezTo>
                    <a:cubicBezTo>
                      <a:pt x="355" y="156"/>
                      <a:pt x="355" y="156"/>
                      <a:pt x="355" y="156"/>
                    </a:cubicBezTo>
                    <a:cubicBezTo>
                      <a:pt x="357" y="157"/>
                      <a:pt x="359" y="159"/>
                      <a:pt x="360" y="163"/>
                    </a:cubicBezTo>
                    <a:lnTo>
                      <a:pt x="354" y="164"/>
                    </a:lnTo>
                    <a:close/>
                    <a:moveTo>
                      <a:pt x="342" y="162"/>
                    </a:moveTo>
                    <a:cubicBezTo>
                      <a:pt x="338" y="162"/>
                      <a:pt x="336" y="159"/>
                      <a:pt x="335" y="156"/>
                    </a:cubicBezTo>
                    <a:cubicBezTo>
                      <a:pt x="341" y="155"/>
                      <a:pt x="341" y="155"/>
                      <a:pt x="341" y="155"/>
                    </a:cubicBezTo>
                    <a:cubicBezTo>
                      <a:pt x="341" y="156"/>
                      <a:pt x="341" y="156"/>
                      <a:pt x="342" y="156"/>
                    </a:cubicBezTo>
                    <a:lnTo>
                      <a:pt x="342" y="162"/>
                    </a:lnTo>
                    <a:close/>
                    <a:moveTo>
                      <a:pt x="61" y="155"/>
                    </a:moveTo>
                    <a:cubicBezTo>
                      <a:pt x="60" y="155"/>
                      <a:pt x="60" y="154"/>
                      <a:pt x="59" y="153"/>
                    </a:cubicBezTo>
                    <a:cubicBezTo>
                      <a:pt x="59" y="152"/>
                      <a:pt x="59" y="152"/>
                      <a:pt x="58" y="151"/>
                    </a:cubicBezTo>
                    <a:cubicBezTo>
                      <a:pt x="57" y="150"/>
                      <a:pt x="57" y="150"/>
                      <a:pt x="57" y="150"/>
                    </a:cubicBezTo>
                    <a:cubicBezTo>
                      <a:pt x="62" y="146"/>
                      <a:pt x="62" y="146"/>
                      <a:pt x="62" y="146"/>
                    </a:cubicBezTo>
                    <a:cubicBezTo>
                      <a:pt x="62" y="147"/>
                      <a:pt x="62" y="147"/>
                      <a:pt x="62" y="147"/>
                    </a:cubicBezTo>
                    <a:cubicBezTo>
                      <a:pt x="63" y="148"/>
                      <a:pt x="64" y="149"/>
                      <a:pt x="65" y="151"/>
                    </a:cubicBezTo>
                    <a:lnTo>
                      <a:pt x="61" y="155"/>
                    </a:lnTo>
                    <a:close/>
                    <a:moveTo>
                      <a:pt x="354" y="145"/>
                    </a:moveTo>
                    <a:cubicBezTo>
                      <a:pt x="353" y="140"/>
                      <a:pt x="353" y="140"/>
                      <a:pt x="353" y="140"/>
                    </a:cubicBezTo>
                    <a:cubicBezTo>
                      <a:pt x="355" y="139"/>
                      <a:pt x="356" y="139"/>
                      <a:pt x="358" y="138"/>
                    </a:cubicBezTo>
                    <a:cubicBezTo>
                      <a:pt x="360" y="143"/>
                      <a:pt x="360" y="143"/>
                      <a:pt x="360" y="143"/>
                    </a:cubicBezTo>
                    <a:cubicBezTo>
                      <a:pt x="358" y="144"/>
                      <a:pt x="356" y="145"/>
                      <a:pt x="354" y="145"/>
                    </a:cubicBezTo>
                    <a:close/>
                    <a:moveTo>
                      <a:pt x="342" y="144"/>
                    </a:moveTo>
                    <a:cubicBezTo>
                      <a:pt x="336" y="143"/>
                      <a:pt x="336" y="143"/>
                      <a:pt x="336" y="143"/>
                    </a:cubicBezTo>
                    <a:cubicBezTo>
                      <a:pt x="336" y="138"/>
                      <a:pt x="339" y="138"/>
                      <a:pt x="341" y="138"/>
                    </a:cubicBezTo>
                    <a:cubicBezTo>
                      <a:pt x="341" y="138"/>
                      <a:pt x="341" y="138"/>
                      <a:pt x="341" y="138"/>
                    </a:cubicBezTo>
                    <a:cubicBezTo>
                      <a:pt x="341" y="138"/>
                      <a:pt x="342" y="138"/>
                      <a:pt x="343" y="138"/>
                    </a:cubicBezTo>
                    <a:cubicBezTo>
                      <a:pt x="342" y="141"/>
                      <a:pt x="342" y="141"/>
                      <a:pt x="342" y="141"/>
                    </a:cubicBezTo>
                    <a:cubicBezTo>
                      <a:pt x="341" y="143"/>
                      <a:pt x="341" y="143"/>
                      <a:pt x="341" y="143"/>
                    </a:cubicBezTo>
                    <a:cubicBezTo>
                      <a:pt x="342" y="143"/>
                      <a:pt x="342" y="143"/>
                      <a:pt x="342" y="143"/>
                    </a:cubicBezTo>
                    <a:cubicBezTo>
                      <a:pt x="342" y="143"/>
                      <a:pt x="342" y="143"/>
                      <a:pt x="342" y="144"/>
                    </a:cubicBezTo>
                    <a:close/>
                    <a:moveTo>
                      <a:pt x="51" y="139"/>
                    </a:moveTo>
                    <a:cubicBezTo>
                      <a:pt x="51" y="138"/>
                      <a:pt x="51" y="138"/>
                      <a:pt x="51" y="137"/>
                    </a:cubicBezTo>
                    <a:cubicBezTo>
                      <a:pt x="51" y="135"/>
                      <a:pt x="51" y="134"/>
                      <a:pt x="52" y="132"/>
                    </a:cubicBezTo>
                    <a:cubicBezTo>
                      <a:pt x="57" y="133"/>
                      <a:pt x="57" y="133"/>
                      <a:pt x="57" y="133"/>
                    </a:cubicBezTo>
                    <a:cubicBezTo>
                      <a:pt x="57" y="135"/>
                      <a:pt x="57" y="136"/>
                      <a:pt x="57" y="137"/>
                    </a:cubicBezTo>
                    <a:cubicBezTo>
                      <a:pt x="57" y="137"/>
                      <a:pt x="57" y="138"/>
                      <a:pt x="57" y="138"/>
                    </a:cubicBezTo>
                    <a:lnTo>
                      <a:pt x="51" y="139"/>
                    </a:lnTo>
                    <a:close/>
                    <a:moveTo>
                      <a:pt x="366" y="132"/>
                    </a:moveTo>
                    <a:cubicBezTo>
                      <a:pt x="363" y="131"/>
                      <a:pt x="363" y="131"/>
                      <a:pt x="363" y="131"/>
                    </a:cubicBezTo>
                    <a:cubicBezTo>
                      <a:pt x="363" y="129"/>
                      <a:pt x="363" y="126"/>
                      <a:pt x="365" y="124"/>
                    </a:cubicBezTo>
                    <a:cubicBezTo>
                      <a:pt x="367" y="126"/>
                      <a:pt x="367" y="126"/>
                      <a:pt x="367" y="126"/>
                    </a:cubicBezTo>
                    <a:cubicBezTo>
                      <a:pt x="369" y="129"/>
                      <a:pt x="369" y="129"/>
                      <a:pt x="369" y="129"/>
                    </a:cubicBezTo>
                    <a:cubicBezTo>
                      <a:pt x="369" y="129"/>
                      <a:pt x="369" y="130"/>
                      <a:pt x="368" y="132"/>
                    </a:cubicBezTo>
                    <a:lnTo>
                      <a:pt x="366" y="132"/>
                    </a:lnTo>
                    <a:close/>
                    <a:moveTo>
                      <a:pt x="53" y="121"/>
                    </a:moveTo>
                    <a:cubicBezTo>
                      <a:pt x="52" y="119"/>
                      <a:pt x="52" y="118"/>
                      <a:pt x="51" y="116"/>
                    </a:cubicBezTo>
                    <a:cubicBezTo>
                      <a:pt x="57" y="114"/>
                      <a:pt x="57" y="114"/>
                      <a:pt x="57" y="114"/>
                    </a:cubicBezTo>
                    <a:cubicBezTo>
                      <a:pt x="58" y="116"/>
                      <a:pt x="58" y="118"/>
                      <a:pt x="58" y="121"/>
                    </a:cubicBezTo>
                    <a:lnTo>
                      <a:pt x="53" y="121"/>
                    </a:lnTo>
                    <a:close/>
                    <a:moveTo>
                      <a:pt x="364" y="115"/>
                    </a:moveTo>
                    <a:cubicBezTo>
                      <a:pt x="364" y="114"/>
                      <a:pt x="364" y="114"/>
                      <a:pt x="364" y="114"/>
                    </a:cubicBezTo>
                    <a:cubicBezTo>
                      <a:pt x="364" y="112"/>
                      <a:pt x="364" y="111"/>
                      <a:pt x="365" y="109"/>
                    </a:cubicBezTo>
                    <a:cubicBezTo>
                      <a:pt x="370" y="110"/>
                      <a:pt x="370" y="110"/>
                      <a:pt x="370" y="110"/>
                    </a:cubicBezTo>
                    <a:cubicBezTo>
                      <a:pt x="370" y="111"/>
                      <a:pt x="370" y="112"/>
                      <a:pt x="370" y="114"/>
                    </a:cubicBezTo>
                    <a:cubicBezTo>
                      <a:pt x="370" y="115"/>
                      <a:pt x="370" y="115"/>
                      <a:pt x="370" y="115"/>
                    </a:cubicBezTo>
                    <a:lnTo>
                      <a:pt x="364" y="115"/>
                    </a:lnTo>
                    <a:close/>
                    <a:moveTo>
                      <a:pt x="44" y="110"/>
                    </a:moveTo>
                    <a:cubicBezTo>
                      <a:pt x="42" y="108"/>
                      <a:pt x="42" y="108"/>
                      <a:pt x="42" y="108"/>
                    </a:cubicBezTo>
                    <a:cubicBezTo>
                      <a:pt x="41" y="108"/>
                      <a:pt x="40" y="107"/>
                      <a:pt x="39" y="106"/>
                    </a:cubicBezTo>
                    <a:cubicBezTo>
                      <a:pt x="43" y="102"/>
                      <a:pt x="43" y="102"/>
                      <a:pt x="43" y="102"/>
                    </a:cubicBezTo>
                    <a:cubicBezTo>
                      <a:pt x="44" y="102"/>
                      <a:pt x="45" y="103"/>
                      <a:pt x="45" y="103"/>
                    </a:cubicBezTo>
                    <a:cubicBezTo>
                      <a:pt x="47" y="105"/>
                      <a:pt x="47" y="105"/>
                      <a:pt x="47" y="105"/>
                    </a:cubicBezTo>
                    <a:lnTo>
                      <a:pt x="44" y="110"/>
                    </a:lnTo>
                    <a:close/>
                    <a:moveTo>
                      <a:pt x="376" y="103"/>
                    </a:moveTo>
                    <a:cubicBezTo>
                      <a:pt x="373" y="98"/>
                      <a:pt x="373" y="98"/>
                      <a:pt x="373" y="98"/>
                    </a:cubicBezTo>
                    <a:cubicBezTo>
                      <a:pt x="375" y="97"/>
                      <a:pt x="377" y="96"/>
                      <a:pt x="379" y="96"/>
                    </a:cubicBezTo>
                    <a:cubicBezTo>
                      <a:pt x="380" y="101"/>
                      <a:pt x="380" y="101"/>
                      <a:pt x="380" y="101"/>
                    </a:cubicBezTo>
                    <a:cubicBezTo>
                      <a:pt x="379" y="102"/>
                      <a:pt x="377" y="102"/>
                      <a:pt x="376" y="103"/>
                    </a:cubicBezTo>
                    <a:close/>
                    <a:moveTo>
                      <a:pt x="34" y="94"/>
                    </a:moveTo>
                    <a:cubicBezTo>
                      <a:pt x="34" y="92"/>
                      <a:pt x="33" y="91"/>
                      <a:pt x="32" y="90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7" y="87"/>
                      <a:pt x="39" y="89"/>
                      <a:pt x="40" y="92"/>
                    </a:cubicBezTo>
                    <a:lnTo>
                      <a:pt x="34" y="94"/>
                    </a:lnTo>
                    <a:close/>
                    <a:moveTo>
                      <a:pt x="382" y="93"/>
                    </a:moveTo>
                    <a:cubicBezTo>
                      <a:pt x="382" y="93"/>
                      <a:pt x="382" y="93"/>
                      <a:pt x="382" y="93"/>
                    </a:cubicBezTo>
                    <a:cubicBezTo>
                      <a:pt x="382" y="93"/>
                      <a:pt x="382" y="93"/>
                      <a:pt x="382" y="93"/>
                    </a:cubicBezTo>
                    <a:cubicBezTo>
                      <a:pt x="382" y="92"/>
                      <a:pt x="382" y="90"/>
                      <a:pt x="382" y="89"/>
                    </a:cubicBezTo>
                    <a:cubicBezTo>
                      <a:pt x="381" y="87"/>
                      <a:pt x="381" y="87"/>
                      <a:pt x="381" y="87"/>
                    </a:cubicBezTo>
                    <a:cubicBezTo>
                      <a:pt x="387" y="86"/>
                      <a:pt x="387" y="86"/>
                      <a:pt x="387" y="86"/>
                    </a:cubicBezTo>
                    <a:cubicBezTo>
                      <a:pt x="387" y="88"/>
                      <a:pt x="387" y="88"/>
                      <a:pt x="387" y="88"/>
                    </a:cubicBezTo>
                    <a:cubicBezTo>
                      <a:pt x="388" y="89"/>
                      <a:pt x="388" y="91"/>
                      <a:pt x="388" y="92"/>
                    </a:cubicBezTo>
                    <a:cubicBezTo>
                      <a:pt x="388" y="92"/>
                      <a:pt x="388" y="92"/>
                      <a:pt x="388" y="92"/>
                    </a:cubicBezTo>
                    <a:cubicBezTo>
                      <a:pt x="388" y="93"/>
                      <a:pt x="388" y="93"/>
                      <a:pt x="388" y="93"/>
                    </a:cubicBezTo>
                    <a:cubicBezTo>
                      <a:pt x="385" y="92"/>
                      <a:pt x="385" y="92"/>
                      <a:pt x="385" y="92"/>
                    </a:cubicBezTo>
                    <a:lnTo>
                      <a:pt x="382" y="93"/>
                    </a:lnTo>
                    <a:close/>
                    <a:moveTo>
                      <a:pt x="428" y="85"/>
                    </a:moveTo>
                    <a:cubicBezTo>
                      <a:pt x="427" y="85"/>
                      <a:pt x="425" y="84"/>
                      <a:pt x="422" y="82"/>
                    </a:cubicBezTo>
                    <a:cubicBezTo>
                      <a:pt x="426" y="77"/>
                      <a:pt x="426" y="77"/>
                      <a:pt x="426" y="77"/>
                    </a:cubicBezTo>
                    <a:cubicBezTo>
                      <a:pt x="428" y="79"/>
                      <a:pt x="429" y="79"/>
                      <a:pt x="429" y="79"/>
                    </a:cubicBezTo>
                    <a:cubicBezTo>
                      <a:pt x="429" y="85"/>
                      <a:pt x="429" y="85"/>
                      <a:pt x="429" y="85"/>
                    </a:cubicBezTo>
                    <a:lnTo>
                      <a:pt x="428" y="85"/>
                    </a:lnTo>
                    <a:close/>
                    <a:moveTo>
                      <a:pt x="28" y="83"/>
                    </a:moveTo>
                    <a:cubicBezTo>
                      <a:pt x="22" y="82"/>
                      <a:pt x="22" y="82"/>
                      <a:pt x="22" y="82"/>
                    </a:cubicBezTo>
                    <a:cubicBezTo>
                      <a:pt x="22" y="81"/>
                      <a:pt x="22" y="80"/>
                      <a:pt x="23" y="79"/>
                    </a:cubicBezTo>
                    <a:cubicBezTo>
                      <a:pt x="23" y="79"/>
                      <a:pt x="23" y="78"/>
                      <a:pt x="23" y="77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9" y="79"/>
                      <a:pt x="29" y="81"/>
                      <a:pt x="28" y="82"/>
                    </a:cubicBezTo>
                    <a:cubicBezTo>
                      <a:pt x="28" y="82"/>
                      <a:pt x="28" y="82"/>
                      <a:pt x="28" y="83"/>
                    </a:cubicBezTo>
                    <a:close/>
                    <a:moveTo>
                      <a:pt x="441" y="80"/>
                    </a:moveTo>
                    <a:cubicBezTo>
                      <a:pt x="438" y="75"/>
                      <a:pt x="438" y="75"/>
                      <a:pt x="438" y="75"/>
                    </a:cubicBezTo>
                    <a:cubicBezTo>
                      <a:pt x="439" y="75"/>
                      <a:pt x="440" y="74"/>
                      <a:pt x="440" y="72"/>
                    </a:cubicBezTo>
                    <a:cubicBezTo>
                      <a:pt x="441" y="72"/>
                      <a:pt x="441" y="72"/>
                      <a:pt x="441" y="72"/>
                    </a:cubicBezTo>
                    <a:cubicBezTo>
                      <a:pt x="446" y="75"/>
                      <a:pt x="446" y="75"/>
                      <a:pt x="446" y="75"/>
                    </a:cubicBezTo>
                    <a:cubicBezTo>
                      <a:pt x="445" y="76"/>
                      <a:pt x="445" y="76"/>
                      <a:pt x="445" y="76"/>
                    </a:cubicBezTo>
                    <a:cubicBezTo>
                      <a:pt x="444" y="77"/>
                      <a:pt x="443" y="79"/>
                      <a:pt x="441" y="80"/>
                    </a:cubicBezTo>
                    <a:close/>
                    <a:moveTo>
                      <a:pt x="379" y="75"/>
                    </a:moveTo>
                    <a:cubicBezTo>
                      <a:pt x="379" y="73"/>
                      <a:pt x="379" y="71"/>
                      <a:pt x="379" y="69"/>
                    </a:cubicBezTo>
                    <a:cubicBezTo>
                      <a:pt x="385" y="69"/>
                      <a:pt x="385" y="69"/>
                      <a:pt x="385" y="69"/>
                    </a:cubicBezTo>
                    <a:cubicBezTo>
                      <a:pt x="385" y="71"/>
                      <a:pt x="385" y="73"/>
                      <a:pt x="385" y="75"/>
                    </a:cubicBezTo>
                    <a:lnTo>
                      <a:pt x="379" y="75"/>
                    </a:lnTo>
                    <a:close/>
                    <a:moveTo>
                      <a:pt x="415" y="72"/>
                    </a:moveTo>
                    <a:cubicBezTo>
                      <a:pt x="415" y="72"/>
                      <a:pt x="415" y="72"/>
                      <a:pt x="414" y="72"/>
                    </a:cubicBezTo>
                    <a:cubicBezTo>
                      <a:pt x="413" y="71"/>
                      <a:pt x="412" y="69"/>
                      <a:pt x="411" y="67"/>
                    </a:cubicBezTo>
                    <a:cubicBezTo>
                      <a:pt x="416" y="64"/>
                      <a:pt x="416" y="64"/>
                      <a:pt x="416" y="64"/>
                    </a:cubicBezTo>
                    <a:cubicBezTo>
                      <a:pt x="417" y="66"/>
                      <a:pt x="418" y="67"/>
                      <a:pt x="418" y="67"/>
                    </a:cubicBezTo>
                    <a:cubicBezTo>
                      <a:pt x="418" y="67"/>
                      <a:pt x="419" y="68"/>
                      <a:pt x="419" y="68"/>
                    </a:cubicBezTo>
                    <a:lnTo>
                      <a:pt x="415" y="72"/>
                    </a:lnTo>
                    <a:close/>
                    <a:moveTo>
                      <a:pt x="454" y="69"/>
                    </a:moveTo>
                    <a:cubicBezTo>
                      <a:pt x="452" y="64"/>
                      <a:pt x="452" y="64"/>
                      <a:pt x="452" y="64"/>
                    </a:cubicBezTo>
                    <a:cubicBezTo>
                      <a:pt x="453" y="63"/>
                      <a:pt x="455" y="62"/>
                      <a:pt x="456" y="61"/>
                    </a:cubicBezTo>
                    <a:cubicBezTo>
                      <a:pt x="460" y="66"/>
                      <a:pt x="460" y="66"/>
                      <a:pt x="460" y="66"/>
                    </a:cubicBezTo>
                    <a:cubicBezTo>
                      <a:pt x="458" y="67"/>
                      <a:pt x="456" y="68"/>
                      <a:pt x="454" y="69"/>
                    </a:cubicBezTo>
                    <a:close/>
                    <a:moveTo>
                      <a:pt x="25" y="67"/>
                    </a:moveTo>
                    <a:cubicBezTo>
                      <a:pt x="19" y="65"/>
                      <a:pt x="19" y="65"/>
                      <a:pt x="19" y="65"/>
                    </a:cubicBezTo>
                    <a:cubicBezTo>
                      <a:pt x="20" y="64"/>
                      <a:pt x="21" y="63"/>
                      <a:pt x="22" y="61"/>
                    </a:cubicBezTo>
                    <a:cubicBezTo>
                      <a:pt x="22" y="61"/>
                      <a:pt x="23" y="61"/>
                      <a:pt x="23" y="61"/>
                    </a:cubicBezTo>
                    <a:cubicBezTo>
                      <a:pt x="28" y="63"/>
                      <a:pt x="28" y="63"/>
                      <a:pt x="28" y="63"/>
                    </a:cubicBezTo>
                    <a:cubicBezTo>
                      <a:pt x="28" y="64"/>
                      <a:pt x="27" y="65"/>
                      <a:pt x="26" y="66"/>
                    </a:cubicBezTo>
                    <a:cubicBezTo>
                      <a:pt x="25" y="66"/>
                      <a:pt x="25" y="67"/>
                      <a:pt x="25" y="67"/>
                    </a:cubicBezTo>
                    <a:close/>
                    <a:moveTo>
                      <a:pt x="387" y="60"/>
                    </a:moveTo>
                    <a:cubicBezTo>
                      <a:pt x="383" y="56"/>
                      <a:pt x="383" y="56"/>
                      <a:pt x="383" y="56"/>
                    </a:cubicBezTo>
                    <a:cubicBezTo>
                      <a:pt x="384" y="54"/>
                      <a:pt x="386" y="53"/>
                      <a:pt x="388" y="52"/>
                    </a:cubicBezTo>
                    <a:cubicBezTo>
                      <a:pt x="391" y="57"/>
                      <a:pt x="391" y="57"/>
                      <a:pt x="391" y="57"/>
                    </a:cubicBezTo>
                    <a:cubicBezTo>
                      <a:pt x="389" y="58"/>
                      <a:pt x="388" y="59"/>
                      <a:pt x="387" y="60"/>
                    </a:cubicBezTo>
                    <a:close/>
                    <a:moveTo>
                      <a:pt x="405" y="60"/>
                    </a:moveTo>
                    <a:cubicBezTo>
                      <a:pt x="403" y="59"/>
                      <a:pt x="401" y="58"/>
                      <a:pt x="400" y="57"/>
                    </a:cubicBezTo>
                    <a:cubicBezTo>
                      <a:pt x="402" y="52"/>
                      <a:pt x="402" y="52"/>
                      <a:pt x="402" y="52"/>
                    </a:cubicBezTo>
                    <a:cubicBezTo>
                      <a:pt x="404" y="53"/>
                      <a:pt x="406" y="53"/>
                      <a:pt x="407" y="54"/>
                    </a:cubicBezTo>
                    <a:lnTo>
                      <a:pt x="405" y="60"/>
                    </a:lnTo>
                    <a:close/>
                    <a:moveTo>
                      <a:pt x="16" y="57"/>
                    </a:moveTo>
                    <a:cubicBezTo>
                      <a:pt x="13" y="56"/>
                      <a:pt x="13" y="56"/>
                      <a:pt x="13" y="56"/>
                    </a:cubicBezTo>
                    <a:cubicBezTo>
                      <a:pt x="12" y="56"/>
                      <a:pt x="11" y="55"/>
                      <a:pt x="10" y="55"/>
                    </a:cubicBezTo>
                    <a:cubicBezTo>
                      <a:pt x="13" y="50"/>
                      <a:pt x="13" y="50"/>
                      <a:pt x="13" y="50"/>
                    </a:cubicBezTo>
                    <a:cubicBezTo>
                      <a:pt x="13" y="50"/>
                      <a:pt x="14" y="50"/>
                      <a:pt x="15" y="51"/>
                    </a:cubicBezTo>
                    <a:cubicBezTo>
                      <a:pt x="18" y="52"/>
                      <a:pt x="18" y="52"/>
                      <a:pt x="18" y="52"/>
                    </a:cubicBezTo>
                    <a:lnTo>
                      <a:pt x="16" y="57"/>
                    </a:lnTo>
                    <a:close/>
                    <a:moveTo>
                      <a:pt x="456" y="55"/>
                    </a:moveTo>
                    <a:cubicBezTo>
                      <a:pt x="456" y="54"/>
                      <a:pt x="455" y="54"/>
                      <a:pt x="455" y="53"/>
                    </a:cubicBezTo>
                    <a:cubicBezTo>
                      <a:pt x="454" y="52"/>
                      <a:pt x="454" y="51"/>
                      <a:pt x="453" y="51"/>
                    </a:cubicBezTo>
                    <a:cubicBezTo>
                      <a:pt x="458" y="47"/>
                      <a:pt x="458" y="47"/>
                      <a:pt x="458" y="47"/>
                    </a:cubicBezTo>
                    <a:cubicBezTo>
                      <a:pt x="459" y="48"/>
                      <a:pt x="459" y="48"/>
                      <a:pt x="460" y="49"/>
                    </a:cubicBezTo>
                    <a:cubicBezTo>
                      <a:pt x="460" y="50"/>
                      <a:pt x="461" y="51"/>
                      <a:pt x="461" y="52"/>
                    </a:cubicBezTo>
                    <a:lnTo>
                      <a:pt x="456" y="55"/>
                    </a:lnTo>
                    <a:close/>
                    <a:moveTo>
                      <a:pt x="14" y="46"/>
                    </a:moveTo>
                    <a:cubicBezTo>
                      <a:pt x="10" y="42"/>
                      <a:pt x="10" y="42"/>
                      <a:pt x="10" y="42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15" y="37"/>
                      <a:pt x="15" y="37"/>
                      <a:pt x="15" y="37"/>
                    </a:cubicBezTo>
                    <a:cubicBezTo>
                      <a:pt x="17" y="38"/>
                      <a:pt x="17" y="40"/>
                      <a:pt x="17" y="41"/>
                    </a:cubicBezTo>
                    <a:cubicBezTo>
                      <a:pt x="17" y="42"/>
                      <a:pt x="17" y="44"/>
                      <a:pt x="15" y="45"/>
                    </a:cubicBezTo>
                    <a:lnTo>
                      <a:pt x="14" y="46"/>
                    </a:lnTo>
                    <a:close/>
                    <a:moveTo>
                      <a:pt x="455" y="38"/>
                    </a:moveTo>
                    <a:cubicBezTo>
                      <a:pt x="449" y="38"/>
                      <a:pt x="449" y="38"/>
                      <a:pt x="449" y="38"/>
                    </a:cubicBezTo>
                    <a:cubicBezTo>
                      <a:pt x="449" y="38"/>
                      <a:pt x="449" y="38"/>
                      <a:pt x="449" y="38"/>
                    </a:cubicBezTo>
                    <a:cubicBezTo>
                      <a:pt x="449" y="37"/>
                      <a:pt x="449" y="36"/>
                      <a:pt x="449" y="36"/>
                    </a:cubicBezTo>
                    <a:cubicBezTo>
                      <a:pt x="449" y="34"/>
                      <a:pt x="449" y="34"/>
                      <a:pt x="449" y="33"/>
                    </a:cubicBezTo>
                    <a:cubicBezTo>
                      <a:pt x="455" y="31"/>
                      <a:pt x="455" y="31"/>
                      <a:pt x="455" y="31"/>
                    </a:cubicBezTo>
                    <a:cubicBezTo>
                      <a:pt x="455" y="33"/>
                      <a:pt x="455" y="34"/>
                      <a:pt x="455" y="36"/>
                    </a:cubicBezTo>
                    <a:cubicBezTo>
                      <a:pt x="455" y="36"/>
                      <a:pt x="455" y="37"/>
                      <a:pt x="455" y="38"/>
                    </a:cubicBezTo>
                    <a:close/>
                    <a:moveTo>
                      <a:pt x="441" y="35"/>
                    </a:moveTo>
                    <a:cubicBezTo>
                      <a:pt x="440" y="35"/>
                      <a:pt x="439" y="34"/>
                      <a:pt x="438" y="34"/>
                    </a:cubicBezTo>
                    <a:cubicBezTo>
                      <a:pt x="437" y="33"/>
                      <a:pt x="436" y="32"/>
                      <a:pt x="435" y="31"/>
                    </a:cubicBezTo>
                    <a:cubicBezTo>
                      <a:pt x="439" y="27"/>
                      <a:pt x="439" y="27"/>
                      <a:pt x="439" y="27"/>
                    </a:cubicBezTo>
                    <a:cubicBezTo>
                      <a:pt x="440" y="28"/>
                      <a:pt x="441" y="28"/>
                      <a:pt x="441" y="29"/>
                    </a:cubicBezTo>
                    <a:cubicBezTo>
                      <a:pt x="442" y="29"/>
                      <a:pt x="442" y="29"/>
                      <a:pt x="443" y="29"/>
                    </a:cubicBezTo>
                    <a:lnTo>
                      <a:pt x="441" y="35"/>
                    </a:lnTo>
                    <a:close/>
                    <a:moveTo>
                      <a:pt x="1" y="35"/>
                    </a:moveTo>
                    <a:cubicBezTo>
                      <a:pt x="0" y="34"/>
                      <a:pt x="0" y="33"/>
                      <a:pt x="0" y="32"/>
                    </a:cubicBezTo>
                    <a:cubicBezTo>
                      <a:pt x="0" y="30"/>
                      <a:pt x="1" y="28"/>
                      <a:pt x="1" y="27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6" y="30"/>
                      <a:pt x="6" y="31"/>
                      <a:pt x="6" y="32"/>
                    </a:cubicBezTo>
                    <a:lnTo>
                      <a:pt x="1" y="35"/>
                    </a:lnTo>
                    <a:close/>
                    <a:moveTo>
                      <a:pt x="426" y="24"/>
                    </a:moveTo>
                    <a:cubicBezTo>
                      <a:pt x="425" y="23"/>
                      <a:pt x="422" y="21"/>
                      <a:pt x="422" y="17"/>
                    </a:cubicBezTo>
                    <a:cubicBezTo>
                      <a:pt x="428" y="17"/>
                      <a:pt x="428" y="17"/>
                      <a:pt x="428" y="17"/>
                    </a:cubicBezTo>
                    <a:cubicBezTo>
                      <a:pt x="428" y="18"/>
                      <a:pt x="428" y="18"/>
                      <a:pt x="429" y="19"/>
                    </a:cubicBezTo>
                    <a:lnTo>
                      <a:pt x="426" y="24"/>
                    </a:lnTo>
                    <a:close/>
                    <a:moveTo>
                      <a:pt x="7" y="17"/>
                    </a:moveTo>
                    <a:cubicBezTo>
                      <a:pt x="1" y="16"/>
                      <a:pt x="1" y="16"/>
                      <a:pt x="1" y="16"/>
                    </a:cubicBezTo>
                    <a:cubicBezTo>
                      <a:pt x="2" y="13"/>
                      <a:pt x="3" y="10"/>
                      <a:pt x="3" y="10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2"/>
                      <a:pt x="7" y="15"/>
                      <a:pt x="7" y="17"/>
                    </a:cubicBezTo>
                    <a:close/>
                    <a:moveTo>
                      <a:pt x="430" y="8"/>
                    </a:moveTo>
                    <a:cubicBezTo>
                      <a:pt x="425" y="4"/>
                      <a:pt x="425" y="4"/>
                      <a:pt x="425" y="4"/>
                    </a:cubicBezTo>
                    <a:cubicBezTo>
                      <a:pt x="426" y="3"/>
                      <a:pt x="427" y="2"/>
                      <a:pt x="429" y="0"/>
                    </a:cubicBezTo>
                    <a:cubicBezTo>
                      <a:pt x="430" y="0"/>
                      <a:pt x="430" y="0"/>
                      <a:pt x="430" y="0"/>
                    </a:cubicBezTo>
                    <a:cubicBezTo>
                      <a:pt x="433" y="4"/>
                      <a:pt x="433" y="4"/>
                      <a:pt x="433" y="4"/>
                    </a:cubicBezTo>
                    <a:cubicBezTo>
                      <a:pt x="433" y="5"/>
                      <a:pt x="433" y="5"/>
                      <a:pt x="433" y="5"/>
                    </a:cubicBezTo>
                    <a:cubicBezTo>
                      <a:pt x="431" y="6"/>
                      <a:pt x="430" y="7"/>
                      <a:pt x="430" y="8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33" name="íSḻïďê"/>
              <p:cNvSpPr/>
              <p:nvPr/>
            </p:nvSpPr>
            <p:spPr bwMode="auto">
              <a:xfrm>
                <a:off x="7523163" y="3565525"/>
                <a:ext cx="220663" cy="150813"/>
              </a:xfrm>
              <a:custGeom>
                <a:avLst/>
                <a:gdLst>
                  <a:gd name="T0" fmla="*/ 81 w 103"/>
                  <a:gd name="T1" fmla="*/ 71 h 71"/>
                  <a:gd name="T2" fmla="*/ 81 w 103"/>
                  <a:gd name="T3" fmla="*/ 71 h 71"/>
                  <a:gd name="T4" fmla="*/ 80 w 103"/>
                  <a:gd name="T5" fmla="*/ 71 h 71"/>
                  <a:gd name="T6" fmla="*/ 80 w 103"/>
                  <a:gd name="T7" fmla="*/ 65 h 71"/>
                  <a:gd name="T8" fmla="*/ 81 w 103"/>
                  <a:gd name="T9" fmla="*/ 65 h 71"/>
                  <a:gd name="T10" fmla="*/ 81 w 103"/>
                  <a:gd name="T11" fmla="*/ 65 h 71"/>
                  <a:gd name="T12" fmla="*/ 84 w 103"/>
                  <a:gd name="T13" fmla="*/ 64 h 71"/>
                  <a:gd name="T14" fmla="*/ 87 w 103"/>
                  <a:gd name="T15" fmla="*/ 69 h 71"/>
                  <a:gd name="T16" fmla="*/ 81 w 103"/>
                  <a:gd name="T17" fmla="*/ 71 h 71"/>
                  <a:gd name="T18" fmla="*/ 68 w 103"/>
                  <a:gd name="T19" fmla="*/ 70 h 71"/>
                  <a:gd name="T20" fmla="*/ 62 w 103"/>
                  <a:gd name="T21" fmla="*/ 70 h 71"/>
                  <a:gd name="T22" fmla="*/ 63 w 103"/>
                  <a:gd name="T23" fmla="*/ 64 h 71"/>
                  <a:gd name="T24" fmla="*/ 68 w 103"/>
                  <a:gd name="T25" fmla="*/ 64 h 71"/>
                  <a:gd name="T26" fmla="*/ 68 w 103"/>
                  <a:gd name="T27" fmla="*/ 70 h 71"/>
                  <a:gd name="T28" fmla="*/ 100 w 103"/>
                  <a:gd name="T29" fmla="*/ 68 h 71"/>
                  <a:gd name="T30" fmla="*/ 95 w 103"/>
                  <a:gd name="T31" fmla="*/ 66 h 71"/>
                  <a:gd name="T32" fmla="*/ 97 w 103"/>
                  <a:gd name="T33" fmla="*/ 60 h 71"/>
                  <a:gd name="T34" fmla="*/ 103 w 103"/>
                  <a:gd name="T35" fmla="*/ 63 h 71"/>
                  <a:gd name="T36" fmla="*/ 100 w 103"/>
                  <a:gd name="T37" fmla="*/ 68 h 71"/>
                  <a:gd name="T38" fmla="*/ 50 w 103"/>
                  <a:gd name="T39" fmla="*/ 64 h 71"/>
                  <a:gd name="T40" fmla="*/ 48 w 103"/>
                  <a:gd name="T41" fmla="*/ 58 h 71"/>
                  <a:gd name="T42" fmla="*/ 53 w 103"/>
                  <a:gd name="T43" fmla="*/ 56 h 71"/>
                  <a:gd name="T44" fmla="*/ 55 w 103"/>
                  <a:gd name="T45" fmla="*/ 61 h 71"/>
                  <a:gd name="T46" fmla="*/ 50 w 103"/>
                  <a:gd name="T47" fmla="*/ 64 h 71"/>
                  <a:gd name="T48" fmla="*/ 43 w 103"/>
                  <a:gd name="T49" fmla="*/ 50 h 71"/>
                  <a:gd name="T50" fmla="*/ 43 w 103"/>
                  <a:gd name="T51" fmla="*/ 50 h 71"/>
                  <a:gd name="T52" fmla="*/ 37 w 103"/>
                  <a:gd name="T53" fmla="*/ 48 h 71"/>
                  <a:gd name="T54" fmla="*/ 41 w 103"/>
                  <a:gd name="T55" fmla="*/ 43 h 71"/>
                  <a:gd name="T56" fmla="*/ 43 w 103"/>
                  <a:gd name="T57" fmla="*/ 44 h 71"/>
                  <a:gd name="T58" fmla="*/ 45 w 103"/>
                  <a:gd name="T59" fmla="*/ 45 h 71"/>
                  <a:gd name="T60" fmla="*/ 43 w 103"/>
                  <a:gd name="T61" fmla="*/ 50 h 71"/>
                  <a:gd name="T62" fmla="*/ 30 w 103"/>
                  <a:gd name="T63" fmla="*/ 38 h 71"/>
                  <a:gd name="T64" fmla="*/ 27 w 103"/>
                  <a:gd name="T65" fmla="*/ 36 h 71"/>
                  <a:gd name="T66" fmla="*/ 28 w 103"/>
                  <a:gd name="T67" fmla="*/ 30 h 71"/>
                  <a:gd name="T68" fmla="*/ 35 w 103"/>
                  <a:gd name="T69" fmla="*/ 34 h 71"/>
                  <a:gd name="T70" fmla="*/ 30 w 103"/>
                  <a:gd name="T71" fmla="*/ 38 h 71"/>
                  <a:gd name="T72" fmla="*/ 15 w 103"/>
                  <a:gd name="T73" fmla="*/ 37 h 71"/>
                  <a:gd name="T74" fmla="*/ 9 w 103"/>
                  <a:gd name="T75" fmla="*/ 35 h 71"/>
                  <a:gd name="T76" fmla="*/ 12 w 103"/>
                  <a:gd name="T77" fmla="*/ 30 h 71"/>
                  <a:gd name="T78" fmla="*/ 16 w 103"/>
                  <a:gd name="T79" fmla="*/ 31 h 71"/>
                  <a:gd name="T80" fmla="*/ 15 w 103"/>
                  <a:gd name="T81" fmla="*/ 37 h 71"/>
                  <a:gd name="T82" fmla="*/ 0 w 103"/>
                  <a:gd name="T83" fmla="*/ 24 h 71"/>
                  <a:gd name="T84" fmla="*/ 0 w 103"/>
                  <a:gd name="T85" fmla="*/ 21 h 71"/>
                  <a:gd name="T86" fmla="*/ 0 w 103"/>
                  <a:gd name="T87" fmla="*/ 17 h 71"/>
                  <a:gd name="T88" fmla="*/ 6 w 103"/>
                  <a:gd name="T89" fmla="*/ 18 h 71"/>
                  <a:gd name="T90" fmla="*/ 6 w 103"/>
                  <a:gd name="T91" fmla="*/ 21 h 71"/>
                  <a:gd name="T92" fmla="*/ 6 w 103"/>
                  <a:gd name="T93" fmla="*/ 23 h 71"/>
                  <a:gd name="T94" fmla="*/ 0 w 103"/>
                  <a:gd name="T95" fmla="*/ 24 h 71"/>
                  <a:gd name="T96" fmla="*/ 10 w 103"/>
                  <a:gd name="T97" fmla="*/ 8 h 71"/>
                  <a:gd name="T98" fmla="*/ 4 w 103"/>
                  <a:gd name="T99" fmla="*/ 6 h 71"/>
                  <a:gd name="T100" fmla="*/ 7 w 103"/>
                  <a:gd name="T101" fmla="*/ 0 h 71"/>
                  <a:gd name="T102" fmla="*/ 12 w 103"/>
                  <a:gd name="T103" fmla="*/ 3 h 71"/>
                  <a:gd name="T104" fmla="*/ 10 w 103"/>
                  <a:gd name="T105" fmla="*/ 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3" h="71">
                    <a:moveTo>
                      <a:pt x="81" y="71"/>
                    </a:moveTo>
                    <a:cubicBezTo>
                      <a:pt x="81" y="71"/>
                      <a:pt x="81" y="71"/>
                      <a:pt x="81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65"/>
                      <a:pt x="80" y="65"/>
                      <a:pt x="80" y="65"/>
                    </a:cubicBezTo>
                    <a:cubicBezTo>
                      <a:pt x="81" y="65"/>
                      <a:pt x="81" y="65"/>
                      <a:pt x="81" y="65"/>
                    </a:cubicBezTo>
                    <a:cubicBezTo>
                      <a:pt x="81" y="65"/>
                      <a:pt x="81" y="65"/>
                      <a:pt x="81" y="65"/>
                    </a:cubicBezTo>
                    <a:cubicBezTo>
                      <a:pt x="82" y="65"/>
                      <a:pt x="83" y="65"/>
                      <a:pt x="84" y="64"/>
                    </a:cubicBezTo>
                    <a:cubicBezTo>
                      <a:pt x="87" y="69"/>
                      <a:pt x="87" y="69"/>
                      <a:pt x="87" y="69"/>
                    </a:cubicBezTo>
                    <a:cubicBezTo>
                      <a:pt x="85" y="71"/>
                      <a:pt x="82" y="71"/>
                      <a:pt x="81" y="71"/>
                    </a:cubicBezTo>
                    <a:close/>
                    <a:moveTo>
                      <a:pt x="68" y="70"/>
                    </a:moveTo>
                    <a:cubicBezTo>
                      <a:pt x="66" y="70"/>
                      <a:pt x="64" y="70"/>
                      <a:pt x="62" y="70"/>
                    </a:cubicBezTo>
                    <a:cubicBezTo>
                      <a:pt x="63" y="64"/>
                      <a:pt x="63" y="64"/>
                      <a:pt x="63" y="64"/>
                    </a:cubicBezTo>
                    <a:cubicBezTo>
                      <a:pt x="64" y="64"/>
                      <a:pt x="66" y="64"/>
                      <a:pt x="68" y="64"/>
                    </a:cubicBezTo>
                    <a:lnTo>
                      <a:pt x="68" y="70"/>
                    </a:lnTo>
                    <a:close/>
                    <a:moveTo>
                      <a:pt x="100" y="68"/>
                    </a:moveTo>
                    <a:cubicBezTo>
                      <a:pt x="99" y="67"/>
                      <a:pt x="97" y="66"/>
                      <a:pt x="95" y="66"/>
                    </a:cubicBezTo>
                    <a:cubicBezTo>
                      <a:pt x="97" y="60"/>
                      <a:pt x="97" y="60"/>
                      <a:pt x="97" y="60"/>
                    </a:cubicBezTo>
                    <a:cubicBezTo>
                      <a:pt x="99" y="61"/>
                      <a:pt x="102" y="62"/>
                      <a:pt x="103" y="63"/>
                    </a:cubicBezTo>
                    <a:lnTo>
                      <a:pt x="100" y="68"/>
                    </a:lnTo>
                    <a:close/>
                    <a:moveTo>
                      <a:pt x="50" y="64"/>
                    </a:moveTo>
                    <a:cubicBezTo>
                      <a:pt x="49" y="62"/>
                      <a:pt x="48" y="60"/>
                      <a:pt x="48" y="58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54" y="58"/>
                      <a:pt x="55" y="59"/>
                      <a:pt x="55" y="61"/>
                    </a:cubicBezTo>
                    <a:lnTo>
                      <a:pt x="50" y="64"/>
                    </a:lnTo>
                    <a:close/>
                    <a:moveTo>
                      <a:pt x="43" y="50"/>
                    </a:moveTo>
                    <a:cubicBezTo>
                      <a:pt x="43" y="50"/>
                      <a:pt x="43" y="50"/>
                      <a:pt x="43" y="50"/>
                    </a:cubicBezTo>
                    <a:cubicBezTo>
                      <a:pt x="41" y="50"/>
                      <a:pt x="39" y="49"/>
                      <a:pt x="37" y="48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2" y="44"/>
                      <a:pt x="43" y="44"/>
                      <a:pt x="43" y="44"/>
                    </a:cubicBezTo>
                    <a:cubicBezTo>
                      <a:pt x="44" y="44"/>
                      <a:pt x="44" y="45"/>
                      <a:pt x="45" y="45"/>
                    </a:cubicBezTo>
                    <a:lnTo>
                      <a:pt x="43" y="50"/>
                    </a:lnTo>
                    <a:close/>
                    <a:moveTo>
                      <a:pt x="30" y="38"/>
                    </a:moveTo>
                    <a:cubicBezTo>
                      <a:pt x="29" y="37"/>
                      <a:pt x="28" y="36"/>
                      <a:pt x="27" y="36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31" y="30"/>
                      <a:pt x="33" y="32"/>
                      <a:pt x="35" y="34"/>
                    </a:cubicBezTo>
                    <a:lnTo>
                      <a:pt x="30" y="38"/>
                    </a:lnTo>
                    <a:close/>
                    <a:moveTo>
                      <a:pt x="15" y="37"/>
                    </a:moveTo>
                    <a:cubicBezTo>
                      <a:pt x="15" y="37"/>
                      <a:pt x="12" y="37"/>
                      <a:pt x="9" y="35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4" y="31"/>
                      <a:pt x="16" y="31"/>
                      <a:pt x="16" y="31"/>
                    </a:cubicBezTo>
                    <a:lnTo>
                      <a:pt x="15" y="37"/>
                    </a:lnTo>
                    <a:close/>
                    <a:moveTo>
                      <a:pt x="0" y="24"/>
                    </a:moveTo>
                    <a:cubicBezTo>
                      <a:pt x="0" y="23"/>
                      <a:pt x="0" y="22"/>
                      <a:pt x="0" y="21"/>
                    </a:cubicBezTo>
                    <a:cubicBezTo>
                      <a:pt x="0" y="20"/>
                      <a:pt x="0" y="18"/>
                      <a:pt x="0" y="17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9"/>
                      <a:pt x="6" y="20"/>
                      <a:pt x="6" y="21"/>
                    </a:cubicBezTo>
                    <a:cubicBezTo>
                      <a:pt x="6" y="21"/>
                      <a:pt x="6" y="22"/>
                      <a:pt x="6" y="23"/>
                    </a:cubicBezTo>
                    <a:lnTo>
                      <a:pt x="0" y="24"/>
                    </a:lnTo>
                    <a:close/>
                    <a:moveTo>
                      <a:pt x="10" y="8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4"/>
                      <a:pt x="6" y="2"/>
                      <a:pt x="7" y="0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1" y="7"/>
                      <a:pt x="10" y="8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34" name="íṧḷîḋé"/>
              <p:cNvSpPr/>
              <p:nvPr/>
            </p:nvSpPr>
            <p:spPr bwMode="auto">
              <a:xfrm>
                <a:off x="6005513" y="2876550"/>
                <a:ext cx="450850" cy="709613"/>
              </a:xfrm>
              <a:custGeom>
                <a:avLst/>
                <a:gdLst>
                  <a:gd name="T0" fmla="*/ 119 w 210"/>
                  <a:gd name="T1" fmla="*/ 331 h 331"/>
                  <a:gd name="T2" fmla="*/ 94 w 210"/>
                  <a:gd name="T3" fmla="*/ 320 h 331"/>
                  <a:gd name="T4" fmla="*/ 99 w 210"/>
                  <a:gd name="T5" fmla="*/ 314 h 331"/>
                  <a:gd name="T6" fmla="*/ 131 w 210"/>
                  <a:gd name="T7" fmla="*/ 313 h 331"/>
                  <a:gd name="T8" fmla="*/ 86 w 210"/>
                  <a:gd name="T9" fmla="*/ 306 h 331"/>
                  <a:gd name="T10" fmla="*/ 133 w 210"/>
                  <a:gd name="T11" fmla="*/ 297 h 331"/>
                  <a:gd name="T12" fmla="*/ 145 w 210"/>
                  <a:gd name="T13" fmla="*/ 294 h 331"/>
                  <a:gd name="T14" fmla="*/ 73 w 210"/>
                  <a:gd name="T15" fmla="*/ 296 h 331"/>
                  <a:gd name="T16" fmla="*/ 84 w 210"/>
                  <a:gd name="T17" fmla="*/ 295 h 331"/>
                  <a:gd name="T18" fmla="*/ 161 w 210"/>
                  <a:gd name="T19" fmla="*/ 290 h 331"/>
                  <a:gd name="T20" fmla="*/ 72 w 210"/>
                  <a:gd name="T21" fmla="*/ 295 h 331"/>
                  <a:gd name="T22" fmla="*/ 54 w 210"/>
                  <a:gd name="T23" fmla="*/ 281 h 331"/>
                  <a:gd name="T24" fmla="*/ 154 w 210"/>
                  <a:gd name="T25" fmla="*/ 275 h 331"/>
                  <a:gd name="T26" fmla="*/ 43 w 210"/>
                  <a:gd name="T27" fmla="*/ 275 h 331"/>
                  <a:gd name="T28" fmla="*/ 49 w 210"/>
                  <a:gd name="T29" fmla="*/ 272 h 331"/>
                  <a:gd name="T30" fmla="*/ 56 w 210"/>
                  <a:gd name="T31" fmla="*/ 267 h 331"/>
                  <a:gd name="T32" fmla="*/ 140 w 210"/>
                  <a:gd name="T33" fmla="*/ 256 h 331"/>
                  <a:gd name="T34" fmla="*/ 53 w 210"/>
                  <a:gd name="T35" fmla="*/ 249 h 331"/>
                  <a:gd name="T36" fmla="*/ 60 w 210"/>
                  <a:gd name="T37" fmla="*/ 246 h 331"/>
                  <a:gd name="T38" fmla="*/ 124 w 210"/>
                  <a:gd name="T39" fmla="*/ 239 h 331"/>
                  <a:gd name="T40" fmla="*/ 47 w 210"/>
                  <a:gd name="T41" fmla="*/ 229 h 331"/>
                  <a:gd name="T42" fmla="*/ 118 w 210"/>
                  <a:gd name="T43" fmla="*/ 227 h 331"/>
                  <a:gd name="T44" fmla="*/ 123 w 210"/>
                  <a:gd name="T45" fmla="*/ 227 h 331"/>
                  <a:gd name="T46" fmla="*/ 39 w 210"/>
                  <a:gd name="T47" fmla="*/ 220 h 331"/>
                  <a:gd name="T48" fmla="*/ 39 w 210"/>
                  <a:gd name="T49" fmla="*/ 220 h 331"/>
                  <a:gd name="T50" fmla="*/ 130 w 210"/>
                  <a:gd name="T51" fmla="*/ 214 h 331"/>
                  <a:gd name="T52" fmla="*/ 46 w 210"/>
                  <a:gd name="T53" fmla="*/ 202 h 331"/>
                  <a:gd name="T54" fmla="*/ 134 w 210"/>
                  <a:gd name="T55" fmla="*/ 206 h 331"/>
                  <a:gd name="T56" fmla="*/ 132 w 210"/>
                  <a:gd name="T57" fmla="*/ 192 h 331"/>
                  <a:gd name="T58" fmla="*/ 41 w 210"/>
                  <a:gd name="T59" fmla="*/ 194 h 331"/>
                  <a:gd name="T60" fmla="*/ 41 w 210"/>
                  <a:gd name="T61" fmla="*/ 194 h 331"/>
                  <a:gd name="T62" fmla="*/ 35 w 210"/>
                  <a:gd name="T63" fmla="*/ 176 h 331"/>
                  <a:gd name="T64" fmla="*/ 157 w 210"/>
                  <a:gd name="T65" fmla="*/ 173 h 331"/>
                  <a:gd name="T66" fmla="*/ 186 w 210"/>
                  <a:gd name="T67" fmla="*/ 173 h 331"/>
                  <a:gd name="T68" fmla="*/ 139 w 210"/>
                  <a:gd name="T69" fmla="*/ 179 h 331"/>
                  <a:gd name="T70" fmla="*/ 140 w 210"/>
                  <a:gd name="T71" fmla="*/ 179 h 331"/>
                  <a:gd name="T72" fmla="*/ 170 w 210"/>
                  <a:gd name="T73" fmla="*/ 178 h 331"/>
                  <a:gd name="T74" fmla="*/ 22 w 210"/>
                  <a:gd name="T75" fmla="*/ 166 h 331"/>
                  <a:gd name="T76" fmla="*/ 5 w 210"/>
                  <a:gd name="T77" fmla="*/ 154 h 331"/>
                  <a:gd name="T78" fmla="*/ 181 w 210"/>
                  <a:gd name="T79" fmla="*/ 157 h 331"/>
                  <a:gd name="T80" fmla="*/ 183 w 210"/>
                  <a:gd name="T81" fmla="*/ 162 h 331"/>
                  <a:gd name="T82" fmla="*/ 189 w 210"/>
                  <a:gd name="T83" fmla="*/ 147 h 331"/>
                  <a:gd name="T84" fmla="*/ 196 w 210"/>
                  <a:gd name="T85" fmla="*/ 129 h 331"/>
                  <a:gd name="T86" fmla="*/ 207 w 210"/>
                  <a:gd name="T87" fmla="*/ 116 h 331"/>
                  <a:gd name="T88" fmla="*/ 204 w 210"/>
                  <a:gd name="T89" fmla="*/ 104 h 331"/>
                  <a:gd name="T90" fmla="*/ 195 w 210"/>
                  <a:gd name="T91" fmla="*/ 91 h 331"/>
                  <a:gd name="T92" fmla="*/ 160 w 210"/>
                  <a:gd name="T93" fmla="*/ 85 h 331"/>
                  <a:gd name="T94" fmla="*/ 177 w 210"/>
                  <a:gd name="T95" fmla="*/ 85 h 331"/>
                  <a:gd name="T96" fmla="*/ 148 w 210"/>
                  <a:gd name="T97" fmla="*/ 85 h 331"/>
                  <a:gd name="T98" fmla="*/ 130 w 210"/>
                  <a:gd name="T99" fmla="*/ 75 h 331"/>
                  <a:gd name="T100" fmla="*/ 132 w 210"/>
                  <a:gd name="T101" fmla="*/ 77 h 331"/>
                  <a:gd name="T102" fmla="*/ 144 w 210"/>
                  <a:gd name="T103" fmla="*/ 63 h 331"/>
                  <a:gd name="T104" fmla="*/ 144 w 210"/>
                  <a:gd name="T105" fmla="*/ 46 h 331"/>
                  <a:gd name="T106" fmla="*/ 155 w 210"/>
                  <a:gd name="T107" fmla="*/ 28 h 331"/>
                  <a:gd name="T108" fmla="*/ 161 w 210"/>
                  <a:gd name="T109" fmla="*/ 12 h 331"/>
                  <a:gd name="T110" fmla="*/ 165 w 210"/>
                  <a:gd name="T111" fmla="*/ 8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0" h="331">
                    <a:moveTo>
                      <a:pt x="119" y="331"/>
                    </a:moveTo>
                    <a:cubicBezTo>
                      <a:pt x="118" y="331"/>
                      <a:pt x="116" y="330"/>
                      <a:pt x="114" y="329"/>
                    </a:cubicBezTo>
                    <a:cubicBezTo>
                      <a:pt x="116" y="324"/>
                      <a:pt x="116" y="324"/>
                      <a:pt x="116" y="324"/>
                    </a:cubicBezTo>
                    <a:cubicBezTo>
                      <a:pt x="118" y="325"/>
                      <a:pt x="119" y="325"/>
                      <a:pt x="120" y="325"/>
                    </a:cubicBezTo>
                    <a:cubicBezTo>
                      <a:pt x="121" y="331"/>
                      <a:pt x="121" y="331"/>
                      <a:pt x="121" y="331"/>
                    </a:cubicBezTo>
                    <a:cubicBezTo>
                      <a:pt x="121" y="331"/>
                      <a:pt x="120" y="331"/>
                      <a:pt x="119" y="331"/>
                    </a:cubicBezTo>
                    <a:close/>
                    <a:moveTo>
                      <a:pt x="104" y="323"/>
                    </a:moveTo>
                    <a:cubicBezTo>
                      <a:pt x="102" y="322"/>
                      <a:pt x="101" y="322"/>
                      <a:pt x="100" y="322"/>
                    </a:cubicBezTo>
                    <a:cubicBezTo>
                      <a:pt x="99" y="316"/>
                      <a:pt x="99" y="316"/>
                      <a:pt x="99" y="316"/>
                    </a:cubicBezTo>
                    <a:cubicBezTo>
                      <a:pt x="102" y="315"/>
                      <a:pt x="104" y="316"/>
                      <a:pt x="107" y="318"/>
                    </a:cubicBezTo>
                    <a:lnTo>
                      <a:pt x="104" y="323"/>
                    </a:lnTo>
                    <a:close/>
                    <a:moveTo>
                      <a:pt x="94" y="320"/>
                    </a:moveTo>
                    <a:cubicBezTo>
                      <a:pt x="90" y="315"/>
                      <a:pt x="90" y="315"/>
                      <a:pt x="90" y="315"/>
                    </a:cubicBezTo>
                    <a:cubicBezTo>
                      <a:pt x="91" y="315"/>
                      <a:pt x="91" y="314"/>
                      <a:pt x="92" y="314"/>
                    </a:cubicBezTo>
                    <a:cubicBezTo>
                      <a:pt x="92" y="314"/>
                      <a:pt x="93" y="313"/>
                      <a:pt x="93" y="313"/>
                    </a:cubicBezTo>
                    <a:cubicBezTo>
                      <a:pt x="93" y="313"/>
                      <a:pt x="93" y="314"/>
                      <a:pt x="93" y="314"/>
                    </a:cubicBezTo>
                    <a:cubicBezTo>
                      <a:pt x="98" y="312"/>
                      <a:pt x="98" y="312"/>
                      <a:pt x="98" y="312"/>
                    </a:cubicBezTo>
                    <a:cubicBezTo>
                      <a:pt x="99" y="313"/>
                      <a:pt x="99" y="313"/>
                      <a:pt x="99" y="314"/>
                    </a:cubicBezTo>
                    <a:cubicBezTo>
                      <a:pt x="99" y="317"/>
                      <a:pt x="97" y="318"/>
                      <a:pt x="95" y="319"/>
                    </a:cubicBezTo>
                    <a:cubicBezTo>
                      <a:pt x="95" y="319"/>
                      <a:pt x="95" y="319"/>
                      <a:pt x="94" y="320"/>
                    </a:cubicBezTo>
                    <a:close/>
                    <a:moveTo>
                      <a:pt x="129" y="319"/>
                    </a:moveTo>
                    <a:cubicBezTo>
                      <a:pt x="124" y="318"/>
                      <a:pt x="124" y="318"/>
                      <a:pt x="124" y="318"/>
                    </a:cubicBezTo>
                    <a:cubicBezTo>
                      <a:pt x="124" y="316"/>
                      <a:pt x="125" y="314"/>
                      <a:pt x="125" y="312"/>
                    </a:cubicBezTo>
                    <a:cubicBezTo>
                      <a:pt x="131" y="313"/>
                      <a:pt x="131" y="313"/>
                      <a:pt x="131" y="313"/>
                    </a:cubicBezTo>
                    <a:cubicBezTo>
                      <a:pt x="130" y="315"/>
                      <a:pt x="130" y="317"/>
                      <a:pt x="129" y="319"/>
                    </a:cubicBezTo>
                    <a:close/>
                    <a:moveTo>
                      <a:pt x="84" y="313"/>
                    </a:moveTo>
                    <a:cubicBezTo>
                      <a:pt x="83" y="312"/>
                      <a:pt x="82" y="311"/>
                      <a:pt x="81" y="309"/>
                    </a:cubicBezTo>
                    <a:cubicBezTo>
                      <a:pt x="80" y="307"/>
                      <a:pt x="80" y="307"/>
                      <a:pt x="80" y="307"/>
                    </a:cubicBezTo>
                    <a:cubicBezTo>
                      <a:pt x="85" y="305"/>
                      <a:pt x="85" y="305"/>
                      <a:pt x="85" y="305"/>
                    </a:cubicBezTo>
                    <a:cubicBezTo>
                      <a:pt x="86" y="306"/>
                      <a:pt x="86" y="306"/>
                      <a:pt x="86" y="306"/>
                    </a:cubicBezTo>
                    <a:cubicBezTo>
                      <a:pt x="87" y="307"/>
                      <a:pt x="87" y="308"/>
                      <a:pt x="88" y="309"/>
                    </a:cubicBezTo>
                    <a:lnTo>
                      <a:pt x="84" y="313"/>
                    </a:lnTo>
                    <a:close/>
                    <a:moveTo>
                      <a:pt x="132" y="301"/>
                    </a:moveTo>
                    <a:cubicBezTo>
                      <a:pt x="126" y="301"/>
                      <a:pt x="126" y="301"/>
                      <a:pt x="126" y="301"/>
                    </a:cubicBezTo>
                    <a:cubicBezTo>
                      <a:pt x="127" y="298"/>
                      <a:pt x="127" y="296"/>
                      <a:pt x="128" y="294"/>
                    </a:cubicBezTo>
                    <a:cubicBezTo>
                      <a:pt x="133" y="297"/>
                      <a:pt x="133" y="297"/>
                      <a:pt x="133" y="297"/>
                    </a:cubicBezTo>
                    <a:cubicBezTo>
                      <a:pt x="133" y="298"/>
                      <a:pt x="132" y="299"/>
                      <a:pt x="132" y="301"/>
                    </a:cubicBezTo>
                    <a:close/>
                    <a:moveTo>
                      <a:pt x="143" y="300"/>
                    </a:moveTo>
                    <a:cubicBezTo>
                      <a:pt x="141" y="300"/>
                      <a:pt x="139" y="299"/>
                      <a:pt x="138" y="298"/>
                    </a:cubicBezTo>
                    <a:cubicBezTo>
                      <a:pt x="142" y="294"/>
                      <a:pt x="142" y="294"/>
                      <a:pt x="142" y="294"/>
                    </a:cubicBezTo>
                    <a:cubicBezTo>
                      <a:pt x="142" y="294"/>
                      <a:pt x="143" y="294"/>
                      <a:pt x="143" y="294"/>
                    </a:cubicBezTo>
                    <a:cubicBezTo>
                      <a:pt x="143" y="294"/>
                      <a:pt x="144" y="294"/>
                      <a:pt x="145" y="294"/>
                    </a:cubicBezTo>
                    <a:cubicBezTo>
                      <a:pt x="147" y="299"/>
                      <a:pt x="147" y="299"/>
                      <a:pt x="147" y="299"/>
                    </a:cubicBezTo>
                    <a:cubicBezTo>
                      <a:pt x="145" y="300"/>
                      <a:pt x="144" y="300"/>
                      <a:pt x="143" y="300"/>
                    </a:cubicBezTo>
                    <a:close/>
                    <a:moveTo>
                      <a:pt x="79" y="299"/>
                    </a:moveTo>
                    <a:cubicBezTo>
                      <a:pt x="77" y="299"/>
                      <a:pt x="77" y="299"/>
                      <a:pt x="77" y="299"/>
                    </a:cubicBezTo>
                    <a:cubicBezTo>
                      <a:pt x="78" y="299"/>
                      <a:pt x="79" y="298"/>
                      <a:pt x="79" y="297"/>
                    </a:cubicBezTo>
                    <a:cubicBezTo>
                      <a:pt x="73" y="296"/>
                      <a:pt x="73" y="296"/>
                      <a:pt x="73" y="296"/>
                    </a:cubicBezTo>
                    <a:cubicBezTo>
                      <a:pt x="73" y="295"/>
                      <a:pt x="75" y="293"/>
                      <a:pt x="77" y="293"/>
                    </a:cubicBezTo>
                    <a:cubicBezTo>
                      <a:pt x="79" y="293"/>
                      <a:pt x="79" y="293"/>
                      <a:pt x="79" y="293"/>
                    </a:cubicBezTo>
                    <a:cubicBezTo>
                      <a:pt x="79" y="293"/>
                      <a:pt x="79" y="293"/>
                      <a:pt x="79" y="293"/>
                    </a:cubicBezTo>
                    <a:cubicBezTo>
                      <a:pt x="79" y="293"/>
                      <a:pt x="78" y="294"/>
                      <a:pt x="78" y="295"/>
                    </a:cubicBezTo>
                    <a:cubicBezTo>
                      <a:pt x="84" y="294"/>
                      <a:pt x="84" y="294"/>
                      <a:pt x="84" y="294"/>
                    </a:cubicBezTo>
                    <a:cubicBezTo>
                      <a:pt x="84" y="294"/>
                      <a:pt x="84" y="295"/>
                      <a:pt x="84" y="295"/>
                    </a:cubicBezTo>
                    <a:cubicBezTo>
                      <a:pt x="84" y="296"/>
                      <a:pt x="83" y="299"/>
                      <a:pt x="79" y="299"/>
                    </a:cubicBezTo>
                    <a:close/>
                    <a:moveTo>
                      <a:pt x="158" y="298"/>
                    </a:moveTo>
                    <a:cubicBezTo>
                      <a:pt x="156" y="292"/>
                      <a:pt x="156" y="292"/>
                      <a:pt x="156" y="292"/>
                    </a:cubicBezTo>
                    <a:cubicBezTo>
                      <a:pt x="155" y="293"/>
                      <a:pt x="155" y="293"/>
                      <a:pt x="155" y="293"/>
                    </a:cubicBezTo>
                    <a:cubicBezTo>
                      <a:pt x="155" y="293"/>
                      <a:pt x="155" y="291"/>
                      <a:pt x="155" y="290"/>
                    </a:cubicBezTo>
                    <a:cubicBezTo>
                      <a:pt x="161" y="290"/>
                      <a:pt x="161" y="290"/>
                      <a:pt x="161" y="290"/>
                    </a:cubicBezTo>
                    <a:cubicBezTo>
                      <a:pt x="161" y="293"/>
                      <a:pt x="161" y="297"/>
                      <a:pt x="158" y="298"/>
                    </a:cubicBezTo>
                    <a:close/>
                    <a:moveTo>
                      <a:pt x="65" y="297"/>
                    </a:moveTo>
                    <a:cubicBezTo>
                      <a:pt x="65" y="291"/>
                      <a:pt x="65" y="291"/>
                      <a:pt x="65" y="291"/>
                    </a:cubicBezTo>
                    <a:cubicBezTo>
                      <a:pt x="67" y="291"/>
                      <a:pt x="68" y="290"/>
                      <a:pt x="70" y="290"/>
                    </a:cubicBezTo>
                    <a:cubicBezTo>
                      <a:pt x="71" y="292"/>
                      <a:pt x="71" y="292"/>
                      <a:pt x="71" y="292"/>
                    </a:cubicBezTo>
                    <a:cubicBezTo>
                      <a:pt x="72" y="295"/>
                      <a:pt x="72" y="295"/>
                      <a:pt x="72" y="295"/>
                    </a:cubicBezTo>
                    <a:cubicBezTo>
                      <a:pt x="70" y="296"/>
                      <a:pt x="68" y="297"/>
                      <a:pt x="65" y="297"/>
                    </a:cubicBezTo>
                    <a:close/>
                    <a:moveTo>
                      <a:pt x="56" y="288"/>
                    </a:moveTo>
                    <a:cubicBezTo>
                      <a:pt x="55" y="287"/>
                      <a:pt x="55" y="287"/>
                      <a:pt x="55" y="287"/>
                    </a:cubicBezTo>
                    <a:cubicBezTo>
                      <a:pt x="53" y="287"/>
                      <a:pt x="52" y="287"/>
                      <a:pt x="51" y="287"/>
                    </a:cubicBezTo>
                    <a:cubicBezTo>
                      <a:pt x="54" y="281"/>
                      <a:pt x="54" y="281"/>
                      <a:pt x="54" y="281"/>
                    </a:cubicBezTo>
                    <a:cubicBezTo>
                      <a:pt x="54" y="281"/>
                      <a:pt x="54" y="281"/>
                      <a:pt x="54" y="281"/>
                    </a:cubicBezTo>
                    <a:cubicBezTo>
                      <a:pt x="54" y="281"/>
                      <a:pt x="54" y="281"/>
                      <a:pt x="55" y="281"/>
                    </a:cubicBezTo>
                    <a:cubicBezTo>
                      <a:pt x="56" y="281"/>
                      <a:pt x="58" y="282"/>
                      <a:pt x="60" y="284"/>
                    </a:cubicBezTo>
                    <a:lnTo>
                      <a:pt x="56" y="288"/>
                    </a:lnTo>
                    <a:close/>
                    <a:moveTo>
                      <a:pt x="159" y="279"/>
                    </a:moveTo>
                    <a:cubicBezTo>
                      <a:pt x="154" y="278"/>
                      <a:pt x="154" y="278"/>
                      <a:pt x="154" y="278"/>
                    </a:cubicBezTo>
                    <a:cubicBezTo>
                      <a:pt x="154" y="277"/>
                      <a:pt x="154" y="276"/>
                      <a:pt x="154" y="275"/>
                    </a:cubicBezTo>
                    <a:cubicBezTo>
                      <a:pt x="155" y="272"/>
                      <a:pt x="155" y="272"/>
                      <a:pt x="155" y="272"/>
                    </a:cubicBezTo>
                    <a:cubicBezTo>
                      <a:pt x="160" y="273"/>
                      <a:pt x="160" y="273"/>
                      <a:pt x="160" y="273"/>
                    </a:cubicBezTo>
                    <a:cubicBezTo>
                      <a:pt x="160" y="276"/>
                      <a:pt x="160" y="276"/>
                      <a:pt x="160" y="276"/>
                    </a:cubicBezTo>
                    <a:cubicBezTo>
                      <a:pt x="160" y="277"/>
                      <a:pt x="160" y="278"/>
                      <a:pt x="159" y="279"/>
                    </a:cubicBezTo>
                    <a:close/>
                    <a:moveTo>
                      <a:pt x="45" y="276"/>
                    </a:moveTo>
                    <a:cubicBezTo>
                      <a:pt x="45" y="276"/>
                      <a:pt x="44" y="276"/>
                      <a:pt x="43" y="275"/>
                    </a:cubicBezTo>
                    <a:cubicBezTo>
                      <a:pt x="41" y="274"/>
                      <a:pt x="41" y="272"/>
                      <a:pt x="41" y="271"/>
                    </a:cubicBezTo>
                    <a:cubicBezTo>
                      <a:pt x="41" y="270"/>
                      <a:pt x="42" y="269"/>
                      <a:pt x="43" y="268"/>
                    </a:cubicBezTo>
                    <a:cubicBezTo>
                      <a:pt x="47" y="272"/>
                      <a:pt x="47" y="272"/>
                      <a:pt x="47" y="272"/>
                    </a:cubicBezTo>
                    <a:cubicBezTo>
                      <a:pt x="47" y="272"/>
                      <a:pt x="47" y="272"/>
                      <a:pt x="47" y="271"/>
                    </a:cubicBezTo>
                    <a:cubicBezTo>
                      <a:pt x="47" y="271"/>
                      <a:pt x="47" y="270"/>
                      <a:pt x="47" y="270"/>
                    </a:cubicBezTo>
                    <a:cubicBezTo>
                      <a:pt x="47" y="271"/>
                      <a:pt x="48" y="271"/>
                      <a:pt x="49" y="272"/>
                    </a:cubicBezTo>
                    <a:lnTo>
                      <a:pt x="45" y="276"/>
                    </a:lnTo>
                    <a:close/>
                    <a:moveTo>
                      <a:pt x="56" y="267"/>
                    </a:moveTo>
                    <a:cubicBezTo>
                      <a:pt x="53" y="262"/>
                      <a:pt x="53" y="262"/>
                      <a:pt x="53" y="262"/>
                    </a:cubicBezTo>
                    <a:cubicBezTo>
                      <a:pt x="55" y="261"/>
                      <a:pt x="56" y="260"/>
                      <a:pt x="56" y="259"/>
                    </a:cubicBezTo>
                    <a:cubicBezTo>
                      <a:pt x="62" y="261"/>
                      <a:pt x="62" y="261"/>
                      <a:pt x="62" y="261"/>
                    </a:cubicBezTo>
                    <a:cubicBezTo>
                      <a:pt x="61" y="263"/>
                      <a:pt x="59" y="265"/>
                      <a:pt x="56" y="267"/>
                    </a:cubicBezTo>
                    <a:close/>
                    <a:moveTo>
                      <a:pt x="153" y="263"/>
                    </a:moveTo>
                    <a:cubicBezTo>
                      <a:pt x="152" y="260"/>
                      <a:pt x="151" y="259"/>
                      <a:pt x="150" y="259"/>
                    </a:cubicBezTo>
                    <a:cubicBezTo>
                      <a:pt x="154" y="254"/>
                      <a:pt x="154" y="254"/>
                      <a:pt x="154" y="254"/>
                    </a:cubicBezTo>
                    <a:cubicBezTo>
                      <a:pt x="155" y="255"/>
                      <a:pt x="157" y="257"/>
                      <a:pt x="158" y="260"/>
                    </a:cubicBezTo>
                    <a:lnTo>
                      <a:pt x="153" y="263"/>
                    </a:lnTo>
                    <a:close/>
                    <a:moveTo>
                      <a:pt x="140" y="256"/>
                    </a:moveTo>
                    <a:cubicBezTo>
                      <a:pt x="138" y="256"/>
                      <a:pt x="136" y="255"/>
                      <a:pt x="134" y="254"/>
                    </a:cubicBezTo>
                    <a:cubicBezTo>
                      <a:pt x="137" y="249"/>
                      <a:pt x="137" y="249"/>
                      <a:pt x="137" y="249"/>
                    </a:cubicBezTo>
                    <a:cubicBezTo>
                      <a:pt x="139" y="249"/>
                      <a:pt x="141" y="250"/>
                      <a:pt x="142" y="251"/>
                    </a:cubicBezTo>
                    <a:lnTo>
                      <a:pt x="140" y="256"/>
                    </a:lnTo>
                    <a:close/>
                    <a:moveTo>
                      <a:pt x="59" y="250"/>
                    </a:moveTo>
                    <a:cubicBezTo>
                      <a:pt x="53" y="249"/>
                      <a:pt x="53" y="249"/>
                      <a:pt x="53" y="249"/>
                    </a:cubicBezTo>
                    <a:cubicBezTo>
                      <a:pt x="53" y="249"/>
                      <a:pt x="53" y="248"/>
                      <a:pt x="53" y="248"/>
                    </a:cubicBezTo>
                    <a:cubicBezTo>
                      <a:pt x="54" y="247"/>
                      <a:pt x="54" y="247"/>
                      <a:pt x="54" y="247"/>
                    </a:cubicBezTo>
                    <a:cubicBezTo>
                      <a:pt x="54" y="247"/>
                      <a:pt x="54" y="247"/>
                      <a:pt x="54" y="246"/>
                    </a:cubicBezTo>
                    <a:cubicBezTo>
                      <a:pt x="54" y="246"/>
                      <a:pt x="53" y="245"/>
                      <a:pt x="53" y="245"/>
                    </a:cubicBezTo>
                    <a:cubicBezTo>
                      <a:pt x="59" y="243"/>
                      <a:pt x="59" y="243"/>
                      <a:pt x="59" y="243"/>
                    </a:cubicBezTo>
                    <a:cubicBezTo>
                      <a:pt x="59" y="244"/>
                      <a:pt x="60" y="245"/>
                      <a:pt x="60" y="246"/>
                    </a:cubicBezTo>
                    <a:cubicBezTo>
                      <a:pt x="60" y="247"/>
                      <a:pt x="59" y="247"/>
                      <a:pt x="59" y="248"/>
                    </a:cubicBezTo>
                    <a:cubicBezTo>
                      <a:pt x="59" y="249"/>
                      <a:pt x="59" y="249"/>
                      <a:pt x="59" y="249"/>
                    </a:cubicBezTo>
                    <a:cubicBezTo>
                      <a:pt x="59" y="249"/>
                      <a:pt x="59" y="250"/>
                      <a:pt x="59" y="250"/>
                    </a:cubicBezTo>
                    <a:close/>
                    <a:moveTo>
                      <a:pt x="123" y="245"/>
                    </a:moveTo>
                    <a:cubicBezTo>
                      <a:pt x="123" y="245"/>
                      <a:pt x="123" y="245"/>
                      <a:pt x="123" y="244"/>
                    </a:cubicBezTo>
                    <a:cubicBezTo>
                      <a:pt x="123" y="243"/>
                      <a:pt x="124" y="241"/>
                      <a:pt x="124" y="239"/>
                    </a:cubicBezTo>
                    <a:cubicBezTo>
                      <a:pt x="130" y="240"/>
                      <a:pt x="130" y="240"/>
                      <a:pt x="130" y="240"/>
                    </a:cubicBezTo>
                    <a:cubicBezTo>
                      <a:pt x="130" y="241"/>
                      <a:pt x="129" y="243"/>
                      <a:pt x="129" y="244"/>
                    </a:cubicBezTo>
                    <a:cubicBezTo>
                      <a:pt x="129" y="245"/>
                      <a:pt x="129" y="245"/>
                      <a:pt x="129" y="245"/>
                    </a:cubicBezTo>
                    <a:lnTo>
                      <a:pt x="123" y="245"/>
                    </a:lnTo>
                    <a:close/>
                    <a:moveTo>
                      <a:pt x="49" y="234"/>
                    </a:moveTo>
                    <a:cubicBezTo>
                      <a:pt x="49" y="232"/>
                      <a:pt x="48" y="230"/>
                      <a:pt x="47" y="229"/>
                    </a:cubicBezTo>
                    <a:cubicBezTo>
                      <a:pt x="52" y="226"/>
                      <a:pt x="52" y="226"/>
                      <a:pt x="52" y="226"/>
                    </a:cubicBezTo>
                    <a:cubicBezTo>
                      <a:pt x="53" y="228"/>
                      <a:pt x="54" y="229"/>
                      <a:pt x="55" y="232"/>
                    </a:cubicBezTo>
                    <a:lnTo>
                      <a:pt x="49" y="234"/>
                    </a:lnTo>
                    <a:close/>
                    <a:moveTo>
                      <a:pt x="123" y="232"/>
                    </a:moveTo>
                    <a:cubicBezTo>
                      <a:pt x="122" y="232"/>
                      <a:pt x="121" y="231"/>
                      <a:pt x="121" y="231"/>
                    </a:cubicBezTo>
                    <a:cubicBezTo>
                      <a:pt x="118" y="230"/>
                      <a:pt x="118" y="228"/>
                      <a:pt x="118" y="227"/>
                    </a:cubicBezTo>
                    <a:cubicBezTo>
                      <a:pt x="118" y="226"/>
                      <a:pt x="118" y="225"/>
                      <a:pt x="119" y="223"/>
                    </a:cubicBezTo>
                    <a:cubicBezTo>
                      <a:pt x="123" y="228"/>
                      <a:pt x="123" y="228"/>
                      <a:pt x="123" y="228"/>
                    </a:cubicBezTo>
                    <a:cubicBezTo>
                      <a:pt x="123" y="228"/>
                      <a:pt x="123" y="228"/>
                      <a:pt x="123" y="228"/>
                    </a:cubicBezTo>
                    <a:cubicBezTo>
                      <a:pt x="123" y="228"/>
                      <a:pt x="123" y="228"/>
                      <a:pt x="123" y="228"/>
                    </a:cubicBezTo>
                    <a:cubicBezTo>
                      <a:pt x="123" y="228"/>
                      <a:pt x="123" y="228"/>
                      <a:pt x="123" y="228"/>
                    </a:cubicBezTo>
                    <a:cubicBezTo>
                      <a:pt x="123" y="228"/>
                      <a:pt x="123" y="227"/>
                      <a:pt x="123" y="227"/>
                    </a:cubicBezTo>
                    <a:cubicBezTo>
                      <a:pt x="123" y="226"/>
                      <a:pt x="123" y="226"/>
                      <a:pt x="123" y="226"/>
                    </a:cubicBezTo>
                    <a:cubicBezTo>
                      <a:pt x="123" y="226"/>
                      <a:pt x="123" y="226"/>
                      <a:pt x="123" y="226"/>
                    </a:cubicBezTo>
                    <a:cubicBezTo>
                      <a:pt x="124" y="226"/>
                      <a:pt x="125" y="226"/>
                      <a:pt x="125" y="227"/>
                    </a:cubicBezTo>
                    <a:lnTo>
                      <a:pt x="123" y="232"/>
                    </a:lnTo>
                    <a:close/>
                    <a:moveTo>
                      <a:pt x="39" y="220"/>
                    </a:moveTo>
                    <a:cubicBezTo>
                      <a:pt x="39" y="220"/>
                      <a:pt x="39" y="220"/>
                      <a:pt x="39" y="220"/>
                    </a:cubicBezTo>
                    <a:cubicBezTo>
                      <a:pt x="39" y="219"/>
                      <a:pt x="39" y="219"/>
                      <a:pt x="39" y="218"/>
                    </a:cubicBezTo>
                    <a:cubicBezTo>
                      <a:pt x="38" y="217"/>
                      <a:pt x="38" y="216"/>
                      <a:pt x="37" y="214"/>
                    </a:cubicBezTo>
                    <a:cubicBezTo>
                      <a:pt x="43" y="212"/>
                      <a:pt x="43" y="212"/>
                      <a:pt x="43" y="212"/>
                    </a:cubicBezTo>
                    <a:cubicBezTo>
                      <a:pt x="43" y="214"/>
                      <a:pt x="44" y="215"/>
                      <a:pt x="44" y="216"/>
                    </a:cubicBezTo>
                    <a:cubicBezTo>
                      <a:pt x="45" y="217"/>
                      <a:pt x="45" y="217"/>
                      <a:pt x="45" y="218"/>
                    </a:cubicBezTo>
                    <a:lnTo>
                      <a:pt x="39" y="220"/>
                    </a:lnTo>
                    <a:close/>
                    <a:moveTo>
                      <a:pt x="124" y="218"/>
                    </a:moveTo>
                    <a:cubicBezTo>
                      <a:pt x="124" y="217"/>
                      <a:pt x="124" y="217"/>
                      <a:pt x="124" y="217"/>
                    </a:cubicBezTo>
                    <a:cubicBezTo>
                      <a:pt x="124" y="216"/>
                      <a:pt x="124" y="215"/>
                      <a:pt x="124" y="214"/>
                    </a:cubicBezTo>
                    <a:cubicBezTo>
                      <a:pt x="124" y="213"/>
                      <a:pt x="124" y="211"/>
                      <a:pt x="125" y="210"/>
                    </a:cubicBezTo>
                    <a:cubicBezTo>
                      <a:pt x="130" y="213"/>
                      <a:pt x="130" y="213"/>
                      <a:pt x="130" y="213"/>
                    </a:cubicBezTo>
                    <a:cubicBezTo>
                      <a:pt x="130" y="213"/>
                      <a:pt x="130" y="214"/>
                      <a:pt x="130" y="214"/>
                    </a:cubicBezTo>
                    <a:cubicBezTo>
                      <a:pt x="130" y="215"/>
                      <a:pt x="130" y="216"/>
                      <a:pt x="130" y="217"/>
                    </a:cubicBezTo>
                    <a:cubicBezTo>
                      <a:pt x="130" y="217"/>
                      <a:pt x="130" y="217"/>
                      <a:pt x="130" y="217"/>
                    </a:cubicBezTo>
                    <a:lnTo>
                      <a:pt x="124" y="218"/>
                    </a:lnTo>
                    <a:close/>
                    <a:moveTo>
                      <a:pt x="46" y="208"/>
                    </a:moveTo>
                    <a:cubicBezTo>
                      <a:pt x="45" y="203"/>
                      <a:pt x="45" y="203"/>
                      <a:pt x="45" y="203"/>
                    </a:cubicBezTo>
                    <a:cubicBezTo>
                      <a:pt x="46" y="202"/>
                      <a:pt x="46" y="202"/>
                      <a:pt x="46" y="202"/>
                    </a:cubicBezTo>
                    <a:cubicBezTo>
                      <a:pt x="52" y="201"/>
                      <a:pt x="52" y="201"/>
                      <a:pt x="52" y="201"/>
                    </a:cubicBezTo>
                    <a:cubicBezTo>
                      <a:pt x="52" y="201"/>
                      <a:pt x="52" y="202"/>
                      <a:pt x="52" y="202"/>
                    </a:cubicBezTo>
                    <a:cubicBezTo>
                      <a:pt x="52" y="207"/>
                      <a:pt x="48" y="208"/>
                      <a:pt x="46" y="208"/>
                    </a:cubicBezTo>
                    <a:close/>
                    <a:moveTo>
                      <a:pt x="140" y="207"/>
                    </a:moveTo>
                    <a:cubicBezTo>
                      <a:pt x="134" y="207"/>
                      <a:pt x="134" y="207"/>
                      <a:pt x="134" y="207"/>
                    </a:cubicBezTo>
                    <a:cubicBezTo>
                      <a:pt x="134" y="207"/>
                      <a:pt x="134" y="206"/>
                      <a:pt x="134" y="206"/>
                    </a:cubicBezTo>
                    <a:cubicBezTo>
                      <a:pt x="134" y="203"/>
                      <a:pt x="135" y="201"/>
                      <a:pt x="137" y="200"/>
                    </a:cubicBezTo>
                    <a:cubicBezTo>
                      <a:pt x="141" y="204"/>
                      <a:pt x="141" y="204"/>
                      <a:pt x="141" y="204"/>
                    </a:cubicBezTo>
                    <a:cubicBezTo>
                      <a:pt x="140" y="204"/>
                      <a:pt x="140" y="205"/>
                      <a:pt x="140" y="206"/>
                    </a:cubicBezTo>
                    <a:cubicBezTo>
                      <a:pt x="140" y="207"/>
                      <a:pt x="140" y="207"/>
                      <a:pt x="140" y="207"/>
                    </a:cubicBezTo>
                    <a:close/>
                    <a:moveTo>
                      <a:pt x="134" y="196"/>
                    </a:moveTo>
                    <a:cubicBezTo>
                      <a:pt x="132" y="195"/>
                      <a:pt x="132" y="194"/>
                      <a:pt x="132" y="192"/>
                    </a:cubicBezTo>
                    <a:cubicBezTo>
                      <a:pt x="132" y="191"/>
                      <a:pt x="132" y="189"/>
                      <a:pt x="132" y="188"/>
                    </a:cubicBezTo>
                    <a:cubicBezTo>
                      <a:pt x="138" y="189"/>
                      <a:pt x="138" y="189"/>
                      <a:pt x="138" y="189"/>
                    </a:cubicBezTo>
                    <a:cubicBezTo>
                      <a:pt x="138" y="190"/>
                      <a:pt x="137" y="191"/>
                      <a:pt x="137" y="192"/>
                    </a:cubicBezTo>
                    <a:cubicBezTo>
                      <a:pt x="137" y="192"/>
                      <a:pt x="137" y="192"/>
                      <a:pt x="137" y="192"/>
                    </a:cubicBezTo>
                    <a:lnTo>
                      <a:pt x="134" y="196"/>
                    </a:lnTo>
                    <a:close/>
                    <a:moveTo>
                      <a:pt x="41" y="194"/>
                    </a:moveTo>
                    <a:cubicBezTo>
                      <a:pt x="41" y="194"/>
                      <a:pt x="40" y="194"/>
                      <a:pt x="40" y="193"/>
                    </a:cubicBezTo>
                    <a:cubicBezTo>
                      <a:pt x="37" y="192"/>
                      <a:pt x="37" y="190"/>
                      <a:pt x="36" y="188"/>
                    </a:cubicBezTo>
                    <a:cubicBezTo>
                      <a:pt x="42" y="187"/>
                      <a:pt x="42" y="187"/>
                      <a:pt x="42" y="187"/>
                    </a:cubicBezTo>
                    <a:cubicBezTo>
                      <a:pt x="42" y="188"/>
                      <a:pt x="43" y="188"/>
                      <a:pt x="43" y="189"/>
                    </a:cubicBezTo>
                    <a:cubicBezTo>
                      <a:pt x="43" y="189"/>
                      <a:pt x="44" y="189"/>
                      <a:pt x="44" y="190"/>
                    </a:cubicBezTo>
                    <a:lnTo>
                      <a:pt x="41" y="194"/>
                    </a:lnTo>
                    <a:close/>
                    <a:moveTo>
                      <a:pt x="31" y="181"/>
                    </a:moveTo>
                    <a:cubicBezTo>
                      <a:pt x="30" y="180"/>
                      <a:pt x="30" y="180"/>
                      <a:pt x="30" y="180"/>
                    </a:cubicBezTo>
                    <a:cubicBezTo>
                      <a:pt x="29" y="179"/>
                      <a:pt x="27" y="178"/>
                      <a:pt x="26" y="177"/>
                    </a:cubicBezTo>
                    <a:cubicBezTo>
                      <a:pt x="30" y="173"/>
                      <a:pt x="30" y="173"/>
                      <a:pt x="30" y="173"/>
                    </a:cubicBezTo>
                    <a:cubicBezTo>
                      <a:pt x="31" y="173"/>
                      <a:pt x="32" y="174"/>
                      <a:pt x="33" y="175"/>
                    </a:cubicBezTo>
                    <a:cubicBezTo>
                      <a:pt x="35" y="176"/>
                      <a:pt x="35" y="176"/>
                      <a:pt x="35" y="176"/>
                    </a:cubicBezTo>
                    <a:lnTo>
                      <a:pt x="31" y="181"/>
                    </a:lnTo>
                    <a:close/>
                    <a:moveTo>
                      <a:pt x="158" y="179"/>
                    </a:moveTo>
                    <a:cubicBezTo>
                      <a:pt x="156" y="179"/>
                      <a:pt x="155" y="178"/>
                      <a:pt x="154" y="178"/>
                    </a:cubicBezTo>
                    <a:cubicBezTo>
                      <a:pt x="153" y="177"/>
                      <a:pt x="153" y="177"/>
                      <a:pt x="152" y="177"/>
                    </a:cubicBezTo>
                    <a:cubicBezTo>
                      <a:pt x="154" y="171"/>
                      <a:pt x="154" y="171"/>
                      <a:pt x="154" y="171"/>
                    </a:cubicBezTo>
                    <a:cubicBezTo>
                      <a:pt x="155" y="172"/>
                      <a:pt x="156" y="172"/>
                      <a:pt x="157" y="173"/>
                    </a:cubicBezTo>
                    <a:cubicBezTo>
                      <a:pt x="158" y="173"/>
                      <a:pt x="159" y="174"/>
                      <a:pt x="159" y="174"/>
                    </a:cubicBezTo>
                    <a:lnTo>
                      <a:pt x="158" y="179"/>
                    </a:lnTo>
                    <a:close/>
                    <a:moveTo>
                      <a:pt x="188" y="179"/>
                    </a:moveTo>
                    <a:cubicBezTo>
                      <a:pt x="185" y="174"/>
                      <a:pt x="185" y="174"/>
                      <a:pt x="185" y="174"/>
                    </a:cubicBezTo>
                    <a:cubicBezTo>
                      <a:pt x="186" y="174"/>
                      <a:pt x="186" y="174"/>
                      <a:pt x="186" y="174"/>
                    </a:cubicBezTo>
                    <a:cubicBezTo>
                      <a:pt x="186" y="173"/>
                      <a:pt x="186" y="173"/>
                      <a:pt x="186" y="173"/>
                    </a:cubicBezTo>
                    <a:cubicBezTo>
                      <a:pt x="186" y="174"/>
                      <a:pt x="186" y="174"/>
                      <a:pt x="186" y="174"/>
                    </a:cubicBezTo>
                    <a:cubicBezTo>
                      <a:pt x="191" y="170"/>
                      <a:pt x="191" y="170"/>
                      <a:pt x="191" y="170"/>
                    </a:cubicBezTo>
                    <a:cubicBezTo>
                      <a:pt x="192" y="171"/>
                      <a:pt x="192" y="172"/>
                      <a:pt x="192" y="174"/>
                    </a:cubicBezTo>
                    <a:cubicBezTo>
                      <a:pt x="192" y="175"/>
                      <a:pt x="191" y="177"/>
                      <a:pt x="190" y="178"/>
                    </a:cubicBezTo>
                    <a:cubicBezTo>
                      <a:pt x="190" y="178"/>
                      <a:pt x="189" y="179"/>
                      <a:pt x="188" y="179"/>
                    </a:cubicBezTo>
                    <a:close/>
                    <a:moveTo>
                      <a:pt x="139" y="179"/>
                    </a:moveTo>
                    <a:cubicBezTo>
                      <a:pt x="139" y="179"/>
                      <a:pt x="140" y="178"/>
                      <a:pt x="140" y="178"/>
                    </a:cubicBezTo>
                    <a:cubicBezTo>
                      <a:pt x="134" y="176"/>
                      <a:pt x="134" y="176"/>
                      <a:pt x="134" y="176"/>
                    </a:cubicBezTo>
                    <a:cubicBezTo>
                      <a:pt x="135" y="175"/>
                      <a:pt x="136" y="173"/>
                      <a:pt x="140" y="173"/>
                    </a:cubicBezTo>
                    <a:cubicBezTo>
                      <a:pt x="140" y="173"/>
                      <a:pt x="141" y="173"/>
                      <a:pt x="142" y="173"/>
                    </a:cubicBezTo>
                    <a:cubicBezTo>
                      <a:pt x="142" y="179"/>
                      <a:pt x="142" y="179"/>
                      <a:pt x="142" y="179"/>
                    </a:cubicBezTo>
                    <a:cubicBezTo>
                      <a:pt x="142" y="179"/>
                      <a:pt x="141" y="179"/>
                      <a:pt x="140" y="179"/>
                    </a:cubicBezTo>
                    <a:cubicBezTo>
                      <a:pt x="139" y="179"/>
                      <a:pt x="139" y="179"/>
                      <a:pt x="139" y="179"/>
                    </a:cubicBezTo>
                    <a:close/>
                    <a:moveTo>
                      <a:pt x="170" y="178"/>
                    </a:moveTo>
                    <a:cubicBezTo>
                      <a:pt x="169" y="173"/>
                      <a:pt x="169" y="173"/>
                      <a:pt x="169" y="173"/>
                    </a:cubicBezTo>
                    <a:cubicBezTo>
                      <a:pt x="172" y="172"/>
                      <a:pt x="174" y="172"/>
                      <a:pt x="176" y="172"/>
                    </a:cubicBezTo>
                    <a:cubicBezTo>
                      <a:pt x="175" y="178"/>
                      <a:pt x="175" y="178"/>
                      <a:pt x="175" y="178"/>
                    </a:cubicBezTo>
                    <a:cubicBezTo>
                      <a:pt x="174" y="178"/>
                      <a:pt x="172" y="178"/>
                      <a:pt x="170" y="178"/>
                    </a:cubicBezTo>
                    <a:close/>
                    <a:moveTo>
                      <a:pt x="17" y="169"/>
                    </a:moveTo>
                    <a:cubicBezTo>
                      <a:pt x="17" y="168"/>
                      <a:pt x="16" y="168"/>
                      <a:pt x="16" y="167"/>
                    </a:cubicBezTo>
                    <a:cubicBezTo>
                      <a:pt x="16" y="165"/>
                      <a:pt x="15" y="165"/>
                      <a:pt x="15" y="164"/>
                    </a:cubicBezTo>
                    <a:cubicBezTo>
                      <a:pt x="19" y="160"/>
                      <a:pt x="19" y="160"/>
                      <a:pt x="19" y="160"/>
                    </a:cubicBezTo>
                    <a:cubicBezTo>
                      <a:pt x="20" y="161"/>
                      <a:pt x="21" y="163"/>
                      <a:pt x="22" y="165"/>
                    </a:cubicBezTo>
                    <a:cubicBezTo>
                      <a:pt x="22" y="165"/>
                      <a:pt x="22" y="166"/>
                      <a:pt x="22" y="166"/>
                    </a:cubicBezTo>
                    <a:lnTo>
                      <a:pt x="17" y="169"/>
                    </a:lnTo>
                    <a:close/>
                    <a:moveTo>
                      <a:pt x="4" y="162"/>
                    </a:moveTo>
                    <a:cubicBezTo>
                      <a:pt x="3" y="161"/>
                      <a:pt x="3" y="161"/>
                      <a:pt x="3" y="161"/>
                    </a:cubicBezTo>
                    <a:cubicBezTo>
                      <a:pt x="3" y="161"/>
                      <a:pt x="2" y="160"/>
                      <a:pt x="1" y="159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5" y="154"/>
                      <a:pt x="5" y="154"/>
                      <a:pt x="5" y="154"/>
                    </a:cubicBezTo>
                    <a:cubicBezTo>
                      <a:pt x="6" y="155"/>
                      <a:pt x="6" y="155"/>
                      <a:pt x="6" y="155"/>
                    </a:cubicBezTo>
                    <a:cubicBezTo>
                      <a:pt x="7" y="156"/>
                      <a:pt x="7" y="157"/>
                      <a:pt x="8" y="158"/>
                    </a:cubicBezTo>
                    <a:cubicBezTo>
                      <a:pt x="9" y="159"/>
                      <a:pt x="9" y="159"/>
                      <a:pt x="9" y="159"/>
                    </a:cubicBezTo>
                    <a:lnTo>
                      <a:pt x="4" y="162"/>
                    </a:lnTo>
                    <a:close/>
                    <a:moveTo>
                      <a:pt x="183" y="162"/>
                    </a:moveTo>
                    <a:cubicBezTo>
                      <a:pt x="181" y="160"/>
                      <a:pt x="181" y="159"/>
                      <a:pt x="181" y="157"/>
                    </a:cubicBezTo>
                    <a:cubicBezTo>
                      <a:pt x="181" y="156"/>
                      <a:pt x="181" y="156"/>
                      <a:pt x="181" y="156"/>
                    </a:cubicBezTo>
                    <a:cubicBezTo>
                      <a:pt x="183" y="156"/>
                      <a:pt x="183" y="156"/>
                      <a:pt x="183" y="156"/>
                    </a:cubicBezTo>
                    <a:cubicBezTo>
                      <a:pt x="186" y="157"/>
                      <a:pt x="186" y="157"/>
                      <a:pt x="186" y="157"/>
                    </a:cubicBezTo>
                    <a:cubicBezTo>
                      <a:pt x="186" y="157"/>
                      <a:pt x="186" y="157"/>
                      <a:pt x="187" y="158"/>
                    </a:cubicBezTo>
                    <a:cubicBezTo>
                      <a:pt x="188" y="159"/>
                      <a:pt x="188" y="160"/>
                      <a:pt x="189" y="161"/>
                    </a:cubicBezTo>
                    <a:lnTo>
                      <a:pt x="183" y="162"/>
                    </a:lnTo>
                    <a:close/>
                    <a:moveTo>
                      <a:pt x="187" y="147"/>
                    </a:moveTo>
                    <a:cubicBezTo>
                      <a:pt x="183" y="143"/>
                      <a:pt x="183" y="143"/>
                      <a:pt x="183" y="143"/>
                    </a:cubicBezTo>
                    <a:cubicBezTo>
                      <a:pt x="185" y="142"/>
                      <a:pt x="186" y="141"/>
                      <a:pt x="188" y="141"/>
                    </a:cubicBezTo>
                    <a:cubicBezTo>
                      <a:pt x="187" y="141"/>
                      <a:pt x="187" y="141"/>
                      <a:pt x="187" y="142"/>
                    </a:cubicBezTo>
                    <a:cubicBezTo>
                      <a:pt x="192" y="142"/>
                      <a:pt x="192" y="142"/>
                      <a:pt x="192" y="142"/>
                    </a:cubicBezTo>
                    <a:cubicBezTo>
                      <a:pt x="192" y="144"/>
                      <a:pt x="191" y="146"/>
                      <a:pt x="189" y="147"/>
                    </a:cubicBezTo>
                    <a:cubicBezTo>
                      <a:pt x="188" y="147"/>
                      <a:pt x="188" y="147"/>
                      <a:pt x="187" y="147"/>
                    </a:cubicBezTo>
                    <a:close/>
                    <a:moveTo>
                      <a:pt x="192" y="133"/>
                    </a:moveTo>
                    <a:cubicBezTo>
                      <a:pt x="187" y="130"/>
                      <a:pt x="187" y="130"/>
                      <a:pt x="187" y="130"/>
                    </a:cubicBezTo>
                    <a:cubicBezTo>
                      <a:pt x="188" y="129"/>
                      <a:pt x="189" y="128"/>
                      <a:pt x="190" y="127"/>
                    </a:cubicBezTo>
                    <a:cubicBezTo>
                      <a:pt x="192" y="125"/>
                      <a:pt x="192" y="125"/>
                      <a:pt x="192" y="125"/>
                    </a:cubicBezTo>
                    <a:cubicBezTo>
                      <a:pt x="196" y="129"/>
                      <a:pt x="196" y="129"/>
                      <a:pt x="196" y="129"/>
                    </a:cubicBezTo>
                    <a:cubicBezTo>
                      <a:pt x="194" y="131"/>
                      <a:pt x="194" y="131"/>
                      <a:pt x="194" y="131"/>
                    </a:cubicBezTo>
                    <a:cubicBezTo>
                      <a:pt x="193" y="132"/>
                      <a:pt x="192" y="133"/>
                      <a:pt x="192" y="133"/>
                    </a:cubicBezTo>
                    <a:close/>
                    <a:moveTo>
                      <a:pt x="203" y="123"/>
                    </a:moveTo>
                    <a:cubicBezTo>
                      <a:pt x="202" y="118"/>
                      <a:pt x="202" y="118"/>
                      <a:pt x="202" y="118"/>
                    </a:cubicBezTo>
                    <a:cubicBezTo>
                      <a:pt x="203" y="117"/>
                      <a:pt x="203" y="117"/>
                      <a:pt x="203" y="117"/>
                    </a:cubicBezTo>
                    <a:cubicBezTo>
                      <a:pt x="204" y="117"/>
                      <a:pt x="205" y="117"/>
                      <a:pt x="207" y="116"/>
                    </a:cubicBezTo>
                    <a:cubicBezTo>
                      <a:pt x="210" y="121"/>
                      <a:pt x="210" y="121"/>
                      <a:pt x="210" y="121"/>
                    </a:cubicBezTo>
                    <a:cubicBezTo>
                      <a:pt x="207" y="123"/>
                      <a:pt x="206" y="123"/>
                      <a:pt x="204" y="123"/>
                    </a:cubicBezTo>
                    <a:lnTo>
                      <a:pt x="203" y="123"/>
                    </a:lnTo>
                    <a:close/>
                    <a:moveTo>
                      <a:pt x="205" y="112"/>
                    </a:moveTo>
                    <a:cubicBezTo>
                      <a:pt x="204" y="111"/>
                      <a:pt x="202" y="109"/>
                      <a:pt x="201" y="109"/>
                    </a:cubicBezTo>
                    <a:cubicBezTo>
                      <a:pt x="204" y="104"/>
                      <a:pt x="204" y="104"/>
                      <a:pt x="204" y="104"/>
                    </a:cubicBezTo>
                    <a:cubicBezTo>
                      <a:pt x="206" y="105"/>
                      <a:pt x="207" y="106"/>
                      <a:pt x="209" y="107"/>
                    </a:cubicBezTo>
                    <a:lnTo>
                      <a:pt x="205" y="112"/>
                    </a:lnTo>
                    <a:close/>
                    <a:moveTo>
                      <a:pt x="192" y="99"/>
                    </a:moveTo>
                    <a:cubicBezTo>
                      <a:pt x="191" y="98"/>
                      <a:pt x="191" y="97"/>
                      <a:pt x="190" y="95"/>
                    </a:cubicBezTo>
                    <a:cubicBezTo>
                      <a:pt x="190" y="94"/>
                      <a:pt x="190" y="94"/>
                      <a:pt x="190" y="94"/>
                    </a:cubicBezTo>
                    <a:cubicBezTo>
                      <a:pt x="195" y="91"/>
                      <a:pt x="195" y="91"/>
                      <a:pt x="195" y="91"/>
                    </a:cubicBezTo>
                    <a:cubicBezTo>
                      <a:pt x="196" y="93"/>
                      <a:pt x="196" y="93"/>
                      <a:pt x="196" y="93"/>
                    </a:cubicBezTo>
                    <a:cubicBezTo>
                      <a:pt x="196" y="94"/>
                      <a:pt x="197" y="95"/>
                      <a:pt x="197" y="97"/>
                    </a:cubicBezTo>
                    <a:lnTo>
                      <a:pt x="192" y="99"/>
                    </a:lnTo>
                    <a:close/>
                    <a:moveTo>
                      <a:pt x="163" y="91"/>
                    </a:moveTo>
                    <a:cubicBezTo>
                      <a:pt x="162" y="91"/>
                      <a:pt x="160" y="91"/>
                      <a:pt x="159" y="90"/>
                    </a:cubicBezTo>
                    <a:cubicBezTo>
                      <a:pt x="160" y="85"/>
                      <a:pt x="160" y="85"/>
                      <a:pt x="160" y="85"/>
                    </a:cubicBezTo>
                    <a:cubicBezTo>
                      <a:pt x="162" y="85"/>
                      <a:pt x="162" y="85"/>
                      <a:pt x="163" y="85"/>
                    </a:cubicBezTo>
                    <a:cubicBezTo>
                      <a:pt x="165" y="85"/>
                      <a:pt x="165" y="85"/>
                      <a:pt x="165" y="85"/>
                    </a:cubicBezTo>
                    <a:cubicBezTo>
                      <a:pt x="165" y="91"/>
                      <a:pt x="165" y="91"/>
                      <a:pt x="165" y="91"/>
                    </a:cubicBezTo>
                    <a:lnTo>
                      <a:pt x="163" y="91"/>
                    </a:lnTo>
                    <a:close/>
                    <a:moveTo>
                      <a:pt x="177" y="91"/>
                    </a:moveTo>
                    <a:cubicBezTo>
                      <a:pt x="177" y="85"/>
                      <a:pt x="177" y="85"/>
                      <a:pt x="177" y="85"/>
                    </a:cubicBezTo>
                    <a:cubicBezTo>
                      <a:pt x="178" y="85"/>
                      <a:pt x="180" y="85"/>
                      <a:pt x="181" y="85"/>
                    </a:cubicBezTo>
                    <a:cubicBezTo>
                      <a:pt x="183" y="85"/>
                      <a:pt x="183" y="85"/>
                      <a:pt x="183" y="85"/>
                    </a:cubicBezTo>
                    <a:cubicBezTo>
                      <a:pt x="183" y="91"/>
                      <a:pt x="183" y="91"/>
                      <a:pt x="183" y="91"/>
                    </a:cubicBezTo>
                    <a:cubicBezTo>
                      <a:pt x="181" y="91"/>
                      <a:pt x="181" y="91"/>
                      <a:pt x="181" y="91"/>
                    </a:cubicBezTo>
                    <a:cubicBezTo>
                      <a:pt x="180" y="91"/>
                      <a:pt x="178" y="91"/>
                      <a:pt x="177" y="91"/>
                    </a:cubicBezTo>
                    <a:close/>
                    <a:moveTo>
                      <a:pt x="148" y="85"/>
                    </a:moveTo>
                    <a:cubicBezTo>
                      <a:pt x="146" y="84"/>
                      <a:pt x="144" y="84"/>
                      <a:pt x="142" y="83"/>
                    </a:cubicBezTo>
                    <a:cubicBezTo>
                      <a:pt x="145" y="77"/>
                      <a:pt x="145" y="77"/>
                      <a:pt x="145" y="77"/>
                    </a:cubicBezTo>
                    <a:cubicBezTo>
                      <a:pt x="147" y="78"/>
                      <a:pt x="148" y="79"/>
                      <a:pt x="150" y="80"/>
                    </a:cubicBezTo>
                    <a:lnTo>
                      <a:pt x="148" y="85"/>
                    </a:lnTo>
                    <a:close/>
                    <a:moveTo>
                      <a:pt x="132" y="77"/>
                    </a:moveTo>
                    <a:cubicBezTo>
                      <a:pt x="131" y="76"/>
                      <a:pt x="130" y="75"/>
                      <a:pt x="130" y="75"/>
                    </a:cubicBezTo>
                    <a:cubicBezTo>
                      <a:pt x="129" y="74"/>
                      <a:pt x="128" y="72"/>
                      <a:pt x="128" y="71"/>
                    </a:cubicBezTo>
                    <a:cubicBezTo>
                      <a:pt x="128" y="70"/>
                      <a:pt x="129" y="69"/>
                      <a:pt x="129" y="68"/>
                    </a:cubicBezTo>
                    <a:cubicBezTo>
                      <a:pt x="134" y="71"/>
                      <a:pt x="134" y="71"/>
                      <a:pt x="134" y="71"/>
                    </a:cubicBezTo>
                    <a:cubicBezTo>
                      <a:pt x="134" y="71"/>
                      <a:pt x="134" y="71"/>
                      <a:pt x="134" y="71"/>
                    </a:cubicBezTo>
                    <a:cubicBezTo>
                      <a:pt x="134" y="71"/>
                      <a:pt x="135" y="71"/>
                      <a:pt x="135" y="72"/>
                    </a:cubicBezTo>
                    <a:lnTo>
                      <a:pt x="132" y="77"/>
                    </a:lnTo>
                    <a:close/>
                    <a:moveTo>
                      <a:pt x="143" y="64"/>
                    </a:moveTo>
                    <a:cubicBezTo>
                      <a:pt x="139" y="60"/>
                      <a:pt x="139" y="60"/>
                      <a:pt x="139" y="60"/>
                    </a:cubicBezTo>
                    <a:cubicBezTo>
                      <a:pt x="140" y="59"/>
                      <a:pt x="140" y="59"/>
                      <a:pt x="141" y="59"/>
                    </a:cubicBezTo>
                    <a:cubicBezTo>
                      <a:pt x="141" y="58"/>
                      <a:pt x="142" y="57"/>
                      <a:pt x="142" y="57"/>
                    </a:cubicBezTo>
                    <a:cubicBezTo>
                      <a:pt x="147" y="58"/>
                      <a:pt x="147" y="58"/>
                      <a:pt x="147" y="58"/>
                    </a:cubicBezTo>
                    <a:cubicBezTo>
                      <a:pt x="147" y="60"/>
                      <a:pt x="146" y="62"/>
                      <a:pt x="144" y="63"/>
                    </a:cubicBezTo>
                    <a:cubicBezTo>
                      <a:pt x="144" y="64"/>
                      <a:pt x="143" y="64"/>
                      <a:pt x="143" y="64"/>
                    </a:cubicBezTo>
                    <a:close/>
                    <a:moveTo>
                      <a:pt x="138" y="47"/>
                    </a:moveTo>
                    <a:cubicBezTo>
                      <a:pt x="138" y="47"/>
                      <a:pt x="138" y="46"/>
                      <a:pt x="138" y="46"/>
                    </a:cubicBezTo>
                    <a:cubicBezTo>
                      <a:pt x="138" y="44"/>
                      <a:pt x="139" y="42"/>
                      <a:pt x="140" y="40"/>
                    </a:cubicBezTo>
                    <a:cubicBezTo>
                      <a:pt x="145" y="43"/>
                      <a:pt x="145" y="43"/>
                      <a:pt x="145" y="43"/>
                    </a:cubicBezTo>
                    <a:cubicBezTo>
                      <a:pt x="144" y="45"/>
                      <a:pt x="144" y="46"/>
                      <a:pt x="144" y="46"/>
                    </a:cubicBezTo>
                    <a:lnTo>
                      <a:pt x="138" y="47"/>
                    </a:lnTo>
                    <a:close/>
                    <a:moveTo>
                      <a:pt x="152" y="33"/>
                    </a:moveTo>
                    <a:cubicBezTo>
                      <a:pt x="147" y="30"/>
                      <a:pt x="147" y="30"/>
                      <a:pt x="147" y="30"/>
                    </a:cubicBezTo>
                    <a:cubicBezTo>
                      <a:pt x="148" y="29"/>
                      <a:pt x="148" y="29"/>
                      <a:pt x="148" y="29"/>
                    </a:cubicBezTo>
                    <a:cubicBezTo>
                      <a:pt x="148" y="28"/>
                      <a:pt x="149" y="26"/>
                      <a:pt x="150" y="25"/>
                    </a:cubicBezTo>
                    <a:cubicBezTo>
                      <a:pt x="155" y="28"/>
                      <a:pt x="155" y="28"/>
                      <a:pt x="155" y="28"/>
                    </a:cubicBezTo>
                    <a:cubicBezTo>
                      <a:pt x="154" y="30"/>
                      <a:pt x="153" y="31"/>
                      <a:pt x="153" y="32"/>
                    </a:cubicBezTo>
                    <a:lnTo>
                      <a:pt x="152" y="33"/>
                    </a:lnTo>
                    <a:close/>
                    <a:moveTo>
                      <a:pt x="163" y="20"/>
                    </a:moveTo>
                    <a:cubicBezTo>
                      <a:pt x="158" y="16"/>
                      <a:pt x="158" y="16"/>
                      <a:pt x="158" y="16"/>
                    </a:cubicBezTo>
                    <a:cubicBezTo>
                      <a:pt x="160" y="14"/>
                      <a:pt x="161" y="13"/>
                      <a:pt x="161" y="12"/>
                    </a:cubicBezTo>
                    <a:cubicBezTo>
                      <a:pt x="161" y="12"/>
                      <a:pt x="161" y="12"/>
                      <a:pt x="161" y="12"/>
                    </a:cubicBezTo>
                    <a:cubicBezTo>
                      <a:pt x="166" y="15"/>
                      <a:pt x="166" y="15"/>
                      <a:pt x="166" y="15"/>
                    </a:cubicBezTo>
                    <a:cubicBezTo>
                      <a:pt x="164" y="13"/>
                      <a:pt x="164" y="13"/>
                      <a:pt x="164" y="13"/>
                    </a:cubicBezTo>
                    <a:cubicBezTo>
                      <a:pt x="166" y="15"/>
                      <a:pt x="166" y="15"/>
                      <a:pt x="166" y="15"/>
                    </a:cubicBezTo>
                    <a:cubicBezTo>
                      <a:pt x="166" y="16"/>
                      <a:pt x="166" y="16"/>
                      <a:pt x="166" y="16"/>
                    </a:cubicBezTo>
                    <a:cubicBezTo>
                      <a:pt x="166" y="16"/>
                      <a:pt x="165" y="18"/>
                      <a:pt x="163" y="20"/>
                    </a:cubicBezTo>
                    <a:close/>
                    <a:moveTo>
                      <a:pt x="165" y="8"/>
                    </a:moveTo>
                    <a:cubicBezTo>
                      <a:pt x="162" y="7"/>
                      <a:pt x="159" y="5"/>
                      <a:pt x="159" y="4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3" y="1"/>
                      <a:pt x="165" y="2"/>
                      <a:pt x="166" y="3"/>
                    </a:cubicBezTo>
                    <a:lnTo>
                      <a:pt x="165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35" name="îṧļïḍé"/>
              <p:cNvSpPr/>
              <p:nvPr/>
            </p:nvSpPr>
            <p:spPr bwMode="auto">
              <a:xfrm>
                <a:off x="5969000" y="3173413"/>
                <a:ext cx="52388" cy="14288"/>
              </a:xfrm>
              <a:custGeom>
                <a:avLst/>
                <a:gdLst>
                  <a:gd name="T0" fmla="*/ 22 w 24"/>
                  <a:gd name="T1" fmla="*/ 7 h 7"/>
                  <a:gd name="T2" fmla="*/ 17 w 24"/>
                  <a:gd name="T3" fmla="*/ 6 h 7"/>
                  <a:gd name="T4" fmla="*/ 18 w 24"/>
                  <a:gd name="T5" fmla="*/ 0 h 7"/>
                  <a:gd name="T6" fmla="*/ 24 w 24"/>
                  <a:gd name="T7" fmla="*/ 2 h 7"/>
                  <a:gd name="T8" fmla="*/ 22 w 24"/>
                  <a:gd name="T9" fmla="*/ 7 h 7"/>
                  <a:gd name="T10" fmla="*/ 0 w 24"/>
                  <a:gd name="T11" fmla="*/ 6 h 7"/>
                  <a:gd name="T12" fmla="*/ 0 w 24"/>
                  <a:gd name="T13" fmla="*/ 0 h 7"/>
                  <a:gd name="T14" fmla="*/ 4 w 24"/>
                  <a:gd name="T15" fmla="*/ 0 h 7"/>
                  <a:gd name="T16" fmla="*/ 6 w 24"/>
                  <a:gd name="T17" fmla="*/ 0 h 7"/>
                  <a:gd name="T18" fmla="*/ 6 w 24"/>
                  <a:gd name="T19" fmla="*/ 6 h 7"/>
                  <a:gd name="T20" fmla="*/ 5 w 24"/>
                  <a:gd name="T21" fmla="*/ 6 h 7"/>
                  <a:gd name="T22" fmla="*/ 0 w 24"/>
                  <a:gd name="T2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7">
                    <a:moveTo>
                      <a:pt x="22" y="7"/>
                    </a:moveTo>
                    <a:cubicBezTo>
                      <a:pt x="22" y="7"/>
                      <a:pt x="20" y="7"/>
                      <a:pt x="17" y="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2" y="1"/>
                      <a:pt x="24" y="2"/>
                      <a:pt x="24" y="2"/>
                    </a:cubicBezTo>
                    <a:lnTo>
                      <a:pt x="22" y="7"/>
                    </a:lnTo>
                    <a:close/>
                    <a:moveTo>
                      <a:pt x="0" y="6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3" y="0"/>
                      <a:pt x="4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3" y="6"/>
                      <a:pt x="1" y="6"/>
                      <a:pt x="0" y="6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36" name="ïSļîḍè"/>
              <p:cNvSpPr/>
              <p:nvPr/>
            </p:nvSpPr>
            <p:spPr bwMode="auto">
              <a:xfrm>
                <a:off x="6088063" y="3252788"/>
                <a:ext cx="503238" cy="796925"/>
              </a:xfrm>
              <a:custGeom>
                <a:avLst/>
                <a:gdLst>
                  <a:gd name="T0" fmla="*/ 18 w 235"/>
                  <a:gd name="T1" fmla="*/ 372 h 372"/>
                  <a:gd name="T2" fmla="*/ 1 w 235"/>
                  <a:gd name="T3" fmla="*/ 372 h 372"/>
                  <a:gd name="T4" fmla="*/ 36 w 235"/>
                  <a:gd name="T5" fmla="*/ 364 h 372"/>
                  <a:gd name="T6" fmla="*/ 37 w 235"/>
                  <a:gd name="T7" fmla="*/ 343 h 372"/>
                  <a:gd name="T8" fmla="*/ 39 w 235"/>
                  <a:gd name="T9" fmla="*/ 348 h 372"/>
                  <a:gd name="T10" fmla="*/ 29 w 235"/>
                  <a:gd name="T11" fmla="*/ 339 h 372"/>
                  <a:gd name="T12" fmla="*/ 30 w 235"/>
                  <a:gd name="T13" fmla="*/ 324 h 372"/>
                  <a:gd name="T14" fmla="*/ 72 w 235"/>
                  <a:gd name="T15" fmla="*/ 310 h 372"/>
                  <a:gd name="T16" fmla="*/ 53 w 235"/>
                  <a:gd name="T17" fmla="*/ 313 h 372"/>
                  <a:gd name="T18" fmla="*/ 59 w 235"/>
                  <a:gd name="T19" fmla="*/ 311 h 372"/>
                  <a:gd name="T20" fmla="*/ 43 w 235"/>
                  <a:gd name="T21" fmla="*/ 304 h 372"/>
                  <a:gd name="T22" fmla="*/ 80 w 235"/>
                  <a:gd name="T23" fmla="*/ 306 h 372"/>
                  <a:gd name="T24" fmla="*/ 86 w 235"/>
                  <a:gd name="T25" fmla="*/ 306 h 372"/>
                  <a:gd name="T26" fmla="*/ 75 w 235"/>
                  <a:gd name="T27" fmla="*/ 286 h 372"/>
                  <a:gd name="T28" fmla="*/ 71 w 235"/>
                  <a:gd name="T29" fmla="*/ 278 h 372"/>
                  <a:gd name="T30" fmla="*/ 71 w 235"/>
                  <a:gd name="T31" fmla="*/ 278 h 372"/>
                  <a:gd name="T32" fmla="*/ 86 w 235"/>
                  <a:gd name="T33" fmla="*/ 258 h 372"/>
                  <a:gd name="T34" fmla="*/ 86 w 235"/>
                  <a:gd name="T35" fmla="*/ 245 h 372"/>
                  <a:gd name="T36" fmla="*/ 86 w 235"/>
                  <a:gd name="T37" fmla="*/ 233 h 372"/>
                  <a:gd name="T38" fmla="*/ 68 w 235"/>
                  <a:gd name="T39" fmla="*/ 229 h 372"/>
                  <a:gd name="T40" fmla="*/ 73 w 235"/>
                  <a:gd name="T41" fmla="*/ 219 h 372"/>
                  <a:gd name="T42" fmla="*/ 75 w 235"/>
                  <a:gd name="T43" fmla="*/ 217 h 372"/>
                  <a:gd name="T44" fmla="*/ 77 w 235"/>
                  <a:gd name="T45" fmla="*/ 196 h 372"/>
                  <a:gd name="T46" fmla="*/ 147 w 235"/>
                  <a:gd name="T47" fmla="*/ 190 h 372"/>
                  <a:gd name="T48" fmla="*/ 151 w 235"/>
                  <a:gd name="T49" fmla="*/ 195 h 372"/>
                  <a:gd name="T50" fmla="*/ 138 w 235"/>
                  <a:gd name="T51" fmla="*/ 193 h 372"/>
                  <a:gd name="T52" fmla="*/ 126 w 235"/>
                  <a:gd name="T53" fmla="*/ 191 h 372"/>
                  <a:gd name="T54" fmla="*/ 174 w 235"/>
                  <a:gd name="T55" fmla="*/ 191 h 372"/>
                  <a:gd name="T56" fmla="*/ 83 w 235"/>
                  <a:gd name="T57" fmla="*/ 180 h 372"/>
                  <a:gd name="T58" fmla="*/ 115 w 235"/>
                  <a:gd name="T59" fmla="*/ 176 h 372"/>
                  <a:gd name="T60" fmla="*/ 166 w 235"/>
                  <a:gd name="T61" fmla="*/ 172 h 372"/>
                  <a:gd name="T62" fmla="*/ 91 w 235"/>
                  <a:gd name="T63" fmla="*/ 177 h 372"/>
                  <a:gd name="T64" fmla="*/ 175 w 235"/>
                  <a:gd name="T65" fmla="*/ 165 h 372"/>
                  <a:gd name="T66" fmla="*/ 161 w 235"/>
                  <a:gd name="T67" fmla="*/ 161 h 372"/>
                  <a:gd name="T68" fmla="*/ 168 w 235"/>
                  <a:gd name="T69" fmla="*/ 162 h 372"/>
                  <a:gd name="T70" fmla="*/ 214 w 235"/>
                  <a:gd name="T71" fmla="*/ 158 h 372"/>
                  <a:gd name="T72" fmla="*/ 198 w 235"/>
                  <a:gd name="T73" fmla="*/ 155 h 372"/>
                  <a:gd name="T74" fmla="*/ 225 w 235"/>
                  <a:gd name="T75" fmla="*/ 150 h 372"/>
                  <a:gd name="T76" fmla="*/ 229 w 235"/>
                  <a:gd name="T77" fmla="*/ 132 h 372"/>
                  <a:gd name="T78" fmla="*/ 220 w 235"/>
                  <a:gd name="T79" fmla="*/ 117 h 372"/>
                  <a:gd name="T80" fmla="*/ 228 w 235"/>
                  <a:gd name="T81" fmla="*/ 107 h 372"/>
                  <a:gd name="T82" fmla="*/ 228 w 235"/>
                  <a:gd name="T83" fmla="*/ 107 h 372"/>
                  <a:gd name="T84" fmla="*/ 234 w 235"/>
                  <a:gd name="T85" fmla="*/ 87 h 372"/>
                  <a:gd name="T86" fmla="*/ 229 w 235"/>
                  <a:gd name="T87" fmla="*/ 70 h 372"/>
                  <a:gd name="T88" fmla="*/ 220 w 235"/>
                  <a:gd name="T89" fmla="*/ 66 h 372"/>
                  <a:gd name="T90" fmla="*/ 221 w 235"/>
                  <a:gd name="T91" fmla="*/ 60 h 372"/>
                  <a:gd name="T92" fmla="*/ 189 w 235"/>
                  <a:gd name="T93" fmla="*/ 51 h 372"/>
                  <a:gd name="T94" fmla="*/ 201 w 235"/>
                  <a:gd name="T95" fmla="*/ 54 h 372"/>
                  <a:gd name="T96" fmla="*/ 204 w 235"/>
                  <a:gd name="T97" fmla="*/ 57 h 372"/>
                  <a:gd name="T98" fmla="*/ 181 w 235"/>
                  <a:gd name="T99" fmla="*/ 40 h 372"/>
                  <a:gd name="T100" fmla="*/ 171 w 235"/>
                  <a:gd name="T101" fmla="*/ 27 h 372"/>
                  <a:gd name="T102" fmla="*/ 152 w 235"/>
                  <a:gd name="T103" fmla="*/ 20 h 372"/>
                  <a:gd name="T104" fmla="*/ 132 w 235"/>
                  <a:gd name="T105" fmla="*/ 17 h 372"/>
                  <a:gd name="T106" fmla="*/ 139 w 235"/>
                  <a:gd name="T107" fmla="*/ 22 h 372"/>
                  <a:gd name="T108" fmla="*/ 131 w 235"/>
                  <a:gd name="T109" fmla="*/ 5 h 372"/>
                  <a:gd name="T110" fmla="*/ 131 w 235"/>
                  <a:gd name="T111" fmla="*/ 5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35" h="372">
                    <a:moveTo>
                      <a:pt x="18" y="372"/>
                    </a:moveTo>
                    <a:cubicBezTo>
                      <a:pt x="18" y="366"/>
                      <a:pt x="18" y="366"/>
                      <a:pt x="18" y="366"/>
                    </a:cubicBezTo>
                    <a:cubicBezTo>
                      <a:pt x="20" y="366"/>
                      <a:pt x="21" y="365"/>
                      <a:pt x="21" y="365"/>
                    </a:cubicBezTo>
                    <a:cubicBezTo>
                      <a:pt x="25" y="368"/>
                      <a:pt x="25" y="368"/>
                      <a:pt x="25" y="368"/>
                    </a:cubicBezTo>
                    <a:cubicBezTo>
                      <a:pt x="24" y="370"/>
                      <a:pt x="22" y="372"/>
                      <a:pt x="18" y="372"/>
                    </a:cubicBezTo>
                    <a:close/>
                    <a:moveTo>
                      <a:pt x="1" y="372"/>
                    </a:moveTo>
                    <a:cubicBezTo>
                      <a:pt x="0" y="366"/>
                      <a:pt x="0" y="366"/>
                      <a:pt x="0" y="366"/>
                    </a:cubicBezTo>
                    <a:cubicBezTo>
                      <a:pt x="0" y="366"/>
                      <a:pt x="2" y="365"/>
                      <a:pt x="6" y="365"/>
                    </a:cubicBezTo>
                    <a:cubicBezTo>
                      <a:pt x="6" y="371"/>
                      <a:pt x="6" y="371"/>
                      <a:pt x="6" y="371"/>
                    </a:cubicBezTo>
                    <a:cubicBezTo>
                      <a:pt x="3" y="371"/>
                      <a:pt x="1" y="372"/>
                      <a:pt x="1" y="372"/>
                    </a:cubicBezTo>
                    <a:close/>
                    <a:moveTo>
                      <a:pt x="36" y="364"/>
                    </a:moveTo>
                    <a:cubicBezTo>
                      <a:pt x="31" y="361"/>
                      <a:pt x="31" y="361"/>
                      <a:pt x="31" y="361"/>
                    </a:cubicBezTo>
                    <a:cubicBezTo>
                      <a:pt x="32" y="359"/>
                      <a:pt x="33" y="359"/>
                      <a:pt x="33" y="357"/>
                    </a:cubicBezTo>
                    <a:cubicBezTo>
                      <a:pt x="39" y="357"/>
                      <a:pt x="39" y="357"/>
                      <a:pt x="39" y="357"/>
                    </a:cubicBezTo>
                    <a:cubicBezTo>
                      <a:pt x="39" y="360"/>
                      <a:pt x="38" y="362"/>
                      <a:pt x="36" y="364"/>
                    </a:cubicBezTo>
                    <a:close/>
                    <a:moveTo>
                      <a:pt x="39" y="348"/>
                    </a:moveTo>
                    <a:cubicBezTo>
                      <a:pt x="35" y="344"/>
                      <a:pt x="35" y="344"/>
                      <a:pt x="35" y="344"/>
                    </a:cubicBezTo>
                    <a:cubicBezTo>
                      <a:pt x="35" y="344"/>
                      <a:pt x="36" y="343"/>
                      <a:pt x="37" y="343"/>
                    </a:cubicBezTo>
                    <a:cubicBezTo>
                      <a:pt x="37" y="343"/>
                      <a:pt x="37" y="342"/>
                      <a:pt x="37" y="342"/>
                    </a:cubicBezTo>
                    <a:cubicBezTo>
                      <a:pt x="37" y="342"/>
                      <a:pt x="37" y="343"/>
                      <a:pt x="37" y="343"/>
                    </a:cubicBezTo>
                    <a:cubicBezTo>
                      <a:pt x="37" y="343"/>
                      <a:pt x="37" y="343"/>
                      <a:pt x="37" y="343"/>
                    </a:cubicBezTo>
                    <a:cubicBezTo>
                      <a:pt x="42" y="340"/>
                      <a:pt x="42" y="340"/>
                      <a:pt x="42" y="340"/>
                    </a:cubicBezTo>
                    <a:cubicBezTo>
                      <a:pt x="43" y="341"/>
                      <a:pt x="43" y="342"/>
                      <a:pt x="43" y="343"/>
                    </a:cubicBezTo>
                    <a:cubicBezTo>
                      <a:pt x="43" y="344"/>
                      <a:pt x="42" y="346"/>
                      <a:pt x="39" y="348"/>
                    </a:cubicBezTo>
                    <a:cubicBezTo>
                      <a:pt x="39" y="348"/>
                      <a:pt x="39" y="348"/>
                      <a:pt x="39" y="348"/>
                    </a:cubicBezTo>
                    <a:close/>
                    <a:moveTo>
                      <a:pt x="29" y="339"/>
                    </a:moveTo>
                    <a:cubicBezTo>
                      <a:pt x="26" y="339"/>
                      <a:pt x="23" y="338"/>
                      <a:pt x="22" y="335"/>
                    </a:cubicBezTo>
                    <a:cubicBezTo>
                      <a:pt x="27" y="333"/>
                      <a:pt x="27" y="333"/>
                      <a:pt x="27" y="333"/>
                    </a:cubicBezTo>
                    <a:cubicBezTo>
                      <a:pt x="28" y="333"/>
                      <a:pt x="29" y="334"/>
                      <a:pt x="30" y="334"/>
                    </a:cubicBezTo>
                    <a:lnTo>
                      <a:pt x="29" y="339"/>
                    </a:lnTo>
                    <a:close/>
                    <a:moveTo>
                      <a:pt x="30" y="324"/>
                    </a:moveTo>
                    <a:cubicBezTo>
                      <a:pt x="24" y="321"/>
                      <a:pt x="24" y="321"/>
                      <a:pt x="24" y="321"/>
                    </a:cubicBezTo>
                    <a:cubicBezTo>
                      <a:pt x="25" y="319"/>
                      <a:pt x="26" y="317"/>
                      <a:pt x="27" y="316"/>
                    </a:cubicBezTo>
                    <a:cubicBezTo>
                      <a:pt x="32" y="319"/>
                      <a:pt x="32" y="319"/>
                      <a:pt x="32" y="319"/>
                    </a:cubicBezTo>
                    <a:cubicBezTo>
                      <a:pt x="31" y="320"/>
                      <a:pt x="31" y="322"/>
                      <a:pt x="30" y="324"/>
                    </a:cubicBezTo>
                    <a:close/>
                    <a:moveTo>
                      <a:pt x="76" y="317"/>
                    </a:moveTo>
                    <a:cubicBezTo>
                      <a:pt x="75" y="317"/>
                      <a:pt x="75" y="317"/>
                      <a:pt x="74" y="317"/>
                    </a:cubicBezTo>
                    <a:cubicBezTo>
                      <a:pt x="73" y="316"/>
                      <a:pt x="71" y="316"/>
                      <a:pt x="70" y="315"/>
                    </a:cubicBezTo>
                    <a:cubicBezTo>
                      <a:pt x="72" y="310"/>
                      <a:pt x="72" y="310"/>
                      <a:pt x="72" y="310"/>
                    </a:cubicBezTo>
                    <a:cubicBezTo>
                      <a:pt x="72" y="310"/>
                      <a:pt x="72" y="310"/>
                      <a:pt x="72" y="310"/>
                    </a:cubicBezTo>
                    <a:cubicBezTo>
                      <a:pt x="73" y="310"/>
                      <a:pt x="75" y="311"/>
                      <a:pt x="75" y="311"/>
                    </a:cubicBezTo>
                    <a:cubicBezTo>
                      <a:pt x="76" y="311"/>
                      <a:pt x="76" y="311"/>
                      <a:pt x="77" y="311"/>
                    </a:cubicBezTo>
                    <a:lnTo>
                      <a:pt x="76" y="317"/>
                    </a:lnTo>
                    <a:close/>
                    <a:moveTo>
                      <a:pt x="56" y="314"/>
                    </a:moveTo>
                    <a:cubicBezTo>
                      <a:pt x="55" y="314"/>
                      <a:pt x="54" y="314"/>
                      <a:pt x="53" y="313"/>
                    </a:cubicBezTo>
                    <a:cubicBezTo>
                      <a:pt x="55" y="308"/>
                      <a:pt x="55" y="308"/>
                      <a:pt x="55" y="308"/>
                    </a:cubicBezTo>
                    <a:cubicBezTo>
                      <a:pt x="55" y="308"/>
                      <a:pt x="57" y="308"/>
                      <a:pt x="58" y="308"/>
                    </a:cubicBezTo>
                    <a:cubicBezTo>
                      <a:pt x="59" y="310"/>
                      <a:pt x="59" y="310"/>
                      <a:pt x="59" y="310"/>
                    </a:cubicBezTo>
                    <a:cubicBezTo>
                      <a:pt x="60" y="313"/>
                      <a:pt x="60" y="313"/>
                      <a:pt x="60" y="313"/>
                    </a:cubicBezTo>
                    <a:cubicBezTo>
                      <a:pt x="59" y="311"/>
                      <a:pt x="59" y="311"/>
                      <a:pt x="59" y="311"/>
                    </a:cubicBezTo>
                    <a:cubicBezTo>
                      <a:pt x="59" y="313"/>
                      <a:pt x="59" y="313"/>
                      <a:pt x="59" y="313"/>
                    </a:cubicBezTo>
                    <a:cubicBezTo>
                      <a:pt x="58" y="314"/>
                      <a:pt x="57" y="314"/>
                      <a:pt x="56" y="314"/>
                    </a:cubicBezTo>
                    <a:close/>
                    <a:moveTo>
                      <a:pt x="39" y="311"/>
                    </a:moveTo>
                    <a:cubicBezTo>
                      <a:pt x="36" y="306"/>
                      <a:pt x="36" y="306"/>
                      <a:pt x="36" y="306"/>
                    </a:cubicBezTo>
                    <a:cubicBezTo>
                      <a:pt x="38" y="304"/>
                      <a:pt x="40" y="304"/>
                      <a:pt x="43" y="304"/>
                    </a:cubicBezTo>
                    <a:cubicBezTo>
                      <a:pt x="43" y="309"/>
                      <a:pt x="43" y="309"/>
                      <a:pt x="43" y="309"/>
                    </a:cubicBezTo>
                    <a:cubicBezTo>
                      <a:pt x="41" y="310"/>
                      <a:pt x="40" y="310"/>
                      <a:pt x="39" y="311"/>
                    </a:cubicBezTo>
                    <a:close/>
                    <a:moveTo>
                      <a:pt x="85" y="307"/>
                    </a:moveTo>
                    <a:cubicBezTo>
                      <a:pt x="80" y="306"/>
                      <a:pt x="80" y="306"/>
                      <a:pt x="80" y="306"/>
                    </a:cubicBezTo>
                    <a:cubicBezTo>
                      <a:pt x="80" y="306"/>
                      <a:pt x="80" y="306"/>
                      <a:pt x="80" y="306"/>
                    </a:cubicBezTo>
                    <a:cubicBezTo>
                      <a:pt x="80" y="305"/>
                      <a:pt x="80" y="305"/>
                      <a:pt x="80" y="305"/>
                    </a:cubicBezTo>
                    <a:cubicBezTo>
                      <a:pt x="80" y="305"/>
                      <a:pt x="80" y="305"/>
                      <a:pt x="80" y="305"/>
                    </a:cubicBezTo>
                    <a:cubicBezTo>
                      <a:pt x="80" y="305"/>
                      <a:pt x="79" y="305"/>
                      <a:pt x="78" y="305"/>
                    </a:cubicBezTo>
                    <a:cubicBezTo>
                      <a:pt x="81" y="299"/>
                      <a:pt x="81" y="299"/>
                      <a:pt x="81" y="299"/>
                    </a:cubicBezTo>
                    <a:cubicBezTo>
                      <a:pt x="83" y="300"/>
                      <a:pt x="86" y="302"/>
                      <a:pt x="86" y="306"/>
                    </a:cubicBezTo>
                    <a:cubicBezTo>
                      <a:pt x="86" y="306"/>
                      <a:pt x="85" y="306"/>
                      <a:pt x="85" y="307"/>
                    </a:cubicBezTo>
                    <a:close/>
                    <a:moveTo>
                      <a:pt x="77" y="293"/>
                    </a:moveTo>
                    <a:cubicBezTo>
                      <a:pt x="72" y="292"/>
                      <a:pt x="72" y="292"/>
                      <a:pt x="72" y="292"/>
                    </a:cubicBezTo>
                    <a:cubicBezTo>
                      <a:pt x="72" y="291"/>
                      <a:pt x="72" y="291"/>
                      <a:pt x="72" y="290"/>
                    </a:cubicBezTo>
                    <a:cubicBezTo>
                      <a:pt x="73" y="288"/>
                      <a:pt x="75" y="287"/>
                      <a:pt x="75" y="286"/>
                    </a:cubicBezTo>
                    <a:cubicBezTo>
                      <a:pt x="80" y="290"/>
                      <a:pt x="80" y="290"/>
                      <a:pt x="80" y="290"/>
                    </a:cubicBezTo>
                    <a:cubicBezTo>
                      <a:pt x="79" y="290"/>
                      <a:pt x="79" y="290"/>
                      <a:pt x="79" y="290"/>
                    </a:cubicBezTo>
                    <a:cubicBezTo>
                      <a:pt x="79" y="291"/>
                      <a:pt x="78" y="291"/>
                      <a:pt x="78" y="293"/>
                    </a:cubicBezTo>
                    <a:cubicBezTo>
                      <a:pt x="77" y="293"/>
                      <a:pt x="77" y="293"/>
                      <a:pt x="77" y="293"/>
                    </a:cubicBezTo>
                    <a:close/>
                    <a:moveTo>
                      <a:pt x="71" y="278"/>
                    </a:moveTo>
                    <a:cubicBezTo>
                      <a:pt x="70" y="278"/>
                      <a:pt x="70" y="278"/>
                      <a:pt x="70" y="278"/>
                    </a:cubicBezTo>
                    <a:cubicBezTo>
                      <a:pt x="70" y="276"/>
                      <a:pt x="71" y="274"/>
                      <a:pt x="72" y="271"/>
                    </a:cubicBezTo>
                    <a:cubicBezTo>
                      <a:pt x="77" y="274"/>
                      <a:pt x="77" y="274"/>
                      <a:pt x="77" y="274"/>
                    </a:cubicBezTo>
                    <a:cubicBezTo>
                      <a:pt x="76" y="276"/>
                      <a:pt x="76" y="277"/>
                      <a:pt x="76" y="278"/>
                    </a:cubicBezTo>
                    <a:lnTo>
                      <a:pt x="71" y="278"/>
                    </a:lnTo>
                    <a:close/>
                    <a:moveTo>
                      <a:pt x="84" y="265"/>
                    </a:moveTo>
                    <a:cubicBezTo>
                      <a:pt x="79" y="262"/>
                      <a:pt x="79" y="262"/>
                      <a:pt x="79" y="262"/>
                    </a:cubicBezTo>
                    <a:cubicBezTo>
                      <a:pt x="80" y="261"/>
                      <a:pt x="81" y="260"/>
                      <a:pt x="81" y="259"/>
                    </a:cubicBezTo>
                    <a:cubicBezTo>
                      <a:pt x="81" y="259"/>
                      <a:pt x="80" y="259"/>
                      <a:pt x="80" y="258"/>
                    </a:cubicBezTo>
                    <a:cubicBezTo>
                      <a:pt x="86" y="258"/>
                      <a:pt x="86" y="258"/>
                      <a:pt x="86" y="258"/>
                    </a:cubicBezTo>
                    <a:cubicBezTo>
                      <a:pt x="86" y="258"/>
                      <a:pt x="86" y="259"/>
                      <a:pt x="86" y="259"/>
                    </a:cubicBezTo>
                    <a:cubicBezTo>
                      <a:pt x="86" y="261"/>
                      <a:pt x="86" y="263"/>
                      <a:pt x="84" y="265"/>
                    </a:cubicBezTo>
                    <a:close/>
                    <a:moveTo>
                      <a:pt x="84" y="251"/>
                    </a:moveTo>
                    <a:cubicBezTo>
                      <a:pt x="84" y="246"/>
                      <a:pt x="84" y="246"/>
                      <a:pt x="84" y="246"/>
                    </a:cubicBezTo>
                    <a:cubicBezTo>
                      <a:pt x="86" y="246"/>
                      <a:pt x="86" y="245"/>
                      <a:pt x="86" y="245"/>
                    </a:cubicBezTo>
                    <a:cubicBezTo>
                      <a:pt x="91" y="248"/>
                      <a:pt x="91" y="248"/>
                      <a:pt x="91" y="248"/>
                    </a:cubicBezTo>
                    <a:cubicBezTo>
                      <a:pt x="90" y="251"/>
                      <a:pt x="87" y="251"/>
                      <a:pt x="84" y="251"/>
                    </a:cubicBezTo>
                    <a:close/>
                    <a:moveTo>
                      <a:pt x="85" y="241"/>
                    </a:moveTo>
                    <a:cubicBezTo>
                      <a:pt x="82" y="239"/>
                      <a:pt x="81" y="237"/>
                      <a:pt x="80" y="234"/>
                    </a:cubicBezTo>
                    <a:cubicBezTo>
                      <a:pt x="86" y="233"/>
                      <a:pt x="86" y="233"/>
                      <a:pt x="86" y="233"/>
                    </a:cubicBezTo>
                    <a:cubicBezTo>
                      <a:pt x="86" y="234"/>
                      <a:pt x="87" y="235"/>
                      <a:pt x="88" y="236"/>
                    </a:cubicBezTo>
                    <a:lnTo>
                      <a:pt x="85" y="241"/>
                    </a:lnTo>
                    <a:close/>
                    <a:moveTo>
                      <a:pt x="75" y="230"/>
                    </a:moveTo>
                    <a:cubicBezTo>
                      <a:pt x="74" y="230"/>
                      <a:pt x="74" y="230"/>
                      <a:pt x="73" y="230"/>
                    </a:cubicBezTo>
                    <a:cubicBezTo>
                      <a:pt x="71" y="230"/>
                      <a:pt x="70" y="229"/>
                      <a:pt x="68" y="229"/>
                    </a:cubicBezTo>
                    <a:cubicBezTo>
                      <a:pt x="70" y="224"/>
                      <a:pt x="70" y="224"/>
                      <a:pt x="70" y="224"/>
                    </a:cubicBezTo>
                    <a:cubicBezTo>
                      <a:pt x="71" y="224"/>
                      <a:pt x="72" y="224"/>
                      <a:pt x="73" y="224"/>
                    </a:cubicBezTo>
                    <a:cubicBezTo>
                      <a:pt x="74" y="224"/>
                      <a:pt x="75" y="224"/>
                      <a:pt x="75" y="224"/>
                    </a:cubicBezTo>
                    <a:lnTo>
                      <a:pt x="75" y="230"/>
                    </a:lnTo>
                    <a:close/>
                    <a:moveTo>
                      <a:pt x="73" y="219"/>
                    </a:moveTo>
                    <a:cubicBezTo>
                      <a:pt x="69" y="215"/>
                      <a:pt x="69" y="215"/>
                      <a:pt x="69" y="215"/>
                    </a:cubicBezTo>
                    <a:cubicBezTo>
                      <a:pt x="71" y="213"/>
                      <a:pt x="71" y="213"/>
                      <a:pt x="71" y="213"/>
                    </a:cubicBezTo>
                    <a:cubicBezTo>
                      <a:pt x="71" y="212"/>
                      <a:pt x="72" y="211"/>
                      <a:pt x="73" y="210"/>
                    </a:cubicBezTo>
                    <a:cubicBezTo>
                      <a:pt x="77" y="214"/>
                      <a:pt x="77" y="214"/>
                      <a:pt x="77" y="214"/>
                    </a:cubicBezTo>
                    <a:cubicBezTo>
                      <a:pt x="77" y="215"/>
                      <a:pt x="76" y="216"/>
                      <a:pt x="75" y="217"/>
                    </a:cubicBezTo>
                    <a:lnTo>
                      <a:pt x="73" y="219"/>
                    </a:lnTo>
                    <a:close/>
                    <a:moveTo>
                      <a:pt x="83" y="202"/>
                    </a:moveTo>
                    <a:cubicBezTo>
                      <a:pt x="77" y="202"/>
                      <a:pt x="77" y="202"/>
                      <a:pt x="77" y="202"/>
                    </a:cubicBezTo>
                    <a:cubicBezTo>
                      <a:pt x="77" y="201"/>
                      <a:pt x="77" y="201"/>
                      <a:pt x="77" y="201"/>
                    </a:cubicBezTo>
                    <a:cubicBezTo>
                      <a:pt x="77" y="199"/>
                      <a:pt x="77" y="198"/>
                      <a:pt x="77" y="196"/>
                    </a:cubicBezTo>
                    <a:cubicBezTo>
                      <a:pt x="83" y="196"/>
                      <a:pt x="83" y="196"/>
                      <a:pt x="83" y="196"/>
                    </a:cubicBezTo>
                    <a:cubicBezTo>
                      <a:pt x="83" y="198"/>
                      <a:pt x="83" y="199"/>
                      <a:pt x="83" y="201"/>
                    </a:cubicBezTo>
                    <a:cubicBezTo>
                      <a:pt x="83" y="201"/>
                      <a:pt x="83" y="202"/>
                      <a:pt x="83" y="202"/>
                    </a:cubicBezTo>
                    <a:close/>
                    <a:moveTo>
                      <a:pt x="151" y="195"/>
                    </a:moveTo>
                    <a:cubicBezTo>
                      <a:pt x="147" y="190"/>
                      <a:pt x="147" y="190"/>
                      <a:pt x="147" y="190"/>
                    </a:cubicBezTo>
                    <a:cubicBezTo>
                      <a:pt x="148" y="190"/>
                      <a:pt x="148" y="190"/>
                      <a:pt x="148" y="190"/>
                    </a:cubicBezTo>
                    <a:cubicBezTo>
                      <a:pt x="149" y="189"/>
                      <a:pt x="152" y="188"/>
                      <a:pt x="154" y="188"/>
                    </a:cubicBezTo>
                    <a:cubicBezTo>
                      <a:pt x="155" y="193"/>
                      <a:pt x="155" y="193"/>
                      <a:pt x="155" y="193"/>
                    </a:cubicBezTo>
                    <a:cubicBezTo>
                      <a:pt x="153" y="194"/>
                      <a:pt x="152" y="194"/>
                      <a:pt x="151" y="195"/>
                    </a:cubicBezTo>
                    <a:cubicBezTo>
                      <a:pt x="151" y="195"/>
                      <a:pt x="151" y="195"/>
                      <a:pt x="151" y="195"/>
                    </a:cubicBezTo>
                    <a:close/>
                    <a:moveTo>
                      <a:pt x="135" y="195"/>
                    </a:moveTo>
                    <a:cubicBezTo>
                      <a:pt x="131" y="190"/>
                      <a:pt x="131" y="190"/>
                      <a:pt x="131" y="190"/>
                    </a:cubicBezTo>
                    <a:cubicBezTo>
                      <a:pt x="133" y="189"/>
                      <a:pt x="135" y="188"/>
                      <a:pt x="137" y="188"/>
                    </a:cubicBezTo>
                    <a:cubicBezTo>
                      <a:pt x="138" y="188"/>
                      <a:pt x="138" y="188"/>
                      <a:pt x="139" y="188"/>
                    </a:cubicBezTo>
                    <a:cubicBezTo>
                      <a:pt x="138" y="193"/>
                      <a:pt x="138" y="193"/>
                      <a:pt x="138" y="193"/>
                    </a:cubicBezTo>
                    <a:cubicBezTo>
                      <a:pt x="137" y="193"/>
                      <a:pt x="136" y="194"/>
                      <a:pt x="135" y="195"/>
                    </a:cubicBezTo>
                    <a:close/>
                    <a:moveTo>
                      <a:pt x="122" y="194"/>
                    </a:moveTo>
                    <a:cubicBezTo>
                      <a:pt x="120" y="193"/>
                      <a:pt x="119" y="191"/>
                      <a:pt x="118" y="189"/>
                    </a:cubicBezTo>
                    <a:cubicBezTo>
                      <a:pt x="123" y="186"/>
                      <a:pt x="123" y="186"/>
                      <a:pt x="123" y="186"/>
                    </a:cubicBezTo>
                    <a:cubicBezTo>
                      <a:pt x="124" y="188"/>
                      <a:pt x="125" y="189"/>
                      <a:pt x="126" y="191"/>
                    </a:cubicBezTo>
                    <a:lnTo>
                      <a:pt x="122" y="194"/>
                    </a:lnTo>
                    <a:close/>
                    <a:moveTo>
                      <a:pt x="166" y="194"/>
                    </a:moveTo>
                    <a:cubicBezTo>
                      <a:pt x="166" y="188"/>
                      <a:pt x="166" y="188"/>
                      <a:pt x="166" y="188"/>
                    </a:cubicBezTo>
                    <a:cubicBezTo>
                      <a:pt x="168" y="188"/>
                      <a:pt x="169" y="188"/>
                      <a:pt x="169" y="188"/>
                    </a:cubicBezTo>
                    <a:cubicBezTo>
                      <a:pt x="174" y="191"/>
                      <a:pt x="174" y="191"/>
                      <a:pt x="174" y="191"/>
                    </a:cubicBezTo>
                    <a:cubicBezTo>
                      <a:pt x="173" y="193"/>
                      <a:pt x="170" y="194"/>
                      <a:pt x="166" y="194"/>
                    </a:cubicBezTo>
                    <a:close/>
                    <a:moveTo>
                      <a:pt x="82" y="185"/>
                    </a:moveTo>
                    <a:cubicBezTo>
                      <a:pt x="76" y="184"/>
                      <a:pt x="76" y="184"/>
                      <a:pt x="76" y="184"/>
                    </a:cubicBezTo>
                    <a:cubicBezTo>
                      <a:pt x="77" y="182"/>
                      <a:pt x="77" y="179"/>
                      <a:pt x="78" y="178"/>
                    </a:cubicBezTo>
                    <a:cubicBezTo>
                      <a:pt x="83" y="180"/>
                      <a:pt x="83" y="180"/>
                      <a:pt x="83" y="180"/>
                    </a:cubicBezTo>
                    <a:cubicBezTo>
                      <a:pt x="83" y="181"/>
                      <a:pt x="82" y="183"/>
                      <a:pt x="82" y="185"/>
                    </a:cubicBezTo>
                    <a:close/>
                    <a:moveTo>
                      <a:pt x="112" y="181"/>
                    </a:moveTo>
                    <a:cubicBezTo>
                      <a:pt x="110" y="181"/>
                      <a:pt x="109" y="180"/>
                      <a:pt x="107" y="179"/>
                    </a:cubicBezTo>
                    <a:cubicBezTo>
                      <a:pt x="109" y="174"/>
                      <a:pt x="109" y="174"/>
                      <a:pt x="109" y="174"/>
                    </a:cubicBezTo>
                    <a:cubicBezTo>
                      <a:pt x="111" y="175"/>
                      <a:pt x="113" y="175"/>
                      <a:pt x="115" y="176"/>
                    </a:cubicBezTo>
                    <a:lnTo>
                      <a:pt x="112" y="181"/>
                    </a:lnTo>
                    <a:close/>
                    <a:moveTo>
                      <a:pt x="165" y="180"/>
                    </a:moveTo>
                    <a:cubicBezTo>
                      <a:pt x="164" y="179"/>
                      <a:pt x="164" y="179"/>
                      <a:pt x="164" y="179"/>
                    </a:cubicBezTo>
                    <a:cubicBezTo>
                      <a:pt x="163" y="178"/>
                      <a:pt x="162" y="177"/>
                      <a:pt x="161" y="175"/>
                    </a:cubicBezTo>
                    <a:cubicBezTo>
                      <a:pt x="166" y="172"/>
                      <a:pt x="166" y="172"/>
                      <a:pt x="166" y="172"/>
                    </a:cubicBezTo>
                    <a:cubicBezTo>
                      <a:pt x="167" y="173"/>
                      <a:pt x="168" y="175"/>
                      <a:pt x="169" y="176"/>
                    </a:cubicBezTo>
                    <a:cubicBezTo>
                      <a:pt x="170" y="177"/>
                      <a:pt x="170" y="177"/>
                      <a:pt x="170" y="177"/>
                    </a:cubicBezTo>
                    <a:lnTo>
                      <a:pt x="165" y="180"/>
                    </a:lnTo>
                    <a:close/>
                    <a:moveTo>
                      <a:pt x="96" y="177"/>
                    </a:moveTo>
                    <a:cubicBezTo>
                      <a:pt x="94" y="177"/>
                      <a:pt x="92" y="177"/>
                      <a:pt x="91" y="177"/>
                    </a:cubicBezTo>
                    <a:cubicBezTo>
                      <a:pt x="90" y="171"/>
                      <a:pt x="90" y="171"/>
                      <a:pt x="90" y="171"/>
                    </a:cubicBezTo>
                    <a:cubicBezTo>
                      <a:pt x="92" y="171"/>
                      <a:pt x="94" y="171"/>
                      <a:pt x="97" y="171"/>
                    </a:cubicBezTo>
                    <a:lnTo>
                      <a:pt x="96" y="177"/>
                    </a:lnTo>
                    <a:close/>
                    <a:moveTo>
                      <a:pt x="182" y="167"/>
                    </a:moveTo>
                    <a:cubicBezTo>
                      <a:pt x="179" y="167"/>
                      <a:pt x="177" y="166"/>
                      <a:pt x="175" y="165"/>
                    </a:cubicBezTo>
                    <a:cubicBezTo>
                      <a:pt x="178" y="160"/>
                      <a:pt x="178" y="160"/>
                      <a:pt x="178" y="160"/>
                    </a:cubicBezTo>
                    <a:cubicBezTo>
                      <a:pt x="179" y="160"/>
                      <a:pt x="181" y="161"/>
                      <a:pt x="182" y="161"/>
                    </a:cubicBezTo>
                    <a:lnTo>
                      <a:pt x="182" y="167"/>
                    </a:lnTo>
                    <a:close/>
                    <a:moveTo>
                      <a:pt x="164" y="166"/>
                    </a:moveTo>
                    <a:cubicBezTo>
                      <a:pt x="161" y="161"/>
                      <a:pt x="161" y="161"/>
                      <a:pt x="161" y="161"/>
                    </a:cubicBezTo>
                    <a:cubicBezTo>
                      <a:pt x="161" y="161"/>
                      <a:pt x="161" y="161"/>
                      <a:pt x="161" y="161"/>
                    </a:cubicBezTo>
                    <a:cubicBezTo>
                      <a:pt x="162" y="160"/>
                      <a:pt x="162" y="160"/>
                      <a:pt x="162" y="160"/>
                    </a:cubicBezTo>
                    <a:cubicBezTo>
                      <a:pt x="163" y="159"/>
                      <a:pt x="163" y="158"/>
                      <a:pt x="164" y="157"/>
                    </a:cubicBezTo>
                    <a:cubicBezTo>
                      <a:pt x="168" y="161"/>
                      <a:pt x="168" y="161"/>
                      <a:pt x="168" y="161"/>
                    </a:cubicBezTo>
                    <a:cubicBezTo>
                      <a:pt x="168" y="161"/>
                      <a:pt x="168" y="161"/>
                      <a:pt x="168" y="162"/>
                    </a:cubicBezTo>
                    <a:cubicBezTo>
                      <a:pt x="167" y="164"/>
                      <a:pt x="165" y="165"/>
                      <a:pt x="164" y="166"/>
                    </a:cubicBezTo>
                    <a:close/>
                    <a:moveTo>
                      <a:pt x="210" y="164"/>
                    </a:moveTo>
                    <a:cubicBezTo>
                      <a:pt x="210" y="164"/>
                      <a:pt x="209" y="164"/>
                      <a:pt x="209" y="164"/>
                    </a:cubicBezTo>
                    <a:cubicBezTo>
                      <a:pt x="209" y="158"/>
                      <a:pt x="209" y="158"/>
                      <a:pt x="209" y="158"/>
                    </a:cubicBezTo>
                    <a:cubicBezTo>
                      <a:pt x="211" y="158"/>
                      <a:pt x="212" y="158"/>
                      <a:pt x="214" y="158"/>
                    </a:cubicBezTo>
                    <a:cubicBezTo>
                      <a:pt x="216" y="163"/>
                      <a:pt x="216" y="163"/>
                      <a:pt x="216" y="163"/>
                    </a:cubicBezTo>
                    <a:cubicBezTo>
                      <a:pt x="213" y="164"/>
                      <a:pt x="212" y="164"/>
                      <a:pt x="210" y="164"/>
                    </a:cubicBezTo>
                    <a:close/>
                    <a:moveTo>
                      <a:pt x="193" y="162"/>
                    </a:moveTo>
                    <a:cubicBezTo>
                      <a:pt x="191" y="157"/>
                      <a:pt x="191" y="157"/>
                      <a:pt x="191" y="157"/>
                    </a:cubicBezTo>
                    <a:cubicBezTo>
                      <a:pt x="194" y="156"/>
                      <a:pt x="196" y="155"/>
                      <a:pt x="198" y="155"/>
                    </a:cubicBezTo>
                    <a:cubicBezTo>
                      <a:pt x="198" y="161"/>
                      <a:pt x="198" y="161"/>
                      <a:pt x="198" y="161"/>
                    </a:cubicBezTo>
                    <a:cubicBezTo>
                      <a:pt x="197" y="161"/>
                      <a:pt x="195" y="161"/>
                      <a:pt x="193" y="162"/>
                    </a:cubicBezTo>
                    <a:close/>
                    <a:moveTo>
                      <a:pt x="228" y="158"/>
                    </a:moveTo>
                    <a:cubicBezTo>
                      <a:pt x="223" y="154"/>
                      <a:pt x="223" y="154"/>
                      <a:pt x="223" y="154"/>
                    </a:cubicBezTo>
                    <a:cubicBezTo>
                      <a:pt x="224" y="153"/>
                      <a:pt x="225" y="152"/>
                      <a:pt x="225" y="150"/>
                    </a:cubicBezTo>
                    <a:cubicBezTo>
                      <a:pt x="231" y="151"/>
                      <a:pt x="231" y="151"/>
                      <a:pt x="231" y="151"/>
                    </a:cubicBezTo>
                    <a:cubicBezTo>
                      <a:pt x="230" y="154"/>
                      <a:pt x="229" y="156"/>
                      <a:pt x="228" y="158"/>
                    </a:cubicBezTo>
                    <a:close/>
                    <a:moveTo>
                      <a:pt x="225" y="140"/>
                    </a:moveTo>
                    <a:cubicBezTo>
                      <a:pt x="225" y="138"/>
                      <a:pt x="224" y="136"/>
                      <a:pt x="223" y="135"/>
                    </a:cubicBezTo>
                    <a:cubicBezTo>
                      <a:pt x="229" y="132"/>
                      <a:pt x="229" y="132"/>
                      <a:pt x="229" y="132"/>
                    </a:cubicBezTo>
                    <a:cubicBezTo>
                      <a:pt x="229" y="134"/>
                      <a:pt x="230" y="136"/>
                      <a:pt x="231" y="139"/>
                    </a:cubicBezTo>
                    <a:lnTo>
                      <a:pt x="225" y="140"/>
                    </a:lnTo>
                    <a:close/>
                    <a:moveTo>
                      <a:pt x="220" y="123"/>
                    </a:moveTo>
                    <a:cubicBezTo>
                      <a:pt x="220" y="121"/>
                      <a:pt x="220" y="120"/>
                      <a:pt x="220" y="118"/>
                    </a:cubicBezTo>
                    <a:cubicBezTo>
                      <a:pt x="220" y="117"/>
                      <a:pt x="220" y="117"/>
                      <a:pt x="220" y="117"/>
                    </a:cubicBezTo>
                    <a:cubicBezTo>
                      <a:pt x="225" y="117"/>
                      <a:pt x="225" y="117"/>
                      <a:pt x="225" y="117"/>
                    </a:cubicBezTo>
                    <a:cubicBezTo>
                      <a:pt x="225" y="118"/>
                      <a:pt x="225" y="118"/>
                      <a:pt x="225" y="118"/>
                    </a:cubicBezTo>
                    <a:cubicBezTo>
                      <a:pt x="225" y="119"/>
                      <a:pt x="226" y="121"/>
                      <a:pt x="226" y="122"/>
                    </a:cubicBezTo>
                    <a:lnTo>
                      <a:pt x="220" y="123"/>
                    </a:lnTo>
                    <a:close/>
                    <a:moveTo>
                      <a:pt x="228" y="107"/>
                    </a:moveTo>
                    <a:cubicBezTo>
                      <a:pt x="223" y="104"/>
                      <a:pt x="223" y="104"/>
                      <a:pt x="223" y="104"/>
                    </a:cubicBezTo>
                    <a:cubicBezTo>
                      <a:pt x="223" y="104"/>
                      <a:pt x="223" y="104"/>
                      <a:pt x="223" y="104"/>
                    </a:cubicBezTo>
                    <a:cubicBezTo>
                      <a:pt x="224" y="102"/>
                      <a:pt x="225" y="100"/>
                      <a:pt x="226" y="99"/>
                    </a:cubicBezTo>
                    <a:cubicBezTo>
                      <a:pt x="231" y="102"/>
                      <a:pt x="231" y="102"/>
                      <a:pt x="231" y="102"/>
                    </a:cubicBezTo>
                    <a:cubicBezTo>
                      <a:pt x="230" y="103"/>
                      <a:pt x="229" y="105"/>
                      <a:pt x="228" y="107"/>
                    </a:cubicBezTo>
                    <a:close/>
                    <a:moveTo>
                      <a:pt x="228" y="89"/>
                    </a:moveTo>
                    <a:cubicBezTo>
                      <a:pt x="228" y="89"/>
                      <a:pt x="228" y="88"/>
                      <a:pt x="228" y="87"/>
                    </a:cubicBezTo>
                    <a:cubicBezTo>
                      <a:pt x="228" y="86"/>
                      <a:pt x="228" y="85"/>
                      <a:pt x="227" y="84"/>
                    </a:cubicBezTo>
                    <a:cubicBezTo>
                      <a:pt x="233" y="83"/>
                      <a:pt x="233" y="83"/>
                      <a:pt x="233" y="83"/>
                    </a:cubicBezTo>
                    <a:cubicBezTo>
                      <a:pt x="233" y="84"/>
                      <a:pt x="234" y="85"/>
                      <a:pt x="234" y="87"/>
                    </a:cubicBezTo>
                    <a:cubicBezTo>
                      <a:pt x="234" y="88"/>
                      <a:pt x="234" y="88"/>
                      <a:pt x="234" y="89"/>
                    </a:cubicBezTo>
                    <a:lnTo>
                      <a:pt x="228" y="89"/>
                    </a:lnTo>
                    <a:close/>
                    <a:moveTo>
                      <a:pt x="234" y="74"/>
                    </a:moveTo>
                    <a:cubicBezTo>
                      <a:pt x="229" y="71"/>
                      <a:pt x="229" y="71"/>
                      <a:pt x="229" y="71"/>
                    </a:cubicBezTo>
                    <a:cubicBezTo>
                      <a:pt x="229" y="70"/>
                      <a:pt x="229" y="70"/>
                      <a:pt x="229" y="70"/>
                    </a:cubicBezTo>
                    <a:cubicBezTo>
                      <a:pt x="229" y="70"/>
                      <a:pt x="229" y="70"/>
                      <a:pt x="229" y="69"/>
                    </a:cubicBezTo>
                    <a:cubicBezTo>
                      <a:pt x="233" y="65"/>
                      <a:pt x="233" y="65"/>
                      <a:pt x="233" y="65"/>
                    </a:cubicBezTo>
                    <a:cubicBezTo>
                      <a:pt x="234" y="66"/>
                      <a:pt x="235" y="68"/>
                      <a:pt x="235" y="70"/>
                    </a:cubicBezTo>
                    <a:cubicBezTo>
                      <a:pt x="235" y="71"/>
                      <a:pt x="235" y="73"/>
                      <a:pt x="234" y="74"/>
                    </a:cubicBezTo>
                    <a:close/>
                    <a:moveTo>
                      <a:pt x="220" y="66"/>
                    </a:moveTo>
                    <a:cubicBezTo>
                      <a:pt x="219" y="65"/>
                      <a:pt x="217" y="65"/>
                      <a:pt x="216" y="65"/>
                    </a:cubicBezTo>
                    <a:cubicBezTo>
                      <a:pt x="215" y="65"/>
                      <a:pt x="214" y="65"/>
                      <a:pt x="214" y="65"/>
                    </a:cubicBezTo>
                    <a:cubicBezTo>
                      <a:pt x="216" y="59"/>
                      <a:pt x="216" y="59"/>
                      <a:pt x="216" y="59"/>
                    </a:cubicBezTo>
                    <a:cubicBezTo>
                      <a:pt x="216" y="59"/>
                      <a:pt x="216" y="59"/>
                      <a:pt x="216" y="59"/>
                    </a:cubicBezTo>
                    <a:cubicBezTo>
                      <a:pt x="218" y="59"/>
                      <a:pt x="219" y="60"/>
                      <a:pt x="221" y="60"/>
                    </a:cubicBezTo>
                    <a:lnTo>
                      <a:pt x="220" y="66"/>
                    </a:lnTo>
                    <a:close/>
                    <a:moveTo>
                      <a:pt x="188" y="57"/>
                    </a:moveTo>
                    <a:cubicBezTo>
                      <a:pt x="187" y="57"/>
                      <a:pt x="184" y="56"/>
                      <a:pt x="183" y="52"/>
                    </a:cubicBezTo>
                    <a:cubicBezTo>
                      <a:pt x="189" y="51"/>
                      <a:pt x="189" y="51"/>
                      <a:pt x="189" y="51"/>
                    </a:cubicBezTo>
                    <a:cubicBezTo>
                      <a:pt x="189" y="51"/>
                      <a:pt x="189" y="51"/>
                      <a:pt x="189" y="51"/>
                    </a:cubicBezTo>
                    <a:cubicBezTo>
                      <a:pt x="189" y="51"/>
                      <a:pt x="189" y="51"/>
                      <a:pt x="189" y="51"/>
                    </a:cubicBezTo>
                    <a:cubicBezTo>
                      <a:pt x="192" y="56"/>
                      <a:pt x="192" y="56"/>
                      <a:pt x="192" y="56"/>
                    </a:cubicBezTo>
                    <a:cubicBezTo>
                      <a:pt x="191" y="56"/>
                      <a:pt x="190" y="57"/>
                      <a:pt x="188" y="57"/>
                    </a:cubicBezTo>
                    <a:close/>
                    <a:moveTo>
                      <a:pt x="204" y="57"/>
                    </a:moveTo>
                    <a:cubicBezTo>
                      <a:pt x="203" y="56"/>
                      <a:pt x="202" y="55"/>
                      <a:pt x="201" y="54"/>
                    </a:cubicBezTo>
                    <a:cubicBezTo>
                      <a:pt x="200" y="54"/>
                      <a:pt x="200" y="54"/>
                      <a:pt x="200" y="54"/>
                    </a:cubicBezTo>
                    <a:cubicBezTo>
                      <a:pt x="202" y="49"/>
                      <a:pt x="202" y="49"/>
                      <a:pt x="202" y="49"/>
                    </a:cubicBezTo>
                    <a:cubicBezTo>
                      <a:pt x="202" y="49"/>
                      <a:pt x="203" y="49"/>
                      <a:pt x="203" y="49"/>
                    </a:cubicBezTo>
                    <a:cubicBezTo>
                      <a:pt x="205" y="50"/>
                      <a:pt x="206" y="51"/>
                      <a:pt x="208" y="52"/>
                    </a:cubicBezTo>
                    <a:lnTo>
                      <a:pt x="204" y="57"/>
                    </a:lnTo>
                    <a:close/>
                    <a:moveTo>
                      <a:pt x="178" y="45"/>
                    </a:moveTo>
                    <a:cubicBezTo>
                      <a:pt x="178" y="45"/>
                      <a:pt x="178" y="45"/>
                      <a:pt x="178" y="45"/>
                    </a:cubicBezTo>
                    <a:cubicBezTo>
                      <a:pt x="176" y="43"/>
                      <a:pt x="174" y="42"/>
                      <a:pt x="173" y="40"/>
                    </a:cubicBezTo>
                    <a:cubicBezTo>
                      <a:pt x="178" y="37"/>
                      <a:pt x="178" y="37"/>
                      <a:pt x="178" y="37"/>
                    </a:cubicBezTo>
                    <a:cubicBezTo>
                      <a:pt x="179" y="38"/>
                      <a:pt x="180" y="39"/>
                      <a:pt x="181" y="40"/>
                    </a:cubicBezTo>
                    <a:lnTo>
                      <a:pt x="178" y="45"/>
                    </a:lnTo>
                    <a:close/>
                    <a:moveTo>
                      <a:pt x="167" y="31"/>
                    </a:moveTo>
                    <a:cubicBezTo>
                      <a:pt x="166" y="30"/>
                      <a:pt x="164" y="29"/>
                      <a:pt x="163" y="29"/>
                    </a:cubicBezTo>
                    <a:cubicBezTo>
                      <a:pt x="165" y="23"/>
                      <a:pt x="165" y="23"/>
                      <a:pt x="165" y="23"/>
                    </a:cubicBezTo>
                    <a:cubicBezTo>
                      <a:pt x="167" y="24"/>
                      <a:pt x="169" y="25"/>
                      <a:pt x="171" y="27"/>
                    </a:cubicBezTo>
                    <a:lnTo>
                      <a:pt x="167" y="31"/>
                    </a:lnTo>
                    <a:close/>
                    <a:moveTo>
                      <a:pt x="151" y="28"/>
                    </a:moveTo>
                    <a:cubicBezTo>
                      <a:pt x="149" y="28"/>
                      <a:pt x="148" y="26"/>
                      <a:pt x="147" y="24"/>
                    </a:cubicBezTo>
                    <a:cubicBezTo>
                      <a:pt x="147" y="23"/>
                      <a:pt x="147" y="22"/>
                      <a:pt x="147" y="22"/>
                    </a:cubicBezTo>
                    <a:cubicBezTo>
                      <a:pt x="152" y="20"/>
                      <a:pt x="152" y="20"/>
                      <a:pt x="152" y="20"/>
                    </a:cubicBezTo>
                    <a:cubicBezTo>
                      <a:pt x="153" y="21"/>
                      <a:pt x="153" y="22"/>
                      <a:pt x="153" y="23"/>
                    </a:cubicBezTo>
                    <a:lnTo>
                      <a:pt x="151" y="28"/>
                    </a:lnTo>
                    <a:close/>
                    <a:moveTo>
                      <a:pt x="138" y="22"/>
                    </a:moveTo>
                    <a:cubicBezTo>
                      <a:pt x="136" y="22"/>
                      <a:pt x="132" y="22"/>
                      <a:pt x="132" y="18"/>
                    </a:cubicBezTo>
                    <a:cubicBezTo>
                      <a:pt x="132" y="18"/>
                      <a:pt x="132" y="17"/>
                      <a:pt x="132" y="17"/>
                    </a:cubicBezTo>
                    <a:cubicBezTo>
                      <a:pt x="137" y="16"/>
                      <a:pt x="137" y="16"/>
                      <a:pt x="137" y="16"/>
                    </a:cubicBezTo>
                    <a:cubicBezTo>
                      <a:pt x="137" y="16"/>
                      <a:pt x="137" y="16"/>
                      <a:pt x="136" y="16"/>
                    </a:cubicBezTo>
                    <a:cubicBezTo>
                      <a:pt x="136" y="16"/>
                      <a:pt x="137" y="16"/>
                      <a:pt x="138" y="16"/>
                    </a:cubicBezTo>
                    <a:cubicBezTo>
                      <a:pt x="139" y="16"/>
                      <a:pt x="139" y="16"/>
                      <a:pt x="139" y="16"/>
                    </a:cubicBezTo>
                    <a:cubicBezTo>
                      <a:pt x="139" y="22"/>
                      <a:pt x="139" y="22"/>
                      <a:pt x="139" y="22"/>
                    </a:cubicBezTo>
                    <a:lnTo>
                      <a:pt x="138" y="22"/>
                    </a:lnTo>
                    <a:close/>
                    <a:moveTo>
                      <a:pt x="138" y="18"/>
                    </a:moveTo>
                    <a:cubicBezTo>
                      <a:pt x="138" y="18"/>
                      <a:pt x="138" y="18"/>
                      <a:pt x="138" y="18"/>
                    </a:cubicBezTo>
                    <a:cubicBezTo>
                      <a:pt x="138" y="18"/>
                      <a:pt x="138" y="18"/>
                      <a:pt x="138" y="18"/>
                    </a:cubicBezTo>
                    <a:close/>
                    <a:moveTo>
                      <a:pt x="131" y="5"/>
                    </a:moveTo>
                    <a:cubicBezTo>
                      <a:pt x="131" y="1"/>
                      <a:pt x="131" y="1"/>
                      <a:pt x="131" y="1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37" y="5"/>
                      <a:pt x="137" y="5"/>
                      <a:pt x="137" y="5"/>
                    </a:cubicBezTo>
                    <a:lnTo>
                      <a:pt x="131" y="5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37" name="ïṩlíḋê"/>
              <p:cNvSpPr/>
              <p:nvPr/>
            </p:nvSpPr>
            <p:spPr bwMode="auto">
              <a:xfrm>
                <a:off x="7116763" y="2541588"/>
                <a:ext cx="339725" cy="1076325"/>
              </a:xfrm>
              <a:custGeom>
                <a:avLst/>
                <a:gdLst>
                  <a:gd name="T0" fmla="*/ 22 w 158"/>
                  <a:gd name="T1" fmla="*/ 496 h 503"/>
                  <a:gd name="T2" fmla="*/ 28 w 158"/>
                  <a:gd name="T3" fmla="*/ 495 h 503"/>
                  <a:gd name="T4" fmla="*/ 46 w 158"/>
                  <a:gd name="T5" fmla="*/ 489 h 503"/>
                  <a:gd name="T6" fmla="*/ 56 w 158"/>
                  <a:gd name="T7" fmla="*/ 488 h 503"/>
                  <a:gd name="T8" fmla="*/ 70 w 158"/>
                  <a:gd name="T9" fmla="*/ 488 h 503"/>
                  <a:gd name="T10" fmla="*/ 76 w 158"/>
                  <a:gd name="T11" fmla="*/ 488 h 503"/>
                  <a:gd name="T12" fmla="*/ 10 w 158"/>
                  <a:gd name="T13" fmla="*/ 492 h 503"/>
                  <a:gd name="T14" fmla="*/ 85 w 158"/>
                  <a:gd name="T15" fmla="*/ 485 h 503"/>
                  <a:gd name="T16" fmla="*/ 96 w 158"/>
                  <a:gd name="T17" fmla="*/ 472 h 503"/>
                  <a:gd name="T18" fmla="*/ 106 w 158"/>
                  <a:gd name="T19" fmla="*/ 457 h 503"/>
                  <a:gd name="T20" fmla="*/ 111 w 158"/>
                  <a:gd name="T21" fmla="*/ 449 h 503"/>
                  <a:gd name="T22" fmla="*/ 107 w 158"/>
                  <a:gd name="T23" fmla="*/ 434 h 503"/>
                  <a:gd name="T24" fmla="*/ 108 w 158"/>
                  <a:gd name="T25" fmla="*/ 431 h 503"/>
                  <a:gd name="T26" fmla="*/ 105 w 158"/>
                  <a:gd name="T27" fmla="*/ 436 h 503"/>
                  <a:gd name="T28" fmla="*/ 106 w 158"/>
                  <a:gd name="T29" fmla="*/ 418 h 503"/>
                  <a:gd name="T30" fmla="*/ 108 w 158"/>
                  <a:gd name="T31" fmla="*/ 403 h 503"/>
                  <a:gd name="T32" fmla="*/ 107 w 158"/>
                  <a:gd name="T33" fmla="*/ 390 h 503"/>
                  <a:gd name="T34" fmla="*/ 99 w 158"/>
                  <a:gd name="T35" fmla="*/ 376 h 503"/>
                  <a:gd name="T36" fmla="*/ 99 w 158"/>
                  <a:gd name="T37" fmla="*/ 376 h 503"/>
                  <a:gd name="T38" fmla="*/ 104 w 158"/>
                  <a:gd name="T39" fmla="*/ 362 h 503"/>
                  <a:gd name="T40" fmla="*/ 110 w 158"/>
                  <a:gd name="T41" fmla="*/ 353 h 503"/>
                  <a:gd name="T42" fmla="*/ 113 w 158"/>
                  <a:gd name="T43" fmla="*/ 353 h 503"/>
                  <a:gd name="T44" fmla="*/ 115 w 158"/>
                  <a:gd name="T45" fmla="*/ 331 h 503"/>
                  <a:gd name="T46" fmla="*/ 116 w 158"/>
                  <a:gd name="T47" fmla="*/ 319 h 503"/>
                  <a:gd name="T48" fmla="*/ 127 w 158"/>
                  <a:gd name="T49" fmla="*/ 299 h 503"/>
                  <a:gd name="T50" fmla="*/ 140 w 158"/>
                  <a:gd name="T51" fmla="*/ 286 h 503"/>
                  <a:gd name="T52" fmla="*/ 129 w 158"/>
                  <a:gd name="T53" fmla="*/ 272 h 503"/>
                  <a:gd name="T54" fmla="*/ 125 w 158"/>
                  <a:gd name="T55" fmla="*/ 269 h 503"/>
                  <a:gd name="T56" fmla="*/ 128 w 158"/>
                  <a:gd name="T57" fmla="*/ 264 h 503"/>
                  <a:gd name="T58" fmla="*/ 113 w 158"/>
                  <a:gd name="T59" fmla="*/ 248 h 503"/>
                  <a:gd name="T60" fmla="*/ 108 w 158"/>
                  <a:gd name="T61" fmla="*/ 236 h 503"/>
                  <a:gd name="T62" fmla="*/ 92 w 158"/>
                  <a:gd name="T63" fmla="*/ 228 h 503"/>
                  <a:gd name="T64" fmla="*/ 91 w 158"/>
                  <a:gd name="T65" fmla="*/ 210 h 503"/>
                  <a:gd name="T66" fmla="*/ 91 w 158"/>
                  <a:gd name="T67" fmla="*/ 198 h 503"/>
                  <a:gd name="T68" fmla="*/ 97 w 158"/>
                  <a:gd name="T69" fmla="*/ 198 h 503"/>
                  <a:gd name="T70" fmla="*/ 109 w 158"/>
                  <a:gd name="T71" fmla="*/ 187 h 503"/>
                  <a:gd name="T72" fmla="*/ 106 w 158"/>
                  <a:gd name="T73" fmla="*/ 171 h 503"/>
                  <a:gd name="T74" fmla="*/ 109 w 158"/>
                  <a:gd name="T75" fmla="*/ 160 h 503"/>
                  <a:gd name="T76" fmla="*/ 109 w 158"/>
                  <a:gd name="T77" fmla="*/ 160 h 503"/>
                  <a:gd name="T78" fmla="*/ 138 w 158"/>
                  <a:gd name="T79" fmla="*/ 156 h 503"/>
                  <a:gd name="T80" fmla="*/ 122 w 158"/>
                  <a:gd name="T81" fmla="*/ 145 h 503"/>
                  <a:gd name="T82" fmla="*/ 150 w 158"/>
                  <a:gd name="T83" fmla="*/ 138 h 503"/>
                  <a:gd name="T84" fmla="*/ 154 w 158"/>
                  <a:gd name="T85" fmla="*/ 131 h 503"/>
                  <a:gd name="T86" fmla="*/ 155 w 158"/>
                  <a:gd name="T87" fmla="*/ 127 h 503"/>
                  <a:gd name="T88" fmla="*/ 152 w 158"/>
                  <a:gd name="T89" fmla="*/ 110 h 503"/>
                  <a:gd name="T90" fmla="*/ 146 w 158"/>
                  <a:gd name="T91" fmla="*/ 101 h 503"/>
                  <a:gd name="T92" fmla="*/ 146 w 158"/>
                  <a:gd name="T93" fmla="*/ 101 h 503"/>
                  <a:gd name="T94" fmla="*/ 132 w 158"/>
                  <a:gd name="T95" fmla="*/ 77 h 503"/>
                  <a:gd name="T96" fmla="*/ 114 w 158"/>
                  <a:gd name="T97" fmla="*/ 69 h 503"/>
                  <a:gd name="T98" fmla="*/ 121 w 158"/>
                  <a:gd name="T99" fmla="*/ 58 h 503"/>
                  <a:gd name="T100" fmla="*/ 126 w 158"/>
                  <a:gd name="T101" fmla="*/ 55 h 503"/>
                  <a:gd name="T102" fmla="*/ 138 w 158"/>
                  <a:gd name="T103" fmla="*/ 47 h 503"/>
                  <a:gd name="T104" fmla="*/ 155 w 158"/>
                  <a:gd name="T105" fmla="*/ 38 h 503"/>
                  <a:gd name="T106" fmla="*/ 143 w 158"/>
                  <a:gd name="T107" fmla="*/ 31 h 503"/>
                  <a:gd name="T108" fmla="*/ 131 w 158"/>
                  <a:gd name="T109" fmla="*/ 22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8" h="503">
                    <a:moveTo>
                      <a:pt x="5" y="503"/>
                    </a:moveTo>
                    <a:cubicBezTo>
                      <a:pt x="0" y="500"/>
                      <a:pt x="0" y="500"/>
                      <a:pt x="0" y="500"/>
                    </a:cubicBezTo>
                    <a:cubicBezTo>
                      <a:pt x="1" y="499"/>
                      <a:pt x="2" y="498"/>
                      <a:pt x="2" y="496"/>
                    </a:cubicBezTo>
                    <a:cubicBezTo>
                      <a:pt x="8" y="497"/>
                      <a:pt x="8" y="497"/>
                      <a:pt x="8" y="497"/>
                    </a:cubicBezTo>
                    <a:cubicBezTo>
                      <a:pt x="7" y="499"/>
                      <a:pt x="6" y="501"/>
                      <a:pt x="5" y="503"/>
                    </a:cubicBezTo>
                    <a:close/>
                    <a:moveTo>
                      <a:pt x="22" y="496"/>
                    </a:moveTo>
                    <a:cubicBezTo>
                      <a:pt x="22" y="490"/>
                      <a:pt x="22" y="490"/>
                      <a:pt x="22" y="490"/>
                    </a:cubicBezTo>
                    <a:cubicBezTo>
                      <a:pt x="22" y="490"/>
                      <a:pt x="23" y="490"/>
                      <a:pt x="24" y="490"/>
                    </a:cubicBezTo>
                    <a:cubicBezTo>
                      <a:pt x="25" y="490"/>
                      <a:pt x="26" y="489"/>
                      <a:pt x="27" y="489"/>
                    </a:cubicBezTo>
                    <a:cubicBezTo>
                      <a:pt x="28" y="489"/>
                      <a:pt x="28" y="489"/>
                      <a:pt x="28" y="489"/>
                    </a:cubicBezTo>
                    <a:cubicBezTo>
                      <a:pt x="28" y="495"/>
                      <a:pt x="28" y="495"/>
                      <a:pt x="28" y="495"/>
                    </a:cubicBezTo>
                    <a:cubicBezTo>
                      <a:pt x="28" y="495"/>
                      <a:pt x="28" y="495"/>
                      <a:pt x="28" y="495"/>
                    </a:cubicBezTo>
                    <a:cubicBezTo>
                      <a:pt x="27" y="495"/>
                      <a:pt x="26" y="495"/>
                      <a:pt x="25" y="496"/>
                    </a:cubicBezTo>
                    <a:cubicBezTo>
                      <a:pt x="24" y="496"/>
                      <a:pt x="23" y="496"/>
                      <a:pt x="22" y="496"/>
                    </a:cubicBezTo>
                    <a:close/>
                    <a:moveTo>
                      <a:pt x="40" y="495"/>
                    </a:moveTo>
                    <a:cubicBezTo>
                      <a:pt x="39" y="489"/>
                      <a:pt x="39" y="489"/>
                      <a:pt x="39" y="489"/>
                    </a:cubicBezTo>
                    <a:cubicBezTo>
                      <a:pt x="39" y="489"/>
                      <a:pt x="40" y="489"/>
                      <a:pt x="41" y="489"/>
                    </a:cubicBezTo>
                    <a:cubicBezTo>
                      <a:pt x="43" y="488"/>
                      <a:pt x="44" y="488"/>
                      <a:pt x="46" y="489"/>
                    </a:cubicBezTo>
                    <a:cubicBezTo>
                      <a:pt x="44" y="495"/>
                      <a:pt x="44" y="495"/>
                      <a:pt x="44" y="495"/>
                    </a:cubicBezTo>
                    <a:cubicBezTo>
                      <a:pt x="43" y="494"/>
                      <a:pt x="43" y="494"/>
                      <a:pt x="42" y="495"/>
                    </a:cubicBezTo>
                    <a:cubicBezTo>
                      <a:pt x="41" y="495"/>
                      <a:pt x="41" y="495"/>
                      <a:pt x="40" y="495"/>
                    </a:cubicBezTo>
                    <a:close/>
                    <a:moveTo>
                      <a:pt x="57" y="494"/>
                    </a:moveTo>
                    <a:cubicBezTo>
                      <a:pt x="54" y="489"/>
                      <a:pt x="54" y="489"/>
                      <a:pt x="54" y="489"/>
                    </a:cubicBezTo>
                    <a:cubicBezTo>
                      <a:pt x="55" y="489"/>
                      <a:pt x="56" y="488"/>
                      <a:pt x="56" y="488"/>
                    </a:cubicBezTo>
                    <a:cubicBezTo>
                      <a:pt x="57" y="487"/>
                      <a:pt x="58" y="486"/>
                      <a:pt x="60" y="486"/>
                    </a:cubicBezTo>
                    <a:cubicBezTo>
                      <a:pt x="62" y="491"/>
                      <a:pt x="62" y="491"/>
                      <a:pt x="62" y="491"/>
                    </a:cubicBezTo>
                    <a:cubicBezTo>
                      <a:pt x="61" y="491"/>
                      <a:pt x="61" y="492"/>
                      <a:pt x="60" y="492"/>
                    </a:cubicBezTo>
                    <a:cubicBezTo>
                      <a:pt x="59" y="493"/>
                      <a:pt x="59" y="494"/>
                      <a:pt x="57" y="494"/>
                    </a:cubicBezTo>
                    <a:close/>
                    <a:moveTo>
                      <a:pt x="74" y="492"/>
                    </a:moveTo>
                    <a:cubicBezTo>
                      <a:pt x="70" y="488"/>
                      <a:pt x="70" y="488"/>
                      <a:pt x="70" y="488"/>
                    </a:cubicBezTo>
                    <a:cubicBezTo>
                      <a:pt x="70" y="488"/>
                      <a:pt x="70" y="488"/>
                      <a:pt x="70" y="488"/>
                    </a:cubicBezTo>
                    <a:cubicBezTo>
                      <a:pt x="70" y="487"/>
                      <a:pt x="70" y="486"/>
                      <a:pt x="70" y="485"/>
                    </a:cubicBezTo>
                    <a:cubicBezTo>
                      <a:pt x="70" y="484"/>
                      <a:pt x="70" y="484"/>
                      <a:pt x="70" y="484"/>
                    </a:cubicBezTo>
                    <a:cubicBezTo>
                      <a:pt x="75" y="484"/>
                      <a:pt x="75" y="484"/>
                      <a:pt x="75" y="484"/>
                    </a:cubicBezTo>
                    <a:cubicBezTo>
                      <a:pt x="75" y="484"/>
                      <a:pt x="75" y="484"/>
                      <a:pt x="75" y="484"/>
                    </a:cubicBezTo>
                    <a:cubicBezTo>
                      <a:pt x="76" y="486"/>
                      <a:pt x="76" y="487"/>
                      <a:pt x="76" y="488"/>
                    </a:cubicBezTo>
                    <a:cubicBezTo>
                      <a:pt x="76" y="490"/>
                      <a:pt x="75" y="491"/>
                      <a:pt x="74" y="492"/>
                    </a:cubicBezTo>
                    <a:close/>
                    <a:moveTo>
                      <a:pt x="10" y="492"/>
                    </a:moveTo>
                    <a:cubicBezTo>
                      <a:pt x="8" y="491"/>
                      <a:pt x="7" y="490"/>
                      <a:pt x="5" y="490"/>
                    </a:cubicBezTo>
                    <a:cubicBezTo>
                      <a:pt x="6" y="484"/>
                      <a:pt x="6" y="484"/>
                      <a:pt x="6" y="484"/>
                    </a:cubicBezTo>
                    <a:cubicBezTo>
                      <a:pt x="9" y="485"/>
                      <a:pt x="12" y="486"/>
                      <a:pt x="13" y="486"/>
                    </a:cubicBezTo>
                    <a:lnTo>
                      <a:pt x="10" y="492"/>
                    </a:lnTo>
                    <a:close/>
                    <a:moveTo>
                      <a:pt x="81" y="486"/>
                    </a:moveTo>
                    <a:cubicBezTo>
                      <a:pt x="79" y="486"/>
                      <a:pt x="77" y="485"/>
                      <a:pt x="76" y="484"/>
                    </a:cubicBezTo>
                    <a:cubicBezTo>
                      <a:pt x="79" y="479"/>
                      <a:pt x="79" y="479"/>
                      <a:pt x="79" y="479"/>
                    </a:cubicBezTo>
                    <a:cubicBezTo>
                      <a:pt x="81" y="480"/>
                      <a:pt x="81" y="480"/>
                      <a:pt x="81" y="480"/>
                    </a:cubicBezTo>
                    <a:cubicBezTo>
                      <a:pt x="81" y="480"/>
                      <a:pt x="81" y="481"/>
                      <a:pt x="80" y="481"/>
                    </a:cubicBezTo>
                    <a:cubicBezTo>
                      <a:pt x="85" y="485"/>
                      <a:pt x="85" y="485"/>
                      <a:pt x="85" y="485"/>
                    </a:cubicBezTo>
                    <a:cubicBezTo>
                      <a:pt x="84" y="486"/>
                      <a:pt x="82" y="486"/>
                      <a:pt x="81" y="486"/>
                    </a:cubicBezTo>
                    <a:close/>
                    <a:moveTo>
                      <a:pt x="91" y="476"/>
                    </a:moveTo>
                    <a:cubicBezTo>
                      <a:pt x="88" y="471"/>
                      <a:pt x="88" y="471"/>
                      <a:pt x="88" y="471"/>
                    </a:cubicBezTo>
                    <a:cubicBezTo>
                      <a:pt x="89" y="470"/>
                      <a:pt x="89" y="470"/>
                      <a:pt x="89" y="470"/>
                    </a:cubicBezTo>
                    <a:cubicBezTo>
                      <a:pt x="90" y="469"/>
                      <a:pt x="91" y="468"/>
                      <a:pt x="93" y="468"/>
                    </a:cubicBezTo>
                    <a:cubicBezTo>
                      <a:pt x="96" y="472"/>
                      <a:pt x="96" y="472"/>
                      <a:pt x="96" y="472"/>
                    </a:cubicBezTo>
                    <a:cubicBezTo>
                      <a:pt x="95" y="473"/>
                      <a:pt x="94" y="474"/>
                      <a:pt x="93" y="475"/>
                    </a:cubicBezTo>
                    <a:lnTo>
                      <a:pt x="91" y="476"/>
                    </a:lnTo>
                    <a:close/>
                    <a:moveTo>
                      <a:pt x="105" y="465"/>
                    </a:moveTo>
                    <a:cubicBezTo>
                      <a:pt x="101" y="461"/>
                      <a:pt x="101" y="461"/>
                      <a:pt x="101" y="461"/>
                    </a:cubicBezTo>
                    <a:cubicBezTo>
                      <a:pt x="102" y="460"/>
                      <a:pt x="103" y="459"/>
                      <a:pt x="103" y="459"/>
                    </a:cubicBezTo>
                    <a:cubicBezTo>
                      <a:pt x="104" y="458"/>
                      <a:pt x="105" y="457"/>
                      <a:pt x="106" y="457"/>
                    </a:cubicBezTo>
                    <a:cubicBezTo>
                      <a:pt x="110" y="461"/>
                      <a:pt x="110" y="461"/>
                      <a:pt x="110" y="461"/>
                    </a:cubicBezTo>
                    <a:cubicBezTo>
                      <a:pt x="109" y="461"/>
                      <a:pt x="108" y="462"/>
                      <a:pt x="108" y="463"/>
                    </a:cubicBezTo>
                    <a:cubicBezTo>
                      <a:pt x="107" y="464"/>
                      <a:pt x="106" y="464"/>
                      <a:pt x="105" y="465"/>
                    </a:cubicBezTo>
                    <a:close/>
                    <a:moveTo>
                      <a:pt x="117" y="449"/>
                    </a:moveTo>
                    <a:cubicBezTo>
                      <a:pt x="111" y="449"/>
                      <a:pt x="111" y="449"/>
                      <a:pt x="111" y="449"/>
                    </a:cubicBezTo>
                    <a:cubicBezTo>
                      <a:pt x="111" y="449"/>
                      <a:pt x="111" y="449"/>
                      <a:pt x="111" y="449"/>
                    </a:cubicBezTo>
                    <a:cubicBezTo>
                      <a:pt x="111" y="447"/>
                      <a:pt x="111" y="446"/>
                      <a:pt x="110" y="445"/>
                    </a:cubicBezTo>
                    <a:cubicBezTo>
                      <a:pt x="115" y="442"/>
                      <a:pt x="115" y="442"/>
                      <a:pt x="115" y="442"/>
                    </a:cubicBezTo>
                    <a:cubicBezTo>
                      <a:pt x="116" y="444"/>
                      <a:pt x="117" y="446"/>
                      <a:pt x="117" y="449"/>
                    </a:cubicBezTo>
                    <a:cubicBezTo>
                      <a:pt x="117" y="449"/>
                      <a:pt x="117" y="449"/>
                      <a:pt x="117" y="449"/>
                    </a:cubicBezTo>
                    <a:close/>
                    <a:moveTo>
                      <a:pt x="105" y="436"/>
                    </a:moveTo>
                    <a:cubicBezTo>
                      <a:pt x="107" y="434"/>
                      <a:pt x="107" y="434"/>
                      <a:pt x="107" y="434"/>
                    </a:cubicBezTo>
                    <a:cubicBezTo>
                      <a:pt x="105" y="436"/>
                      <a:pt x="105" y="436"/>
                      <a:pt x="105" y="436"/>
                    </a:cubicBezTo>
                    <a:cubicBezTo>
                      <a:pt x="104" y="434"/>
                      <a:pt x="102" y="433"/>
                      <a:pt x="102" y="431"/>
                    </a:cubicBezTo>
                    <a:cubicBezTo>
                      <a:pt x="102" y="430"/>
                      <a:pt x="103" y="429"/>
                      <a:pt x="105" y="428"/>
                    </a:cubicBezTo>
                    <a:cubicBezTo>
                      <a:pt x="106" y="428"/>
                      <a:pt x="106" y="428"/>
                      <a:pt x="107" y="427"/>
                    </a:cubicBezTo>
                    <a:cubicBezTo>
                      <a:pt x="108" y="432"/>
                      <a:pt x="108" y="432"/>
                      <a:pt x="108" y="432"/>
                    </a:cubicBezTo>
                    <a:cubicBezTo>
                      <a:pt x="108" y="432"/>
                      <a:pt x="108" y="432"/>
                      <a:pt x="108" y="431"/>
                    </a:cubicBezTo>
                    <a:cubicBezTo>
                      <a:pt x="108" y="431"/>
                      <a:pt x="108" y="430"/>
                      <a:pt x="108" y="430"/>
                    </a:cubicBezTo>
                    <a:cubicBezTo>
                      <a:pt x="108" y="431"/>
                      <a:pt x="109" y="431"/>
                      <a:pt x="109" y="431"/>
                    </a:cubicBezTo>
                    <a:cubicBezTo>
                      <a:pt x="108" y="433"/>
                      <a:pt x="108" y="433"/>
                      <a:pt x="108" y="433"/>
                    </a:cubicBezTo>
                    <a:cubicBezTo>
                      <a:pt x="108" y="433"/>
                      <a:pt x="108" y="433"/>
                      <a:pt x="108" y="433"/>
                    </a:cubicBezTo>
                    <a:cubicBezTo>
                      <a:pt x="108" y="433"/>
                      <a:pt x="108" y="433"/>
                      <a:pt x="107" y="433"/>
                    </a:cubicBezTo>
                    <a:lnTo>
                      <a:pt x="105" y="436"/>
                    </a:lnTo>
                    <a:close/>
                    <a:moveTo>
                      <a:pt x="107" y="433"/>
                    </a:moveTo>
                    <a:cubicBezTo>
                      <a:pt x="107" y="433"/>
                      <a:pt x="107" y="433"/>
                      <a:pt x="107" y="433"/>
                    </a:cubicBezTo>
                    <a:cubicBezTo>
                      <a:pt x="107" y="433"/>
                      <a:pt x="107" y="433"/>
                      <a:pt x="107" y="433"/>
                    </a:cubicBezTo>
                    <a:close/>
                    <a:moveTo>
                      <a:pt x="111" y="421"/>
                    </a:moveTo>
                    <a:cubicBezTo>
                      <a:pt x="105" y="420"/>
                      <a:pt x="105" y="420"/>
                      <a:pt x="105" y="420"/>
                    </a:cubicBezTo>
                    <a:cubicBezTo>
                      <a:pt x="105" y="419"/>
                      <a:pt x="106" y="418"/>
                      <a:pt x="106" y="418"/>
                    </a:cubicBezTo>
                    <a:cubicBezTo>
                      <a:pt x="106" y="417"/>
                      <a:pt x="106" y="416"/>
                      <a:pt x="107" y="414"/>
                    </a:cubicBezTo>
                    <a:cubicBezTo>
                      <a:pt x="112" y="415"/>
                      <a:pt x="112" y="415"/>
                      <a:pt x="112" y="415"/>
                    </a:cubicBezTo>
                    <a:cubicBezTo>
                      <a:pt x="112" y="417"/>
                      <a:pt x="112" y="418"/>
                      <a:pt x="111" y="419"/>
                    </a:cubicBezTo>
                    <a:cubicBezTo>
                      <a:pt x="111" y="420"/>
                      <a:pt x="111" y="421"/>
                      <a:pt x="111" y="421"/>
                    </a:cubicBezTo>
                    <a:close/>
                    <a:moveTo>
                      <a:pt x="114" y="404"/>
                    </a:moveTo>
                    <a:cubicBezTo>
                      <a:pt x="108" y="403"/>
                      <a:pt x="108" y="403"/>
                      <a:pt x="108" y="403"/>
                    </a:cubicBezTo>
                    <a:cubicBezTo>
                      <a:pt x="109" y="400"/>
                      <a:pt x="109" y="398"/>
                      <a:pt x="110" y="397"/>
                    </a:cubicBezTo>
                    <a:cubicBezTo>
                      <a:pt x="116" y="399"/>
                      <a:pt x="116" y="399"/>
                      <a:pt x="116" y="399"/>
                    </a:cubicBezTo>
                    <a:cubicBezTo>
                      <a:pt x="115" y="399"/>
                      <a:pt x="115" y="399"/>
                      <a:pt x="115" y="400"/>
                    </a:cubicBezTo>
                    <a:cubicBezTo>
                      <a:pt x="115" y="400"/>
                      <a:pt x="114" y="401"/>
                      <a:pt x="114" y="404"/>
                    </a:cubicBezTo>
                    <a:close/>
                    <a:moveTo>
                      <a:pt x="108" y="391"/>
                    </a:moveTo>
                    <a:cubicBezTo>
                      <a:pt x="107" y="390"/>
                      <a:pt x="107" y="390"/>
                      <a:pt x="107" y="390"/>
                    </a:cubicBezTo>
                    <a:cubicBezTo>
                      <a:pt x="105" y="389"/>
                      <a:pt x="104" y="388"/>
                      <a:pt x="103" y="388"/>
                    </a:cubicBezTo>
                    <a:cubicBezTo>
                      <a:pt x="106" y="383"/>
                      <a:pt x="106" y="383"/>
                      <a:pt x="106" y="383"/>
                    </a:cubicBezTo>
                    <a:cubicBezTo>
                      <a:pt x="107" y="383"/>
                      <a:pt x="108" y="384"/>
                      <a:pt x="109" y="385"/>
                    </a:cubicBezTo>
                    <a:cubicBezTo>
                      <a:pt x="111" y="386"/>
                      <a:pt x="111" y="386"/>
                      <a:pt x="111" y="386"/>
                    </a:cubicBezTo>
                    <a:lnTo>
                      <a:pt x="108" y="391"/>
                    </a:lnTo>
                    <a:close/>
                    <a:moveTo>
                      <a:pt x="99" y="376"/>
                    </a:moveTo>
                    <a:cubicBezTo>
                      <a:pt x="99" y="375"/>
                      <a:pt x="98" y="375"/>
                      <a:pt x="97" y="374"/>
                    </a:cubicBezTo>
                    <a:cubicBezTo>
                      <a:pt x="96" y="374"/>
                      <a:pt x="96" y="374"/>
                      <a:pt x="96" y="374"/>
                    </a:cubicBezTo>
                    <a:cubicBezTo>
                      <a:pt x="99" y="368"/>
                      <a:pt x="99" y="368"/>
                      <a:pt x="99" y="368"/>
                    </a:cubicBezTo>
                    <a:cubicBezTo>
                      <a:pt x="100" y="369"/>
                      <a:pt x="100" y="369"/>
                      <a:pt x="100" y="369"/>
                    </a:cubicBezTo>
                    <a:cubicBezTo>
                      <a:pt x="102" y="370"/>
                      <a:pt x="103" y="372"/>
                      <a:pt x="104" y="373"/>
                    </a:cubicBezTo>
                    <a:lnTo>
                      <a:pt x="99" y="376"/>
                    </a:lnTo>
                    <a:close/>
                    <a:moveTo>
                      <a:pt x="98" y="364"/>
                    </a:moveTo>
                    <a:cubicBezTo>
                      <a:pt x="96" y="359"/>
                      <a:pt x="96" y="359"/>
                      <a:pt x="96" y="359"/>
                    </a:cubicBezTo>
                    <a:cubicBezTo>
                      <a:pt x="96" y="358"/>
                      <a:pt x="97" y="358"/>
                      <a:pt x="97" y="358"/>
                    </a:cubicBezTo>
                    <a:cubicBezTo>
                      <a:pt x="98" y="358"/>
                      <a:pt x="98" y="358"/>
                      <a:pt x="98" y="358"/>
                    </a:cubicBezTo>
                    <a:cubicBezTo>
                      <a:pt x="99" y="358"/>
                      <a:pt x="100" y="357"/>
                      <a:pt x="101" y="357"/>
                    </a:cubicBezTo>
                    <a:cubicBezTo>
                      <a:pt x="104" y="362"/>
                      <a:pt x="104" y="362"/>
                      <a:pt x="104" y="362"/>
                    </a:cubicBezTo>
                    <a:cubicBezTo>
                      <a:pt x="103" y="363"/>
                      <a:pt x="101" y="363"/>
                      <a:pt x="100" y="363"/>
                    </a:cubicBezTo>
                    <a:cubicBezTo>
                      <a:pt x="100" y="364"/>
                      <a:pt x="99" y="364"/>
                      <a:pt x="99" y="364"/>
                    </a:cubicBezTo>
                    <a:cubicBezTo>
                      <a:pt x="99" y="364"/>
                      <a:pt x="98" y="364"/>
                      <a:pt x="98" y="364"/>
                    </a:cubicBezTo>
                    <a:close/>
                    <a:moveTo>
                      <a:pt x="113" y="353"/>
                    </a:moveTo>
                    <a:cubicBezTo>
                      <a:pt x="112" y="353"/>
                      <a:pt x="112" y="353"/>
                      <a:pt x="112" y="353"/>
                    </a:cubicBezTo>
                    <a:cubicBezTo>
                      <a:pt x="111" y="353"/>
                      <a:pt x="111" y="353"/>
                      <a:pt x="110" y="353"/>
                    </a:cubicBezTo>
                    <a:cubicBezTo>
                      <a:pt x="108" y="347"/>
                      <a:pt x="108" y="347"/>
                      <a:pt x="108" y="347"/>
                    </a:cubicBezTo>
                    <a:cubicBezTo>
                      <a:pt x="110" y="347"/>
                      <a:pt x="111" y="347"/>
                      <a:pt x="112" y="347"/>
                    </a:cubicBezTo>
                    <a:cubicBezTo>
                      <a:pt x="112" y="347"/>
                      <a:pt x="112" y="347"/>
                      <a:pt x="113" y="347"/>
                    </a:cubicBezTo>
                    <a:cubicBezTo>
                      <a:pt x="112" y="347"/>
                      <a:pt x="111" y="348"/>
                      <a:pt x="111" y="349"/>
                    </a:cubicBezTo>
                    <a:cubicBezTo>
                      <a:pt x="117" y="349"/>
                      <a:pt x="117" y="349"/>
                      <a:pt x="117" y="349"/>
                    </a:cubicBezTo>
                    <a:cubicBezTo>
                      <a:pt x="117" y="353"/>
                      <a:pt x="114" y="353"/>
                      <a:pt x="113" y="353"/>
                    </a:cubicBezTo>
                    <a:close/>
                    <a:moveTo>
                      <a:pt x="110" y="337"/>
                    </a:moveTo>
                    <a:cubicBezTo>
                      <a:pt x="110" y="336"/>
                      <a:pt x="110" y="336"/>
                      <a:pt x="110" y="336"/>
                    </a:cubicBezTo>
                    <a:cubicBezTo>
                      <a:pt x="110" y="336"/>
                      <a:pt x="110" y="335"/>
                      <a:pt x="110" y="335"/>
                    </a:cubicBezTo>
                    <a:cubicBezTo>
                      <a:pt x="110" y="334"/>
                      <a:pt x="109" y="333"/>
                      <a:pt x="109" y="332"/>
                    </a:cubicBezTo>
                    <a:cubicBezTo>
                      <a:pt x="109" y="331"/>
                      <a:pt x="110" y="331"/>
                      <a:pt x="110" y="331"/>
                    </a:cubicBezTo>
                    <a:cubicBezTo>
                      <a:pt x="115" y="331"/>
                      <a:pt x="115" y="331"/>
                      <a:pt x="115" y="331"/>
                    </a:cubicBezTo>
                    <a:cubicBezTo>
                      <a:pt x="115" y="332"/>
                      <a:pt x="115" y="333"/>
                      <a:pt x="116" y="333"/>
                    </a:cubicBezTo>
                    <a:cubicBezTo>
                      <a:pt x="116" y="334"/>
                      <a:pt x="116" y="334"/>
                      <a:pt x="116" y="335"/>
                    </a:cubicBezTo>
                    <a:cubicBezTo>
                      <a:pt x="116" y="336"/>
                      <a:pt x="116" y="336"/>
                      <a:pt x="116" y="336"/>
                    </a:cubicBezTo>
                    <a:lnTo>
                      <a:pt x="110" y="337"/>
                    </a:lnTo>
                    <a:close/>
                    <a:moveTo>
                      <a:pt x="121" y="323"/>
                    </a:moveTo>
                    <a:cubicBezTo>
                      <a:pt x="116" y="319"/>
                      <a:pt x="116" y="319"/>
                      <a:pt x="116" y="319"/>
                    </a:cubicBezTo>
                    <a:cubicBezTo>
                      <a:pt x="118" y="318"/>
                      <a:pt x="118" y="317"/>
                      <a:pt x="119" y="315"/>
                    </a:cubicBezTo>
                    <a:cubicBezTo>
                      <a:pt x="124" y="318"/>
                      <a:pt x="124" y="318"/>
                      <a:pt x="124" y="318"/>
                    </a:cubicBezTo>
                    <a:cubicBezTo>
                      <a:pt x="123" y="320"/>
                      <a:pt x="122" y="321"/>
                      <a:pt x="121" y="323"/>
                    </a:cubicBezTo>
                    <a:close/>
                    <a:moveTo>
                      <a:pt x="128" y="307"/>
                    </a:moveTo>
                    <a:cubicBezTo>
                      <a:pt x="123" y="304"/>
                      <a:pt x="123" y="304"/>
                      <a:pt x="123" y="304"/>
                    </a:cubicBezTo>
                    <a:cubicBezTo>
                      <a:pt x="124" y="302"/>
                      <a:pt x="126" y="300"/>
                      <a:pt x="127" y="299"/>
                    </a:cubicBezTo>
                    <a:cubicBezTo>
                      <a:pt x="131" y="302"/>
                      <a:pt x="131" y="302"/>
                      <a:pt x="131" y="302"/>
                    </a:cubicBezTo>
                    <a:cubicBezTo>
                      <a:pt x="130" y="304"/>
                      <a:pt x="129" y="305"/>
                      <a:pt x="128" y="307"/>
                    </a:cubicBezTo>
                    <a:close/>
                    <a:moveTo>
                      <a:pt x="138" y="292"/>
                    </a:moveTo>
                    <a:cubicBezTo>
                      <a:pt x="132" y="290"/>
                      <a:pt x="132" y="290"/>
                      <a:pt x="132" y="290"/>
                    </a:cubicBezTo>
                    <a:cubicBezTo>
                      <a:pt x="133" y="288"/>
                      <a:pt x="134" y="286"/>
                      <a:pt x="134" y="284"/>
                    </a:cubicBezTo>
                    <a:cubicBezTo>
                      <a:pt x="140" y="286"/>
                      <a:pt x="140" y="286"/>
                      <a:pt x="140" y="286"/>
                    </a:cubicBezTo>
                    <a:cubicBezTo>
                      <a:pt x="139" y="288"/>
                      <a:pt x="139" y="290"/>
                      <a:pt x="138" y="292"/>
                    </a:cubicBezTo>
                    <a:close/>
                    <a:moveTo>
                      <a:pt x="135" y="278"/>
                    </a:moveTo>
                    <a:cubicBezTo>
                      <a:pt x="134" y="277"/>
                      <a:pt x="133" y="277"/>
                      <a:pt x="133" y="277"/>
                    </a:cubicBezTo>
                    <a:cubicBezTo>
                      <a:pt x="132" y="277"/>
                      <a:pt x="132" y="277"/>
                      <a:pt x="131" y="277"/>
                    </a:cubicBezTo>
                    <a:cubicBezTo>
                      <a:pt x="129" y="277"/>
                      <a:pt x="129" y="277"/>
                      <a:pt x="129" y="277"/>
                    </a:cubicBezTo>
                    <a:cubicBezTo>
                      <a:pt x="129" y="272"/>
                      <a:pt x="129" y="272"/>
                      <a:pt x="129" y="272"/>
                    </a:cubicBezTo>
                    <a:cubicBezTo>
                      <a:pt x="131" y="272"/>
                      <a:pt x="131" y="272"/>
                      <a:pt x="131" y="272"/>
                    </a:cubicBezTo>
                    <a:cubicBezTo>
                      <a:pt x="131" y="272"/>
                      <a:pt x="132" y="272"/>
                      <a:pt x="133" y="272"/>
                    </a:cubicBezTo>
                    <a:cubicBezTo>
                      <a:pt x="134" y="272"/>
                      <a:pt x="135" y="272"/>
                      <a:pt x="136" y="272"/>
                    </a:cubicBezTo>
                    <a:lnTo>
                      <a:pt x="135" y="278"/>
                    </a:lnTo>
                    <a:close/>
                    <a:moveTo>
                      <a:pt x="126" y="270"/>
                    </a:moveTo>
                    <a:cubicBezTo>
                      <a:pt x="126" y="270"/>
                      <a:pt x="125" y="269"/>
                      <a:pt x="125" y="269"/>
                    </a:cubicBezTo>
                    <a:cubicBezTo>
                      <a:pt x="124" y="269"/>
                      <a:pt x="124" y="269"/>
                      <a:pt x="123" y="269"/>
                    </a:cubicBezTo>
                    <a:cubicBezTo>
                      <a:pt x="121" y="268"/>
                      <a:pt x="120" y="266"/>
                      <a:pt x="120" y="264"/>
                    </a:cubicBezTo>
                    <a:cubicBezTo>
                      <a:pt x="126" y="263"/>
                      <a:pt x="126" y="263"/>
                      <a:pt x="126" y="263"/>
                    </a:cubicBezTo>
                    <a:cubicBezTo>
                      <a:pt x="126" y="263"/>
                      <a:pt x="126" y="264"/>
                      <a:pt x="126" y="264"/>
                    </a:cubicBezTo>
                    <a:cubicBezTo>
                      <a:pt x="126" y="264"/>
                      <a:pt x="127" y="264"/>
                      <a:pt x="127" y="264"/>
                    </a:cubicBezTo>
                    <a:cubicBezTo>
                      <a:pt x="128" y="264"/>
                      <a:pt x="128" y="264"/>
                      <a:pt x="128" y="264"/>
                    </a:cubicBezTo>
                    <a:lnTo>
                      <a:pt x="126" y="270"/>
                    </a:lnTo>
                    <a:close/>
                    <a:moveTo>
                      <a:pt x="117" y="256"/>
                    </a:moveTo>
                    <a:cubicBezTo>
                      <a:pt x="119" y="253"/>
                      <a:pt x="119" y="253"/>
                      <a:pt x="119" y="253"/>
                    </a:cubicBezTo>
                    <a:cubicBezTo>
                      <a:pt x="117" y="256"/>
                      <a:pt x="117" y="256"/>
                      <a:pt x="117" y="256"/>
                    </a:cubicBezTo>
                    <a:cubicBezTo>
                      <a:pt x="115" y="254"/>
                      <a:pt x="113" y="253"/>
                      <a:pt x="113" y="249"/>
                    </a:cubicBezTo>
                    <a:cubicBezTo>
                      <a:pt x="113" y="248"/>
                      <a:pt x="113" y="248"/>
                      <a:pt x="113" y="248"/>
                    </a:cubicBezTo>
                    <a:cubicBezTo>
                      <a:pt x="119" y="248"/>
                      <a:pt x="119" y="248"/>
                      <a:pt x="119" y="248"/>
                    </a:cubicBezTo>
                    <a:cubicBezTo>
                      <a:pt x="119" y="250"/>
                      <a:pt x="119" y="250"/>
                      <a:pt x="121" y="251"/>
                    </a:cubicBezTo>
                    <a:lnTo>
                      <a:pt x="117" y="256"/>
                    </a:lnTo>
                    <a:close/>
                    <a:moveTo>
                      <a:pt x="112" y="239"/>
                    </a:moveTo>
                    <a:cubicBezTo>
                      <a:pt x="111" y="238"/>
                      <a:pt x="110" y="238"/>
                      <a:pt x="109" y="237"/>
                    </a:cubicBezTo>
                    <a:cubicBezTo>
                      <a:pt x="109" y="237"/>
                      <a:pt x="109" y="237"/>
                      <a:pt x="108" y="236"/>
                    </a:cubicBezTo>
                    <a:cubicBezTo>
                      <a:pt x="111" y="231"/>
                      <a:pt x="111" y="231"/>
                      <a:pt x="111" y="231"/>
                    </a:cubicBezTo>
                    <a:cubicBezTo>
                      <a:pt x="111" y="231"/>
                      <a:pt x="112" y="232"/>
                      <a:pt x="112" y="232"/>
                    </a:cubicBezTo>
                    <a:cubicBezTo>
                      <a:pt x="114" y="233"/>
                      <a:pt x="115" y="234"/>
                      <a:pt x="116" y="235"/>
                    </a:cubicBezTo>
                    <a:lnTo>
                      <a:pt x="112" y="239"/>
                    </a:lnTo>
                    <a:close/>
                    <a:moveTo>
                      <a:pt x="98" y="234"/>
                    </a:moveTo>
                    <a:cubicBezTo>
                      <a:pt x="95" y="234"/>
                      <a:pt x="93" y="232"/>
                      <a:pt x="92" y="228"/>
                    </a:cubicBezTo>
                    <a:cubicBezTo>
                      <a:pt x="97" y="227"/>
                      <a:pt x="97" y="227"/>
                      <a:pt x="97" y="227"/>
                    </a:cubicBezTo>
                    <a:cubicBezTo>
                      <a:pt x="98" y="228"/>
                      <a:pt x="98" y="229"/>
                      <a:pt x="99" y="229"/>
                    </a:cubicBezTo>
                    <a:lnTo>
                      <a:pt x="98" y="234"/>
                    </a:lnTo>
                    <a:close/>
                    <a:moveTo>
                      <a:pt x="91" y="216"/>
                    </a:moveTo>
                    <a:cubicBezTo>
                      <a:pt x="91" y="215"/>
                      <a:pt x="90" y="214"/>
                      <a:pt x="90" y="212"/>
                    </a:cubicBezTo>
                    <a:cubicBezTo>
                      <a:pt x="90" y="211"/>
                      <a:pt x="90" y="211"/>
                      <a:pt x="91" y="210"/>
                    </a:cubicBezTo>
                    <a:cubicBezTo>
                      <a:pt x="96" y="210"/>
                      <a:pt x="96" y="210"/>
                      <a:pt x="96" y="210"/>
                    </a:cubicBezTo>
                    <a:cubicBezTo>
                      <a:pt x="96" y="211"/>
                      <a:pt x="96" y="211"/>
                      <a:pt x="96" y="212"/>
                    </a:cubicBezTo>
                    <a:cubicBezTo>
                      <a:pt x="96" y="213"/>
                      <a:pt x="96" y="214"/>
                      <a:pt x="96" y="215"/>
                    </a:cubicBezTo>
                    <a:lnTo>
                      <a:pt x="91" y="216"/>
                    </a:lnTo>
                    <a:close/>
                    <a:moveTo>
                      <a:pt x="97" y="198"/>
                    </a:moveTo>
                    <a:cubicBezTo>
                      <a:pt x="91" y="198"/>
                      <a:pt x="91" y="198"/>
                      <a:pt x="91" y="198"/>
                    </a:cubicBezTo>
                    <a:cubicBezTo>
                      <a:pt x="91" y="193"/>
                      <a:pt x="93" y="191"/>
                      <a:pt x="96" y="191"/>
                    </a:cubicBezTo>
                    <a:cubicBezTo>
                      <a:pt x="96" y="191"/>
                      <a:pt x="96" y="191"/>
                      <a:pt x="96" y="191"/>
                    </a:cubicBezTo>
                    <a:cubicBezTo>
                      <a:pt x="96" y="191"/>
                      <a:pt x="96" y="191"/>
                      <a:pt x="96" y="191"/>
                    </a:cubicBezTo>
                    <a:cubicBezTo>
                      <a:pt x="96" y="197"/>
                      <a:pt x="96" y="197"/>
                      <a:pt x="96" y="197"/>
                    </a:cubicBezTo>
                    <a:cubicBezTo>
                      <a:pt x="96" y="197"/>
                      <a:pt x="97" y="196"/>
                      <a:pt x="97" y="196"/>
                    </a:cubicBezTo>
                    <a:cubicBezTo>
                      <a:pt x="97" y="196"/>
                      <a:pt x="97" y="197"/>
                      <a:pt x="97" y="198"/>
                    </a:cubicBezTo>
                    <a:close/>
                    <a:moveTo>
                      <a:pt x="105" y="189"/>
                    </a:moveTo>
                    <a:cubicBezTo>
                      <a:pt x="105" y="189"/>
                      <a:pt x="105" y="189"/>
                      <a:pt x="105" y="188"/>
                    </a:cubicBezTo>
                    <a:cubicBezTo>
                      <a:pt x="99" y="187"/>
                      <a:pt x="99" y="187"/>
                      <a:pt x="99" y="187"/>
                    </a:cubicBezTo>
                    <a:cubicBezTo>
                      <a:pt x="100" y="185"/>
                      <a:pt x="102" y="184"/>
                      <a:pt x="104" y="183"/>
                    </a:cubicBezTo>
                    <a:cubicBezTo>
                      <a:pt x="105" y="183"/>
                      <a:pt x="105" y="182"/>
                      <a:pt x="106" y="182"/>
                    </a:cubicBezTo>
                    <a:cubicBezTo>
                      <a:pt x="109" y="187"/>
                      <a:pt x="109" y="187"/>
                      <a:pt x="109" y="187"/>
                    </a:cubicBezTo>
                    <a:cubicBezTo>
                      <a:pt x="108" y="187"/>
                      <a:pt x="107" y="188"/>
                      <a:pt x="107" y="188"/>
                    </a:cubicBezTo>
                    <a:cubicBezTo>
                      <a:pt x="105" y="189"/>
                      <a:pt x="105" y="189"/>
                      <a:pt x="105" y="189"/>
                    </a:cubicBezTo>
                    <a:close/>
                    <a:moveTo>
                      <a:pt x="109" y="175"/>
                    </a:moveTo>
                    <a:cubicBezTo>
                      <a:pt x="109" y="175"/>
                      <a:pt x="109" y="175"/>
                      <a:pt x="109" y="175"/>
                    </a:cubicBezTo>
                    <a:cubicBezTo>
                      <a:pt x="108" y="174"/>
                      <a:pt x="107" y="173"/>
                      <a:pt x="107" y="172"/>
                    </a:cubicBezTo>
                    <a:cubicBezTo>
                      <a:pt x="106" y="171"/>
                      <a:pt x="106" y="171"/>
                      <a:pt x="106" y="171"/>
                    </a:cubicBezTo>
                    <a:cubicBezTo>
                      <a:pt x="111" y="168"/>
                      <a:pt x="111" y="168"/>
                      <a:pt x="111" y="168"/>
                    </a:cubicBezTo>
                    <a:cubicBezTo>
                      <a:pt x="111" y="168"/>
                      <a:pt x="111" y="168"/>
                      <a:pt x="111" y="168"/>
                    </a:cubicBezTo>
                    <a:cubicBezTo>
                      <a:pt x="112" y="170"/>
                      <a:pt x="113" y="171"/>
                      <a:pt x="114" y="172"/>
                    </a:cubicBezTo>
                    <a:cubicBezTo>
                      <a:pt x="114" y="173"/>
                      <a:pt x="114" y="173"/>
                      <a:pt x="114" y="174"/>
                    </a:cubicBezTo>
                    <a:lnTo>
                      <a:pt x="109" y="175"/>
                    </a:lnTo>
                    <a:close/>
                    <a:moveTo>
                      <a:pt x="109" y="160"/>
                    </a:moveTo>
                    <a:cubicBezTo>
                      <a:pt x="104" y="158"/>
                      <a:pt x="104" y="158"/>
                      <a:pt x="104" y="158"/>
                    </a:cubicBezTo>
                    <a:cubicBezTo>
                      <a:pt x="104" y="157"/>
                      <a:pt x="104" y="157"/>
                      <a:pt x="105" y="156"/>
                    </a:cubicBezTo>
                    <a:cubicBezTo>
                      <a:pt x="105" y="155"/>
                      <a:pt x="107" y="154"/>
                      <a:pt x="108" y="152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11" y="157"/>
                      <a:pt x="110" y="159"/>
                      <a:pt x="109" y="160"/>
                    </a:cubicBezTo>
                    <a:cubicBezTo>
                      <a:pt x="109" y="160"/>
                      <a:pt x="109" y="160"/>
                      <a:pt x="109" y="160"/>
                    </a:cubicBezTo>
                    <a:close/>
                    <a:moveTo>
                      <a:pt x="136" y="157"/>
                    </a:moveTo>
                    <a:cubicBezTo>
                      <a:pt x="135" y="151"/>
                      <a:pt x="135" y="151"/>
                      <a:pt x="135" y="151"/>
                    </a:cubicBezTo>
                    <a:cubicBezTo>
                      <a:pt x="135" y="151"/>
                      <a:pt x="135" y="151"/>
                      <a:pt x="136" y="151"/>
                    </a:cubicBezTo>
                    <a:cubicBezTo>
                      <a:pt x="137" y="150"/>
                      <a:pt x="137" y="149"/>
                      <a:pt x="137" y="149"/>
                    </a:cubicBezTo>
                    <a:cubicBezTo>
                      <a:pt x="142" y="152"/>
                      <a:pt x="142" y="152"/>
                      <a:pt x="142" y="152"/>
                    </a:cubicBezTo>
                    <a:cubicBezTo>
                      <a:pt x="141" y="154"/>
                      <a:pt x="140" y="155"/>
                      <a:pt x="138" y="156"/>
                    </a:cubicBezTo>
                    <a:cubicBezTo>
                      <a:pt x="137" y="156"/>
                      <a:pt x="137" y="157"/>
                      <a:pt x="136" y="157"/>
                    </a:cubicBezTo>
                    <a:close/>
                    <a:moveTo>
                      <a:pt x="123" y="151"/>
                    </a:moveTo>
                    <a:cubicBezTo>
                      <a:pt x="123" y="151"/>
                      <a:pt x="122" y="151"/>
                      <a:pt x="122" y="150"/>
                    </a:cubicBezTo>
                    <a:cubicBezTo>
                      <a:pt x="122" y="150"/>
                      <a:pt x="121" y="150"/>
                      <a:pt x="121" y="151"/>
                    </a:cubicBezTo>
                    <a:cubicBezTo>
                      <a:pt x="119" y="145"/>
                      <a:pt x="119" y="145"/>
                      <a:pt x="119" y="145"/>
                    </a:cubicBezTo>
                    <a:cubicBezTo>
                      <a:pt x="120" y="145"/>
                      <a:pt x="121" y="145"/>
                      <a:pt x="122" y="145"/>
                    </a:cubicBezTo>
                    <a:cubicBezTo>
                      <a:pt x="124" y="145"/>
                      <a:pt x="126" y="145"/>
                      <a:pt x="126" y="146"/>
                    </a:cubicBezTo>
                    <a:cubicBezTo>
                      <a:pt x="127" y="147"/>
                      <a:pt x="127" y="147"/>
                      <a:pt x="127" y="147"/>
                    </a:cubicBezTo>
                    <a:lnTo>
                      <a:pt x="123" y="151"/>
                    </a:lnTo>
                    <a:close/>
                    <a:moveTo>
                      <a:pt x="150" y="144"/>
                    </a:moveTo>
                    <a:cubicBezTo>
                      <a:pt x="145" y="141"/>
                      <a:pt x="145" y="141"/>
                      <a:pt x="145" y="141"/>
                    </a:cubicBezTo>
                    <a:cubicBezTo>
                      <a:pt x="147" y="139"/>
                      <a:pt x="149" y="139"/>
                      <a:pt x="150" y="138"/>
                    </a:cubicBezTo>
                    <a:cubicBezTo>
                      <a:pt x="151" y="138"/>
                      <a:pt x="151" y="138"/>
                      <a:pt x="152" y="138"/>
                    </a:cubicBezTo>
                    <a:cubicBezTo>
                      <a:pt x="154" y="143"/>
                      <a:pt x="154" y="143"/>
                      <a:pt x="154" y="143"/>
                    </a:cubicBezTo>
                    <a:cubicBezTo>
                      <a:pt x="154" y="143"/>
                      <a:pt x="154" y="143"/>
                      <a:pt x="154" y="143"/>
                    </a:cubicBezTo>
                    <a:cubicBezTo>
                      <a:pt x="153" y="144"/>
                      <a:pt x="152" y="144"/>
                      <a:pt x="151" y="144"/>
                    </a:cubicBezTo>
                    <a:cubicBezTo>
                      <a:pt x="150" y="144"/>
                      <a:pt x="150" y="144"/>
                      <a:pt x="150" y="144"/>
                    </a:cubicBezTo>
                    <a:close/>
                    <a:moveTo>
                      <a:pt x="154" y="131"/>
                    </a:moveTo>
                    <a:cubicBezTo>
                      <a:pt x="148" y="129"/>
                      <a:pt x="148" y="129"/>
                      <a:pt x="148" y="129"/>
                    </a:cubicBezTo>
                    <a:cubicBezTo>
                      <a:pt x="148" y="129"/>
                      <a:pt x="148" y="129"/>
                      <a:pt x="149" y="128"/>
                    </a:cubicBezTo>
                    <a:cubicBezTo>
                      <a:pt x="149" y="128"/>
                      <a:pt x="149" y="127"/>
                      <a:pt x="149" y="126"/>
                    </a:cubicBezTo>
                    <a:cubicBezTo>
                      <a:pt x="150" y="125"/>
                      <a:pt x="150" y="124"/>
                      <a:pt x="150" y="123"/>
                    </a:cubicBezTo>
                    <a:cubicBezTo>
                      <a:pt x="156" y="125"/>
                      <a:pt x="156" y="125"/>
                      <a:pt x="156" y="125"/>
                    </a:cubicBezTo>
                    <a:cubicBezTo>
                      <a:pt x="155" y="126"/>
                      <a:pt x="155" y="127"/>
                      <a:pt x="155" y="127"/>
                    </a:cubicBezTo>
                    <a:cubicBezTo>
                      <a:pt x="155" y="129"/>
                      <a:pt x="154" y="130"/>
                      <a:pt x="154" y="130"/>
                    </a:cubicBezTo>
                    <a:cubicBezTo>
                      <a:pt x="154" y="130"/>
                      <a:pt x="154" y="131"/>
                      <a:pt x="154" y="131"/>
                    </a:cubicBezTo>
                    <a:close/>
                    <a:moveTo>
                      <a:pt x="157" y="114"/>
                    </a:moveTo>
                    <a:cubicBezTo>
                      <a:pt x="152" y="113"/>
                      <a:pt x="152" y="113"/>
                      <a:pt x="152" y="113"/>
                    </a:cubicBezTo>
                    <a:cubicBezTo>
                      <a:pt x="152" y="113"/>
                      <a:pt x="152" y="112"/>
                      <a:pt x="152" y="112"/>
                    </a:cubicBezTo>
                    <a:cubicBezTo>
                      <a:pt x="152" y="111"/>
                      <a:pt x="152" y="110"/>
                      <a:pt x="152" y="110"/>
                    </a:cubicBezTo>
                    <a:cubicBezTo>
                      <a:pt x="152" y="109"/>
                      <a:pt x="152" y="109"/>
                      <a:pt x="152" y="108"/>
                    </a:cubicBezTo>
                    <a:cubicBezTo>
                      <a:pt x="158" y="107"/>
                      <a:pt x="158" y="107"/>
                      <a:pt x="158" y="107"/>
                    </a:cubicBezTo>
                    <a:cubicBezTo>
                      <a:pt x="158" y="108"/>
                      <a:pt x="158" y="109"/>
                      <a:pt x="158" y="110"/>
                    </a:cubicBezTo>
                    <a:cubicBezTo>
                      <a:pt x="158" y="111"/>
                      <a:pt x="158" y="112"/>
                      <a:pt x="158" y="113"/>
                    </a:cubicBezTo>
                    <a:cubicBezTo>
                      <a:pt x="158" y="114"/>
                      <a:pt x="158" y="114"/>
                      <a:pt x="157" y="114"/>
                    </a:cubicBezTo>
                    <a:close/>
                    <a:moveTo>
                      <a:pt x="146" y="101"/>
                    </a:moveTo>
                    <a:cubicBezTo>
                      <a:pt x="144" y="99"/>
                      <a:pt x="143" y="97"/>
                      <a:pt x="143" y="94"/>
                    </a:cubicBezTo>
                    <a:cubicBezTo>
                      <a:pt x="143" y="94"/>
                      <a:pt x="143" y="94"/>
                      <a:pt x="143" y="93"/>
                    </a:cubicBezTo>
                    <a:cubicBezTo>
                      <a:pt x="149" y="94"/>
                      <a:pt x="149" y="94"/>
                      <a:pt x="149" y="94"/>
                    </a:cubicBezTo>
                    <a:cubicBezTo>
                      <a:pt x="149" y="94"/>
                      <a:pt x="149" y="94"/>
                      <a:pt x="149" y="94"/>
                    </a:cubicBezTo>
                    <a:cubicBezTo>
                      <a:pt x="149" y="96"/>
                      <a:pt x="150" y="96"/>
                      <a:pt x="150" y="97"/>
                    </a:cubicBezTo>
                    <a:lnTo>
                      <a:pt x="146" y="101"/>
                    </a:lnTo>
                    <a:close/>
                    <a:moveTo>
                      <a:pt x="143" y="82"/>
                    </a:moveTo>
                    <a:cubicBezTo>
                      <a:pt x="143" y="80"/>
                      <a:pt x="142" y="79"/>
                      <a:pt x="142" y="79"/>
                    </a:cubicBezTo>
                    <a:cubicBezTo>
                      <a:pt x="146" y="75"/>
                      <a:pt x="146" y="75"/>
                      <a:pt x="146" y="75"/>
                    </a:cubicBezTo>
                    <a:cubicBezTo>
                      <a:pt x="148" y="76"/>
                      <a:pt x="148" y="78"/>
                      <a:pt x="149" y="81"/>
                    </a:cubicBezTo>
                    <a:lnTo>
                      <a:pt x="143" y="82"/>
                    </a:lnTo>
                    <a:close/>
                    <a:moveTo>
                      <a:pt x="132" y="77"/>
                    </a:moveTo>
                    <a:cubicBezTo>
                      <a:pt x="130" y="77"/>
                      <a:pt x="128" y="76"/>
                      <a:pt x="126" y="76"/>
                    </a:cubicBezTo>
                    <a:cubicBezTo>
                      <a:pt x="128" y="70"/>
                      <a:pt x="128" y="70"/>
                      <a:pt x="128" y="70"/>
                    </a:cubicBezTo>
                    <a:cubicBezTo>
                      <a:pt x="129" y="71"/>
                      <a:pt x="131" y="71"/>
                      <a:pt x="133" y="71"/>
                    </a:cubicBezTo>
                    <a:lnTo>
                      <a:pt x="132" y="77"/>
                    </a:lnTo>
                    <a:close/>
                    <a:moveTo>
                      <a:pt x="114" y="70"/>
                    </a:moveTo>
                    <a:cubicBezTo>
                      <a:pt x="114" y="69"/>
                      <a:pt x="114" y="69"/>
                      <a:pt x="114" y="69"/>
                    </a:cubicBezTo>
                    <a:cubicBezTo>
                      <a:pt x="113" y="67"/>
                      <a:pt x="112" y="65"/>
                      <a:pt x="112" y="63"/>
                    </a:cubicBezTo>
                    <a:cubicBezTo>
                      <a:pt x="118" y="63"/>
                      <a:pt x="118" y="63"/>
                      <a:pt x="118" y="63"/>
                    </a:cubicBezTo>
                    <a:cubicBezTo>
                      <a:pt x="118" y="64"/>
                      <a:pt x="118" y="65"/>
                      <a:pt x="119" y="67"/>
                    </a:cubicBezTo>
                    <a:lnTo>
                      <a:pt x="114" y="70"/>
                    </a:lnTo>
                    <a:close/>
                    <a:moveTo>
                      <a:pt x="127" y="59"/>
                    </a:moveTo>
                    <a:cubicBezTo>
                      <a:pt x="121" y="58"/>
                      <a:pt x="121" y="58"/>
                      <a:pt x="121" y="58"/>
                    </a:cubicBezTo>
                    <a:cubicBezTo>
                      <a:pt x="121" y="58"/>
                      <a:pt x="121" y="58"/>
                      <a:pt x="121" y="58"/>
                    </a:cubicBezTo>
                    <a:cubicBezTo>
                      <a:pt x="121" y="57"/>
                      <a:pt x="121" y="57"/>
                      <a:pt x="121" y="56"/>
                    </a:cubicBezTo>
                    <a:cubicBezTo>
                      <a:pt x="121" y="55"/>
                      <a:pt x="120" y="54"/>
                      <a:pt x="120" y="53"/>
                    </a:cubicBezTo>
                    <a:cubicBezTo>
                      <a:pt x="123" y="53"/>
                      <a:pt x="123" y="53"/>
                      <a:pt x="123" y="53"/>
                    </a:cubicBezTo>
                    <a:cubicBezTo>
                      <a:pt x="126" y="53"/>
                      <a:pt x="126" y="53"/>
                      <a:pt x="126" y="53"/>
                    </a:cubicBezTo>
                    <a:cubicBezTo>
                      <a:pt x="126" y="53"/>
                      <a:pt x="126" y="54"/>
                      <a:pt x="126" y="55"/>
                    </a:cubicBezTo>
                    <a:cubicBezTo>
                      <a:pt x="127" y="56"/>
                      <a:pt x="127" y="57"/>
                      <a:pt x="127" y="58"/>
                    </a:cubicBezTo>
                    <a:cubicBezTo>
                      <a:pt x="127" y="58"/>
                      <a:pt x="127" y="59"/>
                      <a:pt x="127" y="59"/>
                    </a:cubicBezTo>
                    <a:close/>
                    <a:moveTo>
                      <a:pt x="133" y="49"/>
                    </a:moveTo>
                    <a:cubicBezTo>
                      <a:pt x="131" y="43"/>
                      <a:pt x="131" y="43"/>
                      <a:pt x="131" y="43"/>
                    </a:cubicBezTo>
                    <a:cubicBezTo>
                      <a:pt x="133" y="42"/>
                      <a:pt x="136" y="42"/>
                      <a:pt x="138" y="42"/>
                    </a:cubicBezTo>
                    <a:cubicBezTo>
                      <a:pt x="138" y="47"/>
                      <a:pt x="138" y="47"/>
                      <a:pt x="138" y="47"/>
                    </a:cubicBezTo>
                    <a:cubicBezTo>
                      <a:pt x="136" y="47"/>
                      <a:pt x="135" y="48"/>
                      <a:pt x="133" y="49"/>
                    </a:cubicBezTo>
                    <a:close/>
                    <a:moveTo>
                      <a:pt x="151" y="45"/>
                    </a:moveTo>
                    <a:cubicBezTo>
                      <a:pt x="148" y="40"/>
                      <a:pt x="148" y="40"/>
                      <a:pt x="148" y="40"/>
                    </a:cubicBezTo>
                    <a:cubicBezTo>
                      <a:pt x="149" y="39"/>
                      <a:pt x="149" y="39"/>
                      <a:pt x="149" y="38"/>
                    </a:cubicBezTo>
                    <a:cubicBezTo>
                      <a:pt x="149" y="37"/>
                      <a:pt x="149" y="37"/>
                      <a:pt x="149" y="37"/>
                    </a:cubicBezTo>
                    <a:cubicBezTo>
                      <a:pt x="155" y="38"/>
                      <a:pt x="155" y="38"/>
                      <a:pt x="155" y="38"/>
                    </a:cubicBezTo>
                    <a:cubicBezTo>
                      <a:pt x="155" y="39"/>
                      <a:pt x="155" y="39"/>
                      <a:pt x="155" y="39"/>
                    </a:cubicBezTo>
                    <a:cubicBezTo>
                      <a:pt x="155" y="41"/>
                      <a:pt x="153" y="43"/>
                      <a:pt x="151" y="45"/>
                    </a:cubicBezTo>
                    <a:close/>
                    <a:moveTo>
                      <a:pt x="143" y="37"/>
                    </a:moveTo>
                    <a:cubicBezTo>
                      <a:pt x="141" y="37"/>
                      <a:pt x="138" y="37"/>
                      <a:pt x="136" y="34"/>
                    </a:cubicBezTo>
                    <a:cubicBezTo>
                      <a:pt x="140" y="30"/>
                      <a:pt x="140" y="30"/>
                      <a:pt x="140" y="30"/>
                    </a:cubicBezTo>
                    <a:cubicBezTo>
                      <a:pt x="141" y="31"/>
                      <a:pt x="142" y="31"/>
                      <a:pt x="143" y="31"/>
                    </a:cubicBezTo>
                    <a:lnTo>
                      <a:pt x="143" y="37"/>
                    </a:lnTo>
                    <a:close/>
                    <a:moveTo>
                      <a:pt x="131" y="22"/>
                    </a:moveTo>
                    <a:cubicBezTo>
                      <a:pt x="130" y="20"/>
                      <a:pt x="129" y="19"/>
                      <a:pt x="129" y="17"/>
                    </a:cubicBezTo>
                    <a:cubicBezTo>
                      <a:pt x="134" y="15"/>
                      <a:pt x="134" y="15"/>
                      <a:pt x="134" y="15"/>
                    </a:cubicBezTo>
                    <a:cubicBezTo>
                      <a:pt x="135" y="17"/>
                      <a:pt x="136" y="19"/>
                      <a:pt x="136" y="21"/>
                    </a:cubicBezTo>
                    <a:lnTo>
                      <a:pt x="131" y="22"/>
                    </a:lnTo>
                    <a:close/>
                    <a:moveTo>
                      <a:pt x="123" y="8"/>
                    </a:moveTo>
                    <a:cubicBezTo>
                      <a:pt x="122" y="6"/>
                      <a:pt x="121" y="5"/>
                      <a:pt x="120" y="3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6" y="1"/>
                      <a:pt x="127" y="3"/>
                      <a:pt x="128" y="4"/>
                    </a:cubicBezTo>
                    <a:lnTo>
                      <a:pt x="123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38" name="íş1iḍe"/>
              <p:cNvSpPr/>
              <p:nvPr/>
            </p:nvSpPr>
            <p:spPr bwMode="auto">
              <a:xfrm>
                <a:off x="7359650" y="2976563"/>
                <a:ext cx="596900" cy="455613"/>
              </a:xfrm>
              <a:custGeom>
                <a:avLst/>
                <a:gdLst>
                  <a:gd name="T0" fmla="*/ 82 w 278"/>
                  <a:gd name="T1" fmla="*/ 207 h 213"/>
                  <a:gd name="T2" fmla="*/ 88 w 278"/>
                  <a:gd name="T3" fmla="*/ 208 h 213"/>
                  <a:gd name="T4" fmla="*/ 106 w 278"/>
                  <a:gd name="T5" fmla="*/ 204 h 213"/>
                  <a:gd name="T6" fmla="*/ 110 w 278"/>
                  <a:gd name="T7" fmla="*/ 201 h 213"/>
                  <a:gd name="T8" fmla="*/ 112 w 278"/>
                  <a:gd name="T9" fmla="*/ 209 h 213"/>
                  <a:gd name="T10" fmla="*/ 71 w 278"/>
                  <a:gd name="T11" fmla="*/ 201 h 213"/>
                  <a:gd name="T12" fmla="*/ 72 w 278"/>
                  <a:gd name="T13" fmla="*/ 207 h 213"/>
                  <a:gd name="T14" fmla="*/ 53 w 278"/>
                  <a:gd name="T15" fmla="*/ 205 h 213"/>
                  <a:gd name="T16" fmla="*/ 56 w 278"/>
                  <a:gd name="T17" fmla="*/ 200 h 213"/>
                  <a:gd name="T18" fmla="*/ 97 w 278"/>
                  <a:gd name="T19" fmla="*/ 205 h 213"/>
                  <a:gd name="T20" fmla="*/ 99 w 278"/>
                  <a:gd name="T21" fmla="*/ 203 h 213"/>
                  <a:gd name="T22" fmla="*/ 118 w 278"/>
                  <a:gd name="T23" fmla="*/ 199 h 213"/>
                  <a:gd name="T24" fmla="*/ 124 w 278"/>
                  <a:gd name="T25" fmla="*/ 193 h 213"/>
                  <a:gd name="T26" fmla="*/ 38 w 278"/>
                  <a:gd name="T27" fmla="*/ 199 h 213"/>
                  <a:gd name="T28" fmla="*/ 38 w 278"/>
                  <a:gd name="T29" fmla="*/ 193 h 213"/>
                  <a:gd name="T30" fmla="*/ 41 w 278"/>
                  <a:gd name="T31" fmla="*/ 199 h 213"/>
                  <a:gd name="T32" fmla="*/ 21 w 278"/>
                  <a:gd name="T33" fmla="*/ 197 h 213"/>
                  <a:gd name="T34" fmla="*/ 21 w 278"/>
                  <a:gd name="T35" fmla="*/ 191 h 213"/>
                  <a:gd name="T36" fmla="*/ 22 w 278"/>
                  <a:gd name="T37" fmla="*/ 197 h 213"/>
                  <a:gd name="T38" fmla="*/ 0 w 278"/>
                  <a:gd name="T39" fmla="*/ 195 h 213"/>
                  <a:gd name="T40" fmla="*/ 6 w 278"/>
                  <a:gd name="T41" fmla="*/ 189 h 213"/>
                  <a:gd name="T42" fmla="*/ 111 w 278"/>
                  <a:gd name="T43" fmla="*/ 188 h 213"/>
                  <a:gd name="T44" fmla="*/ 114 w 278"/>
                  <a:gd name="T45" fmla="*/ 184 h 213"/>
                  <a:gd name="T46" fmla="*/ 107 w 278"/>
                  <a:gd name="T47" fmla="*/ 168 h 213"/>
                  <a:gd name="T48" fmla="*/ 114 w 278"/>
                  <a:gd name="T49" fmla="*/ 166 h 213"/>
                  <a:gd name="T50" fmla="*/ 121 w 278"/>
                  <a:gd name="T51" fmla="*/ 156 h 213"/>
                  <a:gd name="T52" fmla="*/ 120 w 278"/>
                  <a:gd name="T53" fmla="*/ 148 h 213"/>
                  <a:gd name="T54" fmla="*/ 121 w 278"/>
                  <a:gd name="T55" fmla="*/ 156 h 213"/>
                  <a:gd name="T56" fmla="*/ 132 w 278"/>
                  <a:gd name="T57" fmla="*/ 139 h 213"/>
                  <a:gd name="T58" fmla="*/ 142 w 278"/>
                  <a:gd name="T59" fmla="*/ 131 h 213"/>
                  <a:gd name="T60" fmla="*/ 139 w 278"/>
                  <a:gd name="T61" fmla="*/ 123 h 213"/>
                  <a:gd name="T62" fmla="*/ 142 w 278"/>
                  <a:gd name="T63" fmla="*/ 131 h 213"/>
                  <a:gd name="T64" fmla="*/ 144 w 278"/>
                  <a:gd name="T65" fmla="*/ 106 h 213"/>
                  <a:gd name="T66" fmla="*/ 154 w 278"/>
                  <a:gd name="T67" fmla="*/ 98 h 213"/>
                  <a:gd name="T68" fmla="*/ 157 w 278"/>
                  <a:gd name="T69" fmla="*/ 96 h 213"/>
                  <a:gd name="T70" fmla="*/ 167 w 278"/>
                  <a:gd name="T71" fmla="*/ 91 h 213"/>
                  <a:gd name="T72" fmla="*/ 168 w 278"/>
                  <a:gd name="T73" fmla="*/ 89 h 213"/>
                  <a:gd name="T74" fmla="*/ 169 w 278"/>
                  <a:gd name="T75" fmla="*/ 97 h 213"/>
                  <a:gd name="T76" fmla="*/ 175 w 278"/>
                  <a:gd name="T77" fmla="*/ 73 h 213"/>
                  <a:gd name="T78" fmla="*/ 173 w 278"/>
                  <a:gd name="T79" fmla="*/ 80 h 213"/>
                  <a:gd name="T80" fmla="*/ 184 w 278"/>
                  <a:gd name="T81" fmla="*/ 75 h 213"/>
                  <a:gd name="T82" fmla="*/ 189 w 278"/>
                  <a:gd name="T83" fmla="*/ 78 h 213"/>
                  <a:gd name="T84" fmla="*/ 193 w 278"/>
                  <a:gd name="T85" fmla="*/ 62 h 213"/>
                  <a:gd name="T86" fmla="*/ 198 w 278"/>
                  <a:gd name="T87" fmla="*/ 65 h 213"/>
                  <a:gd name="T88" fmla="*/ 211 w 278"/>
                  <a:gd name="T89" fmla="*/ 45 h 213"/>
                  <a:gd name="T90" fmla="*/ 223 w 278"/>
                  <a:gd name="T91" fmla="*/ 51 h 213"/>
                  <a:gd name="T92" fmla="*/ 227 w 278"/>
                  <a:gd name="T93" fmla="*/ 43 h 213"/>
                  <a:gd name="T94" fmla="*/ 223 w 278"/>
                  <a:gd name="T95" fmla="*/ 51 h 213"/>
                  <a:gd name="T96" fmla="*/ 239 w 278"/>
                  <a:gd name="T97" fmla="*/ 46 h 213"/>
                  <a:gd name="T98" fmla="*/ 245 w 278"/>
                  <a:gd name="T99" fmla="*/ 40 h 213"/>
                  <a:gd name="T100" fmla="*/ 255 w 278"/>
                  <a:gd name="T101" fmla="*/ 36 h 213"/>
                  <a:gd name="T102" fmla="*/ 252 w 278"/>
                  <a:gd name="T103" fmla="*/ 28 h 213"/>
                  <a:gd name="T104" fmla="*/ 255 w 278"/>
                  <a:gd name="T105" fmla="*/ 36 h 213"/>
                  <a:gd name="T106" fmla="*/ 264 w 278"/>
                  <a:gd name="T107" fmla="*/ 15 h 213"/>
                  <a:gd name="T108" fmla="*/ 275 w 278"/>
                  <a:gd name="T109" fmla="*/ 8 h 213"/>
                  <a:gd name="T110" fmla="*/ 278 w 278"/>
                  <a:gd name="T111" fmla="*/ 2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78" h="213">
                    <a:moveTo>
                      <a:pt x="85" y="213"/>
                    </a:moveTo>
                    <a:cubicBezTo>
                      <a:pt x="83" y="212"/>
                      <a:pt x="82" y="210"/>
                      <a:pt x="82" y="206"/>
                    </a:cubicBezTo>
                    <a:cubicBezTo>
                      <a:pt x="82" y="206"/>
                      <a:pt x="82" y="207"/>
                      <a:pt x="82" y="207"/>
                    </a:cubicBezTo>
                    <a:cubicBezTo>
                      <a:pt x="87" y="204"/>
                      <a:pt x="87" y="204"/>
                      <a:pt x="87" y="204"/>
                    </a:cubicBezTo>
                    <a:cubicBezTo>
                      <a:pt x="87" y="205"/>
                      <a:pt x="88" y="205"/>
                      <a:pt x="88" y="206"/>
                    </a:cubicBezTo>
                    <a:cubicBezTo>
                      <a:pt x="88" y="208"/>
                      <a:pt x="88" y="208"/>
                      <a:pt x="88" y="208"/>
                    </a:cubicBezTo>
                    <a:lnTo>
                      <a:pt x="85" y="213"/>
                    </a:lnTo>
                    <a:close/>
                    <a:moveTo>
                      <a:pt x="112" y="209"/>
                    </a:moveTo>
                    <a:cubicBezTo>
                      <a:pt x="110" y="208"/>
                      <a:pt x="108" y="207"/>
                      <a:pt x="106" y="204"/>
                    </a:cubicBezTo>
                    <a:cubicBezTo>
                      <a:pt x="110" y="200"/>
                      <a:pt x="110" y="200"/>
                      <a:pt x="110" y="200"/>
                    </a:cubicBezTo>
                    <a:cubicBezTo>
                      <a:pt x="110" y="200"/>
                      <a:pt x="110" y="201"/>
                      <a:pt x="110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2" y="202"/>
                      <a:pt x="113" y="203"/>
                      <a:pt x="114" y="203"/>
                    </a:cubicBezTo>
                    <a:lnTo>
                      <a:pt x="112" y="209"/>
                    </a:lnTo>
                    <a:close/>
                    <a:moveTo>
                      <a:pt x="68" y="208"/>
                    </a:moveTo>
                    <a:cubicBezTo>
                      <a:pt x="67" y="202"/>
                      <a:pt x="67" y="202"/>
                      <a:pt x="67" y="202"/>
                    </a:cubicBezTo>
                    <a:cubicBezTo>
                      <a:pt x="68" y="202"/>
                      <a:pt x="70" y="202"/>
                      <a:pt x="71" y="201"/>
                    </a:cubicBezTo>
                    <a:cubicBezTo>
                      <a:pt x="71" y="201"/>
                      <a:pt x="72" y="201"/>
                      <a:pt x="73" y="201"/>
                    </a:cubicBezTo>
                    <a:cubicBezTo>
                      <a:pt x="74" y="207"/>
                      <a:pt x="74" y="207"/>
                      <a:pt x="74" y="207"/>
                    </a:cubicBezTo>
                    <a:cubicBezTo>
                      <a:pt x="73" y="207"/>
                      <a:pt x="73" y="207"/>
                      <a:pt x="72" y="207"/>
                    </a:cubicBezTo>
                    <a:cubicBezTo>
                      <a:pt x="71" y="207"/>
                      <a:pt x="69" y="208"/>
                      <a:pt x="68" y="208"/>
                    </a:cubicBezTo>
                    <a:close/>
                    <a:moveTo>
                      <a:pt x="55" y="206"/>
                    </a:moveTo>
                    <a:cubicBezTo>
                      <a:pt x="54" y="206"/>
                      <a:pt x="53" y="205"/>
                      <a:pt x="53" y="205"/>
                    </a:cubicBezTo>
                    <a:cubicBezTo>
                      <a:pt x="51" y="204"/>
                      <a:pt x="50" y="203"/>
                      <a:pt x="49" y="202"/>
                    </a:cubicBezTo>
                    <a:cubicBezTo>
                      <a:pt x="53" y="198"/>
                      <a:pt x="53" y="198"/>
                      <a:pt x="53" y="198"/>
                    </a:cubicBezTo>
                    <a:cubicBezTo>
                      <a:pt x="54" y="199"/>
                      <a:pt x="55" y="199"/>
                      <a:pt x="56" y="200"/>
                    </a:cubicBezTo>
                    <a:cubicBezTo>
                      <a:pt x="56" y="200"/>
                      <a:pt x="57" y="201"/>
                      <a:pt x="57" y="201"/>
                    </a:cubicBezTo>
                    <a:lnTo>
                      <a:pt x="55" y="206"/>
                    </a:lnTo>
                    <a:close/>
                    <a:moveTo>
                      <a:pt x="97" y="205"/>
                    </a:moveTo>
                    <a:cubicBezTo>
                      <a:pt x="91" y="204"/>
                      <a:pt x="91" y="204"/>
                      <a:pt x="91" y="204"/>
                    </a:cubicBezTo>
                    <a:cubicBezTo>
                      <a:pt x="92" y="200"/>
                      <a:pt x="95" y="198"/>
                      <a:pt x="96" y="197"/>
                    </a:cubicBezTo>
                    <a:cubicBezTo>
                      <a:pt x="99" y="203"/>
                      <a:pt x="99" y="203"/>
                      <a:pt x="99" y="203"/>
                    </a:cubicBezTo>
                    <a:cubicBezTo>
                      <a:pt x="99" y="203"/>
                      <a:pt x="97" y="204"/>
                      <a:pt x="97" y="205"/>
                    </a:cubicBezTo>
                    <a:close/>
                    <a:moveTo>
                      <a:pt x="124" y="200"/>
                    </a:moveTo>
                    <a:cubicBezTo>
                      <a:pt x="118" y="199"/>
                      <a:pt x="118" y="199"/>
                      <a:pt x="118" y="199"/>
                    </a:cubicBezTo>
                    <a:cubicBezTo>
                      <a:pt x="118" y="199"/>
                      <a:pt x="118" y="198"/>
                      <a:pt x="118" y="198"/>
                    </a:cubicBezTo>
                    <a:cubicBezTo>
                      <a:pt x="118" y="197"/>
                      <a:pt x="118" y="196"/>
                      <a:pt x="118" y="195"/>
                    </a:cubicBezTo>
                    <a:cubicBezTo>
                      <a:pt x="124" y="193"/>
                      <a:pt x="124" y="193"/>
                      <a:pt x="124" y="193"/>
                    </a:cubicBezTo>
                    <a:cubicBezTo>
                      <a:pt x="124" y="194"/>
                      <a:pt x="124" y="196"/>
                      <a:pt x="124" y="198"/>
                    </a:cubicBezTo>
                    <a:cubicBezTo>
                      <a:pt x="124" y="198"/>
                      <a:pt x="124" y="199"/>
                      <a:pt x="124" y="200"/>
                    </a:cubicBezTo>
                    <a:close/>
                    <a:moveTo>
                      <a:pt x="38" y="199"/>
                    </a:moveTo>
                    <a:cubicBezTo>
                      <a:pt x="37" y="199"/>
                      <a:pt x="36" y="199"/>
                      <a:pt x="35" y="199"/>
                    </a:cubicBezTo>
                    <a:cubicBezTo>
                      <a:pt x="35" y="193"/>
                      <a:pt x="35" y="193"/>
                      <a:pt x="35" y="193"/>
                    </a:cubicBezTo>
                    <a:cubicBezTo>
                      <a:pt x="36" y="193"/>
                      <a:pt x="37" y="193"/>
                      <a:pt x="38" y="193"/>
                    </a:cubicBezTo>
                    <a:cubicBezTo>
                      <a:pt x="39" y="193"/>
                      <a:pt x="40" y="193"/>
                      <a:pt x="40" y="193"/>
                    </a:cubicBezTo>
                    <a:cubicBezTo>
                      <a:pt x="41" y="193"/>
                      <a:pt x="41" y="193"/>
                      <a:pt x="41" y="193"/>
                    </a:cubicBezTo>
                    <a:cubicBezTo>
                      <a:pt x="41" y="199"/>
                      <a:pt x="41" y="199"/>
                      <a:pt x="41" y="199"/>
                    </a:cubicBezTo>
                    <a:cubicBezTo>
                      <a:pt x="41" y="199"/>
                      <a:pt x="41" y="199"/>
                      <a:pt x="41" y="199"/>
                    </a:cubicBezTo>
                    <a:cubicBezTo>
                      <a:pt x="40" y="199"/>
                      <a:pt x="39" y="199"/>
                      <a:pt x="38" y="199"/>
                    </a:cubicBezTo>
                    <a:close/>
                    <a:moveTo>
                      <a:pt x="21" y="197"/>
                    </a:moveTo>
                    <a:cubicBezTo>
                      <a:pt x="20" y="197"/>
                      <a:pt x="19" y="197"/>
                      <a:pt x="17" y="196"/>
                    </a:cubicBezTo>
                    <a:cubicBezTo>
                      <a:pt x="19" y="191"/>
                      <a:pt x="19" y="191"/>
                      <a:pt x="19" y="191"/>
                    </a:cubicBezTo>
                    <a:cubicBezTo>
                      <a:pt x="20" y="191"/>
                      <a:pt x="21" y="191"/>
                      <a:pt x="21" y="191"/>
                    </a:cubicBezTo>
                    <a:cubicBezTo>
                      <a:pt x="22" y="191"/>
                      <a:pt x="23" y="191"/>
                      <a:pt x="24" y="191"/>
                    </a:cubicBezTo>
                    <a:cubicBezTo>
                      <a:pt x="23" y="197"/>
                      <a:pt x="23" y="197"/>
                      <a:pt x="23" y="197"/>
                    </a:cubicBezTo>
                    <a:cubicBezTo>
                      <a:pt x="23" y="197"/>
                      <a:pt x="23" y="197"/>
                      <a:pt x="22" y="197"/>
                    </a:cubicBezTo>
                    <a:cubicBezTo>
                      <a:pt x="22" y="197"/>
                      <a:pt x="21" y="197"/>
                      <a:pt x="21" y="197"/>
                    </a:cubicBezTo>
                    <a:close/>
                    <a:moveTo>
                      <a:pt x="6" y="195"/>
                    </a:moveTo>
                    <a:cubicBezTo>
                      <a:pt x="3" y="195"/>
                      <a:pt x="0" y="195"/>
                      <a:pt x="0" y="195"/>
                    </a:cubicBezTo>
                    <a:cubicBezTo>
                      <a:pt x="1" y="189"/>
                      <a:pt x="1" y="189"/>
                      <a:pt x="1" y="189"/>
                    </a:cubicBezTo>
                    <a:cubicBezTo>
                      <a:pt x="1" y="189"/>
                      <a:pt x="4" y="189"/>
                      <a:pt x="6" y="189"/>
                    </a:cubicBezTo>
                    <a:cubicBezTo>
                      <a:pt x="6" y="189"/>
                      <a:pt x="6" y="189"/>
                      <a:pt x="6" y="189"/>
                    </a:cubicBezTo>
                    <a:cubicBezTo>
                      <a:pt x="7" y="195"/>
                      <a:pt x="7" y="195"/>
                      <a:pt x="7" y="195"/>
                    </a:cubicBezTo>
                    <a:cubicBezTo>
                      <a:pt x="6" y="195"/>
                      <a:pt x="6" y="195"/>
                      <a:pt x="6" y="195"/>
                    </a:cubicBezTo>
                    <a:close/>
                    <a:moveTo>
                      <a:pt x="111" y="188"/>
                    </a:moveTo>
                    <a:cubicBezTo>
                      <a:pt x="109" y="187"/>
                      <a:pt x="107" y="185"/>
                      <a:pt x="107" y="182"/>
                    </a:cubicBezTo>
                    <a:cubicBezTo>
                      <a:pt x="112" y="181"/>
                      <a:pt x="112" y="181"/>
                      <a:pt x="112" y="181"/>
                    </a:cubicBezTo>
                    <a:cubicBezTo>
                      <a:pt x="113" y="182"/>
                      <a:pt x="113" y="183"/>
                      <a:pt x="114" y="184"/>
                    </a:cubicBezTo>
                    <a:lnTo>
                      <a:pt x="111" y="188"/>
                    </a:lnTo>
                    <a:close/>
                    <a:moveTo>
                      <a:pt x="112" y="171"/>
                    </a:moveTo>
                    <a:cubicBezTo>
                      <a:pt x="107" y="168"/>
                      <a:pt x="107" y="168"/>
                      <a:pt x="107" y="168"/>
                    </a:cubicBezTo>
                    <a:cubicBezTo>
                      <a:pt x="108" y="166"/>
                      <a:pt x="108" y="165"/>
                      <a:pt x="109" y="165"/>
                    </a:cubicBezTo>
                    <a:cubicBezTo>
                      <a:pt x="109" y="164"/>
                      <a:pt x="109" y="164"/>
                      <a:pt x="109" y="163"/>
                    </a:cubicBezTo>
                    <a:cubicBezTo>
                      <a:pt x="114" y="166"/>
                      <a:pt x="114" y="166"/>
                      <a:pt x="114" y="166"/>
                    </a:cubicBezTo>
                    <a:cubicBezTo>
                      <a:pt x="114" y="166"/>
                      <a:pt x="114" y="167"/>
                      <a:pt x="114" y="167"/>
                    </a:cubicBezTo>
                    <a:cubicBezTo>
                      <a:pt x="114" y="168"/>
                      <a:pt x="113" y="169"/>
                      <a:pt x="112" y="171"/>
                    </a:cubicBezTo>
                    <a:close/>
                    <a:moveTo>
                      <a:pt x="121" y="156"/>
                    </a:moveTo>
                    <a:cubicBezTo>
                      <a:pt x="116" y="153"/>
                      <a:pt x="116" y="153"/>
                      <a:pt x="116" y="153"/>
                    </a:cubicBezTo>
                    <a:cubicBezTo>
                      <a:pt x="116" y="152"/>
                      <a:pt x="116" y="152"/>
                      <a:pt x="116" y="152"/>
                    </a:cubicBezTo>
                    <a:cubicBezTo>
                      <a:pt x="117" y="151"/>
                      <a:pt x="118" y="149"/>
                      <a:pt x="120" y="148"/>
                    </a:cubicBezTo>
                    <a:cubicBezTo>
                      <a:pt x="123" y="153"/>
                      <a:pt x="123" y="153"/>
                      <a:pt x="123" y="153"/>
                    </a:cubicBezTo>
                    <a:cubicBezTo>
                      <a:pt x="122" y="153"/>
                      <a:pt x="122" y="154"/>
                      <a:pt x="122" y="155"/>
                    </a:cubicBezTo>
                    <a:lnTo>
                      <a:pt x="121" y="156"/>
                    </a:lnTo>
                    <a:close/>
                    <a:moveTo>
                      <a:pt x="134" y="147"/>
                    </a:moveTo>
                    <a:cubicBezTo>
                      <a:pt x="130" y="143"/>
                      <a:pt x="130" y="143"/>
                      <a:pt x="130" y="143"/>
                    </a:cubicBezTo>
                    <a:cubicBezTo>
                      <a:pt x="131" y="142"/>
                      <a:pt x="131" y="141"/>
                      <a:pt x="132" y="139"/>
                    </a:cubicBezTo>
                    <a:cubicBezTo>
                      <a:pt x="138" y="141"/>
                      <a:pt x="138" y="141"/>
                      <a:pt x="138" y="141"/>
                    </a:cubicBezTo>
                    <a:cubicBezTo>
                      <a:pt x="137" y="143"/>
                      <a:pt x="136" y="145"/>
                      <a:pt x="134" y="147"/>
                    </a:cubicBezTo>
                    <a:close/>
                    <a:moveTo>
                      <a:pt x="142" y="131"/>
                    </a:moveTo>
                    <a:cubicBezTo>
                      <a:pt x="137" y="128"/>
                      <a:pt x="137" y="128"/>
                      <a:pt x="137" y="128"/>
                    </a:cubicBezTo>
                    <a:cubicBezTo>
                      <a:pt x="137" y="127"/>
                      <a:pt x="137" y="127"/>
                      <a:pt x="137" y="127"/>
                    </a:cubicBezTo>
                    <a:cubicBezTo>
                      <a:pt x="138" y="125"/>
                      <a:pt x="139" y="124"/>
                      <a:pt x="139" y="123"/>
                    </a:cubicBezTo>
                    <a:cubicBezTo>
                      <a:pt x="145" y="125"/>
                      <a:pt x="145" y="125"/>
                      <a:pt x="145" y="125"/>
                    </a:cubicBezTo>
                    <a:cubicBezTo>
                      <a:pt x="144" y="127"/>
                      <a:pt x="143" y="128"/>
                      <a:pt x="143" y="129"/>
                    </a:cubicBezTo>
                    <a:lnTo>
                      <a:pt x="142" y="131"/>
                    </a:lnTo>
                    <a:close/>
                    <a:moveTo>
                      <a:pt x="148" y="113"/>
                    </a:moveTo>
                    <a:cubicBezTo>
                      <a:pt x="142" y="112"/>
                      <a:pt x="142" y="112"/>
                      <a:pt x="142" y="112"/>
                    </a:cubicBezTo>
                    <a:cubicBezTo>
                      <a:pt x="143" y="111"/>
                      <a:pt x="143" y="108"/>
                      <a:pt x="144" y="106"/>
                    </a:cubicBezTo>
                    <a:cubicBezTo>
                      <a:pt x="150" y="108"/>
                      <a:pt x="150" y="108"/>
                      <a:pt x="150" y="108"/>
                    </a:cubicBezTo>
                    <a:cubicBezTo>
                      <a:pt x="149" y="110"/>
                      <a:pt x="148" y="112"/>
                      <a:pt x="148" y="113"/>
                    </a:cubicBezTo>
                    <a:close/>
                    <a:moveTo>
                      <a:pt x="154" y="98"/>
                    </a:moveTo>
                    <a:cubicBezTo>
                      <a:pt x="150" y="95"/>
                      <a:pt x="150" y="95"/>
                      <a:pt x="150" y="95"/>
                    </a:cubicBezTo>
                    <a:cubicBezTo>
                      <a:pt x="151" y="93"/>
                      <a:pt x="153" y="91"/>
                      <a:pt x="155" y="90"/>
                    </a:cubicBezTo>
                    <a:cubicBezTo>
                      <a:pt x="157" y="96"/>
                      <a:pt x="157" y="96"/>
                      <a:pt x="157" y="96"/>
                    </a:cubicBezTo>
                    <a:cubicBezTo>
                      <a:pt x="156" y="96"/>
                      <a:pt x="155" y="97"/>
                      <a:pt x="154" y="98"/>
                    </a:cubicBezTo>
                    <a:close/>
                    <a:moveTo>
                      <a:pt x="169" y="97"/>
                    </a:moveTo>
                    <a:cubicBezTo>
                      <a:pt x="167" y="91"/>
                      <a:pt x="167" y="91"/>
                      <a:pt x="167" y="91"/>
                    </a:cubicBezTo>
                    <a:cubicBezTo>
                      <a:pt x="167" y="91"/>
                      <a:pt x="167" y="91"/>
                      <a:pt x="167" y="91"/>
                    </a:cubicBezTo>
                    <a:cubicBezTo>
                      <a:pt x="167" y="91"/>
                      <a:pt x="167" y="91"/>
                      <a:pt x="168" y="90"/>
                    </a:cubicBezTo>
                    <a:cubicBezTo>
                      <a:pt x="168" y="90"/>
                      <a:pt x="168" y="89"/>
                      <a:pt x="168" y="89"/>
                    </a:cubicBezTo>
                    <a:cubicBezTo>
                      <a:pt x="174" y="90"/>
                      <a:pt x="174" y="90"/>
                      <a:pt x="174" y="90"/>
                    </a:cubicBezTo>
                    <a:cubicBezTo>
                      <a:pt x="174" y="91"/>
                      <a:pt x="173" y="91"/>
                      <a:pt x="173" y="92"/>
                    </a:cubicBezTo>
                    <a:cubicBezTo>
                      <a:pt x="172" y="94"/>
                      <a:pt x="171" y="96"/>
                      <a:pt x="169" y="97"/>
                    </a:cubicBezTo>
                    <a:close/>
                    <a:moveTo>
                      <a:pt x="173" y="80"/>
                    </a:moveTo>
                    <a:cubicBezTo>
                      <a:pt x="169" y="77"/>
                      <a:pt x="169" y="77"/>
                      <a:pt x="169" y="77"/>
                    </a:cubicBezTo>
                    <a:cubicBezTo>
                      <a:pt x="170" y="75"/>
                      <a:pt x="172" y="73"/>
                      <a:pt x="175" y="73"/>
                    </a:cubicBezTo>
                    <a:cubicBezTo>
                      <a:pt x="175" y="73"/>
                      <a:pt x="176" y="73"/>
                      <a:pt x="177" y="73"/>
                    </a:cubicBezTo>
                    <a:cubicBezTo>
                      <a:pt x="175" y="79"/>
                      <a:pt x="175" y="79"/>
                      <a:pt x="175" y="79"/>
                    </a:cubicBezTo>
                    <a:cubicBezTo>
                      <a:pt x="175" y="79"/>
                      <a:pt x="174" y="79"/>
                      <a:pt x="173" y="80"/>
                    </a:cubicBezTo>
                    <a:close/>
                    <a:moveTo>
                      <a:pt x="188" y="80"/>
                    </a:moveTo>
                    <a:cubicBezTo>
                      <a:pt x="183" y="76"/>
                      <a:pt x="183" y="76"/>
                      <a:pt x="183" y="76"/>
                    </a:cubicBezTo>
                    <a:cubicBezTo>
                      <a:pt x="184" y="76"/>
                      <a:pt x="184" y="75"/>
                      <a:pt x="184" y="75"/>
                    </a:cubicBezTo>
                    <a:cubicBezTo>
                      <a:pt x="185" y="74"/>
                      <a:pt x="186" y="73"/>
                      <a:pt x="186" y="71"/>
                    </a:cubicBezTo>
                    <a:cubicBezTo>
                      <a:pt x="191" y="75"/>
                      <a:pt x="191" y="75"/>
                      <a:pt x="191" y="75"/>
                    </a:cubicBezTo>
                    <a:cubicBezTo>
                      <a:pt x="190" y="76"/>
                      <a:pt x="189" y="78"/>
                      <a:pt x="189" y="78"/>
                    </a:cubicBezTo>
                    <a:cubicBezTo>
                      <a:pt x="188" y="79"/>
                      <a:pt x="188" y="79"/>
                      <a:pt x="188" y="80"/>
                    </a:cubicBezTo>
                    <a:close/>
                    <a:moveTo>
                      <a:pt x="198" y="65"/>
                    </a:moveTo>
                    <a:cubicBezTo>
                      <a:pt x="193" y="62"/>
                      <a:pt x="193" y="62"/>
                      <a:pt x="193" y="62"/>
                    </a:cubicBezTo>
                    <a:cubicBezTo>
                      <a:pt x="194" y="60"/>
                      <a:pt x="195" y="58"/>
                      <a:pt x="196" y="57"/>
                    </a:cubicBezTo>
                    <a:cubicBezTo>
                      <a:pt x="201" y="60"/>
                      <a:pt x="201" y="60"/>
                      <a:pt x="201" y="60"/>
                    </a:cubicBezTo>
                    <a:cubicBezTo>
                      <a:pt x="200" y="62"/>
                      <a:pt x="199" y="63"/>
                      <a:pt x="198" y="65"/>
                    </a:cubicBezTo>
                    <a:close/>
                    <a:moveTo>
                      <a:pt x="207" y="52"/>
                    </a:moveTo>
                    <a:cubicBezTo>
                      <a:pt x="204" y="47"/>
                      <a:pt x="204" y="47"/>
                      <a:pt x="204" y="47"/>
                    </a:cubicBezTo>
                    <a:cubicBezTo>
                      <a:pt x="206" y="45"/>
                      <a:pt x="209" y="45"/>
                      <a:pt x="211" y="45"/>
                    </a:cubicBezTo>
                    <a:cubicBezTo>
                      <a:pt x="211" y="51"/>
                      <a:pt x="211" y="51"/>
                      <a:pt x="211" y="51"/>
                    </a:cubicBezTo>
                    <a:cubicBezTo>
                      <a:pt x="209" y="51"/>
                      <a:pt x="208" y="51"/>
                      <a:pt x="207" y="52"/>
                    </a:cubicBezTo>
                    <a:close/>
                    <a:moveTo>
                      <a:pt x="223" y="51"/>
                    </a:moveTo>
                    <a:cubicBezTo>
                      <a:pt x="222" y="45"/>
                      <a:pt x="222" y="45"/>
                      <a:pt x="222" y="45"/>
                    </a:cubicBezTo>
                    <a:cubicBezTo>
                      <a:pt x="223" y="45"/>
                      <a:pt x="223" y="45"/>
                      <a:pt x="224" y="45"/>
                    </a:cubicBezTo>
                    <a:cubicBezTo>
                      <a:pt x="225" y="44"/>
                      <a:pt x="226" y="44"/>
                      <a:pt x="227" y="43"/>
                    </a:cubicBezTo>
                    <a:cubicBezTo>
                      <a:pt x="230" y="49"/>
                      <a:pt x="230" y="49"/>
                      <a:pt x="230" y="49"/>
                    </a:cubicBezTo>
                    <a:cubicBezTo>
                      <a:pt x="228" y="49"/>
                      <a:pt x="227" y="50"/>
                      <a:pt x="225" y="50"/>
                    </a:cubicBezTo>
                    <a:cubicBezTo>
                      <a:pt x="225" y="50"/>
                      <a:pt x="224" y="51"/>
                      <a:pt x="223" y="51"/>
                    </a:cubicBezTo>
                    <a:close/>
                    <a:moveTo>
                      <a:pt x="244" y="46"/>
                    </a:moveTo>
                    <a:cubicBezTo>
                      <a:pt x="243" y="46"/>
                      <a:pt x="242" y="46"/>
                      <a:pt x="241" y="46"/>
                    </a:cubicBezTo>
                    <a:cubicBezTo>
                      <a:pt x="241" y="46"/>
                      <a:pt x="240" y="46"/>
                      <a:pt x="239" y="46"/>
                    </a:cubicBezTo>
                    <a:cubicBezTo>
                      <a:pt x="240" y="40"/>
                      <a:pt x="240" y="40"/>
                      <a:pt x="240" y="40"/>
                    </a:cubicBezTo>
                    <a:cubicBezTo>
                      <a:pt x="240" y="40"/>
                      <a:pt x="241" y="40"/>
                      <a:pt x="242" y="40"/>
                    </a:cubicBezTo>
                    <a:cubicBezTo>
                      <a:pt x="243" y="40"/>
                      <a:pt x="244" y="40"/>
                      <a:pt x="245" y="40"/>
                    </a:cubicBezTo>
                    <a:cubicBezTo>
                      <a:pt x="246" y="46"/>
                      <a:pt x="246" y="46"/>
                      <a:pt x="246" y="46"/>
                    </a:cubicBezTo>
                    <a:cubicBezTo>
                      <a:pt x="245" y="46"/>
                      <a:pt x="245" y="46"/>
                      <a:pt x="244" y="46"/>
                    </a:cubicBezTo>
                    <a:close/>
                    <a:moveTo>
                      <a:pt x="255" y="36"/>
                    </a:moveTo>
                    <a:cubicBezTo>
                      <a:pt x="250" y="34"/>
                      <a:pt x="250" y="34"/>
                      <a:pt x="250" y="34"/>
                    </a:cubicBezTo>
                    <a:cubicBezTo>
                      <a:pt x="250" y="32"/>
                      <a:pt x="250" y="32"/>
                      <a:pt x="250" y="32"/>
                    </a:cubicBezTo>
                    <a:cubicBezTo>
                      <a:pt x="251" y="31"/>
                      <a:pt x="251" y="29"/>
                      <a:pt x="252" y="28"/>
                    </a:cubicBezTo>
                    <a:cubicBezTo>
                      <a:pt x="257" y="30"/>
                      <a:pt x="257" y="30"/>
                      <a:pt x="257" y="30"/>
                    </a:cubicBezTo>
                    <a:cubicBezTo>
                      <a:pt x="257" y="32"/>
                      <a:pt x="256" y="33"/>
                      <a:pt x="256" y="34"/>
                    </a:cubicBezTo>
                    <a:lnTo>
                      <a:pt x="255" y="36"/>
                    </a:lnTo>
                    <a:close/>
                    <a:moveTo>
                      <a:pt x="264" y="23"/>
                    </a:moveTo>
                    <a:cubicBezTo>
                      <a:pt x="260" y="18"/>
                      <a:pt x="260" y="18"/>
                      <a:pt x="260" y="18"/>
                    </a:cubicBezTo>
                    <a:cubicBezTo>
                      <a:pt x="262" y="17"/>
                      <a:pt x="263" y="16"/>
                      <a:pt x="264" y="15"/>
                    </a:cubicBezTo>
                    <a:cubicBezTo>
                      <a:pt x="269" y="19"/>
                      <a:pt x="269" y="19"/>
                      <a:pt x="269" y="19"/>
                    </a:cubicBezTo>
                    <a:cubicBezTo>
                      <a:pt x="267" y="20"/>
                      <a:pt x="265" y="22"/>
                      <a:pt x="264" y="23"/>
                    </a:cubicBezTo>
                    <a:close/>
                    <a:moveTo>
                      <a:pt x="275" y="8"/>
                    </a:moveTo>
                    <a:cubicBezTo>
                      <a:pt x="270" y="6"/>
                      <a:pt x="270" y="6"/>
                      <a:pt x="270" y="6"/>
                    </a:cubicBezTo>
                    <a:cubicBezTo>
                      <a:pt x="271" y="4"/>
                      <a:pt x="271" y="2"/>
                      <a:pt x="272" y="0"/>
                    </a:cubicBezTo>
                    <a:cubicBezTo>
                      <a:pt x="278" y="2"/>
                      <a:pt x="278" y="2"/>
                      <a:pt x="278" y="2"/>
                    </a:cubicBezTo>
                    <a:cubicBezTo>
                      <a:pt x="277" y="4"/>
                      <a:pt x="276" y="6"/>
                      <a:pt x="275" y="8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39" name="îŝ1íďe"/>
              <p:cNvSpPr/>
              <p:nvPr/>
            </p:nvSpPr>
            <p:spPr bwMode="auto">
              <a:xfrm>
                <a:off x="7596188" y="3400425"/>
                <a:ext cx="155575" cy="98425"/>
              </a:xfrm>
              <a:custGeom>
                <a:avLst/>
                <a:gdLst>
                  <a:gd name="T0" fmla="*/ 49 w 73"/>
                  <a:gd name="T1" fmla="*/ 46 h 46"/>
                  <a:gd name="T2" fmla="*/ 45 w 73"/>
                  <a:gd name="T3" fmla="*/ 42 h 46"/>
                  <a:gd name="T4" fmla="*/ 45 w 73"/>
                  <a:gd name="T5" fmla="*/ 41 h 46"/>
                  <a:gd name="T6" fmla="*/ 50 w 73"/>
                  <a:gd name="T7" fmla="*/ 45 h 46"/>
                  <a:gd name="T8" fmla="*/ 49 w 73"/>
                  <a:gd name="T9" fmla="*/ 46 h 46"/>
                  <a:gd name="T10" fmla="*/ 58 w 73"/>
                  <a:gd name="T11" fmla="*/ 37 h 46"/>
                  <a:gd name="T12" fmla="*/ 53 w 73"/>
                  <a:gd name="T13" fmla="*/ 33 h 46"/>
                  <a:gd name="T14" fmla="*/ 58 w 73"/>
                  <a:gd name="T15" fmla="*/ 29 h 46"/>
                  <a:gd name="T16" fmla="*/ 62 w 73"/>
                  <a:gd name="T17" fmla="*/ 33 h 46"/>
                  <a:gd name="T18" fmla="*/ 58 w 73"/>
                  <a:gd name="T19" fmla="*/ 37 h 46"/>
                  <a:gd name="T20" fmla="*/ 1 w 73"/>
                  <a:gd name="T21" fmla="*/ 29 h 46"/>
                  <a:gd name="T22" fmla="*/ 0 w 73"/>
                  <a:gd name="T23" fmla="*/ 24 h 46"/>
                  <a:gd name="T24" fmla="*/ 1 w 73"/>
                  <a:gd name="T25" fmla="*/ 20 h 46"/>
                  <a:gd name="T26" fmla="*/ 6 w 73"/>
                  <a:gd name="T27" fmla="*/ 23 h 46"/>
                  <a:gd name="T28" fmla="*/ 6 w 73"/>
                  <a:gd name="T29" fmla="*/ 24 h 46"/>
                  <a:gd name="T30" fmla="*/ 6 w 73"/>
                  <a:gd name="T31" fmla="*/ 26 h 46"/>
                  <a:gd name="T32" fmla="*/ 1 w 73"/>
                  <a:gd name="T33" fmla="*/ 29 h 46"/>
                  <a:gd name="T34" fmla="*/ 15 w 73"/>
                  <a:gd name="T35" fmla="*/ 25 h 46"/>
                  <a:gd name="T36" fmla="*/ 9 w 73"/>
                  <a:gd name="T37" fmla="*/ 24 h 46"/>
                  <a:gd name="T38" fmla="*/ 10 w 73"/>
                  <a:gd name="T39" fmla="*/ 21 h 46"/>
                  <a:gd name="T40" fmla="*/ 10 w 73"/>
                  <a:gd name="T41" fmla="*/ 19 h 46"/>
                  <a:gd name="T42" fmla="*/ 15 w 73"/>
                  <a:gd name="T43" fmla="*/ 18 h 46"/>
                  <a:gd name="T44" fmla="*/ 16 w 73"/>
                  <a:gd name="T45" fmla="*/ 21 h 46"/>
                  <a:gd name="T46" fmla="*/ 15 w 73"/>
                  <a:gd name="T47" fmla="*/ 25 h 46"/>
                  <a:gd name="T48" fmla="*/ 22 w 73"/>
                  <a:gd name="T49" fmla="*/ 24 h 46"/>
                  <a:gd name="T50" fmla="*/ 16 w 73"/>
                  <a:gd name="T51" fmla="*/ 21 h 46"/>
                  <a:gd name="T52" fmla="*/ 21 w 73"/>
                  <a:gd name="T53" fmla="*/ 18 h 46"/>
                  <a:gd name="T54" fmla="*/ 22 w 73"/>
                  <a:gd name="T55" fmla="*/ 18 h 46"/>
                  <a:gd name="T56" fmla="*/ 23 w 73"/>
                  <a:gd name="T57" fmla="*/ 18 h 46"/>
                  <a:gd name="T58" fmla="*/ 25 w 73"/>
                  <a:gd name="T59" fmla="*/ 23 h 46"/>
                  <a:gd name="T60" fmla="*/ 22 w 73"/>
                  <a:gd name="T61" fmla="*/ 24 h 46"/>
                  <a:gd name="T62" fmla="*/ 70 w 73"/>
                  <a:gd name="T63" fmla="*/ 24 h 46"/>
                  <a:gd name="T64" fmla="*/ 65 w 73"/>
                  <a:gd name="T65" fmla="*/ 20 h 46"/>
                  <a:gd name="T66" fmla="*/ 68 w 73"/>
                  <a:gd name="T67" fmla="*/ 16 h 46"/>
                  <a:gd name="T68" fmla="*/ 68 w 73"/>
                  <a:gd name="T69" fmla="*/ 16 h 46"/>
                  <a:gd name="T70" fmla="*/ 73 w 73"/>
                  <a:gd name="T71" fmla="*/ 19 h 46"/>
                  <a:gd name="T72" fmla="*/ 73 w 73"/>
                  <a:gd name="T73" fmla="*/ 19 h 46"/>
                  <a:gd name="T74" fmla="*/ 70 w 73"/>
                  <a:gd name="T75" fmla="*/ 24 h 46"/>
                  <a:gd name="T76" fmla="*/ 35 w 73"/>
                  <a:gd name="T77" fmla="*/ 17 h 46"/>
                  <a:gd name="T78" fmla="*/ 33 w 73"/>
                  <a:gd name="T79" fmla="*/ 12 h 46"/>
                  <a:gd name="T80" fmla="*/ 37 w 73"/>
                  <a:gd name="T81" fmla="*/ 11 h 46"/>
                  <a:gd name="T82" fmla="*/ 39 w 73"/>
                  <a:gd name="T83" fmla="*/ 10 h 46"/>
                  <a:gd name="T84" fmla="*/ 41 w 73"/>
                  <a:gd name="T85" fmla="*/ 15 h 46"/>
                  <a:gd name="T86" fmla="*/ 39 w 73"/>
                  <a:gd name="T87" fmla="*/ 16 h 46"/>
                  <a:gd name="T88" fmla="*/ 35 w 73"/>
                  <a:gd name="T89" fmla="*/ 17 h 46"/>
                  <a:gd name="T90" fmla="*/ 12 w 73"/>
                  <a:gd name="T91" fmla="*/ 12 h 46"/>
                  <a:gd name="T92" fmla="*/ 7 w 73"/>
                  <a:gd name="T93" fmla="*/ 11 h 46"/>
                  <a:gd name="T94" fmla="*/ 7 w 73"/>
                  <a:gd name="T95" fmla="*/ 9 h 46"/>
                  <a:gd name="T96" fmla="*/ 7 w 73"/>
                  <a:gd name="T97" fmla="*/ 7 h 46"/>
                  <a:gd name="T98" fmla="*/ 12 w 73"/>
                  <a:gd name="T99" fmla="*/ 5 h 46"/>
                  <a:gd name="T100" fmla="*/ 13 w 73"/>
                  <a:gd name="T101" fmla="*/ 9 h 46"/>
                  <a:gd name="T102" fmla="*/ 12 w 73"/>
                  <a:gd name="T103" fmla="*/ 12 h 46"/>
                  <a:gd name="T104" fmla="*/ 51 w 73"/>
                  <a:gd name="T105" fmla="*/ 9 h 46"/>
                  <a:gd name="T106" fmla="*/ 48 w 73"/>
                  <a:gd name="T107" fmla="*/ 4 h 46"/>
                  <a:gd name="T108" fmla="*/ 54 w 73"/>
                  <a:gd name="T109" fmla="*/ 1 h 46"/>
                  <a:gd name="T110" fmla="*/ 56 w 73"/>
                  <a:gd name="T111" fmla="*/ 7 h 46"/>
                  <a:gd name="T112" fmla="*/ 51 w 73"/>
                  <a:gd name="T113" fmla="*/ 9 h 46"/>
                  <a:gd name="T114" fmla="*/ 68 w 73"/>
                  <a:gd name="T115" fmla="*/ 8 h 46"/>
                  <a:gd name="T116" fmla="*/ 64 w 73"/>
                  <a:gd name="T117" fmla="*/ 5 h 46"/>
                  <a:gd name="T118" fmla="*/ 67 w 73"/>
                  <a:gd name="T119" fmla="*/ 0 h 46"/>
                  <a:gd name="T120" fmla="*/ 73 w 73"/>
                  <a:gd name="T121" fmla="*/ 4 h 46"/>
                  <a:gd name="T122" fmla="*/ 68 w 73"/>
                  <a:gd name="T123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3" h="46">
                    <a:moveTo>
                      <a:pt x="49" y="46"/>
                    </a:moveTo>
                    <a:cubicBezTo>
                      <a:pt x="45" y="42"/>
                      <a:pt x="45" y="42"/>
                      <a:pt x="45" y="42"/>
                    </a:cubicBezTo>
                    <a:cubicBezTo>
                      <a:pt x="45" y="41"/>
                      <a:pt x="45" y="41"/>
                      <a:pt x="45" y="41"/>
                    </a:cubicBezTo>
                    <a:cubicBezTo>
                      <a:pt x="50" y="45"/>
                      <a:pt x="50" y="45"/>
                      <a:pt x="50" y="45"/>
                    </a:cubicBezTo>
                    <a:lnTo>
                      <a:pt x="49" y="46"/>
                    </a:lnTo>
                    <a:close/>
                    <a:moveTo>
                      <a:pt x="58" y="37"/>
                    </a:moveTo>
                    <a:cubicBezTo>
                      <a:pt x="53" y="33"/>
                      <a:pt x="53" y="33"/>
                      <a:pt x="53" y="33"/>
                    </a:cubicBezTo>
                    <a:cubicBezTo>
                      <a:pt x="55" y="32"/>
                      <a:pt x="56" y="30"/>
                      <a:pt x="58" y="29"/>
                    </a:cubicBezTo>
                    <a:cubicBezTo>
                      <a:pt x="62" y="33"/>
                      <a:pt x="62" y="33"/>
                      <a:pt x="62" y="33"/>
                    </a:cubicBezTo>
                    <a:cubicBezTo>
                      <a:pt x="60" y="35"/>
                      <a:pt x="59" y="36"/>
                      <a:pt x="58" y="37"/>
                    </a:cubicBezTo>
                    <a:close/>
                    <a:moveTo>
                      <a:pt x="1" y="29"/>
                    </a:moveTo>
                    <a:cubicBezTo>
                      <a:pt x="0" y="28"/>
                      <a:pt x="0" y="26"/>
                      <a:pt x="0" y="24"/>
                    </a:cubicBezTo>
                    <a:cubicBezTo>
                      <a:pt x="0" y="23"/>
                      <a:pt x="0" y="22"/>
                      <a:pt x="1" y="20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6" y="25"/>
                      <a:pt x="6" y="25"/>
                      <a:pt x="6" y="26"/>
                    </a:cubicBezTo>
                    <a:lnTo>
                      <a:pt x="1" y="29"/>
                    </a:lnTo>
                    <a:close/>
                    <a:moveTo>
                      <a:pt x="15" y="25"/>
                    </a:moveTo>
                    <a:cubicBezTo>
                      <a:pt x="9" y="24"/>
                      <a:pt x="9" y="24"/>
                      <a:pt x="9" y="24"/>
                    </a:cubicBezTo>
                    <a:cubicBezTo>
                      <a:pt x="10" y="23"/>
                      <a:pt x="10" y="22"/>
                      <a:pt x="10" y="21"/>
                    </a:cubicBezTo>
                    <a:cubicBezTo>
                      <a:pt x="10" y="20"/>
                      <a:pt x="10" y="20"/>
                      <a:pt x="10" y="19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6" y="19"/>
                      <a:pt x="16" y="20"/>
                      <a:pt x="16" y="21"/>
                    </a:cubicBezTo>
                    <a:cubicBezTo>
                      <a:pt x="16" y="22"/>
                      <a:pt x="15" y="24"/>
                      <a:pt x="15" y="25"/>
                    </a:cubicBezTo>
                    <a:close/>
                    <a:moveTo>
                      <a:pt x="22" y="24"/>
                    </a:moveTo>
                    <a:cubicBezTo>
                      <a:pt x="19" y="24"/>
                      <a:pt x="17" y="23"/>
                      <a:pt x="16" y="21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8"/>
                      <a:pt x="22" y="18"/>
                      <a:pt x="23" y="18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4" y="24"/>
                      <a:pt x="23" y="24"/>
                      <a:pt x="22" y="24"/>
                    </a:cubicBezTo>
                    <a:close/>
                    <a:moveTo>
                      <a:pt x="70" y="24"/>
                    </a:moveTo>
                    <a:cubicBezTo>
                      <a:pt x="65" y="20"/>
                      <a:pt x="65" y="20"/>
                      <a:pt x="65" y="20"/>
                    </a:cubicBezTo>
                    <a:cubicBezTo>
                      <a:pt x="66" y="19"/>
                      <a:pt x="67" y="18"/>
                      <a:pt x="68" y="16"/>
                    </a:cubicBezTo>
                    <a:cubicBezTo>
                      <a:pt x="68" y="16"/>
                      <a:pt x="68" y="16"/>
                      <a:pt x="68" y="16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72" y="21"/>
                      <a:pt x="71" y="22"/>
                      <a:pt x="70" y="24"/>
                    </a:cubicBezTo>
                    <a:close/>
                    <a:moveTo>
                      <a:pt x="35" y="17"/>
                    </a:move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1"/>
                      <a:pt x="36" y="11"/>
                      <a:pt x="37" y="11"/>
                    </a:cubicBezTo>
                    <a:cubicBezTo>
                      <a:pt x="37" y="10"/>
                      <a:pt x="38" y="10"/>
                      <a:pt x="39" y="10"/>
                    </a:cubicBezTo>
                    <a:cubicBezTo>
                      <a:pt x="41" y="15"/>
                      <a:pt x="41" y="15"/>
                      <a:pt x="41" y="15"/>
                    </a:cubicBezTo>
                    <a:cubicBezTo>
                      <a:pt x="40" y="16"/>
                      <a:pt x="39" y="16"/>
                      <a:pt x="39" y="16"/>
                    </a:cubicBezTo>
                    <a:cubicBezTo>
                      <a:pt x="38" y="16"/>
                      <a:pt x="37" y="17"/>
                      <a:pt x="35" y="17"/>
                    </a:cubicBezTo>
                    <a:close/>
                    <a:moveTo>
                      <a:pt x="12" y="12"/>
                    </a:moveTo>
                    <a:cubicBezTo>
                      <a:pt x="7" y="11"/>
                      <a:pt x="7" y="11"/>
                      <a:pt x="7" y="11"/>
                    </a:cubicBezTo>
                    <a:cubicBezTo>
                      <a:pt x="7" y="10"/>
                      <a:pt x="7" y="10"/>
                      <a:pt x="7" y="9"/>
                    </a:cubicBezTo>
                    <a:cubicBezTo>
                      <a:pt x="7" y="8"/>
                      <a:pt x="7" y="7"/>
                      <a:pt x="7" y="7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3" y="6"/>
                      <a:pt x="13" y="8"/>
                      <a:pt x="13" y="9"/>
                    </a:cubicBezTo>
                    <a:cubicBezTo>
                      <a:pt x="13" y="10"/>
                      <a:pt x="13" y="11"/>
                      <a:pt x="12" y="12"/>
                    </a:cubicBezTo>
                    <a:close/>
                    <a:moveTo>
                      <a:pt x="51" y="9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50" y="3"/>
                      <a:pt x="52" y="2"/>
                      <a:pt x="54" y="1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54" y="7"/>
                      <a:pt x="52" y="8"/>
                      <a:pt x="51" y="9"/>
                    </a:cubicBezTo>
                    <a:close/>
                    <a:moveTo>
                      <a:pt x="68" y="8"/>
                    </a:moveTo>
                    <a:cubicBezTo>
                      <a:pt x="67" y="7"/>
                      <a:pt x="66" y="6"/>
                      <a:pt x="64" y="5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9" y="2"/>
                      <a:pt x="71" y="3"/>
                      <a:pt x="73" y="4"/>
                    </a:cubicBezTo>
                    <a:lnTo>
                      <a:pt x="68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0" name="íSlïde"/>
              <p:cNvSpPr/>
              <p:nvPr/>
            </p:nvSpPr>
            <p:spPr bwMode="auto">
              <a:xfrm>
                <a:off x="7019925" y="2151063"/>
                <a:ext cx="1087438" cy="631825"/>
              </a:xfrm>
              <a:custGeom>
                <a:avLst/>
                <a:gdLst>
                  <a:gd name="T0" fmla="*/ 19 w 507"/>
                  <a:gd name="T1" fmla="*/ 294 h 295"/>
                  <a:gd name="T2" fmla="*/ 25 w 507"/>
                  <a:gd name="T3" fmla="*/ 290 h 295"/>
                  <a:gd name="T4" fmla="*/ 30 w 507"/>
                  <a:gd name="T5" fmla="*/ 279 h 295"/>
                  <a:gd name="T6" fmla="*/ 44 w 507"/>
                  <a:gd name="T7" fmla="*/ 246 h 295"/>
                  <a:gd name="T8" fmla="*/ 44 w 507"/>
                  <a:gd name="T9" fmla="*/ 246 h 295"/>
                  <a:gd name="T10" fmla="*/ 83 w 507"/>
                  <a:gd name="T11" fmla="*/ 239 h 295"/>
                  <a:gd name="T12" fmla="*/ 61 w 507"/>
                  <a:gd name="T13" fmla="*/ 233 h 295"/>
                  <a:gd name="T14" fmla="*/ 52 w 507"/>
                  <a:gd name="T15" fmla="*/ 223 h 295"/>
                  <a:gd name="T16" fmla="*/ 94 w 507"/>
                  <a:gd name="T17" fmla="*/ 223 h 295"/>
                  <a:gd name="T18" fmla="*/ 126 w 507"/>
                  <a:gd name="T19" fmla="*/ 224 h 295"/>
                  <a:gd name="T20" fmla="*/ 108 w 507"/>
                  <a:gd name="T21" fmla="*/ 221 h 295"/>
                  <a:gd name="T22" fmla="*/ 139 w 507"/>
                  <a:gd name="T23" fmla="*/ 219 h 295"/>
                  <a:gd name="T24" fmla="*/ 158 w 507"/>
                  <a:gd name="T25" fmla="*/ 208 h 295"/>
                  <a:gd name="T26" fmla="*/ 161 w 507"/>
                  <a:gd name="T27" fmla="*/ 191 h 295"/>
                  <a:gd name="T28" fmla="*/ 159 w 507"/>
                  <a:gd name="T29" fmla="*/ 174 h 295"/>
                  <a:gd name="T30" fmla="*/ 158 w 507"/>
                  <a:gd name="T31" fmla="*/ 156 h 295"/>
                  <a:gd name="T32" fmla="*/ 154 w 507"/>
                  <a:gd name="T33" fmla="*/ 147 h 295"/>
                  <a:gd name="T34" fmla="*/ 155 w 507"/>
                  <a:gd name="T35" fmla="*/ 137 h 295"/>
                  <a:gd name="T36" fmla="*/ 156 w 507"/>
                  <a:gd name="T37" fmla="*/ 116 h 295"/>
                  <a:gd name="T38" fmla="*/ 173 w 507"/>
                  <a:gd name="T39" fmla="*/ 113 h 295"/>
                  <a:gd name="T40" fmla="*/ 470 w 507"/>
                  <a:gd name="T41" fmla="*/ 115 h 295"/>
                  <a:gd name="T42" fmla="*/ 487 w 507"/>
                  <a:gd name="T43" fmla="*/ 114 h 295"/>
                  <a:gd name="T44" fmla="*/ 502 w 507"/>
                  <a:gd name="T45" fmla="*/ 105 h 295"/>
                  <a:gd name="T46" fmla="*/ 437 w 507"/>
                  <a:gd name="T47" fmla="*/ 100 h 295"/>
                  <a:gd name="T48" fmla="*/ 211 w 507"/>
                  <a:gd name="T49" fmla="*/ 97 h 295"/>
                  <a:gd name="T50" fmla="*/ 216 w 507"/>
                  <a:gd name="T51" fmla="*/ 105 h 295"/>
                  <a:gd name="T52" fmla="*/ 228 w 507"/>
                  <a:gd name="T53" fmla="*/ 98 h 295"/>
                  <a:gd name="T54" fmla="*/ 174 w 507"/>
                  <a:gd name="T55" fmla="*/ 93 h 295"/>
                  <a:gd name="T56" fmla="*/ 240 w 507"/>
                  <a:gd name="T57" fmla="*/ 92 h 295"/>
                  <a:gd name="T58" fmla="*/ 435 w 507"/>
                  <a:gd name="T59" fmla="*/ 89 h 295"/>
                  <a:gd name="T60" fmla="*/ 252 w 507"/>
                  <a:gd name="T61" fmla="*/ 81 h 295"/>
                  <a:gd name="T62" fmla="*/ 212 w 507"/>
                  <a:gd name="T63" fmla="*/ 79 h 295"/>
                  <a:gd name="T64" fmla="*/ 171 w 507"/>
                  <a:gd name="T65" fmla="*/ 75 h 295"/>
                  <a:gd name="T66" fmla="*/ 293 w 507"/>
                  <a:gd name="T67" fmla="*/ 71 h 295"/>
                  <a:gd name="T68" fmla="*/ 283 w 507"/>
                  <a:gd name="T69" fmla="*/ 71 h 295"/>
                  <a:gd name="T70" fmla="*/ 423 w 507"/>
                  <a:gd name="T71" fmla="*/ 68 h 295"/>
                  <a:gd name="T72" fmla="*/ 435 w 507"/>
                  <a:gd name="T73" fmla="*/ 73 h 295"/>
                  <a:gd name="T74" fmla="*/ 435 w 507"/>
                  <a:gd name="T75" fmla="*/ 75 h 295"/>
                  <a:gd name="T76" fmla="*/ 185 w 507"/>
                  <a:gd name="T77" fmla="*/ 74 h 295"/>
                  <a:gd name="T78" fmla="*/ 185 w 507"/>
                  <a:gd name="T79" fmla="*/ 74 h 295"/>
                  <a:gd name="T80" fmla="*/ 213 w 507"/>
                  <a:gd name="T81" fmla="*/ 62 h 295"/>
                  <a:gd name="T82" fmla="*/ 312 w 507"/>
                  <a:gd name="T83" fmla="*/ 63 h 295"/>
                  <a:gd name="T84" fmla="*/ 314 w 507"/>
                  <a:gd name="T85" fmla="*/ 68 h 295"/>
                  <a:gd name="T86" fmla="*/ 333 w 507"/>
                  <a:gd name="T87" fmla="*/ 63 h 295"/>
                  <a:gd name="T88" fmla="*/ 305 w 507"/>
                  <a:gd name="T89" fmla="*/ 64 h 295"/>
                  <a:gd name="T90" fmla="*/ 192 w 507"/>
                  <a:gd name="T91" fmla="*/ 58 h 295"/>
                  <a:gd name="T92" fmla="*/ 438 w 507"/>
                  <a:gd name="T93" fmla="*/ 51 h 295"/>
                  <a:gd name="T94" fmla="*/ 210 w 507"/>
                  <a:gd name="T95" fmla="*/ 49 h 295"/>
                  <a:gd name="T96" fmla="*/ 336 w 507"/>
                  <a:gd name="T97" fmla="*/ 50 h 295"/>
                  <a:gd name="T98" fmla="*/ 419 w 507"/>
                  <a:gd name="T99" fmla="*/ 45 h 295"/>
                  <a:gd name="T100" fmla="*/ 337 w 507"/>
                  <a:gd name="T101" fmla="*/ 36 h 295"/>
                  <a:gd name="T102" fmla="*/ 341 w 507"/>
                  <a:gd name="T103" fmla="*/ 41 h 295"/>
                  <a:gd name="T104" fmla="*/ 415 w 507"/>
                  <a:gd name="T105" fmla="*/ 32 h 295"/>
                  <a:gd name="T106" fmla="*/ 337 w 507"/>
                  <a:gd name="T107" fmla="*/ 23 h 295"/>
                  <a:gd name="T108" fmla="*/ 410 w 507"/>
                  <a:gd name="T109" fmla="*/ 20 h 295"/>
                  <a:gd name="T110" fmla="*/ 355 w 507"/>
                  <a:gd name="T111" fmla="*/ 18 h 295"/>
                  <a:gd name="T112" fmla="*/ 371 w 507"/>
                  <a:gd name="T113" fmla="*/ 10 h 295"/>
                  <a:gd name="T114" fmla="*/ 399 w 507"/>
                  <a:gd name="T115" fmla="*/ 5 h 295"/>
                  <a:gd name="T116" fmla="*/ 385 w 507"/>
                  <a:gd name="T117" fmla="*/ 2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07" h="295">
                    <a:moveTo>
                      <a:pt x="6" y="295"/>
                    </a:moveTo>
                    <a:cubicBezTo>
                      <a:pt x="4" y="294"/>
                      <a:pt x="2" y="294"/>
                      <a:pt x="0" y="293"/>
                    </a:cubicBezTo>
                    <a:cubicBezTo>
                      <a:pt x="2" y="288"/>
                      <a:pt x="2" y="288"/>
                      <a:pt x="2" y="288"/>
                    </a:cubicBezTo>
                    <a:cubicBezTo>
                      <a:pt x="3" y="288"/>
                      <a:pt x="5" y="288"/>
                      <a:pt x="7" y="289"/>
                    </a:cubicBezTo>
                    <a:lnTo>
                      <a:pt x="6" y="295"/>
                    </a:lnTo>
                    <a:close/>
                    <a:moveTo>
                      <a:pt x="19" y="294"/>
                    </a:moveTo>
                    <a:cubicBezTo>
                      <a:pt x="17" y="289"/>
                      <a:pt x="17" y="289"/>
                      <a:pt x="17" y="289"/>
                    </a:cubicBezTo>
                    <a:cubicBezTo>
                      <a:pt x="19" y="288"/>
                      <a:pt x="20" y="288"/>
                      <a:pt x="20" y="287"/>
                    </a:cubicBezTo>
                    <a:cubicBezTo>
                      <a:pt x="20" y="286"/>
                      <a:pt x="20" y="286"/>
                      <a:pt x="20" y="286"/>
                    </a:cubicBezTo>
                    <a:cubicBezTo>
                      <a:pt x="25" y="290"/>
                      <a:pt x="25" y="290"/>
                      <a:pt x="25" y="290"/>
                    </a:cubicBezTo>
                    <a:cubicBezTo>
                      <a:pt x="23" y="288"/>
                      <a:pt x="23" y="288"/>
                      <a:pt x="23" y="288"/>
                    </a:cubicBezTo>
                    <a:cubicBezTo>
                      <a:pt x="25" y="290"/>
                      <a:pt x="25" y="290"/>
                      <a:pt x="25" y="290"/>
                    </a:cubicBezTo>
                    <a:cubicBezTo>
                      <a:pt x="24" y="292"/>
                      <a:pt x="22" y="294"/>
                      <a:pt x="19" y="294"/>
                    </a:cubicBezTo>
                    <a:close/>
                    <a:moveTo>
                      <a:pt x="30" y="279"/>
                    </a:moveTo>
                    <a:cubicBezTo>
                      <a:pt x="25" y="276"/>
                      <a:pt x="25" y="276"/>
                      <a:pt x="25" y="276"/>
                    </a:cubicBezTo>
                    <a:cubicBezTo>
                      <a:pt x="26" y="275"/>
                      <a:pt x="27" y="273"/>
                      <a:pt x="27" y="271"/>
                    </a:cubicBezTo>
                    <a:cubicBezTo>
                      <a:pt x="33" y="274"/>
                      <a:pt x="33" y="274"/>
                      <a:pt x="33" y="274"/>
                    </a:cubicBezTo>
                    <a:cubicBezTo>
                      <a:pt x="32" y="275"/>
                      <a:pt x="31" y="277"/>
                      <a:pt x="30" y="279"/>
                    </a:cubicBezTo>
                    <a:close/>
                    <a:moveTo>
                      <a:pt x="38" y="263"/>
                    </a:moveTo>
                    <a:cubicBezTo>
                      <a:pt x="32" y="261"/>
                      <a:pt x="32" y="261"/>
                      <a:pt x="32" y="261"/>
                    </a:cubicBezTo>
                    <a:cubicBezTo>
                      <a:pt x="33" y="259"/>
                      <a:pt x="34" y="257"/>
                      <a:pt x="34" y="255"/>
                    </a:cubicBezTo>
                    <a:cubicBezTo>
                      <a:pt x="40" y="257"/>
                      <a:pt x="40" y="257"/>
                      <a:pt x="40" y="257"/>
                    </a:cubicBezTo>
                    <a:cubicBezTo>
                      <a:pt x="39" y="259"/>
                      <a:pt x="38" y="261"/>
                      <a:pt x="38" y="263"/>
                    </a:cubicBezTo>
                    <a:close/>
                    <a:moveTo>
                      <a:pt x="44" y="246"/>
                    </a:moveTo>
                    <a:cubicBezTo>
                      <a:pt x="39" y="244"/>
                      <a:pt x="39" y="244"/>
                      <a:pt x="39" y="244"/>
                    </a:cubicBezTo>
                    <a:cubicBezTo>
                      <a:pt x="39" y="243"/>
                      <a:pt x="40" y="241"/>
                      <a:pt x="40" y="240"/>
                    </a:cubicBezTo>
                    <a:cubicBezTo>
                      <a:pt x="40" y="239"/>
                      <a:pt x="40" y="239"/>
                      <a:pt x="40" y="239"/>
                    </a:cubicBezTo>
                    <a:cubicBezTo>
                      <a:pt x="46" y="241"/>
                      <a:pt x="46" y="241"/>
                      <a:pt x="46" y="241"/>
                    </a:cubicBezTo>
                    <a:cubicBezTo>
                      <a:pt x="46" y="241"/>
                      <a:pt x="46" y="241"/>
                      <a:pt x="46" y="241"/>
                    </a:cubicBezTo>
                    <a:cubicBezTo>
                      <a:pt x="45" y="243"/>
                      <a:pt x="45" y="244"/>
                      <a:pt x="44" y="246"/>
                    </a:cubicBezTo>
                    <a:close/>
                    <a:moveTo>
                      <a:pt x="78" y="241"/>
                    </a:moveTo>
                    <a:cubicBezTo>
                      <a:pt x="78" y="239"/>
                      <a:pt x="78" y="239"/>
                      <a:pt x="78" y="239"/>
                    </a:cubicBezTo>
                    <a:cubicBezTo>
                      <a:pt x="78" y="236"/>
                      <a:pt x="78" y="236"/>
                      <a:pt x="78" y="236"/>
                    </a:cubicBezTo>
                    <a:cubicBezTo>
                      <a:pt x="79" y="235"/>
                      <a:pt x="79" y="234"/>
                      <a:pt x="80" y="234"/>
                    </a:cubicBezTo>
                    <a:cubicBezTo>
                      <a:pt x="85" y="236"/>
                      <a:pt x="85" y="236"/>
                      <a:pt x="85" y="236"/>
                    </a:cubicBezTo>
                    <a:cubicBezTo>
                      <a:pt x="84" y="237"/>
                      <a:pt x="84" y="238"/>
                      <a:pt x="83" y="239"/>
                    </a:cubicBezTo>
                    <a:cubicBezTo>
                      <a:pt x="82" y="240"/>
                      <a:pt x="80" y="241"/>
                      <a:pt x="78" y="241"/>
                    </a:cubicBezTo>
                    <a:close/>
                    <a:moveTo>
                      <a:pt x="78" y="239"/>
                    </a:moveTo>
                    <a:cubicBezTo>
                      <a:pt x="78" y="236"/>
                      <a:pt x="78" y="236"/>
                      <a:pt x="78" y="236"/>
                    </a:cubicBezTo>
                    <a:lnTo>
                      <a:pt x="78" y="239"/>
                    </a:lnTo>
                    <a:close/>
                    <a:moveTo>
                      <a:pt x="66" y="236"/>
                    </a:moveTo>
                    <a:cubicBezTo>
                      <a:pt x="64" y="235"/>
                      <a:pt x="62" y="234"/>
                      <a:pt x="61" y="233"/>
                    </a:cubicBezTo>
                    <a:cubicBezTo>
                      <a:pt x="64" y="228"/>
                      <a:pt x="64" y="228"/>
                      <a:pt x="64" y="228"/>
                    </a:cubicBezTo>
                    <a:cubicBezTo>
                      <a:pt x="66" y="229"/>
                      <a:pt x="67" y="230"/>
                      <a:pt x="69" y="231"/>
                    </a:cubicBezTo>
                    <a:lnTo>
                      <a:pt x="66" y="236"/>
                    </a:lnTo>
                    <a:close/>
                    <a:moveTo>
                      <a:pt x="50" y="231"/>
                    </a:moveTo>
                    <a:cubicBezTo>
                      <a:pt x="46" y="227"/>
                      <a:pt x="46" y="227"/>
                      <a:pt x="46" y="227"/>
                    </a:cubicBezTo>
                    <a:cubicBezTo>
                      <a:pt x="48" y="225"/>
                      <a:pt x="49" y="224"/>
                      <a:pt x="52" y="223"/>
                    </a:cubicBezTo>
                    <a:cubicBezTo>
                      <a:pt x="53" y="228"/>
                      <a:pt x="53" y="228"/>
                      <a:pt x="53" y="228"/>
                    </a:cubicBezTo>
                    <a:cubicBezTo>
                      <a:pt x="53" y="228"/>
                      <a:pt x="52" y="229"/>
                      <a:pt x="50" y="231"/>
                    </a:cubicBezTo>
                    <a:close/>
                    <a:moveTo>
                      <a:pt x="91" y="227"/>
                    </a:moveTo>
                    <a:cubicBezTo>
                      <a:pt x="86" y="223"/>
                      <a:pt x="86" y="223"/>
                      <a:pt x="86" y="223"/>
                    </a:cubicBezTo>
                    <a:cubicBezTo>
                      <a:pt x="87" y="221"/>
                      <a:pt x="89" y="220"/>
                      <a:pt x="90" y="219"/>
                    </a:cubicBezTo>
                    <a:cubicBezTo>
                      <a:pt x="94" y="223"/>
                      <a:pt x="94" y="223"/>
                      <a:pt x="94" y="223"/>
                    </a:cubicBezTo>
                    <a:cubicBezTo>
                      <a:pt x="93" y="224"/>
                      <a:pt x="92" y="225"/>
                      <a:pt x="91" y="227"/>
                    </a:cubicBezTo>
                    <a:close/>
                    <a:moveTo>
                      <a:pt x="123" y="224"/>
                    </a:moveTo>
                    <a:cubicBezTo>
                      <a:pt x="122" y="224"/>
                      <a:pt x="121" y="224"/>
                      <a:pt x="119" y="224"/>
                    </a:cubicBezTo>
                    <a:cubicBezTo>
                      <a:pt x="120" y="218"/>
                      <a:pt x="120" y="218"/>
                      <a:pt x="120" y="218"/>
                    </a:cubicBezTo>
                    <a:cubicBezTo>
                      <a:pt x="122" y="218"/>
                      <a:pt x="124" y="218"/>
                      <a:pt x="125" y="218"/>
                    </a:cubicBezTo>
                    <a:cubicBezTo>
                      <a:pt x="126" y="224"/>
                      <a:pt x="126" y="224"/>
                      <a:pt x="126" y="224"/>
                    </a:cubicBezTo>
                    <a:cubicBezTo>
                      <a:pt x="125" y="224"/>
                      <a:pt x="124" y="224"/>
                      <a:pt x="123" y="224"/>
                    </a:cubicBezTo>
                    <a:close/>
                    <a:moveTo>
                      <a:pt x="108" y="221"/>
                    </a:moveTo>
                    <a:cubicBezTo>
                      <a:pt x="106" y="220"/>
                      <a:pt x="104" y="220"/>
                      <a:pt x="102" y="220"/>
                    </a:cubicBezTo>
                    <a:cubicBezTo>
                      <a:pt x="103" y="214"/>
                      <a:pt x="103" y="214"/>
                      <a:pt x="103" y="214"/>
                    </a:cubicBezTo>
                    <a:cubicBezTo>
                      <a:pt x="105" y="214"/>
                      <a:pt x="107" y="214"/>
                      <a:pt x="109" y="215"/>
                    </a:cubicBezTo>
                    <a:lnTo>
                      <a:pt x="108" y="221"/>
                    </a:lnTo>
                    <a:close/>
                    <a:moveTo>
                      <a:pt x="138" y="219"/>
                    </a:moveTo>
                    <a:cubicBezTo>
                      <a:pt x="135" y="214"/>
                      <a:pt x="135" y="214"/>
                      <a:pt x="135" y="214"/>
                    </a:cubicBezTo>
                    <a:cubicBezTo>
                      <a:pt x="137" y="213"/>
                      <a:pt x="137" y="213"/>
                      <a:pt x="137" y="213"/>
                    </a:cubicBezTo>
                    <a:cubicBezTo>
                      <a:pt x="138" y="213"/>
                      <a:pt x="139" y="213"/>
                      <a:pt x="140" y="212"/>
                    </a:cubicBezTo>
                    <a:cubicBezTo>
                      <a:pt x="143" y="217"/>
                      <a:pt x="143" y="217"/>
                      <a:pt x="143" y="217"/>
                    </a:cubicBezTo>
                    <a:cubicBezTo>
                      <a:pt x="141" y="218"/>
                      <a:pt x="141" y="218"/>
                      <a:pt x="139" y="219"/>
                    </a:cubicBezTo>
                    <a:lnTo>
                      <a:pt x="138" y="219"/>
                    </a:lnTo>
                    <a:close/>
                    <a:moveTo>
                      <a:pt x="153" y="211"/>
                    </a:moveTo>
                    <a:cubicBezTo>
                      <a:pt x="150" y="206"/>
                      <a:pt x="150" y="206"/>
                      <a:pt x="150" y="206"/>
                    </a:cubicBezTo>
                    <a:cubicBezTo>
                      <a:pt x="150" y="206"/>
                      <a:pt x="150" y="206"/>
                      <a:pt x="150" y="206"/>
                    </a:cubicBezTo>
                    <a:cubicBezTo>
                      <a:pt x="152" y="205"/>
                      <a:pt x="154" y="204"/>
                      <a:pt x="155" y="203"/>
                    </a:cubicBezTo>
                    <a:cubicBezTo>
                      <a:pt x="158" y="208"/>
                      <a:pt x="158" y="208"/>
                      <a:pt x="158" y="208"/>
                    </a:cubicBezTo>
                    <a:cubicBezTo>
                      <a:pt x="157" y="209"/>
                      <a:pt x="155" y="210"/>
                      <a:pt x="153" y="211"/>
                    </a:cubicBezTo>
                    <a:close/>
                    <a:moveTo>
                      <a:pt x="167" y="197"/>
                    </a:moveTo>
                    <a:cubicBezTo>
                      <a:pt x="161" y="197"/>
                      <a:pt x="161" y="197"/>
                      <a:pt x="161" y="197"/>
                    </a:cubicBezTo>
                    <a:cubicBezTo>
                      <a:pt x="161" y="196"/>
                      <a:pt x="161" y="196"/>
                      <a:pt x="161" y="196"/>
                    </a:cubicBezTo>
                    <a:cubicBezTo>
                      <a:pt x="161" y="195"/>
                      <a:pt x="161" y="194"/>
                      <a:pt x="161" y="193"/>
                    </a:cubicBezTo>
                    <a:cubicBezTo>
                      <a:pt x="161" y="191"/>
                      <a:pt x="161" y="191"/>
                      <a:pt x="161" y="191"/>
                    </a:cubicBezTo>
                    <a:cubicBezTo>
                      <a:pt x="166" y="191"/>
                      <a:pt x="166" y="191"/>
                      <a:pt x="166" y="191"/>
                    </a:cubicBezTo>
                    <a:cubicBezTo>
                      <a:pt x="167" y="192"/>
                      <a:pt x="167" y="192"/>
                      <a:pt x="167" y="192"/>
                    </a:cubicBezTo>
                    <a:cubicBezTo>
                      <a:pt x="167" y="193"/>
                      <a:pt x="167" y="194"/>
                      <a:pt x="167" y="196"/>
                    </a:cubicBezTo>
                    <a:cubicBezTo>
                      <a:pt x="167" y="196"/>
                      <a:pt x="167" y="197"/>
                      <a:pt x="167" y="197"/>
                    </a:cubicBezTo>
                    <a:close/>
                    <a:moveTo>
                      <a:pt x="160" y="180"/>
                    </a:moveTo>
                    <a:cubicBezTo>
                      <a:pt x="159" y="174"/>
                      <a:pt x="159" y="174"/>
                      <a:pt x="159" y="174"/>
                    </a:cubicBezTo>
                    <a:cubicBezTo>
                      <a:pt x="165" y="173"/>
                      <a:pt x="165" y="173"/>
                      <a:pt x="165" y="173"/>
                    </a:cubicBezTo>
                    <a:cubicBezTo>
                      <a:pt x="166" y="179"/>
                      <a:pt x="166" y="179"/>
                      <a:pt x="166" y="179"/>
                    </a:cubicBezTo>
                    <a:lnTo>
                      <a:pt x="160" y="180"/>
                    </a:lnTo>
                    <a:close/>
                    <a:moveTo>
                      <a:pt x="157" y="164"/>
                    </a:moveTo>
                    <a:cubicBezTo>
                      <a:pt x="156" y="163"/>
                      <a:pt x="155" y="161"/>
                      <a:pt x="154" y="160"/>
                    </a:cubicBezTo>
                    <a:cubicBezTo>
                      <a:pt x="158" y="156"/>
                      <a:pt x="158" y="156"/>
                      <a:pt x="158" y="156"/>
                    </a:cubicBezTo>
                    <a:cubicBezTo>
                      <a:pt x="159" y="157"/>
                      <a:pt x="161" y="159"/>
                      <a:pt x="162" y="161"/>
                    </a:cubicBezTo>
                    <a:lnTo>
                      <a:pt x="157" y="164"/>
                    </a:lnTo>
                    <a:close/>
                    <a:moveTo>
                      <a:pt x="152" y="150"/>
                    </a:moveTo>
                    <a:cubicBezTo>
                      <a:pt x="146" y="149"/>
                      <a:pt x="146" y="149"/>
                      <a:pt x="146" y="149"/>
                    </a:cubicBezTo>
                    <a:cubicBezTo>
                      <a:pt x="146" y="146"/>
                      <a:pt x="149" y="144"/>
                      <a:pt x="150" y="142"/>
                    </a:cubicBezTo>
                    <a:cubicBezTo>
                      <a:pt x="154" y="147"/>
                      <a:pt x="154" y="147"/>
                      <a:pt x="154" y="147"/>
                    </a:cubicBezTo>
                    <a:cubicBezTo>
                      <a:pt x="152" y="148"/>
                      <a:pt x="152" y="149"/>
                      <a:pt x="152" y="150"/>
                    </a:cubicBezTo>
                    <a:close/>
                    <a:moveTo>
                      <a:pt x="155" y="137"/>
                    </a:moveTo>
                    <a:cubicBezTo>
                      <a:pt x="153" y="136"/>
                      <a:pt x="151" y="134"/>
                      <a:pt x="151" y="131"/>
                    </a:cubicBezTo>
                    <a:cubicBezTo>
                      <a:pt x="157" y="130"/>
                      <a:pt x="157" y="130"/>
                      <a:pt x="157" y="130"/>
                    </a:cubicBezTo>
                    <a:cubicBezTo>
                      <a:pt x="157" y="131"/>
                      <a:pt x="157" y="132"/>
                      <a:pt x="159" y="133"/>
                    </a:cubicBezTo>
                    <a:lnTo>
                      <a:pt x="155" y="137"/>
                    </a:lnTo>
                    <a:close/>
                    <a:moveTo>
                      <a:pt x="155" y="119"/>
                    </a:moveTo>
                    <a:cubicBezTo>
                      <a:pt x="149" y="119"/>
                      <a:pt x="149" y="119"/>
                      <a:pt x="149" y="119"/>
                    </a:cubicBezTo>
                    <a:cubicBezTo>
                      <a:pt x="149" y="117"/>
                      <a:pt x="150" y="115"/>
                      <a:pt x="151" y="113"/>
                    </a:cubicBezTo>
                    <a:cubicBezTo>
                      <a:pt x="152" y="113"/>
                      <a:pt x="152" y="112"/>
                      <a:pt x="152" y="112"/>
                    </a:cubicBezTo>
                    <a:cubicBezTo>
                      <a:pt x="157" y="116"/>
                      <a:pt x="157" y="116"/>
                      <a:pt x="157" y="116"/>
                    </a:cubicBezTo>
                    <a:cubicBezTo>
                      <a:pt x="157" y="116"/>
                      <a:pt x="156" y="116"/>
                      <a:pt x="156" y="116"/>
                    </a:cubicBezTo>
                    <a:cubicBezTo>
                      <a:pt x="155" y="118"/>
                      <a:pt x="155" y="119"/>
                      <a:pt x="155" y="119"/>
                    </a:cubicBezTo>
                    <a:close/>
                    <a:moveTo>
                      <a:pt x="165" y="115"/>
                    </a:moveTo>
                    <a:cubicBezTo>
                      <a:pt x="165" y="110"/>
                      <a:pt x="165" y="110"/>
                      <a:pt x="165" y="110"/>
                    </a:cubicBezTo>
                    <a:cubicBezTo>
                      <a:pt x="165" y="110"/>
                      <a:pt x="165" y="110"/>
                      <a:pt x="165" y="110"/>
                    </a:cubicBezTo>
                    <a:cubicBezTo>
                      <a:pt x="167" y="110"/>
                      <a:pt x="168" y="109"/>
                      <a:pt x="169" y="109"/>
                    </a:cubicBezTo>
                    <a:cubicBezTo>
                      <a:pt x="173" y="113"/>
                      <a:pt x="173" y="113"/>
                      <a:pt x="173" y="113"/>
                    </a:cubicBezTo>
                    <a:cubicBezTo>
                      <a:pt x="171" y="115"/>
                      <a:pt x="168" y="115"/>
                      <a:pt x="165" y="115"/>
                    </a:cubicBezTo>
                    <a:close/>
                    <a:moveTo>
                      <a:pt x="470" y="115"/>
                    </a:moveTo>
                    <a:cubicBezTo>
                      <a:pt x="469" y="109"/>
                      <a:pt x="469" y="109"/>
                      <a:pt x="469" y="109"/>
                    </a:cubicBezTo>
                    <a:cubicBezTo>
                      <a:pt x="471" y="109"/>
                      <a:pt x="473" y="109"/>
                      <a:pt x="475" y="109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3" y="115"/>
                      <a:pt x="471" y="115"/>
                      <a:pt x="470" y="115"/>
                    </a:cubicBezTo>
                    <a:close/>
                    <a:moveTo>
                      <a:pt x="457" y="115"/>
                    </a:moveTo>
                    <a:cubicBezTo>
                      <a:pt x="455" y="114"/>
                      <a:pt x="453" y="114"/>
                      <a:pt x="451" y="113"/>
                    </a:cubicBezTo>
                    <a:cubicBezTo>
                      <a:pt x="453" y="108"/>
                      <a:pt x="453" y="108"/>
                      <a:pt x="453" y="108"/>
                    </a:cubicBezTo>
                    <a:cubicBezTo>
                      <a:pt x="455" y="108"/>
                      <a:pt x="456" y="109"/>
                      <a:pt x="458" y="109"/>
                    </a:cubicBezTo>
                    <a:lnTo>
                      <a:pt x="457" y="115"/>
                    </a:lnTo>
                    <a:close/>
                    <a:moveTo>
                      <a:pt x="487" y="114"/>
                    </a:moveTo>
                    <a:cubicBezTo>
                      <a:pt x="487" y="108"/>
                      <a:pt x="487" y="108"/>
                      <a:pt x="487" y="108"/>
                    </a:cubicBezTo>
                    <a:cubicBezTo>
                      <a:pt x="489" y="108"/>
                      <a:pt x="491" y="107"/>
                      <a:pt x="492" y="107"/>
                    </a:cubicBezTo>
                    <a:cubicBezTo>
                      <a:pt x="493" y="113"/>
                      <a:pt x="493" y="113"/>
                      <a:pt x="493" y="113"/>
                    </a:cubicBezTo>
                    <a:cubicBezTo>
                      <a:pt x="491" y="113"/>
                      <a:pt x="489" y="113"/>
                      <a:pt x="487" y="114"/>
                    </a:cubicBezTo>
                    <a:close/>
                    <a:moveTo>
                      <a:pt x="506" y="110"/>
                    </a:moveTo>
                    <a:cubicBezTo>
                      <a:pt x="502" y="105"/>
                      <a:pt x="502" y="105"/>
                      <a:pt x="502" y="105"/>
                    </a:cubicBezTo>
                    <a:cubicBezTo>
                      <a:pt x="504" y="108"/>
                      <a:pt x="504" y="108"/>
                      <a:pt x="504" y="108"/>
                    </a:cubicBezTo>
                    <a:cubicBezTo>
                      <a:pt x="502" y="105"/>
                      <a:pt x="502" y="105"/>
                      <a:pt x="502" y="105"/>
                    </a:cubicBezTo>
                    <a:cubicBezTo>
                      <a:pt x="507" y="109"/>
                      <a:pt x="507" y="109"/>
                      <a:pt x="507" y="109"/>
                    </a:cubicBezTo>
                    <a:cubicBezTo>
                      <a:pt x="506" y="110"/>
                      <a:pt x="506" y="110"/>
                      <a:pt x="506" y="110"/>
                    </a:cubicBezTo>
                    <a:close/>
                    <a:moveTo>
                      <a:pt x="441" y="105"/>
                    </a:moveTo>
                    <a:cubicBezTo>
                      <a:pt x="439" y="103"/>
                      <a:pt x="438" y="101"/>
                      <a:pt x="437" y="100"/>
                    </a:cubicBezTo>
                    <a:cubicBezTo>
                      <a:pt x="443" y="97"/>
                      <a:pt x="443" y="97"/>
                      <a:pt x="443" y="97"/>
                    </a:cubicBezTo>
                    <a:cubicBezTo>
                      <a:pt x="443" y="99"/>
                      <a:pt x="444" y="100"/>
                      <a:pt x="445" y="102"/>
                    </a:cubicBezTo>
                    <a:lnTo>
                      <a:pt x="441" y="105"/>
                    </a:lnTo>
                    <a:close/>
                    <a:moveTo>
                      <a:pt x="216" y="105"/>
                    </a:moveTo>
                    <a:cubicBezTo>
                      <a:pt x="213" y="105"/>
                      <a:pt x="211" y="103"/>
                      <a:pt x="211" y="99"/>
                    </a:cubicBezTo>
                    <a:cubicBezTo>
                      <a:pt x="211" y="98"/>
                      <a:pt x="211" y="97"/>
                      <a:pt x="211" y="97"/>
                    </a:cubicBezTo>
                    <a:cubicBezTo>
                      <a:pt x="217" y="97"/>
                      <a:pt x="217" y="97"/>
                      <a:pt x="217" y="97"/>
                    </a:cubicBezTo>
                    <a:cubicBezTo>
                      <a:pt x="217" y="98"/>
                      <a:pt x="217" y="98"/>
                      <a:pt x="217" y="99"/>
                    </a:cubicBezTo>
                    <a:cubicBezTo>
                      <a:pt x="217" y="100"/>
                      <a:pt x="217" y="100"/>
                      <a:pt x="217" y="100"/>
                    </a:cubicBezTo>
                    <a:cubicBezTo>
                      <a:pt x="217" y="99"/>
                      <a:pt x="216" y="99"/>
                      <a:pt x="215" y="99"/>
                    </a:cubicBezTo>
                    <a:cubicBezTo>
                      <a:pt x="216" y="105"/>
                      <a:pt x="216" y="105"/>
                      <a:pt x="216" y="105"/>
                    </a:cubicBezTo>
                    <a:cubicBezTo>
                      <a:pt x="216" y="105"/>
                      <a:pt x="216" y="105"/>
                      <a:pt x="216" y="105"/>
                    </a:cubicBezTo>
                    <a:close/>
                    <a:moveTo>
                      <a:pt x="232" y="104"/>
                    </a:moveTo>
                    <a:cubicBezTo>
                      <a:pt x="232" y="104"/>
                      <a:pt x="232" y="104"/>
                      <a:pt x="232" y="104"/>
                    </a:cubicBezTo>
                    <a:cubicBezTo>
                      <a:pt x="231" y="104"/>
                      <a:pt x="230" y="104"/>
                      <a:pt x="228" y="104"/>
                    </a:cubicBezTo>
                    <a:cubicBezTo>
                      <a:pt x="227" y="104"/>
                      <a:pt x="227" y="104"/>
                      <a:pt x="227" y="104"/>
                    </a:cubicBezTo>
                    <a:cubicBezTo>
                      <a:pt x="227" y="98"/>
                      <a:pt x="227" y="98"/>
                      <a:pt x="227" y="98"/>
                    </a:cubicBezTo>
                    <a:cubicBezTo>
                      <a:pt x="228" y="98"/>
                      <a:pt x="228" y="98"/>
                      <a:pt x="228" y="98"/>
                    </a:cubicBezTo>
                    <a:cubicBezTo>
                      <a:pt x="230" y="98"/>
                      <a:pt x="232" y="98"/>
                      <a:pt x="233" y="98"/>
                    </a:cubicBezTo>
                    <a:cubicBezTo>
                      <a:pt x="234" y="98"/>
                      <a:pt x="234" y="98"/>
                      <a:pt x="234" y="98"/>
                    </a:cubicBezTo>
                    <a:lnTo>
                      <a:pt x="232" y="104"/>
                    </a:lnTo>
                    <a:close/>
                    <a:moveTo>
                      <a:pt x="169" y="100"/>
                    </a:moveTo>
                    <a:cubicBezTo>
                      <a:pt x="168" y="94"/>
                      <a:pt x="168" y="94"/>
                      <a:pt x="168" y="94"/>
                    </a:cubicBezTo>
                    <a:cubicBezTo>
                      <a:pt x="174" y="93"/>
                      <a:pt x="174" y="93"/>
                      <a:pt x="174" y="93"/>
                    </a:cubicBezTo>
                    <a:cubicBezTo>
                      <a:pt x="175" y="99"/>
                      <a:pt x="175" y="99"/>
                      <a:pt x="175" y="99"/>
                    </a:cubicBezTo>
                    <a:lnTo>
                      <a:pt x="169" y="100"/>
                    </a:lnTo>
                    <a:close/>
                    <a:moveTo>
                      <a:pt x="243" y="98"/>
                    </a:moveTo>
                    <a:cubicBezTo>
                      <a:pt x="240" y="93"/>
                      <a:pt x="240" y="93"/>
                      <a:pt x="240" y="93"/>
                    </a:cubicBezTo>
                    <a:cubicBezTo>
                      <a:pt x="240" y="93"/>
                      <a:pt x="240" y="93"/>
                      <a:pt x="240" y="93"/>
                    </a:cubicBezTo>
                    <a:cubicBezTo>
                      <a:pt x="240" y="93"/>
                      <a:pt x="240" y="92"/>
                      <a:pt x="240" y="92"/>
                    </a:cubicBezTo>
                    <a:cubicBezTo>
                      <a:pt x="240" y="91"/>
                      <a:pt x="241" y="90"/>
                      <a:pt x="241" y="89"/>
                    </a:cubicBezTo>
                    <a:cubicBezTo>
                      <a:pt x="246" y="91"/>
                      <a:pt x="246" y="91"/>
                      <a:pt x="246" y="91"/>
                    </a:cubicBezTo>
                    <a:cubicBezTo>
                      <a:pt x="246" y="92"/>
                      <a:pt x="246" y="92"/>
                      <a:pt x="246" y="93"/>
                    </a:cubicBezTo>
                    <a:cubicBezTo>
                      <a:pt x="246" y="94"/>
                      <a:pt x="245" y="96"/>
                      <a:pt x="244" y="97"/>
                    </a:cubicBezTo>
                    <a:cubicBezTo>
                      <a:pt x="244" y="97"/>
                      <a:pt x="243" y="98"/>
                      <a:pt x="243" y="98"/>
                    </a:cubicBezTo>
                    <a:close/>
                    <a:moveTo>
                      <a:pt x="435" y="89"/>
                    </a:moveTo>
                    <a:cubicBezTo>
                      <a:pt x="434" y="88"/>
                      <a:pt x="432" y="87"/>
                      <a:pt x="431" y="86"/>
                    </a:cubicBezTo>
                    <a:cubicBezTo>
                      <a:pt x="434" y="81"/>
                      <a:pt x="434" y="81"/>
                      <a:pt x="434" y="81"/>
                    </a:cubicBezTo>
                    <a:cubicBezTo>
                      <a:pt x="436" y="82"/>
                      <a:pt x="438" y="84"/>
                      <a:pt x="439" y="86"/>
                    </a:cubicBezTo>
                    <a:lnTo>
                      <a:pt x="435" y="89"/>
                    </a:lnTo>
                    <a:close/>
                    <a:moveTo>
                      <a:pt x="254" y="87"/>
                    </a:moveTo>
                    <a:cubicBezTo>
                      <a:pt x="252" y="81"/>
                      <a:pt x="252" y="81"/>
                      <a:pt x="252" y="81"/>
                    </a:cubicBezTo>
                    <a:cubicBezTo>
                      <a:pt x="253" y="81"/>
                      <a:pt x="254" y="80"/>
                      <a:pt x="256" y="79"/>
                    </a:cubicBezTo>
                    <a:cubicBezTo>
                      <a:pt x="260" y="83"/>
                      <a:pt x="260" y="83"/>
                      <a:pt x="260" y="83"/>
                    </a:cubicBezTo>
                    <a:cubicBezTo>
                      <a:pt x="257" y="85"/>
                      <a:pt x="256" y="86"/>
                      <a:pt x="254" y="87"/>
                    </a:cubicBezTo>
                    <a:close/>
                    <a:moveTo>
                      <a:pt x="218" y="85"/>
                    </a:moveTo>
                    <a:cubicBezTo>
                      <a:pt x="212" y="85"/>
                      <a:pt x="212" y="85"/>
                      <a:pt x="212" y="85"/>
                    </a:cubicBezTo>
                    <a:cubicBezTo>
                      <a:pt x="212" y="79"/>
                      <a:pt x="212" y="79"/>
                      <a:pt x="212" y="79"/>
                    </a:cubicBezTo>
                    <a:cubicBezTo>
                      <a:pt x="218" y="79"/>
                      <a:pt x="218" y="79"/>
                      <a:pt x="218" y="79"/>
                    </a:cubicBezTo>
                    <a:lnTo>
                      <a:pt x="218" y="85"/>
                    </a:lnTo>
                    <a:close/>
                    <a:moveTo>
                      <a:pt x="174" y="83"/>
                    </a:moveTo>
                    <a:cubicBezTo>
                      <a:pt x="168" y="81"/>
                      <a:pt x="168" y="81"/>
                      <a:pt x="168" y="81"/>
                    </a:cubicBezTo>
                    <a:cubicBezTo>
                      <a:pt x="169" y="79"/>
                      <a:pt x="169" y="78"/>
                      <a:pt x="170" y="76"/>
                    </a:cubicBezTo>
                    <a:cubicBezTo>
                      <a:pt x="171" y="76"/>
                      <a:pt x="171" y="75"/>
                      <a:pt x="171" y="75"/>
                    </a:cubicBezTo>
                    <a:cubicBezTo>
                      <a:pt x="176" y="78"/>
                      <a:pt x="176" y="78"/>
                      <a:pt x="176" y="78"/>
                    </a:cubicBezTo>
                    <a:cubicBezTo>
                      <a:pt x="176" y="79"/>
                      <a:pt x="176" y="79"/>
                      <a:pt x="175" y="79"/>
                    </a:cubicBezTo>
                    <a:cubicBezTo>
                      <a:pt x="175" y="80"/>
                      <a:pt x="174" y="81"/>
                      <a:pt x="174" y="83"/>
                    </a:cubicBezTo>
                    <a:close/>
                    <a:moveTo>
                      <a:pt x="294" y="79"/>
                    </a:moveTo>
                    <a:cubicBezTo>
                      <a:pt x="290" y="75"/>
                      <a:pt x="290" y="75"/>
                      <a:pt x="290" y="75"/>
                    </a:cubicBezTo>
                    <a:cubicBezTo>
                      <a:pt x="291" y="74"/>
                      <a:pt x="292" y="72"/>
                      <a:pt x="293" y="71"/>
                    </a:cubicBezTo>
                    <a:cubicBezTo>
                      <a:pt x="298" y="74"/>
                      <a:pt x="298" y="74"/>
                      <a:pt x="298" y="74"/>
                    </a:cubicBezTo>
                    <a:cubicBezTo>
                      <a:pt x="297" y="76"/>
                      <a:pt x="295" y="78"/>
                      <a:pt x="294" y="79"/>
                    </a:cubicBezTo>
                    <a:close/>
                    <a:moveTo>
                      <a:pt x="281" y="79"/>
                    </a:moveTo>
                    <a:cubicBezTo>
                      <a:pt x="280" y="78"/>
                      <a:pt x="279" y="76"/>
                      <a:pt x="278" y="74"/>
                    </a:cubicBezTo>
                    <a:cubicBezTo>
                      <a:pt x="278" y="73"/>
                      <a:pt x="278" y="73"/>
                      <a:pt x="278" y="73"/>
                    </a:cubicBezTo>
                    <a:cubicBezTo>
                      <a:pt x="283" y="71"/>
                      <a:pt x="283" y="71"/>
                      <a:pt x="283" y="71"/>
                    </a:cubicBezTo>
                    <a:cubicBezTo>
                      <a:pt x="284" y="72"/>
                      <a:pt x="284" y="72"/>
                      <a:pt x="284" y="72"/>
                    </a:cubicBezTo>
                    <a:cubicBezTo>
                      <a:pt x="284" y="73"/>
                      <a:pt x="285" y="75"/>
                      <a:pt x="286" y="76"/>
                    </a:cubicBezTo>
                    <a:lnTo>
                      <a:pt x="281" y="79"/>
                    </a:lnTo>
                    <a:close/>
                    <a:moveTo>
                      <a:pt x="422" y="76"/>
                    </a:moveTo>
                    <a:cubicBezTo>
                      <a:pt x="422" y="75"/>
                      <a:pt x="422" y="74"/>
                      <a:pt x="422" y="73"/>
                    </a:cubicBezTo>
                    <a:cubicBezTo>
                      <a:pt x="422" y="71"/>
                      <a:pt x="422" y="70"/>
                      <a:pt x="423" y="68"/>
                    </a:cubicBezTo>
                    <a:cubicBezTo>
                      <a:pt x="428" y="70"/>
                      <a:pt x="428" y="70"/>
                      <a:pt x="428" y="70"/>
                    </a:cubicBezTo>
                    <a:cubicBezTo>
                      <a:pt x="428" y="71"/>
                      <a:pt x="428" y="72"/>
                      <a:pt x="428" y="73"/>
                    </a:cubicBezTo>
                    <a:cubicBezTo>
                      <a:pt x="428" y="73"/>
                      <a:pt x="428" y="74"/>
                      <a:pt x="428" y="74"/>
                    </a:cubicBezTo>
                    <a:lnTo>
                      <a:pt x="422" y="76"/>
                    </a:lnTo>
                    <a:close/>
                    <a:moveTo>
                      <a:pt x="435" y="75"/>
                    </a:moveTo>
                    <a:cubicBezTo>
                      <a:pt x="435" y="73"/>
                      <a:pt x="435" y="73"/>
                      <a:pt x="435" y="73"/>
                    </a:cubicBezTo>
                    <a:cubicBezTo>
                      <a:pt x="435" y="70"/>
                      <a:pt x="435" y="70"/>
                      <a:pt x="435" y="70"/>
                    </a:cubicBezTo>
                    <a:cubicBezTo>
                      <a:pt x="435" y="70"/>
                      <a:pt x="435" y="69"/>
                      <a:pt x="435" y="69"/>
                    </a:cubicBezTo>
                    <a:cubicBezTo>
                      <a:pt x="441" y="68"/>
                      <a:pt x="441" y="68"/>
                      <a:pt x="441" y="68"/>
                    </a:cubicBezTo>
                    <a:cubicBezTo>
                      <a:pt x="441" y="69"/>
                      <a:pt x="441" y="69"/>
                      <a:pt x="441" y="69"/>
                    </a:cubicBezTo>
                    <a:cubicBezTo>
                      <a:pt x="441" y="72"/>
                      <a:pt x="439" y="74"/>
                      <a:pt x="436" y="75"/>
                    </a:cubicBezTo>
                    <a:cubicBezTo>
                      <a:pt x="436" y="75"/>
                      <a:pt x="435" y="75"/>
                      <a:pt x="435" y="75"/>
                    </a:cubicBezTo>
                    <a:close/>
                    <a:moveTo>
                      <a:pt x="268" y="75"/>
                    </a:moveTo>
                    <a:cubicBezTo>
                      <a:pt x="265" y="71"/>
                      <a:pt x="265" y="71"/>
                      <a:pt x="265" y="71"/>
                    </a:cubicBezTo>
                    <a:cubicBezTo>
                      <a:pt x="267" y="69"/>
                      <a:pt x="268" y="68"/>
                      <a:pt x="270" y="67"/>
                    </a:cubicBezTo>
                    <a:cubicBezTo>
                      <a:pt x="273" y="72"/>
                      <a:pt x="273" y="72"/>
                      <a:pt x="273" y="72"/>
                    </a:cubicBezTo>
                    <a:cubicBezTo>
                      <a:pt x="272" y="73"/>
                      <a:pt x="270" y="74"/>
                      <a:pt x="268" y="75"/>
                    </a:cubicBezTo>
                    <a:close/>
                    <a:moveTo>
                      <a:pt x="185" y="74"/>
                    </a:moveTo>
                    <a:cubicBezTo>
                      <a:pt x="183" y="69"/>
                      <a:pt x="183" y="69"/>
                      <a:pt x="183" y="69"/>
                    </a:cubicBezTo>
                    <a:cubicBezTo>
                      <a:pt x="183" y="69"/>
                      <a:pt x="183" y="69"/>
                      <a:pt x="183" y="69"/>
                    </a:cubicBezTo>
                    <a:cubicBezTo>
                      <a:pt x="184" y="68"/>
                      <a:pt x="184" y="67"/>
                      <a:pt x="184" y="66"/>
                    </a:cubicBezTo>
                    <a:cubicBezTo>
                      <a:pt x="190" y="68"/>
                      <a:pt x="190" y="68"/>
                      <a:pt x="190" y="68"/>
                    </a:cubicBezTo>
                    <a:cubicBezTo>
                      <a:pt x="189" y="69"/>
                      <a:pt x="189" y="70"/>
                      <a:pt x="189" y="71"/>
                    </a:cubicBezTo>
                    <a:cubicBezTo>
                      <a:pt x="188" y="72"/>
                      <a:pt x="187" y="74"/>
                      <a:pt x="185" y="74"/>
                    </a:cubicBezTo>
                    <a:close/>
                    <a:moveTo>
                      <a:pt x="212" y="69"/>
                    </a:moveTo>
                    <a:cubicBezTo>
                      <a:pt x="211" y="69"/>
                      <a:pt x="211" y="69"/>
                      <a:pt x="210" y="68"/>
                    </a:cubicBezTo>
                    <a:cubicBezTo>
                      <a:pt x="210" y="67"/>
                      <a:pt x="209" y="67"/>
                      <a:pt x="208" y="66"/>
                    </a:cubicBezTo>
                    <a:cubicBezTo>
                      <a:pt x="208" y="66"/>
                      <a:pt x="208" y="65"/>
                      <a:pt x="208" y="65"/>
                    </a:cubicBezTo>
                    <a:cubicBezTo>
                      <a:pt x="212" y="62"/>
                      <a:pt x="212" y="62"/>
                      <a:pt x="212" y="62"/>
                    </a:cubicBezTo>
                    <a:cubicBezTo>
                      <a:pt x="213" y="62"/>
                      <a:pt x="213" y="62"/>
                      <a:pt x="213" y="62"/>
                    </a:cubicBezTo>
                    <a:cubicBezTo>
                      <a:pt x="213" y="63"/>
                      <a:pt x="214" y="63"/>
                      <a:pt x="214" y="64"/>
                    </a:cubicBezTo>
                    <a:cubicBezTo>
                      <a:pt x="215" y="64"/>
                      <a:pt x="216" y="65"/>
                      <a:pt x="217" y="66"/>
                    </a:cubicBezTo>
                    <a:lnTo>
                      <a:pt x="212" y="69"/>
                    </a:lnTo>
                    <a:close/>
                    <a:moveTo>
                      <a:pt x="314" y="68"/>
                    </a:moveTo>
                    <a:cubicBezTo>
                      <a:pt x="312" y="62"/>
                      <a:pt x="312" y="62"/>
                      <a:pt x="312" y="62"/>
                    </a:cubicBezTo>
                    <a:cubicBezTo>
                      <a:pt x="312" y="63"/>
                      <a:pt x="312" y="63"/>
                      <a:pt x="312" y="63"/>
                    </a:cubicBezTo>
                    <a:cubicBezTo>
                      <a:pt x="313" y="62"/>
                      <a:pt x="313" y="62"/>
                      <a:pt x="313" y="62"/>
                    </a:cubicBezTo>
                    <a:cubicBezTo>
                      <a:pt x="315" y="60"/>
                      <a:pt x="316" y="59"/>
                      <a:pt x="317" y="59"/>
                    </a:cubicBezTo>
                    <a:cubicBezTo>
                      <a:pt x="319" y="65"/>
                      <a:pt x="319" y="65"/>
                      <a:pt x="319" y="65"/>
                    </a:cubicBezTo>
                    <a:cubicBezTo>
                      <a:pt x="319" y="65"/>
                      <a:pt x="318" y="66"/>
                      <a:pt x="317" y="66"/>
                    </a:cubicBezTo>
                    <a:cubicBezTo>
                      <a:pt x="316" y="67"/>
                      <a:pt x="316" y="67"/>
                      <a:pt x="316" y="67"/>
                    </a:cubicBezTo>
                    <a:cubicBezTo>
                      <a:pt x="315" y="68"/>
                      <a:pt x="315" y="68"/>
                      <a:pt x="314" y="68"/>
                    </a:cubicBezTo>
                    <a:close/>
                    <a:moveTo>
                      <a:pt x="331" y="65"/>
                    </a:moveTo>
                    <a:cubicBezTo>
                      <a:pt x="328" y="60"/>
                      <a:pt x="328" y="60"/>
                      <a:pt x="328" y="60"/>
                    </a:cubicBezTo>
                    <a:cubicBezTo>
                      <a:pt x="328" y="59"/>
                      <a:pt x="329" y="59"/>
                      <a:pt x="329" y="59"/>
                    </a:cubicBezTo>
                    <a:cubicBezTo>
                      <a:pt x="330" y="58"/>
                      <a:pt x="332" y="57"/>
                      <a:pt x="333" y="56"/>
                    </a:cubicBezTo>
                    <a:cubicBezTo>
                      <a:pt x="335" y="62"/>
                      <a:pt x="335" y="62"/>
                      <a:pt x="335" y="62"/>
                    </a:cubicBezTo>
                    <a:cubicBezTo>
                      <a:pt x="335" y="62"/>
                      <a:pt x="334" y="63"/>
                      <a:pt x="333" y="63"/>
                    </a:cubicBezTo>
                    <a:cubicBezTo>
                      <a:pt x="332" y="64"/>
                      <a:pt x="332" y="64"/>
                      <a:pt x="331" y="65"/>
                    </a:cubicBezTo>
                    <a:close/>
                    <a:moveTo>
                      <a:pt x="305" y="64"/>
                    </a:moveTo>
                    <a:cubicBezTo>
                      <a:pt x="300" y="61"/>
                      <a:pt x="300" y="61"/>
                      <a:pt x="300" y="61"/>
                    </a:cubicBezTo>
                    <a:cubicBezTo>
                      <a:pt x="301" y="59"/>
                      <a:pt x="303" y="57"/>
                      <a:pt x="304" y="56"/>
                    </a:cubicBezTo>
                    <a:cubicBezTo>
                      <a:pt x="307" y="61"/>
                      <a:pt x="307" y="61"/>
                      <a:pt x="307" y="61"/>
                    </a:cubicBezTo>
                    <a:cubicBezTo>
                      <a:pt x="307" y="61"/>
                      <a:pt x="306" y="62"/>
                      <a:pt x="305" y="64"/>
                    </a:cubicBezTo>
                    <a:close/>
                    <a:moveTo>
                      <a:pt x="192" y="58"/>
                    </a:moveTo>
                    <a:cubicBezTo>
                      <a:pt x="189" y="54"/>
                      <a:pt x="189" y="54"/>
                      <a:pt x="189" y="54"/>
                    </a:cubicBezTo>
                    <a:cubicBezTo>
                      <a:pt x="191" y="52"/>
                      <a:pt x="194" y="52"/>
                      <a:pt x="196" y="53"/>
                    </a:cubicBezTo>
                    <a:cubicBezTo>
                      <a:pt x="196" y="58"/>
                      <a:pt x="196" y="58"/>
                      <a:pt x="196" y="58"/>
                    </a:cubicBezTo>
                    <a:cubicBezTo>
                      <a:pt x="195" y="58"/>
                      <a:pt x="194" y="58"/>
                      <a:pt x="193" y="58"/>
                    </a:cubicBezTo>
                    <a:cubicBezTo>
                      <a:pt x="193" y="58"/>
                      <a:pt x="192" y="58"/>
                      <a:pt x="192" y="58"/>
                    </a:cubicBezTo>
                    <a:close/>
                    <a:moveTo>
                      <a:pt x="438" y="57"/>
                    </a:moveTo>
                    <a:cubicBezTo>
                      <a:pt x="432" y="57"/>
                      <a:pt x="432" y="57"/>
                      <a:pt x="432" y="57"/>
                    </a:cubicBezTo>
                    <a:cubicBezTo>
                      <a:pt x="432" y="56"/>
                      <a:pt x="432" y="56"/>
                      <a:pt x="432" y="56"/>
                    </a:cubicBezTo>
                    <a:cubicBezTo>
                      <a:pt x="433" y="55"/>
                      <a:pt x="433" y="54"/>
                      <a:pt x="433" y="53"/>
                    </a:cubicBezTo>
                    <a:cubicBezTo>
                      <a:pt x="433" y="52"/>
                      <a:pt x="433" y="52"/>
                      <a:pt x="433" y="51"/>
                    </a:cubicBezTo>
                    <a:cubicBezTo>
                      <a:pt x="438" y="51"/>
                      <a:pt x="438" y="51"/>
                      <a:pt x="438" y="51"/>
                    </a:cubicBezTo>
                    <a:cubicBezTo>
                      <a:pt x="438" y="52"/>
                      <a:pt x="438" y="52"/>
                      <a:pt x="438" y="53"/>
                    </a:cubicBezTo>
                    <a:cubicBezTo>
                      <a:pt x="438" y="54"/>
                      <a:pt x="438" y="56"/>
                      <a:pt x="438" y="57"/>
                    </a:cubicBezTo>
                    <a:close/>
                    <a:moveTo>
                      <a:pt x="209" y="56"/>
                    </a:moveTo>
                    <a:cubicBezTo>
                      <a:pt x="205" y="51"/>
                      <a:pt x="205" y="51"/>
                      <a:pt x="205" y="51"/>
                    </a:cubicBezTo>
                    <a:cubicBezTo>
                      <a:pt x="207" y="50"/>
                      <a:pt x="208" y="49"/>
                      <a:pt x="210" y="49"/>
                    </a:cubicBezTo>
                    <a:cubicBezTo>
                      <a:pt x="210" y="49"/>
                      <a:pt x="210" y="49"/>
                      <a:pt x="210" y="49"/>
                    </a:cubicBezTo>
                    <a:cubicBezTo>
                      <a:pt x="211" y="49"/>
                      <a:pt x="213" y="50"/>
                      <a:pt x="214" y="52"/>
                    </a:cubicBezTo>
                    <a:cubicBezTo>
                      <a:pt x="210" y="55"/>
                      <a:pt x="210" y="55"/>
                      <a:pt x="210" y="55"/>
                    </a:cubicBezTo>
                    <a:cubicBezTo>
                      <a:pt x="210" y="55"/>
                      <a:pt x="210" y="55"/>
                      <a:pt x="209" y="56"/>
                    </a:cubicBezTo>
                    <a:close/>
                    <a:moveTo>
                      <a:pt x="340" y="54"/>
                    </a:moveTo>
                    <a:cubicBezTo>
                      <a:pt x="340" y="54"/>
                      <a:pt x="339" y="53"/>
                      <a:pt x="339" y="53"/>
                    </a:cubicBezTo>
                    <a:cubicBezTo>
                      <a:pt x="338" y="52"/>
                      <a:pt x="337" y="51"/>
                      <a:pt x="336" y="50"/>
                    </a:cubicBezTo>
                    <a:cubicBezTo>
                      <a:pt x="341" y="46"/>
                      <a:pt x="341" y="46"/>
                      <a:pt x="341" y="46"/>
                    </a:cubicBezTo>
                    <a:cubicBezTo>
                      <a:pt x="342" y="47"/>
                      <a:pt x="342" y="48"/>
                      <a:pt x="343" y="49"/>
                    </a:cubicBezTo>
                    <a:cubicBezTo>
                      <a:pt x="344" y="50"/>
                      <a:pt x="345" y="51"/>
                      <a:pt x="345" y="52"/>
                    </a:cubicBezTo>
                    <a:lnTo>
                      <a:pt x="340" y="54"/>
                    </a:lnTo>
                    <a:close/>
                    <a:moveTo>
                      <a:pt x="426" y="50"/>
                    </a:moveTo>
                    <a:cubicBezTo>
                      <a:pt x="423" y="50"/>
                      <a:pt x="421" y="49"/>
                      <a:pt x="419" y="45"/>
                    </a:cubicBezTo>
                    <a:cubicBezTo>
                      <a:pt x="425" y="43"/>
                      <a:pt x="425" y="43"/>
                      <a:pt x="425" y="43"/>
                    </a:cubicBezTo>
                    <a:cubicBezTo>
                      <a:pt x="425" y="44"/>
                      <a:pt x="426" y="44"/>
                      <a:pt x="426" y="45"/>
                    </a:cubicBezTo>
                    <a:cubicBezTo>
                      <a:pt x="427" y="50"/>
                      <a:pt x="427" y="50"/>
                      <a:pt x="427" y="50"/>
                    </a:cubicBezTo>
                    <a:cubicBezTo>
                      <a:pt x="426" y="50"/>
                      <a:pt x="426" y="50"/>
                      <a:pt x="426" y="50"/>
                    </a:cubicBezTo>
                    <a:close/>
                    <a:moveTo>
                      <a:pt x="340" y="41"/>
                    </a:moveTo>
                    <a:cubicBezTo>
                      <a:pt x="337" y="36"/>
                      <a:pt x="337" y="36"/>
                      <a:pt x="337" y="36"/>
                    </a:cubicBezTo>
                    <a:cubicBezTo>
                      <a:pt x="338" y="35"/>
                      <a:pt x="339" y="35"/>
                      <a:pt x="340" y="35"/>
                    </a:cubicBezTo>
                    <a:cubicBezTo>
                      <a:pt x="340" y="35"/>
                      <a:pt x="341" y="35"/>
                      <a:pt x="341" y="35"/>
                    </a:cubicBezTo>
                    <a:cubicBezTo>
                      <a:pt x="340" y="35"/>
                      <a:pt x="340" y="36"/>
                      <a:pt x="340" y="36"/>
                    </a:cubicBezTo>
                    <a:cubicBezTo>
                      <a:pt x="345" y="35"/>
                      <a:pt x="345" y="35"/>
                      <a:pt x="345" y="35"/>
                    </a:cubicBezTo>
                    <a:cubicBezTo>
                      <a:pt x="345" y="36"/>
                      <a:pt x="346" y="36"/>
                      <a:pt x="346" y="36"/>
                    </a:cubicBezTo>
                    <a:cubicBezTo>
                      <a:pt x="345" y="40"/>
                      <a:pt x="342" y="41"/>
                      <a:pt x="341" y="41"/>
                    </a:cubicBezTo>
                    <a:cubicBezTo>
                      <a:pt x="341" y="41"/>
                      <a:pt x="340" y="41"/>
                      <a:pt x="340" y="41"/>
                    </a:cubicBezTo>
                    <a:close/>
                    <a:moveTo>
                      <a:pt x="416" y="38"/>
                    </a:moveTo>
                    <a:cubicBezTo>
                      <a:pt x="416" y="38"/>
                      <a:pt x="416" y="38"/>
                      <a:pt x="415" y="38"/>
                    </a:cubicBezTo>
                    <a:cubicBezTo>
                      <a:pt x="412" y="38"/>
                      <a:pt x="410" y="36"/>
                      <a:pt x="410" y="32"/>
                    </a:cubicBezTo>
                    <a:cubicBezTo>
                      <a:pt x="415" y="32"/>
                      <a:pt x="415" y="32"/>
                      <a:pt x="415" y="32"/>
                    </a:cubicBezTo>
                    <a:cubicBezTo>
                      <a:pt x="415" y="32"/>
                      <a:pt x="415" y="32"/>
                      <a:pt x="415" y="32"/>
                    </a:cubicBezTo>
                    <a:cubicBezTo>
                      <a:pt x="416" y="32"/>
                      <a:pt x="417" y="32"/>
                      <a:pt x="417" y="32"/>
                    </a:cubicBezTo>
                    <a:lnTo>
                      <a:pt x="416" y="38"/>
                    </a:lnTo>
                    <a:close/>
                    <a:moveTo>
                      <a:pt x="415" y="32"/>
                    </a:moveTo>
                    <a:cubicBezTo>
                      <a:pt x="415" y="32"/>
                      <a:pt x="415" y="32"/>
                      <a:pt x="415" y="32"/>
                    </a:cubicBezTo>
                    <a:close/>
                    <a:moveTo>
                      <a:pt x="343" y="25"/>
                    </a:moveTo>
                    <a:cubicBezTo>
                      <a:pt x="337" y="23"/>
                      <a:pt x="337" y="23"/>
                      <a:pt x="337" y="23"/>
                    </a:cubicBezTo>
                    <a:cubicBezTo>
                      <a:pt x="338" y="21"/>
                      <a:pt x="340" y="19"/>
                      <a:pt x="342" y="18"/>
                    </a:cubicBezTo>
                    <a:cubicBezTo>
                      <a:pt x="346" y="22"/>
                      <a:pt x="346" y="22"/>
                      <a:pt x="346" y="22"/>
                    </a:cubicBezTo>
                    <a:cubicBezTo>
                      <a:pt x="344" y="23"/>
                      <a:pt x="343" y="24"/>
                      <a:pt x="343" y="25"/>
                    </a:cubicBezTo>
                    <a:close/>
                    <a:moveTo>
                      <a:pt x="413" y="22"/>
                    </a:moveTo>
                    <a:cubicBezTo>
                      <a:pt x="413" y="22"/>
                      <a:pt x="412" y="21"/>
                      <a:pt x="411" y="20"/>
                    </a:cubicBezTo>
                    <a:cubicBezTo>
                      <a:pt x="410" y="20"/>
                      <a:pt x="410" y="20"/>
                      <a:pt x="410" y="20"/>
                    </a:cubicBezTo>
                    <a:cubicBezTo>
                      <a:pt x="410" y="20"/>
                      <a:pt x="410" y="19"/>
                      <a:pt x="409" y="19"/>
                    </a:cubicBezTo>
                    <a:cubicBezTo>
                      <a:pt x="413" y="15"/>
                      <a:pt x="413" y="15"/>
                      <a:pt x="413" y="15"/>
                    </a:cubicBezTo>
                    <a:cubicBezTo>
                      <a:pt x="414" y="16"/>
                      <a:pt x="414" y="16"/>
                      <a:pt x="414" y="16"/>
                    </a:cubicBezTo>
                    <a:cubicBezTo>
                      <a:pt x="416" y="17"/>
                      <a:pt x="417" y="18"/>
                      <a:pt x="418" y="20"/>
                    </a:cubicBezTo>
                    <a:lnTo>
                      <a:pt x="413" y="22"/>
                    </a:lnTo>
                    <a:close/>
                    <a:moveTo>
                      <a:pt x="355" y="18"/>
                    </a:moveTo>
                    <a:cubicBezTo>
                      <a:pt x="354" y="12"/>
                      <a:pt x="354" y="12"/>
                      <a:pt x="354" y="12"/>
                    </a:cubicBezTo>
                    <a:cubicBezTo>
                      <a:pt x="356" y="11"/>
                      <a:pt x="358" y="11"/>
                      <a:pt x="360" y="11"/>
                    </a:cubicBezTo>
                    <a:cubicBezTo>
                      <a:pt x="360" y="17"/>
                      <a:pt x="360" y="17"/>
                      <a:pt x="360" y="17"/>
                    </a:cubicBezTo>
                    <a:cubicBezTo>
                      <a:pt x="358" y="17"/>
                      <a:pt x="357" y="17"/>
                      <a:pt x="355" y="18"/>
                    </a:cubicBezTo>
                    <a:close/>
                    <a:moveTo>
                      <a:pt x="373" y="16"/>
                    </a:moveTo>
                    <a:cubicBezTo>
                      <a:pt x="371" y="10"/>
                      <a:pt x="371" y="10"/>
                      <a:pt x="371" y="10"/>
                    </a:cubicBezTo>
                    <a:cubicBezTo>
                      <a:pt x="372" y="10"/>
                      <a:pt x="373" y="9"/>
                      <a:pt x="373" y="8"/>
                    </a:cubicBezTo>
                    <a:cubicBezTo>
                      <a:pt x="379" y="11"/>
                      <a:pt x="379" y="11"/>
                      <a:pt x="379" y="11"/>
                    </a:cubicBezTo>
                    <a:cubicBezTo>
                      <a:pt x="377" y="13"/>
                      <a:pt x="375" y="15"/>
                      <a:pt x="373" y="16"/>
                    </a:cubicBezTo>
                    <a:close/>
                    <a:moveTo>
                      <a:pt x="402" y="9"/>
                    </a:moveTo>
                    <a:cubicBezTo>
                      <a:pt x="399" y="5"/>
                      <a:pt x="399" y="5"/>
                      <a:pt x="399" y="5"/>
                    </a:cubicBezTo>
                    <a:cubicBezTo>
                      <a:pt x="399" y="5"/>
                      <a:pt x="399" y="5"/>
                      <a:pt x="399" y="5"/>
                    </a:cubicBezTo>
                    <a:cubicBezTo>
                      <a:pt x="403" y="1"/>
                      <a:pt x="403" y="1"/>
                      <a:pt x="403" y="1"/>
                    </a:cubicBezTo>
                    <a:cubicBezTo>
                      <a:pt x="404" y="1"/>
                      <a:pt x="404" y="2"/>
                      <a:pt x="404" y="2"/>
                    </a:cubicBezTo>
                    <a:cubicBezTo>
                      <a:pt x="407" y="6"/>
                      <a:pt x="407" y="6"/>
                      <a:pt x="407" y="6"/>
                    </a:cubicBezTo>
                    <a:lnTo>
                      <a:pt x="402" y="9"/>
                    </a:lnTo>
                    <a:close/>
                    <a:moveTo>
                      <a:pt x="385" y="8"/>
                    </a:moveTo>
                    <a:cubicBezTo>
                      <a:pt x="385" y="2"/>
                      <a:pt x="385" y="2"/>
                      <a:pt x="385" y="2"/>
                    </a:cubicBezTo>
                    <a:cubicBezTo>
                      <a:pt x="386" y="2"/>
                      <a:pt x="386" y="2"/>
                      <a:pt x="387" y="1"/>
                    </a:cubicBezTo>
                    <a:cubicBezTo>
                      <a:pt x="388" y="1"/>
                      <a:pt x="389" y="1"/>
                      <a:pt x="389" y="0"/>
                    </a:cubicBezTo>
                    <a:cubicBezTo>
                      <a:pt x="392" y="6"/>
                      <a:pt x="392" y="6"/>
                      <a:pt x="392" y="6"/>
                    </a:cubicBezTo>
                    <a:cubicBezTo>
                      <a:pt x="391" y="6"/>
                      <a:pt x="390" y="6"/>
                      <a:pt x="389" y="7"/>
                    </a:cubicBezTo>
                    <a:cubicBezTo>
                      <a:pt x="388" y="7"/>
                      <a:pt x="386" y="8"/>
                      <a:pt x="385" y="8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1" name="iṣļîḓe"/>
              <p:cNvSpPr/>
              <p:nvPr/>
            </p:nvSpPr>
            <p:spPr bwMode="auto">
              <a:xfrm>
                <a:off x="8048625" y="1887538"/>
                <a:ext cx="979488" cy="771525"/>
              </a:xfrm>
              <a:custGeom>
                <a:avLst/>
                <a:gdLst>
                  <a:gd name="T0" fmla="*/ 65 w 457"/>
                  <a:gd name="T1" fmla="*/ 337 h 360"/>
                  <a:gd name="T2" fmla="*/ 60 w 457"/>
                  <a:gd name="T3" fmla="*/ 319 h 360"/>
                  <a:gd name="T4" fmla="*/ 57 w 457"/>
                  <a:gd name="T5" fmla="*/ 308 h 360"/>
                  <a:gd name="T6" fmla="*/ 32 w 457"/>
                  <a:gd name="T7" fmla="*/ 299 h 360"/>
                  <a:gd name="T8" fmla="*/ 48 w 457"/>
                  <a:gd name="T9" fmla="*/ 297 h 360"/>
                  <a:gd name="T10" fmla="*/ 15 w 457"/>
                  <a:gd name="T11" fmla="*/ 286 h 360"/>
                  <a:gd name="T12" fmla="*/ 2 w 457"/>
                  <a:gd name="T13" fmla="*/ 282 h 360"/>
                  <a:gd name="T14" fmla="*/ 10 w 457"/>
                  <a:gd name="T15" fmla="*/ 260 h 360"/>
                  <a:gd name="T16" fmla="*/ 14 w 457"/>
                  <a:gd name="T17" fmla="*/ 245 h 360"/>
                  <a:gd name="T18" fmla="*/ 22 w 457"/>
                  <a:gd name="T19" fmla="*/ 231 h 360"/>
                  <a:gd name="T20" fmla="*/ 29 w 457"/>
                  <a:gd name="T21" fmla="*/ 216 h 360"/>
                  <a:gd name="T22" fmla="*/ 453 w 457"/>
                  <a:gd name="T23" fmla="*/ 221 h 360"/>
                  <a:gd name="T24" fmla="*/ 453 w 457"/>
                  <a:gd name="T25" fmla="*/ 205 h 360"/>
                  <a:gd name="T26" fmla="*/ 75 w 457"/>
                  <a:gd name="T27" fmla="*/ 194 h 360"/>
                  <a:gd name="T28" fmla="*/ 450 w 457"/>
                  <a:gd name="T29" fmla="*/ 193 h 360"/>
                  <a:gd name="T30" fmla="*/ 450 w 457"/>
                  <a:gd name="T31" fmla="*/ 193 h 360"/>
                  <a:gd name="T32" fmla="*/ 437 w 457"/>
                  <a:gd name="T33" fmla="*/ 187 h 360"/>
                  <a:gd name="T34" fmla="*/ 71 w 457"/>
                  <a:gd name="T35" fmla="*/ 182 h 360"/>
                  <a:gd name="T36" fmla="*/ 84 w 457"/>
                  <a:gd name="T37" fmla="*/ 178 h 360"/>
                  <a:gd name="T38" fmla="*/ 28 w 457"/>
                  <a:gd name="T39" fmla="*/ 170 h 360"/>
                  <a:gd name="T40" fmla="*/ 431 w 457"/>
                  <a:gd name="T41" fmla="*/ 170 h 360"/>
                  <a:gd name="T42" fmla="*/ 94 w 457"/>
                  <a:gd name="T43" fmla="*/ 160 h 360"/>
                  <a:gd name="T44" fmla="*/ 25 w 457"/>
                  <a:gd name="T45" fmla="*/ 154 h 360"/>
                  <a:gd name="T46" fmla="*/ 100 w 457"/>
                  <a:gd name="T47" fmla="*/ 153 h 360"/>
                  <a:gd name="T48" fmla="*/ 50 w 457"/>
                  <a:gd name="T49" fmla="*/ 149 h 360"/>
                  <a:gd name="T50" fmla="*/ 37 w 457"/>
                  <a:gd name="T51" fmla="*/ 147 h 360"/>
                  <a:gd name="T52" fmla="*/ 117 w 457"/>
                  <a:gd name="T53" fmla="*/ 137 h 360"/>
                  <a:gd name="T54" fmla="*/ 130 w 457"/>
                  <a:gd name="T55" fmla="*/ 139 h 360"/>
                  <a:gd name="T56" fmla="*/ 408 w 457"/>
                  <a:gd name="T57" fmla="*/ 127 h 360"/>
                  <a:gd name="T58" fmla="*/ 142 w 457"/>
                  <a:gd name="T59" fmla="*/ 121 h 360"/>
                  <a:gd name="T60" fmla="*/ 172 w 457"/>
                  <a:gd name="T61" fmla="*/ 113 h 360"/>
                  <a:gd name="T62" fmla="*/ 159 w 457"/>
                  <a:gd name="T63" fmla="*/ 108 h 360"/>
                  <a:gd name="T64" fmla="*/ 417 w 457"/>
                  <a:gd name="T65" fmla="*/ 109 h 360"/>
                  <a:gd name="T66" fmla="*/ 411 w 457"/>
                  <a:gd name="T67" fmla="*/ 108 h 360"/>
                  <a:gd name="T68" fmla="*/ 182 w 457"/>
                  <a:gd name="T69" fmla="*/ 108 h 360"/>
                  <a:gd name="T70" fmla="*/ 403 w 457"/>
                  <a:gd name="T71" fmla="*/ 91 h 360"/>
                  <a:gd name="T72" fmla="*/ 191 w 457"/>
                  <a:gd name="T73" fmla="*/ 92 h 360"/>
                  <a:gd name="T74" fmla="*/ 214 w 457"/>
                  <a:gd name="T75" fmla="*/ 84 h 360"/>
                  <a:gd name="T76" fmla="*/ 390 w 457"/>
                  <a:gd name="T77" fmla="*/ 83 h 360"/>
                  <a:gd name="T78" fmla="*/ 231 w 457"/>
                  <a:gd name="T79" fmla="*/ 80 h 360"/>
                  <a:gd name="T80" fmla="*/ 253 w 457"/>
                  <a:gd name="T81" fmla="*/ 72 h 360"/>
                  <a:gd name="T82" fmla="*/ 216 w 457"/>
                  <a:gd name="T83" fmla="*/ 70 h 360"/>
                  <a:gd name="T84" fmla="*/ 384 w 457"/>
                  <a:gd name="T85" fmla="*/ 66 h 360"/>
                  <a:gd name="T86" fmla="*/ 262 w 457"/>
                  <a:gd name="T87" fmla="*/ 67 h 360"/>
                  <a:gd name="T88" fmla="*/ 375 w 457"/>
                  <a:gd name="T89" fmla="*/ 57 h 360"/>
                  <a:gd name="T90" fmla="*/ 351 w 457"/>
                  <a:gd name="T91" fmla="*/ 52 h 360"/>
                  <a:gd name="T92" fmla="*/ 280 w 457"/>
                  <a:gd name="T93" fmla="*/ 44 h 360"/>
                  <a:gd name="T94" fmla="*/ 338 w 457"/>
                  <a:gd name="T95" fmla="*/ 45 h 360"/>
                  <a:gd name="T96" fmla="*/ 367 w 457"/>
                  <a:gd name="T97" fmla="*/ 43 h 360"/>
                  <a:gd name="T98" fmla="*/ 351 w 457"/>
                  <a:gd name="T99" fmla="*/ 39 h 360"/>
                  <a:gd name="T100" fmla="*/ 336 w 457"/>
                  <a:gd name="T101" fmla="*/ 33 h 360"/>
                  <a:gd name="T102" fmla="*/ 286 w 457"/>
                  <a:gd name="T103" fmla="*/ 29 h 360"/>
                  <a:gd name="T104" fmla="*/ 367 w 457"/>
                  <a:gd name="T105" fmla="*/ 31 h 360"/>
                  <a:gd name="T106" fmla="*/ 324 w 457"/>
                  <a:gd name="T107" fmla="*/ 24 h 360"/>
                  <a:gd name="T108" fmla="*/ 293 w 457"/>
                  <a:gd name="T109" fmla="*/ 17 h 360"/>
                  <a:gd name="T110" fmla="*/ 301 w 457"/>
                  <a:gd name="T111" fmla="*/ 5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7" h="360">
                    <a:moveTo>
                      <a:pt x="69" y="360"/>
                    </a:moveTo>
                    <a:cubicBezTo>
                      <a:pt x="69" y="360"/>
                      <a:pt x="68" y="358"/>
                      <a:pt x="67" y="354"/>
                    </a:cubicBezTo>
                    <a:cubicBezTo>
                      <a:pt x="73" y="353"/>
                      <a:pt x="73" y="353"/>
                      <a:pt x="73" y="353"/>
                    </a:cubicBezTo>
                    <a:cubicBezTo>
                      <a:pt x="74" y="356"/>
                      <a:pt x="74" y="358"/>
                      <a:pt x="74" y="358"/>
                    </a:cubicBezTo>
                    <a:lnTo>
                      <a:pt x="69" y="360"/>
                    </a:lnTo>
                    <a:close/>
                    <a:moveTo>
                      <a:pt x="66" y="342"/>
                    </a:moveTo>
                    <a:cubicBezTo>
                      <a:pt x="66" y="342"/>
                      <a:pt x="66" y="341"/>
                      <a:pt x="66" y="341"/>
                    </a:cubicBezTo>
                    <a:cubicBezTo>
                      <a:pt x="66" y="339"/>
                      <a:pt x="66" y="338"/>
                      <a:pt x="65" y="337"/>
                    </a:cubicBezTo>
                    <a:cubicBezTo>
                      <a:pt x="71" y="336"/>
                      <a:pt x="71" y="336"/>
                      <a:pt x="71" y="336"/>
                    </a:cubicBezTo>
                    <a:cubicBezTo>
                      <a:pt x="71" y="337"/>
                      <a:pt x="71" y="339"/>
                      <a:pt x="71" y="341"/>
                    </a:cubicBezTo>
                    <a:cubicBezTo>
                      <a:pt x="71" y="341"/>
                      <a:pt x="71" y="342"/>
                      <a:pt x="71" y="342"/>
                    </a:cubicBezTo>
                    <a:lnTo>
                      <a:pt x="66" y="342"/>
                    </a:lnTo>
                    <a:close/>
                    <a:moveTo>
                      <a:pt x="61" y="328"/>
                    </a:moveTo>
                    <a:cubicBezTo>
                      <a:pt x="61" y="327"/>
                      <a:pt x="60" y="326"/>
                      <a:pt x="59" y="326"/>
                    </a:cubicBezTo>
                    <a:cubicBezTo>
                      <a:pt x="59" y="325"/>
                      <a:pt x="58" y="325"/>
                      <a:pt x="58" y="325"/>
                    </a:cubicBezTo>
                    <a:cubicBezTo>
                      <a:pt x="60" y="319"/>
                      <a:pt x="60" y="319"/>
                      <a:pt x="60" y="319"/>
                    </a:cubicBezTo>
                    <a:cubicBezTo>
                      <a:pt x="61" y="320"/>
                      <a:pt x="62" y="320"/>
                      <a:pt x="62" y="321"/>
                    </a:cubicBezTo>
                    <a:cubicBezTo>
                      <a:pt x="64" y="322"/>
                      <a:pt x="65" y="323"/>
                      <a:pt x="66" y="324"/>
                    </a:cubicBezTo>
                    <a:lnTo>
                      <a:pt x="61" y="328"/>
                    </a:lnTo>
                    <a:close/>
                    <a:moveTo>
                      <a:pt x="57" y="314"/>
                    </a:moveTo>
                    <a:cubicBezTo>
                      <a:pt x="51" y="313"/>
                      <a:pt x="51" y="313"/>
                      <a:pt x="51" y="313"/>
                    </a:cubicBezTo>
                    <a:cubicBezTo>
                      <a:pt x="51" y="312"/>
                      <a:pt x="51" y="311"/>
                      <a:pt x="51" y="311"/>
                    </a:cubicBezTo>
                    <a:cubicBezTo>
                      <a:pt x="51" y="310"/>
                      <a:pt x="51" y="309"/>
                      <a:pt x="51" y="308"/>
                    </a:cubicBezTo>
                    <a:cubicBezTo>
                      <a:pt x="57" y="308"/>
                      <a:pt x="57" y="308"/>
                      <a:pt x="57" y="308"/>
                    </a:cubicBezTo>
                    <a:cubicBezTo>
                      <a:pt x="57" y="308"/>
                      <a:pt x="57" y="309"/>
                      <a:pt x="57" y="311"/>
                    </a:cubicBezTo>
                    <a:cubicBezTo>
                      <a:pt x="57" y="312"/>
                      <a:pt x="57" y="313"/>
                      <a:pt x="57" y="314"/>
                    </a:cubicBezTo>
                    <a:close/>
                    <a:moveTo>
                      <a:pt x="29" y="304"/>
                    </a:moveTo>
                    <a:cubicBezTo>
                      <a:pt x="27" y="303"/>
                      <a:pt x="26" y="302"/>
                      <a:pt x="25" y="300"/>
                    </a:cubicBezTo>
                    <a:cubicBezTo>
                      <a:pt x="25" y="300"/>
                      <a:pt x="24" y="299"/>
                      <a:pt x="24" y="299"/>
                    </a:cubicBezTo>
                    <a:cubicBezTo>
                      <a:pt x="29" y="295"/>
                      <a:pt x="29" y="295"/>
                      <a:pt x="29" y="295"/>
                    </a:cubicBezTo>
                    <a:cubicBezTo>
                      <a:pt x="29" y="296"/>
                      <a:pt x="29" y="296"/>
                      <a:pt x="30" y="297"/>
                    </a:cubicBezTo>
                    <a:cubicBezTo>
                      <a:pt x="30" y="298"/>
                      <a:pt x="31" y="298"/>
                      <a:pt x="32" y="299"/>
                    </a:cubicBezTo>
                    <a:lnTo>
                      <a:pt x="29" y="304"/>
                    </a:lnTo>
                    <a:close/>
                    <a:moveTo>
                      <a:pt x="46" y="302"/>
                    </a:moveTo>
                    <a:cubicBezTo>
                      <a:pt x="45" y="302"/>
                      <a:pt x="44" y="302"/>
                      <a:pt x="43" y="302"/>
                    </a:cubicBezTo>
                    <a:cubicBezTo>
                      <a:pt x="43" y="302"/>
                      <a:pt x="43" y="302"/>
                      <a:pt x="43" y="302"/>
                    </a:cubicBezTo>
                    <a:cubicBezTo>
                      <a:pt x="43" y="302"/>
                      <a:pt x="42" y="302"/>
                      <a:pt x="42" y="302"/>
                    </a:cubicBezTo>
                    <a:cubicBezTo>
                      <a:pt x="41" y="296"/>
                      <a:pt x="41" y="296"/>
                      <a:pt x="41" y="296"/>
                    </a:cubicBezTo>
                    <a:cubicBezTo>
                      <a:pt x="41" y="296"/>
                      <a:pt x="42" y="296"/>
                      <a:pt x="43" y="296"/>
                    </a:cubicBezTo>
                    <a:cubicBezTo>
                      <a:pt x="44" y="296"/>
                      <a:pt x="46" y="296"/>
                      <a:pt x="48" y="297"/>
                    </a:cubicBezTo>
                    <a:lnTo>
                      <a:pt x="46" y="302"/>
                    </a:lnTo>
                    <a:close/>
                    <a:moveTo>
                      <a:pt x="17" y="293"/>
                    </a:moveTo>
                    <a:cubicBezTo>
                      <a:pt x="18" y="290"/>
                      <a:pt x="18" y="290"/>
                      <a:pt x="18" y="290"/>
                    </a:cubicBezTo>
                    <a:cubicBezTo>
                      <a:pt x="17" y="293"/>
                      <a:pt x="17" y="293"/>
                      <a:pt x="17" y="293"/>
                    </a:cubicBezTo>
                    <a:cubicBezTo>
                      <a:pt x="16" y="292"/>
                      <a:pt x="14" y="292"/>
                      <a:pt x="13" y="291"/>
                    </a:cubicBezTo>
                    <a:cubicBezTo>
                      <a:pt x="12" y="291"/>
                      <a:pt x="12" y="291"/>
                      <a:pt x="11" y="290"/>
                    </a:cubicBezTo>
                    <a:cubicBezTo>
                      <a:pt x="14" y="285"/>
                      <a:pt x="14" y="285"/>
                      <a:pt x="14" y="285"/>
                    </a:cubicBezTo>
                    <a:cubicBezTo>
                      <a:pt x="15" y="285"/>
                      <a:pt x="15" y="286"/>
                      <a:pt x="15" y="286"/>
                    </a:cubicBezTo>
                    <a:cubicBezTo>
                      <a:pt x="16" y="286"/>
                      <a:pt x="18" y="287"/>
                      <a:pt x="19" y="287"/>
                    </a:cubicBezTo>
                    <a:lnTo>
                      <a:pt x="17" y="293"/>
                    </a:lnTo>
                    <a:close/>
                    <a:moveTo>
                      <a:pt x="2" y="282"/>
                    </a:moveTo>
                    <a:cubicBezTo>
                      <a:pt x="0" y="280"/>
                      <a:pt x="0" y="277"/>
                      <a:pt x="0" y="275"/>
                    </a:cubicBezTo>
                    <a:cubicBezTo>
                      <a:pt x="0" y="274"/>
                      <a:pt x="0" y="274"/>
                      <a:pt x="0" y="274"/>
                    </a:cubicBezTo>
                    <a:cubicBezTo>
                      <a:pt x="6" y="275"/>
                      <a:pt x="6" y="275"/>
                      <a:pt x="6" y="275"/>
                    </a:cubicBezTo>
                    <a:cubicBezTo>
                      <a:pt x="6" y="276"/>
                      <a:pt x="6" y="278"/>
                      <a:pt x="6" y="278"/>
                    </a:cubicBezTo>
                    <a:lnTo>
                      <a:pt x="2" y="282"/>
                    </a:lnTo>
                    <a:close/>
                    <a:moveTo>
                      <a:pt x="10" y="266"/>
                    </a:moveTo>
                    <a:cubicBezTo>
                      <a:pt x="6" y="262"/>
                      <a:pt x="6" y="262"/>
                      <a:pt x="6" y="262"/>
                    </a:cubicBezTo>
                    <a:cubicBezTo>
                      <a:pt x="6" y="262"/>
                      <a:pt x="6" y="263"/>
                      <a:pt x="6" y="263"/>
                    </a:cubicBezTo>
                    <a:cubicBezTo>
                      <a:pt x="6" y="263"/>
                      <a:pt x="6" y="264"/>
                      <a:pt x="6" y="264"/>
                    </a:cubicBezTo>
                    <a:cubicBezTo>
                      <a:pt x="6" y="263"/>
                      <a:pt x="5" y="263"/>
                      <a:pt x="5" y="262"/>
                    </a:cubicBezTo>
                    <a:cubicBezTo>
                      <a:pt x="4" y="260"/>
                      <a:pt x="4" y="260"/>
                      <a:pt x="4" y="260"/>
                    </a:cubicBezTo>
                    <a:cubicBezTo>
                      <a:pt x="10" y="258"/>
                      <a:pt x="10" y="258"/>
                      <a:pt x="10" y="258"/>
                    </a:cubicBezTo>
                    <a:cubicBezTo>
                      <a:pt x="10" y="260"/>
                      <a:pt x="10" y="260"/>
                      <a:pt x="10" y="260"/>
                    </a:cubicBezTo>
                    <a:cubicBezTo>
                      <a:pt x="11" y="261"/>
                      <a:pt x="11" y="262"/>
                      <a:pt x="11" y="263"/>
                    </a:cubicBezTo>
                    <a:cubicBezTo>
                      <a:pt x="11" y="265"/>
                      <a:pt x="10" y="266"/>
                      <a:pt x="10" y="266"/>
                    </a:cubicBezTo>
                    <a:close/>
                    <a:moveTo>
                      <a:pt x="6" y="264"/>
                    </a:moveTo>
                    <a:cubicBezTo>
                      <a:pt x="6" y="264"/>
                      <a:pt x="6" y="264"/>
                      <a:pt x="6" y="264"/>
                    </a:cubicBezTo>
                    <a:close/>
                    <a:moveTo>
                      <a:pt x="15" y="254"/>
                    </a:moveTo>
                    <a:cubicBezTo>
                      <a:pt x="12" y="249"/>
                      <a:pt x="12" y="249"/>
                      <a:pt x="12" y="249"/>
                    </a:cubicBezTo>
                    <a:cubicBezTo>
                      <a:pt x="13" y="248"/>
                      <a:pt x="13" y="248"/>
                      <a:pt x="13" y="247"/>
                    </a:cubicBezTo>
                    <a:cubicBezTo>
                      <a:pt x="14" y="247"/>
                      <a:pt x="14" y="246"/>
                      <a:pt x="14" y="245"/>
                    </a:cubicBezTo>
                    <a:cubicBezTo>
                      <a:pt x="19" y="249"/>
                      <a:pt x="19" y="249"/>
                      <a:pt x="19" y="249"/>
                    </a:cubicBezTo>
                    <a:cubicBezTo>
                      <a:pt x="19" y="249"/>
                      <a:pt x="19" y="249"/>
                      <a:pt x="19" y="250"/>
                    </a:cubicBezTo>
                    <a:cubicBezTo>
                      <a:pt x="18" y="252"/>
                      <a:pt x="17" y="253"/>
                      <a:pt x="15" y="254"/>
                    </a:cubicBezTo>
                    <a:close/>
                    <a:moveTo>
                      <a:pt x="26" y="239"/>
                    </a:moveTo>
                    <a:cubicBezTo>
                      <a:pt x="21" y="236"/>
                      <a:pt x="21" y="236"/>
                      <a:pt x="21" y="236"/>
                    </a:cubicBezTo>
                    <a:cubicBezTo>
                      <a:pt x="21" y="236"/>
                      <a:pt x="21" y="236"/>
                      <a:pt x="21" y="235"/>
                    </a:cubicBezTo>
                    <a:cubicBezTo>
                      <a:pt x="21" y="234"/>
                      <a:pt x="22" y="234"/>
                      <a:pt x="22" y="233"/>
                    </a:cubicBezTo>
                    <a:cubicBezTo>
                      <a:pt x="22" y="232"/>
                      <a:pt x="22" y="231"/>
                      <a:pt x="22" y="231"/>
                    </a:cubicBezTo>
                    <a:cubicBezTo>
                      <a:pt x="28" y="233"/>
                      <a:pt x="28" y="233"/>
                      <a:pt x="28" y="233"/>
                    </a:cubicBezTo>
                    <a:cubicBezTo>
                      <a:pt x="28" y="233"/>
                      <a:pt x="28" y="234"/>
                      <a:pt x="27" y="234"/>
                    </a:cubicBezTo>
                    <a:cubicBezTo>
                      <a:pt x="27" y="235"/>
                      <a:pt x="27" y="236"/>
                      <a:pt x="27" y="237"/>
                    </a:cubicBezTo>
                    <a:cubicBezTo>
                      <a:pt x="26" y="238"/>
                      <a:pt x="26" y="238"/>
                      <a:pt x="26" y="239"/>
                    </a:cubicBezTo>
                    <a:close/>
                    <a:moveTo>
                      <a:pt x="33" y="222"/>
                    </a:moveTo>
                    <a:cubicBezTo>
                      <a:pt x="27" y="221"/>
                      <a:pt x="27" y="221"/>
                      <a:pt x="27" y="221"/>
                    </a:cubicBezTo>
                    <a:cubicBezTo>
                      <a:pt x="27" y="220"/>
                      <a:pt x="27" y="219"/>
                      <a:pt x="28" y="217"/>
                    </a:cubicBezTo>
                    <a:cubicBezTo>
                      <a:pt x="28" y="217"/>
                      <a:pt x="29" y="216"/>
                      <a:pt x="29" y="216"/>
                    </a:cubicBezTo>
                    <a:cubicBezTo>
                      <a:pt x="34" y="217"/>
                      <a:pt x="34" y="217"/>
                      <a:pt x="34" y="217"/>
                    </a:cubicBezTo>
                    <a:cubicBezTo>
                      <a:pt x="34" y="218"/>
                      <a:pt x="34" y="219"/>
                      <a:pt x="33" y="220"/>
                    </a:cubicBezTo>
                    <a:cubicBezTo>
                      <a:pt x="33" y="221"/>
                      <a:pt x="33" y="222"/>
                      <a:pt x="33" y="222"/>
                    </a:cubicBezTo>
                    <a:close/>
                    <a:moveTo>
                      <a:pt x="453" y="221"/>
                    </a:moveTo>
                    <a:cubicBezTo>
                      <a:pt x="452" y="220"/>
                      <a:pt x="450" y="219"/>
                      <a:pt x="449" y="217"/>
                    </a:cubicBezTo>
                    <a:cubicBezTo>
                      <a:pt x="452" y="213"/>
                      <a:pt x="452" y="213"/>
                      <a:pt x="452" y="213"/>
                    </a:cubicBezTo>
                    <a:cubicBezTo>
                      <a:pt x="454" y="214"/>
                      <a:pt x="455" y="215"/>
                      <a:pt x="457" y="216"/>
                    </a:cubicBezTo>
                    <a:lnTo>
                      <a:pt x="453" y="221"/>
                    </a:lnTo>
                    <a:close/>
                    <a:moveTo>
                      <a:pt x="452" y="209"/>
                    </a:moveTo>
                    <a:cubicBezTo>
                      <a:pt x="447" y="207"/>
                      <a:pt x="447" y="207"/>
                      <a:pt x="447" y="207"/>
                    </a:cubicBezTo>
                    <a:cubicBezTo>
                      <a:pt x="447" y="207"/>
                      <a:pt x="447" y="206"/>
                      <a:pt x="447" y="205"/>
                    </a:cubicBezTo>
                    <a:cubicBezTo>
                      <a:pt x="447" y="205"/>
                      <a:pt x="447" y="204"/>
                      <a:pt x="447" y="204"/>
                    </a:cubicBezTo>
                    <a:cubicBezTo>
                      <a:pt x="447" y="202"/>
                      <a:pt x="447" y="202"/>
                      <a:pt x="447" y="202"/>
                    </a:cubicBezTo>
                    <a:cubicBezTo>
                      <a:pt x="453" y="202"/>
                      <a:pt x="453" y="202"/>
                      <a:pt x="453" y="202"/>
                    </a:cubicBezTo>
                    <a:cubicBezTo>
                      <a:pt x="453" y="203"/>
                      <a:pt x="453" y="203"/>
                      <a:pt x="453" y="203"/>
                    </a:cubicBezTo>
                    <a:cubicBezTo>
                      <a:pt x="453" y="204"/>
                      <a:pt x="453" y="205"/>
                      <a:pt x="453" y="205"/>
                    </a:cubicBezTo>
                    <a:cubicBezTo>
                      <a:pt x="453" y="207"/>
                      <a:pt x="453" y="208"/>
                      <a:pt x="452" y="209"/>
                    </a:cubicBezTo>
                    <a:close/>
                    <a:moveTo>
                      <a:pt x="29" y="204"/>
                    </a:moveTo>
                    <a:cubicBezTo>
                      <a:pt x="29" y="204"/>
                      <a:pt x="29" y="204"/>
                      <a:pt x="29" y="204"/>
                    </a:cubicBezTo>
                    <a:cubicBezTo>
                      <a:pt x="29" y="203"/>
                      <a:pt x="28" y="202"/>
                      <a:pt x="27" y="201"/>
                    </a:cubicBezTo>
                    <a:cubicBezTo>
                      <a:pt x="32" y="197"/>
                      <a:pt x="32" y="197"/>
                      <a:pt x="32" y="197"/>
                    </a:cubicBezTo>
                    <a:cubicBezTo>
                      <a:pt x="34" y="199"/>
                      <a:pt x="34" y="202"/>
                      <a:pt x="34" y="204"/>
                    </a:cubicBezTo>
                    <a:lnTo>
                      <a:pt x="29" y="204"/>
                    </a:lnTo>
                    <a:close/>
                    <a:moveTo>
                      <a:pt x="75" y="194"/>
                    </a:moveTo>
                    <a:cubicBezTo>
                      <a:pt x="74" y="194"/>
                      <a:pt x="73" y="193"/>
                      <a:pt x="73" y="193"/>
                    </a:cubicBezTo>
                    <a:cubicBezTo>
                      <a:pt x="74" y="188"/>
                      <a:pt x="74" y="188"/>
                      <a:pt x="74" y="188"/>
                    </a:cubicBezTo>
                    <a:cubicBezTo>
                      <a:pt x="74" y="188"/>
                      <a:pt x="74" y="188"/>
                      <a:pt x="74" y="188"/>
                    </a:cubicBezTo>
                    <a:cubicBezTo>
                      <a:pt x="74" y="188"/>
                      <a:pt x="74" y="188"/>
                      <a:pt x="74" y="188"/>
                    </a:cubicBezTo>
                    <a:cubicBezTo>
                      <a:pt x="74" y="188"/>
                      <a:pt x="74" y="187"/>
                      <a:pt x="74" y="187"/>
                    </a:cubicBezTo>
                    <a:cubicBezTo>
                      <a:pt x="80" y="188"/>
                      <a:pt x="80" y="188"/>
                      <a:pt x="80" y="188"/>
                    </a:cubicBezTo>
                    <a:cubicBezTo>
                      <a:pt x="80" y="193"/>
                      <a:pt x="77" y="194"/>
                      <a:pt x="75" y="194"/>
                    </a:cubicBezTo>
                    <a:close/>
                    <a:moveTo>
                      <a:pt x="450" y="193"/>
                    </a:moveTo>
                    <a:cubicBezTo>
                      <a:pt x="450" y="192"/>
                      <a:pt x="450" y="192"/>
                      <a:pt x="450" y="192"/>
                    </a:cubicBezTo>
                    <a:cubicBezTo>
                      <a:pt x="449" y="191"/>
                      <a:pt x="448" y="189"/>
                      <a:pt x="448" y="187"/>
                    </a:cubicBezTo>
                    <a:cubicBezTo>
                      <a:pt x="448" y="188"/>
                      <a:pt x="448" y="188"/>
                      <a:pt x="448" y="188"/>
                    </a:cubicBezTo>
                    <a:cubicBezTo>
                      <a:pt x="452" y="184"/>
                      <a:pt x="452" y="184"/>
                      <a:pt x="452" y="184"/>
                    </a:cubicBezTo>
                    <a:cubicBezTo>
                      <a:pt x="453" y="185"/>
                      <a:pt x="454" y="186"/>
                      <a:pt x="454" y="187"/>
                    </a:cubicBezTo>
                    <a:cubicBezTo>
                      <a:pt x="454" y="188"/>
                      <a:pt x="454" y="189"/>
                      <a:pt x="455" y="189"/>
                    </a:cubicBezTo>
                    <a:cubicBezTo>
                      <a:pt x="455" y="190"/>
                      <a:pt x="455" y="190"/>
                      <a:pt x="455" y="190"/>
                    </a:cubicBezTo>
                    <a:lnTo>
                      <a:pt x="450" y="193"/>
                    </a:lnTo>
                    <a:close/>
                    <a:moveTo>
                      <a:pt x="27" y="190"/>
                    </a:moveTo>
                    <a:cubicBezTo>
                      <a:pt x="21" y="190"/>
                      <a:pt x="21" y="190"/>
                      <a:pt x="21" y="190"/>
                    </a:cubicBezTo>
                    <a:cubicBezTo>
                      <a:pt x="21" y="189"/>
                      <a:pt x="21" y="189"/>
                      <a:pt x="21" y="189"/>
                    </a:cubicBezTo>
                    <a:cubicBezTo>
                      <a:pt x="21" y="188"/>
                      <a:pt x="21" y="186"/>
                      <a:pt x="22" y="184"/>
                    </a:cubicBezTo>
                    <a:cubicBezTo>
                      <a:pt x="27" y="184"/>
                      <a:pt x="27" y="184"/>
                      <a:pt x="27" y="184"/>
                    </a:cubicBezTo>
                    <a:cubicBezTo>
                      <a:pt x="27" y="186"/>
                      <a:pt x="27" y="188"/>
                      <a:pt x="27" y="189"/>
                    </a:cubicBezTo>
                    <a:lnTo>
                      <a:pt x="27" y="190"/>
                    </a:lnTo>
                    <a:close/>
                    <a:moveTo>
                      <a:pt x="437" y="187"/>
                    </a:moveTo>
                    <a:cubicBezTo>
                      <a:pt x="436" y="186"/>
                      <a:pt x="435" y="183"/>
                      <a:pt x="434" y="180"/>
                    </a:cubicBezTo>
                    <a:cubicBezTo>
                      <a:pt x="440" y="179"/>
                      <a:pt x="440" y="179"/>
                      <a:pt x="440" y="179"/>
                    </a:cubicBezTo>
                    <a:cubicBezTo>
                      <a:pt x="441" y="182"/>
                      <a:pt x="441" y="183"/>
                      <a:pt x="441" y="183"/>
                    </a:cubicBezTo>
                    <a:lnTo>
                      <a:pt x="437" y="187"/>
                    </a:lnTo>
                    <a:close/>
                    <a:moveTo>
                      <a:pt x="65" y="182"/>
                    </a:moveTo>
                    <a:cubicBezTo>
                      <a:pt x="65" y="181"/>
                      <a:pt x="65" y="179"/>
                      <a:pt x="64" y="178"/>
                    </a:cubicBezTo>
                    <a:cubicBezTo>
                      <a:pt x="70" y="175"/>
                      <a:pt x="70" y="175"/>
                      <a:pt x="70" y="175"/>
                    </a:cubicBezTo>
                    <a:cubicBezTo>
                      <a:pt x="71" y="178"/>
                      <a:pt x="71" y="180"/>
                      <a:pt x="71" y="182"/>
                    </a:cubicBezTo>
                    <a:lnTo>
                      <a:pt x="65" y="182"/>
                    </a:lnTo>
                    <a:close/>
                    <a:moveTo>
                      <a:pt x="84" y="178"/>
                    </a:moveTo>
                    <a:cubicBezTo>
                      <a:pt x="78" y="176"/>
                      <a:pt x="78" y="176"/>
                      <a:pt x="78" y="176"/>
                    </a:cubicBezTo>
                    <a:cubicBezTo>
                      <a:pt x="79" y="174"/>
                      <a:pt x="80" y="173"/>
                      <a:pt x="80" y="171"/>
                    </a:cubicBezTo>
                    <a:cubicBezTo>
                      <a:pt x="81" y="170"/>
                      <a:pt x="81" y="170"/>
                      <a:pt x="81" y="170"/>
                    </a:cubicBezTo>
                    <a:cubicBezTo>
                      <a:pt x="86" y="173"/>
                      <a:pt x="86" y="173"/>
                      <a:pt x="86" y="173"/>
                    </a:cubicBezTo>
                    <a:cubicBezTo>
                      <a:pt x="86" y="174"/>
                      <a:pt x="86" y="174"/>
                      <a:pt x="86" y="174"/>
                    </a:cubicBezTo>
                    <a:cubicBezTo>
                      <a:pt x="85" y="175"/>
                      <a:pt x="85" y="176"/>
                      <a:pt x="84" y="178"/>
                    </a:cubicBezTo>
                    <a:close/>
                    <a:moveTo>
                      <a:pt x="28" y="173"/>
                    </a:moveTo>
                    <a:cubicBezTo>
                      <a:pt x="22" y="172"/>
                      <a:pt x="22" y="172"/>
                      <a:pt x="22" y="172"/>
                    </a:cubicBezTo>
                    <a:cubicBezTo>
                      <a:pt x="22" y="171"/>
                      <a:pt x="22" y="170"/>
                      <a:pt x="22" y="169"/>
                    </a:cubicBezTo>
                    <a:cubicBezTo>
                      <a:pt x="22" y="168"/>
                      <a:pt x="23" y="167"/>
                      <a:pt x="23" y="167"/>
                    </a:cubicBezTo>
                    <a:cubicBezTo>
                      <a:pt x="23" y="166"/>
                      <a:pt x="23" y="166"/>
                      <a:pt x="23" y="166"/>
                    </a:cubicBezTo>
                    <a:cubicBezTo>
                      <a:pt x="29" y="167"/>
                      <a:pt x="29" y="167"/>
                      <a:pt x="29" y="167"/>
                    </a:cubicBezTo>
                    <a:cubicBezTo>
                      <a:pt x="28" y="168"/>
                      <a:pt x="28" y="168"/>
                      <a:pt x="28" y="168"/>
                    </a:cubicBezTo>
                    <a:cubicBezTo>
                      <a:pt x="28" y="169"/>
                      <a:pt x="28" y="169"/>
                      <a:pt x="28" y="170"/>
                    </a:cubicBezTo>
                    <a:cubicBezTo>
                      <a:pt x="28" y="171"/>
                      <a:pt x="28" y="172"/>
                      <a:pt x="28" y="173"/>
                    </a:cubicBezTo>
                    <a:close/>
                    <a:moveTo>
                      <a:pt x="431" y="170"/>
                    </a:moveTo>
                    <a:cubicBezTo>
                      <a:pt x="430" y="169"/>
                      <a:pt x="430" y="168"/>
                      <a:pt x="429" y="166"/>
                    </a:cubicBezTo>
                    <a:cubicBezTo>
                      <a:pt x="429" y="166"/>
                      <a:pt x="429" y="165"/>
                      <a:pt x="428" y="165"/>
                    </a:cubicBezTo>
                    <a:cubicBezTo>
                      <a:pt x="434" y="162"/>
                      <a:pt x="434" y="162"/>
                      <a:pt x="434" y="162"/>
                    </a:cubicBezTo>
                    <a:cubicBezTo>
                      <a:pt x="434" y="163"/>
                      <a:pt x="434" y="163"/>
                      <a:pt x="435" y="164"/>
                    </a:cubicBezTo>
                    <a:cubicBezTo>
                      <a:pt x="435" y="165"/>
                      <a:pt x="436" y="166"/>
                      <a:pt x="436" y="167"/>
                    </a:cubicBezTo>
                    <a:lnTo>
                      <a:pt x="431" y="170"/>
                    </a:lnTo>
                    <a:close/>
                    <a:moveTo>
                      <a:pt x="59" y="167"/>
                    </a:moveTo>
                    <a:cubicBezTo>
                      <a:pt x="58" y="166"/>
                      <a:pt x="57" y="164"/>
                      <a:pt x="56" y="162"/>
                    </a:cubicBezTo>
                    <a:cubicBezTo>
                      <a:pt x="62" y="160"/>
                      <a:pt x="62" y="160"/>
                      <a:pt x="62" y="160"/>
                    </a:cubicBezTo>
                    <a:cubicBezTo>
                      <a:pt x="62" y="161"/>
                      <a:pt x="63" y="163"/>
                      <a:pt x="64" y="165"/>
                    </a:cubicBezTo>
                    <a:lnTo>
                      <a:pt x="59" y="167"/>
                    </a:lnTo>
                    <a:close/>
                    <a:moveTo>
                      <a:pt x="93" y="167"/>
                    </a:moveTo>
                    <a:cubicBezTo>
                      <a:pt x="91" y="162"/>
                      <a:pt x="91" y="162"/>
                      <a:pt x="91" y="162"/>
                    </a:cubicBezTo>
                    <a:cubicBezTo>
                      <a:pt x="92" y="161"/>
                      <a:pt x="93" y="161"/>
                      <a:pt x="94" y="160"/>
                    </a:cubicBezTo>
                    <a:cubicBezTo>
                      <a:pt x="99" y="162"/>
                      <a:pt x="99" y="162"/>
                      <a:pt x="99" y="162"/>
                    </a:cubicBezTo>
                    <a:cubicBezTo>
                      <a:pt x="98" y="164"/>
                      <a:pt x="96" y="166"/>
                      <a:pt x="93" y="167"/>
                    </a:cubicBezTo>
                    <a:close/>
                    <a:moveTo>
                      <a:pt x="21" y="158"/>
                    </a:moveTo>
                    <a:cubicBezTo>
                      <a:pt x="20" y="157"/>
                      <a:pt x="20" y="157"/>
                      <a:pt x="19" y="156"/>
                    </a:cubicBezTo>
                    <a:cubicBezTo>
                      <a:pt x="18" y="155"/>
                      <a:pt x="17" y="154"/>
                      <a:pt x="17" y="153"/>
                    </a:cubicBezTo>
                    <a:cubicBezTo>
                      <a:pt x="22" y="150"/>
                      <a:pt x="22" y="150"/>
                      <a:pt x="22" y="150"/>
                    </a:cubicBezTo>
                    <a:cubicBezTo>
                      <a:pt x="22" y="151"/>
                      <a:pt x="23" y="151"/>
                      <a:pt x="24" y="152"/>
                    </a:cubicBezTo>
                    <a:cubicBezTo>
                      <a:pt x="24" y="153"/>
                      <a:pt x="25" y="153"/>
                      <a:pt x="25" y="154"/>
                    </a:cubicBezTo>
                    <a:lnTo>
                      <a:pt x="21" y="158"/>
                    </a:lnTo>
                    <a:close/>
                    <a:moveTo>
                      <a:pt x="423" y="153"/>
                    </a:moveTo>
                    <a:cubicBezTo>
                      <a:pt x="423" y="152"/>
                      <a:pt x="423" y="152"/>
                      <a:pt x="423" y="152"/>
                    </a:cubicBezTo>
                    <a:cubicBezTo>
                      <a:pt x="422" y="146"/>
                      <a:pt x="422" y="146"/>
                      <a:pt x="422" y="146"/>
                    </a:cubicBezTo>
                    <a:cubicBezTo>
                      <a:pt x="423" y="146"/>
                      <a:pt x="423" y="146"/>
                      <a:pt x="423" y="146"/>
                    </a:cubicBezTo>
                    <a:cubicBezTo>
                      <a:pt x="424" y="146"/>
                      <a:pt x="429" y="147"/>
                      <a:pt x="429" y="153"/>
                    </a:cubicBezTo>
                    <a:lnTo>
                      <a:pt x="423" y="153"/>
                    </a:lnTo>
                    <a:close/>
                    <a:moveTo>
                      <a:pt x="100" y="153"/>
                    </a:moveTo>
                    <a:cubicBezTo>
                      <a:pt x="97" y="148"/>
                      <a:pt x="97" y="148"/>
                      <a:pt x="97" y="148"/>
                    </a:cubicBezTo>
                    <a:cubicBezTo>
                      <a:pt x="97" y="148"/>
                      <a:pt x="98" y="147"/>
                      <a:pt x="98" y="147"/>
                    </a:cubicBezTo>
                    <a:cubicBezTo>
                      <a:pt x="99" y="146"/>
                      <a:pt x="101" y="146"/>
                      <a:pt x="102" y="145"/>
                    </a:cubicBezTo>
                    <a:cubicBezTo>
                      <a:pt x="105" y="150"/>
                      <a:pt x="105" y="150"/>
                      <a:pt x="105" y="150"/>
                    </a:cubicBezTo>
                    <a:cubicBezTo>
                      <a:pt x="103" y="151"/>
                      <a:pt x="102" y="151"/>
                      <a:pt x="101" y="152"/>
                    </a:cubicBezTo>
                    <a:cubicBezTo>
                      <a:pt x="101" y="152"/>
                      <a:pt x="101" y="152"/>
                      <a:pt x="100" y="153"/>
                    </a:cubicBezTo>
                    <a:close/>
                    <a:moveTo>
                      <a:pt x="52" y="151"/>
                    </a:moveTo>
                    <a:cubicBezTo>
                      <a:pt x="52" y="150"/>
                      <a:pt x="51" y="149"/>
                      <a:pt x="50" y="149"/>
                    </a:cubicBezTo>
                    <a:cubicBezTo>
                      <a:pt x="51" y="144"/>
                      <a:pt x="51" y="144"/>
                      <a:pt x="51" y="144"/>
                    </a:cubicBezTo>
                    <a:cubicBezTo>
                      <a:pt x="54" y="144"/>
                      <a:pt x="56" y="146"/>
                      <a:pt x="57" y="149"/>
                    </a:cubicBezTo>
                    <a:lnTo>
                      <a:pt x="52" y="151"/>
                    </a:lnTo>
                    <a:close/>
                    <a:moveTo>
                      <a:pt x="37" y="147"/>
                    </a:moveTo>
                    <a:cubicBezTo>
                      <a:pt x="36" y="145"/>
                      <a:pt x="34" y="143"/>
                      <a:pt x="33" y="141"/>
                    </a:cubicBezTo>
                    <a:cubicBezTo>
                      <a:pt x="39" y="139"/>
                      <a:pt x="39" y="139"/>
                      <a:pt x="39" y="139"/>
                    </a:cubicBezTo>
                    <a:cubicBezTo>
                      <a:pt x="39" y="140"/>
                      <a:pt x="40" y="142"/>
                      <a:pt x="41" y="143"/>
                    </a:cubicBezTo>
                    <a:lnTo>
                      <a:pt x="37" y="147"/>
                    </a:lnTo>
                    <a:close/>
                    <a:moveTo>
                      <a:pt x="412" y="146"/>
                    </a:moveTo>
                    <a:cubicBezTo>
                      <a:pt x="411" y="145"/>
                      <a:pt x="410" y="142"/>
                      <a:pt x="409" y="139"/>
                    </a:cubicBezTo>
                    <a:cubicBezTo>
                      <a:pt x="415" y="139"/>
                      <a:pt x="415" y="139"/>
                      <a:pt x="415" y="139"/>
                    </a:cubicBezTo>
                    <a:cubicBezTo>
                      <a:pt x="415" y="140"/>
                      <a:pt x="416" y="142"/>
                      <a:pt x="417" y="143"/>
                    </a:cubicBezTo>
                    <a:lnTo>
                      <a:pt x="412" y="146"/>
                    </a:lnTo>
                    <a:close/>
                    <a:moveTo>
                      <a:pt x="116" y="145"/>
                    </a:moveTo>
                    <a:cubicBezTo>
                      <a:pt x="113" y="139"/>
                      <a:pt x="113" y="139"/>
                      <a:pt x="113" y="139"/>
                    </a:cubicBezTo>
                    <a:cubicBezTo>
                      <a:pt x="115" y="138"/>
                      <a:pt x="116" y="137"/>
                      <a:pt x="117" y="137"/>
                    </a:cubicBezTo>
                    <a:cubicBezTo>
                      <a:pt x="121" y="141"/>
                      <a:pt x="121" y="141"/>
                      <a:pt x="121" y="141"/>
                    </a:cubicBezTo>
                    <a:cubicBezTo>
                      <a:pt x="120" y="142"/>
                      <a:pt x="118" y="143"/>
                      <a:pt x="116" y="145"/>
                    </a:cubicBezTo>
                    <a:close/>
                    <a:moveTo>
                      <a:pt x="26" y="144"/>
                    </a:moveTo>
                    <a:cubicBezTo>
                      <a:pt x="22" y="140"/>
                      <a:pt x="22" y="140"/>
                      <a:pt x="22" y="140"/>
                    </a:cubicBezTo>
                    <a:cubicBezTo>
                      <a:pt x="24" y="138"/>
                      <a:pt x="25" y="136"/>
                      <a:pt x="26" y="135"/>
                    </a:cubicBezTo>
                    <a:cubicBezTo>
                      <a:pt x="30" y="140"/>
                      <a:pt x="30" y="140"/>
                      <a:pt x="30" y="140"/>
                    </a:cubicBezTo>
                    <a:cubicBezTo>
                      <a:pt x="29" y="141"/>
                      <a:pt x="28" y="142"/>
                      <a:pt x="26" y="144"/>
                    </a:cubicBezTo>
                    <a:close/>
                    <a:moveTo>
                      <a:pt x="130" y="139"/>
                    </a:moveTo>
                    <a:cubicBezTo>
                      <a:pt x="130" y="139"/>
                      <a:pt x="130" y="139"/>
                      <a:pt x="129" y="139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31" y="133"/>
                      <a:pt x="132" y="133"/>
                      <a:pt x="133" y="132"/>
                    </a:cubicBezTo>
                    <a:cubicBezTo>
                      <a:pt x="137" y="136"/>
                      <a:pt x="137" y="136"/>
                      <a:pt x="137" y="136"/>
                    </a:cubicBezTo>
                    <a:cubicBezTo>
                      <a:pt x="135" y="138"/>
                      <a:pt x="133" y="139"/>
                      <a:pt x="130" y="139"/>
                    </a:cubicBezTo>
                    <a:close/>
                    <a:moveTo>
                      <a:pt x="408" y="128"/>
                    </a:moveTo>
                    <a:cubicBezTo>
                      <a:pt x="408" y="128"/>
                      <a:pt x="408" y="127"/>
                      <a:pt x="408" y="127"/>
                    </a:cubicBezTo>
                    <a:cubicBezTo>
                      <a:pt x="408" y="125"/>
                      <a:pt x="409" y="123"/>
                      <a:pt x="409" y="121"/>
                    </a:cubicBezTo>
                    <a:cubicBezTo>
                      <a:pt x="415" y="123"/>
                      <a:pt x="415" y="123"/>
                      <a:pt x="415" y="123"/>
                    </a:cubicBezTo>
                    <a:cubicBezTo>
                      <a:pt x="414" y="125"/>
                      <a:pt x="414" y="126"/>
                      <a:pt x="414" y="127"/>
                    </a:cubicBezTo>
                    <a:cubicBezTo>
                      <a:pt x="414" y="127"/>
                      <a:pt x="414" y="127"/>
                      <a:pt x="414" y="127"/>
                    </a:cubicBezTo>
                    <a:lnTo>
                      <a:pt x="408" y="128"/>
                    </a:lnTo>
                    <a:close/>
                    <a:moveTo>
                      <a:pt x="144" y="127"/>
                    </a:moveTo>
                    <a:cubicBezTo>
                      <a:pt x="140" y="123"/>
                      <a:pt x="140" y="123"/>
                      <a:pt x="140" y="123"/>
                    </a:cubicBezTo>
                    <a:cubicBezTo>
                      <a:pt x="142" y="121"/>
                      <a:pt x="142" y="121"/>
                      <a:pt x="142" y="121"/>
                    </a:cubicBezTo>
                    <a:cubicBezTo>
                      <a:pt x="143" y="120"/>
                      <a:pt x="143" y="119"/>
                      <a:pt x="144" y="118"/>
                    </a:cubicBezTo>
                    <a:cubicBezTo>
                      <a:pt x="148" y="122"/>
                      <a:pt x="148" y="122"/>
                      <a:pt x="148" y="122"/>
                    </a:cubicBezTo>
                    <a:cubicBezTo>
                      <a:pt x="148" y="123"/>
                      <a:pt x="147" y="124"/>
                      <a:pt x="146" y="125"/>
                    </a:cubicBezTo>
                    <a:lnTo>
                      <a:pt x="144" y="127"/>
                    </a:lnTo>
                    <a:close/>
                    <a:moveTo>
                      <a:pt x="172" y="119"/>
                    </a:moveTo>
                    <a:cubicBezTo>
                      <a:pt x="169" y="119"/>
                      <a:pt x="167" y="117"/>
                      <a:pt x="166" y="114"/>
                    </a:cubicBezTo>
                    <a:cubicBezTo>
                      <a:pt x="171" y="112"/>
                      <a:pt x="171" y="112"/>
                      <a:pt x="171" y="112"/>
                    </a:cubicBezTo>
                    <a:cubicBezTo>
                      <a:pt x="172" y="113"/>
                      <a:pt x="172" y="113"/>
                      <a:pt x="172" y="113"/>
                    </a:cubicBezTo>
                    <a:cubicBezTo>
                      <a:pt x="172" y="113"/>
                      <a:pt x="172" y="113"/>
                      <a:pt x="172" y="113"/>
                    </a:cubicBezTo>
                    <a:cubicBezTo>
                      <a:pt x="174" y="118"/>
                      <a:pt x="174" y="118"/>
                      <a:pt x="174" y="118"/>
                    </a:cubicBezTo>
                    <a:cubicBezTo>
                      <a:pt x="174" y="119"/>
                      <a:pt x="173" y="119"/>
                      <a:pt x="173" y="119"/>
                    </a:cubicBezTo>
                    <a:cubicBezTo>
                      <a:pt x="172" y="119"/>
                      <a:pt x="172" y="119"/>
                      <a:pt x="172" y="119"/>
                    </a:cubicBezTo>
                    <a:close/>
                    <a:moveTo>
                      <a:pt x="154" y="115"/>
                    </a:moveTo>
                    <a:cubicBezTo>
                      <a:pt x="154" y="109"/>
                      <a:pt x="154" y="109"/>
                      <a:pt x="154" y="109"/>
                    </a:cubicBezTo>
                    <a:cubicBezTo>
                      <a:pt x="155" y="109"/>
                      <a:pt x="155" y="109"/>
                      <a:pt x="155" y="109"/>
                    </a:cubicBezTo>
                    <a:cubicBezTo>
                      <a:pt x="155" y="109"/>
                      <a:pt x="157" y="109"/>
                      <a:pt x="159" y="108"/>
                    </a:cubicBezTo>
                    <a:cubicBezTo>
                      <a:pt x="160" y="114"/>
                      <a:pt x="160" y="114"/>
                      <a:pt x="160" y="114"/>
                    </a:cubicBezTo>
                    <a:cubicBezTo>
                      <a:pt x="158" y="115"/>
                      <a:pt x="156" y="115"/>
                      <a:pt x="155" y="115"/>
                    </a:cubicBezTo>
                    <a:lnTo>
                      <a:pt x="154" y="115"/>
                    </a:lnTo>
                    <a:close/>
                    <a:moveTo>
                      <a:pt x="420" y="113"/>
                    </a:moveTo>
                    <a:cubicBezTo>
                      <a:pt x="415" y="110"/>
                      <a:pt x="415" y="110"/>
                      <a:pt x="415" y="110"/>
                    </a:cubicBezTo>
                    <a:cubicBezTo>
                      <a:pt x="416" y="110"/>
                      <a:pt x="416" y="109"/>
                      <a:pt x="416" y="109"/>
                    </a:cubicBezTo>
                    <a:cubicBezTo>
                      <a:pt x="416" y="108"/>
                      <a:pt x="416" y="108"/>
                      <a:pt x="416" y="108"/>
                    </a:cubicBezTo>
                    <a:cubicBezTo>
                      <a:pt x="416" y="108"/>
                      <a:pt x="417" y="109"/>
                      <a:pt x="417" y="109"/>
                    </a:cubicBezTo>
                    <a:cubicBezTo>
                      <a:pt x="420" y="104"/>
                      <a:pt x="420" y="104"/>
                      <a:pt x="420" y="104"/>
                    </a:cubicBezTo>
                    <a:cubicBezTo>
                      <a:pt x="422" y="105"/>
                      <a:pt x="422" y="106"/>
                      <a:pt x="422" y="108"/>
                    </a:cubicBezTo>
                    <a:cubicBezTo>
                      <a:pt x="422" y="109"/>
                      <a:pt x="422" y="110"/>
                      <a:pt x="422" y="111"/>
                    </a:cubicBezTo>
                    <a:cubicBezTo>
                      <a:pt x="421" y="112"/>
                      <a:pt x="421" y="112"/>
                      <a:pt x="420" y="113"/>
                    </a:cubicBezTo>
                    <a:close/>
                    <a:moveTo>
                      <a:pt x="406" y="111"/>
                    </a:moveTo>
                    <a:cubicBezTo>
                      <a:pt x="405" y="110"/>
                      <a:pt x="405" y="107"/>
                      <a:pt x="404" y="104"/>
                    </a:cubicBezTo>
                    <a:cubicBezTo>
                      <a:pt x="410" y="103"/>
                      <a:pt x="410" y="103"/>
                      <a:pt x="410" y="103"/>
                    </a:cubicBezTo>
                    <a:cubicBezTo>
                      <a:pt x="411" y="107"/>
                      <a:pt x="411" y="108"/>
                      <a:pt x="411" y="108"/>
                    </a:cubicBezTo>
                    <a:lnTo>
                      <a:pt x="406" y="111"/>
                    </a:lnTo>
                    <a:close/>
                    <a:moveTo>
                      <a:pt x="182" y="108"/>
                    </a:moveTo>
                    <a:cubicBezTo>
                      <a:pt x="177" y="105"/>
                      <a:pt x="177" y="105"/>
                      <a:pt x="177" y="105"/>
                    </a:cubicBezTo>
                    <a:cubicBezTo>
                      <a:pt x="178" y="103"/>
                      <a:pt x="178" y="103"/>
                      <a:pt x="178" y="103"/>
                    </a:cubicBezTo>
                    <a:cubicBezTo>
                      <a:pt x="178" y="102"/>
                      <a:pt x="179" y="101"/>
                      <a:pt x="180" y="100"/>
                    </a:cubicBezTo>
                    <a:cubicBezTo>
                      <a:pt x="185" y="102"/>
                      <a:pt x="185" y="102"/>
                      <a:pt x="185" y="102"/>
                    </a:cubicBezTo>
                    <a:cubicBezTo>
                      <a:pt x="184" y="104"/>
                      <a:pt x="184" y="105"/>
                      <a:pt x="183" y="106"/>
                    </a:cubicBezTo>
                    <a:lnTo>
                      <a:pt x="182" y="108"/>
                    </a:lnTo>
                    <a:close/>
                    <a:moveTo>
                      <a:pt x="402" y="97"/>
                    </a:moveTo>
                    <a:cubicBezTo>
                      <a:pt x="401" y="97"/>
                      <a:pt x="401" y="97"/>
                      <a:pt x="400" y="97"/>
                    </a:cubicBezTo>
                    <a:cubicBezTo>
                      <a:pt x="398" y="97"/>
                      <a:pt x="398" y="97"/>
                      <a:pt x="398" y="97"/>
                    </a:cubicBezTo>
                    <a:cubicBezTo>
                      <a:pt x="397" y="97"/>
                      <a:pt x="396" y="96"/>
                      <a:pt x="395" y="95"/>
                    </a:cubicBezTo>
                    <a:cubicBezTo>
                      <a:pt x="399" y="91"/>
                      <a:pt x="399" y="91"/>
                      <a:pt x="399" y="91"/>
                    </a:cubicBezTo>
                    <a:cubicBezTo>
                      <a:pt x="398" y="91"/>
                      <a:pt x="398" y="91"/>
                      <a:pt x="398" y="91"/>
                    </a:cubicBezTo>
                    <a:cubicBezTo>
                      <a:pt x="400" y="91"/>
                      <a:pt x="400" y="91"/>
                      <a:pt x="400" y="91"/>
                    </a:cubicBezTo>
                    <a:cubicBezTo>
                      <a:pt x="401" y="91"/>
                      <a:pt x="402" y="91"/>
                      <a:pt x="403" y="91"/>
                    </a:cubicBezTo>
                    <a:lnTo>
                      <a:pt x="402" y="97"/>
                    </a:lnTo>
                    <a:close/>
                    <a:moveTo>
                      <a:pt x="191" y="92"/>
                    </a:moveTo>
                    <a:cubicBezTo>
                      <a:pt x="190" y="92"/>
                      <a:pt x="189" y="92"/>
                      <a:pt x="188" y="92"/>
                    </a:cubicBezTo>
                    <a:cubicBezTo>
                      <a:pt x="188" y="92"/>
                      <a:pt x="189" y="91"/>
                      <a:pt x="189" y="91"/>
                    </a:cubicBezTo>
                    <a:cubicBezTo>
                      <a:pt x="183" y="89"/>
                      <a:pt x="183" y="89"/>
                      <a:pt x="183" y="89"/>
                    </a:cubicBezTo>
                    <a:cubicBezTo>
                      <a:pt x="185" y="86"/>
                      <a:pt x="187" y="86"/>
                      <a:pt x="188" y="86"/>
                    </a:cubicBezTo>
                    <a:cubicBezTo>
                      <a:pt x="189" y="86"/>
                      <a:pt x="190" y="86"/>
                      <a:pt x="191" y="86"/>
                    </a:cubicBezTo>
                    <a:lnTo>
                      <a:pt x="191" y="92"/>
                    </a:lnTo>
                    <a:close/>
                    <a:moveTo>
                      <a:pt x="207" y="91"/>
                    </a:moveTo>
                    <a:cubicBezTo>
                      <a:pt x="206" y="91"/>
                      <a:pt x="206" y="91"/>
                      <a:pt x="206" y="91"/>
                    </a:cubicBezTo>
                    <a:cubicBezTo>
                      <a:pt x="206" y="91"/>
                      <a:pt x="204" y="90"/>
                      <a:pt x="204" y="90"/>
                    </a:cubicBezTo>
                    <a:cubicBezTo>
                      <a:pt x="201" y="85"/>
                      <a:pt x="201" y="85"/>
                      <a:pt x="201" y="85"/>
                    </a:cubicBezTo>
                    <a:cubicBezTo>
                      <a:pt x="203" y="84"/>
                      <a:pt x="207" y="85"/>
                      <a:pt x="209" y="85"/>
                    </a:cubicBezTo>
                    <a:cubicBezTo>
                      <a:pt x="209" y="86"/>
                      <a:pt x="209" y="86"/>
                      <a:pt x="209" y="86"/>
                    </a:cubicBezTo>
                    <a:lnTo>
                      <a:pt x="207" y="91"/>
                    </a:lnTo>
                    <a:close/>
                    <a:moveTo>
                      <a:pt x="214" y="84"/>
                    </a:moveTo>
                    <a:cubicBezTo>
                      <a:pt x="214" y="84"/>
                      <a:pt x="214" y="84"/>
                      <a:pt x="214" y="83"/>
                    </a:cubicBezTo>
                    <a:cubicBezTo>
                      <a:pt x="211" y="82"/>
                      <a:pt x="211" y="82"/>
                      <a:pt x="211" y="82"/>
                    </a:cubicBezTo>
                    <a:cubicBezTo>
                      <a:pt x="214" y="77"/>
                      <a:pt x="214" y="77"/>
                      <a:pt x="214" y="77"/>
                    </a:cubicBezTo>
                    <a:cubicBezTo>
                      <a:pt x="216" y="78"/>
                      <a:pt x="216" y="78"/>
                      <a:pt x="216" y="78"/>
                    </a:cubicBezTo>
                    <a:cubicBezTo>
                      <a:pt x="217" y="79"/>
                      <a:pt x="219" y="80"/>
                      <a:pt x="220" y="82"/>
                    </a:cubicBezTo>
                    <a:cubicBezTo>
                      <a:pt x="214" y="83"/>
                      <a:pt x="214" y="83"/>
                      <a:pt x="214" y="83"/>
                    </a:cubicBezTo>
                    <a:cubicBezTo>
                      <a:pt x="214" y="84"/>
                      <a:pt x="214" y="84"/>
                      <a:pt x="214" y="84"/>
                    </a:cubicBezTo>
                    <a:close/>
                    <a:moveTo>
                      <a:pt x="390" y="83"/>
                    </a:moveTo>
                    <a:cubicBezTo>
                      <a:pt x="390" y="82"/>
                      <a:pt x="390" y="81"/>
                      <a:pt x="389" y="80"/>
                    </a:cubicBezTo>
                    <a:cubicBezTo>
                      <a:pt x="389" y="79"/>
                      <a:pt x="389" y="79"/>
                      <a:pt x="388" y="78"/>
                    </a:cubicBezTo>
                    <a:cubicBezTo>
                      <a:pt x="394" y="76"/>
                      <a:pt x="394" y="76"/>
                      <a:pt x="394" y="76"/>
                    </a:cubicBezTo>
                    <a:cubicBezTo>
                      <a:pt x="394" y="77"/>
                      <a:pt x="394" y="77"/>
                      <a:pt x="395" y="78"/>
                    </a:cubicBezTo>
                    <a:cubicBezTo>
                      <a:pt x="395" y="79"/>
                      <a:pt x="396" y="80"/>
                      <a:pt x="396" y="81"/>
                    </a:cubicBezTo>
                    <a:lnTo>
                      <a:pt x="390" y="83"/>
                    </a:lnTo>
                    <a:close/>
                    <a:moveTo>
                      <a:pt x="236" y="81"/>
                    </a:moveTo>
                    <a:cubicBezTo>
                      <a:pt x="235" y="80"/>
                      <a:pt x="234" y="80"/>
                      <a:pt x="231" y="80"/>
                    </a:cubicBezTo>
                    <a:cubicBezTo>
                      <a:pt x="232" y="74"/>
                      <a:pt x="232" y="74"/>
                      <a:pt x="232" y="74"/>
                    </a:cubicBezTo>
                    <a:cubicBezTo>
                      <a:pt x="234" y="74"/>
                      <a:pt x="237" y="75"/>
                      <a:pt x="238" y="75"/>
                    </a:cubicBezTo>
                    <a:lnTo>
                      <a:pt x="236" y="81"/>
                    </a:lnTo>
                    <a:close/>
                    <a:moveTo>
                      <a:pt x="248" y="77"/>
                    </a:moveTo>
                    <a:cubicBezTo>
                      <a:pt x="246" y="71"/>
                      <a:pt x="246" y="71"/>
                      <a:pt x="246" y="71"/>
                    </a:cubicBezTo>
                    <a:cubicBezTo>
                      <a:pt x="247" y="71"/>
                      <a:pt x="248" y="70"/>
                      <a:pt x="250" y="70"/>
                    </a:cubicBezTo>
                    <a:cubicBezTo>
                      <a:pt x="250" y="70"/>
                      <a:pt x="251" y="70"/>
                      <a:pt x="251" y="70"/>
                    </a:cubicBezTo>
                    <a:cubicBezTo>
                      <a:pt x="253" y="72"/>
                      <a:pt x="253" y="72"/>
                      <a:pt x="253" y="72"/>
                    </a:cubicBezTo>
                    <a:cubicBezTo>
                      <a:pt x="253" y="75"/>
                      <a:pt x="253" y="75"/>
                      <a:pt x="253" y="75"/>
                    </a:cubicBezTo>
                    <a:cubicBezTo>
                      <a:pt x="253" y="76"/>
                      <a:pt x="252" y="76"/>
                      <a:pt x="251" y="76"/>
                    </a:cubicBezTo>
                    <a:cubicBezTo>
                      <a:pt x="250" y="76"/>
                      <a:pt x="249" y="76"/>
                      <a:pt x="248" y="77"/>
                    </a:cubicBezTo>
                    <a:close/>
                    <a:moveTo>
                      <a:pt x="219" y="76"/>
                    </a:moveTo>
                    <a:cubicBezTo>
                      <a:pt x="219" y="76"/>
                      <a:pt x="219" y="76"/>
                      <a:pt x="218" y="76"/>
                    </a:cubicBezTo>
                    <a:cubicBezTo>
                      <a:pt x="218" y="76"/>
                      <a:pt x="217" y="75"/>
                      <a:pt x="215" y="75"/>
                    </a:cubicBezTo>
                    <a:cubicBezTo>
                      <a:pt x="215" y="70"/>
                      <a:pt x="215" y="70"/>
                      <a:pt x="215" y="70"/>
                    </a:cubicBezTo>
                    <a:cubicBezTo>
                      <a:pt x="215" y="70"/>
                      <a:pt x="216" y="70"/>
                      <a:pt x="216" y="70"/>
                    </a:cubicBezTo>
                    <a:cubicBezTo>
                      <a:pt x="218" y="70"/>
                      <a:pt x="219" y="70"/>
                      <a:pt x="221" y="71"/>
                    </a:cubicBezTo>
                    <a:cubicBezTo>
                      <a:pt x="221" y="71"/>
                      <a:pt x="222" y="71"/>
                      <a:pt x="222" y="71"/>
                    </a:cubicBezTo>
                    <a:lnTo>
                      <a:pt x="219" y="76"/>
                    </a:lnTo>
                    <a:close/>
                    <a:moveTo>
                      <a:pt x="381" y="72"/>
                    </a:moveTo>
                    <a:cubicBezTo>
                      <a:pt x="380" y="72"/>
                      <a:pt x="379" y="72"/>
                      <a:pt x="378" y="71"/>
                    </a:cubicBezTo>
                    <a:cubicBezTo>
                      <a:pt x="381" y="66"/>
                      <a:pt x="381" y="66"/>
                      <a:pt x="381" y="66"/>
                    </a:cubicBezTo>
                    <a:cubicBezTo>
                      <a:pt x="381" y="66"/>
                      <a:pt x="381" y="66"/>
                      <a:pt x="381" y="66"/>
                    </a:cubicBezTo>
                    <a:cubicBezTo>
                      <a:pt x="382" y="66"/>
                      <a:pt x="383" y="66"/>
                      <a:pt x="384" y="66"/>
                    </a:cubicBezTo>
                    <a:cubicBezTo>
                      <a:pt x="384" y="66"/>
                      <a:pt x="385" y="66"/>
                      <a:pt x="385" y="66"/>
                    </a:cubicBezTo>
                    <a:cubicBezTo>
                      <a:pt x="386" y="71"/>
                      <a:pt x="386" y="71"/>
                      <a:pt x="386" y="71"/>
                    </a:cubicBezTo>
                    <a:cubicBezTo>
                      <a:pt x="386" y="71"/>
                      <a:pt x="385" y="72"/>
                      <a:pt x="385" y="72"/>
                    </a:cubicBezTo>
                    <a:cubicBezTo>
                      <a:pt x="384" y="72"/>
                      <a:pt x="382" y="72"/>
                      <a:pt x="381" y="72"/>
                    </a:cubicBezTo>
                    <a:close/>
                    <a:moveTo>
                      <a:pt x="265" y="72"/>
                    </a:moveTo>
                    <a:cubicBezTo>
                      <a:pt x="262" y="67"/>
                      <a:pt x="262" y="67"/>
                      <a:pt x="262" y="67"/>
                    </a:cubicBezTo>
                    <a:cubicBezTo>
                      <a:pt x="262" y="67"/>
                      <a:pt x="262" y="67"/>
                      <a:pt x="262" y="67"/>
                    </a:cubicBezTo>
                    <a:cubicBezTo>
                      <a:pt x="262" y="67"/>
                      <a:pt x="262" y="67"/>
                      <a:pt x="262" y="67"/>
                    </a:cubicBezTo>
                    <a:cubicBezTo>
                      <a:pt x="265" y="62"/>
                      <a:pt x="265" y="62"/>
                      <a:pt x="265" y="62"/>
                    </a:cubicBezTo>
                    <a:cubicBezTo>
                      <a:pt x="266" y="63"/>
                      <a:pt x="268" y="65"/>
                      <a:pt x="268" y="67"/>
                    </a:cubicBezTo>
                    <a:cubicBezTo>
                      <a:pt x="268" y="68"/>
                      <a:pt x="268" y="70"/>
                      <a:pt x="265" y="72"/>
                    </a:cubicBezTo>
                    <a:close/>
                    <a:moveTo>
                      <a:pt x="263" y="66"/>
                    </a:moveTo>
                    <a:cubicBezTo>
                      <a:pt x="263" y="66"/>
                      <a:pt x="263" y="66"/>
                      <a:pt x="263" y="66"/>
                    </a:cubicBezTo>
                    <a:close/>
                    <a:moveTo>
                      <a:pt x="381" y="58"/>
                    </a:moveTo>
                    <a:cubicBezTo>
                      <a:pt x="375" y="58"/>
                      <a:pt x="375" y="58"/>
                      <a:pt x="375" y="58"/>
                    </a:cubicBezTo>
                    <a:cubicBezTo>
                      <a:pt x="375" y="57"/>
                      <a:pt x="375" y="57"/>
                      <a:pt x="375" y="57"/>
                    </a:cubicBezTo>
                    <a:cubicBezTo>
                      <a:pt x="375" y="51"/>
                      <a:pt x="375" y="51"/>
                      <a:pt x="375" y="51"/>
                    </a:cubicBezTo>
                    <a:cubicBezTo>
                      <a:pt x="375" y="51"/>
                      <a:pt x="376" y="51"/>
                      <a:pt x="376" y="51"/>
                    </a:cubicBezTo>
                    <a:cubicBezTo>
                      <a:pt x="379" y="51"/>
                      <a:pt x="381" y="53"/>
                      <a:pt x="381" y="56"/>
                    </a:cubicBezTo>
                    <a:cubicBezTo>
                      <a:pt x="381" y="57"/>
                      <a:pt x="381" y="57"/>
                      <a:pt x="381" y="58"/>
                    </a:cubicBezTo>
                    <a:close/>
                    <a:moveTo>
                      <a:pt x="344" y="57"/>
                    </a:moveTo>
                    <a:cubicBezTo>
                      <a:pt x="344" y="51"/>
                      <a:pt x="344" y="51"/>
                      <a:pt x="344" y="51"/>
                    </a:cubicBezTo>
                    <a:cubicBezTo>
                      <a:pt x="344" y="51"/>
                      <a:pt x="345" y="51"/>
                      <a:pt x="346" y="49"/>
                    </a:cubicBezTo>
                    <a:cubicBezTo>
                      <a:pt x="351" y="52"/>
                      <a:pt x="351" y="52"/>
                      <a:pt x="351" y="52"/>
                    </a:cubicBezTo>
                    <a:cubicBezTo>
                      <a:pt x="349" y="54"/>
                      <a:pt x="347" y="57"/>
                      <a:pt x="344" y="57"/>
                    </a:cubicBezTo>
                    <a:close/>
                    <a:moveTo>
                      <a:pt x="267" y="57"/>
                    </a:moveTo>
                    <a:cubicBezTo>
                      <a:pt x="262" y="53"/>
                      <a:pt x="262" y="53"/>
                      <a:pt x="262" y="53"/>
                    </a:cubicBezTo>
                    <a:cubicBezTo>
                      <a:pt x="263" y="51"/>
                      <a:pt x="265" y="50"/>
                      <a:pt x="269" y="49"/>
                    </a:cubicBezTo>
                    <a:cubicBezTo>
                      <a:pt x="271" y="55"/>
                      <a:pt x="271" y="55"/>
                      <a:pt x="271" y="55"/>
                    </a:cubicBezTo>
                    <a:cubicBezTo>
                      <a:pt x="268" y="55"/>
                      <a:pt x="267" y="56"/>
                      <a:pt x="267" y="57"/>
                    </a:cubicBezTo>
                    <a:close/>
                    <a:moveTo>
                      <a:pt x="280" y="50"/>
                    </a:moveTo>
                    <a:cubicBezTo>
                      <a:pt x="280" y="44"/>
                      <a:pt x="280" y="44"/>
                      <a:pt x="280" y="44"/>
                    </a:cubicBezTo>
                    <a:cubicBezTo>
                      <a:pt x="281" y="44"/>
                      <a:pt x="283" y="44"/>
                      <a:pt x="283" y="44"/>
                    </a:cubicBezTo>
                    <a:cubicBezTo>
                      <a:pt x="288" y="48"/>
                      <a:pt x="288" y="48"/>
                      <a:pt x="288" y="48"/>
                    </a:cubicBezTo>
                    <a:cubicBezTo>
                      <a:pt x="286" y="50"/>
                      <a:pt x="284" y="50"/>
                      <a:pt x="281" y="50"/>
                    </a:cubicBezTo>
                    <a:cubicBezTo>
                      <a:pt x="281" y="50"/>
                      <a:pt x="281" y="50"/>
                      <a:pt x="280" y="50"/>
                    </a:cubicBezTo>
                    <a:close/>
                    <a:moveTo>
                      <a:pt x="341" y="49"/>
                    </a:moveTo>
                    <a:cubicBezTo>
                      <a:pt x="336" y="45"/>
                      <a:pt x="336" y="45"/>
                      <a:pt x="336" y="45"/>
                    </a:cubicBezTo>
                    <a:cubicBezTo>
                      <a:pt x="337" y="45"/>
                      <a:pt x="337" y="44"/>
                      <a:pt x="338" y="44"/>
                    </a:cubicBezTo>
                    <a:cubicBezTo>
                      <a:pt x="338" y="44"/>
                      <a:pt x="338" y="44"/>
                      <a:pt x="338" y="45"/>
                    </a:cubicBezTo>
                    <a:cubicBezTo>
                      <a:pt x="341" y="40"/>
                      <a:pt x="341" y="40"/>
                      <a:pt x="341" y="40"/>
                    </a:cubicBezTo>
                    <a:cubicBezTo>
                      <a:pt x="342" y="41"/>
                      <a:pt x="343" y="43"/>
                      <a:pt x="343" y="45"/>
                    </a:cubicBezTo>
                    <a:cubicBezTo>
                      <a:pt x="343" y="46"/>
                      <a:pt x="343" y="47"/>
                      <a:pt x="342" y="48"/>
                    </a:cubicBezTo>
                    <a:cubicBezTo>
                      <a:pt x="342" y="48"/>
                      <a:pt x="341" y="49"/>
                      <a:pt x="341" y="49"/>
                    </a:cubicBezTo>
                    <a:close/>
                    <a:moveTo>
                      <a:pt x="367" y="47"/>
                    </a:moveTo>
                    <a:cubicBezTo>
                      <a:pt x="367" y="47"/>
                      <a:pt x="367" y="46"/>
                      <a:pt x="367" y="46"/>
                    </a:cubicBezTo>
                    <a:cubicBezTo>
                      <a:pt x="367" y="45"/>
                      <a:pt x="367" y="45"/>
                      <a:pt x="367" y="44"/>
                    </a:cubicBezTo>
                    <a:cubicBezTo>
                      <a:pt x="367" y="44"/>
                      <a:pt x="367" y="44"/>
                      <a:pt x="367" y="43"/>
                    </a:cubicBezTo>
                    <a:cubicBezTo>
                      <a:pt x="367" y="43"/>
                      <a:pt x="367" y="43"/>
                      <a:pt x="367" y="43"/>
                    </a:cubicBezTo>
                    <a:cubicBezTo>
                      <a:pt x="372" y="39"/>
                      <a:pt x="372" y="39"/>
                      <a:pt x="372" y="39"/>
                    </a:cubicBezTo>
                    <a:cubicBezTo>
                      <a:pt x="373" y="40"/>
                      <a:pt x="373" y="42"/>
                      <a:pt x="373" y="43"/>
                    </a:cubicBezTo>
                    <a:cubicBezTo>
                      <a:pt x="373" y="44"/>
                      <a:pt x="373" y="44"/>
                      <a:pt x="373" y="45"/>
                    </a:cubicBezTo>
                    <a:cubicBezTo>
                      <a:pt x="373" y="45"/>
                      <a:pt x="373" y="46"/>
                      <a:pt x="373" y="46"/>
                    </a:cubicBezTo>
                    <a:lnTo>
                      <a:pt x="367" y="47"/>
                    </a:lnTo>
                    <a:close/>
                    <a:moveTo>
                      <a:pt x="356" y="41"/>
                    </a:moveTo>
                    <a:cubicBezTo>
                      <a:pt x="351" y="39"/>
                      <a:pt x="351" y="39"/>
                      <a:pt x="351" y="39"/>
                    </a:cubicBezTo>
                    <a:cubicBezTo>
                      <a:pt x="352" y="37"/>
                      <a:pt x="352" y="37"/>
                      <a:pt x="352" y="37"/>
                    </a:cubicBezTo>
                    <a:cubicBezTo>
                      <a:pt x="352" y="36"/>
                      <a:pt x="353" y="35"/>
                      <a:pt x="353" y="34"/>
                    </a:cubicBezTo>
                    <a:cubicBezTo>
                      <a:pt x="359" y="36"/>
                      <a:pt x="359" y="36"/>
                      <a:pt x="359" y="36"/>
                    </a:cubicBezTo>
                    <a:cubicBezTo>
                      <a:pt x="358" y="37"/>
                      <a:pt x="358" y="38"/>
                      <a:pt x="357" y="40"/>
                    </a:cubicBezTo>
                    <a:lnTo>
                      <a:pt x="356" y="41"/>
                    </a:lnTo>
                    <a:close/>
                    <a:moveTo>
                      <a:pt x="340" y="36"/>
                    </a:moveTo>
                    <a:cubicBezTo>
                      <a:pt x="336" y="32"/>
                      <a:pt x="336" y="32"/>
                      <a:pt x="336" y="32"/>
                    </a:cubicBezTo>
                    <a:cubicBezTo>
                      <a:pt x="336" y="32"/>
                      <a:pt x="336" y="33"/>
                      <a:pt x="336" y="33"/>
                    </a:cubicBezTo>
                    <a:cubicBezTo>
                      <a:pt x="336" y="33"/>
                      <a:pt x="336" y="34"/>
                      <a:pt x="336" y="34"/>
                    </a:cubicBezTo>
                    <a:cubicBezTo>
                      <a:pt x="336" y="34"/>
                      <a:pt x="336" y="33"/>
                      <a:pt x="334" y="32"/>
                    </a:cubicBezTo>
                    <a:cubicBezTo>
                      <a:pt x="338" y="27"/>
                      <a:pt x="338" y="27"/>
                      <a:pt x="338" y="27"/>
                    </a:cubicBezTo>
                    <a:cubicBezTo>
                      <a:pt x="339" y="29"/>
                      <a:pt x="342" y="30"/>
                      <a:pt x="342" y="33"/>
                    </a:cubicBezTo>
                    <a:cubicBezTo>
                      <a:pt x="342" y="34"/>
                      <a:pt x="341" y="35"/>
                      <a:pt x="340" y="36"/>
                    </a:cubicBezTo>
                    <a:close/>
                    <a:moveTo>
                      <a:pt x="291" y="35"/>
                    </a:moveTo>
                    <a:cubicBezTo>
                      <a:pt x="285" y="34"/>
                      <a:pt x="285" y="34"/>
                      <a:pt x="285" y="34"/>
                    </a:cubicBezTo>
                    <a:cubicBezTo>
                      <a:pt x="286" y="29"/>
                      <a:pt x="286" y="29"/>
                      <a:pt x="286" y="29"/>
                    </a:cubicBezTo>
                    <a:cubicBezTo>
                      <a:pt x="291" y="29"/>
                      <a:pt x="291" y="29"/>
                      <a:pt x="291" y="29"/>
                    </a:cubicBezTo>
                    <a:lnTo>
                      <a:pt x="291" y="35"/>
                    </a:lnTo>
                    <a:close/>
                    <a:moveTo>
                      <a:pt x="367" y="31"/>
                    </a:moveTo>
                    <a:cubicBezTo>
                      <a:pt x="366" y="31"/>
                      <a:pt x="366" y="31"/>
                      <a:pt x="364" y="31"/>
                    </a:cubicBezTo>
                    <a:cubicBezTo>
                      <a:pt x="364" y="25"/>
                      <a:pt x="364" y="25"/>
                      <a:pt x="364" y="25"/>
                    </a:cubicBezTo>
                    <a:cubicBezTo>
                      <a:pt x="369" y="25"/>
                      <a:pt x="371" y="27"/>
                      <a:pt x="372" y="29"/>
                    </a:cubicBezTo>
                    <a:cubicBezTo>
                      <a:pt x="367" y="31"/>
                      <a:pt x="367" y="31"/>
                      <a:pt x="367" y="31"/>
                    </a:cubicBezTo>
                    <a:cubicBezTo>
                      <a:pt x="367" y="31"/>
                      <a:pt x="367" y="31"/>
                      <a:pt x="367" y="31"/>
                    </a:cubicBezTo>
                    <a:close/>
                    <a:moveTo>
                      <a:pt x="324" y="24"/>
                    </a:moveTo>
                    <a:cubicBezTo>
                      <a:pt x="324" y="24"/>
                      <a:pt x="324" y="24"/>
                      <a:pt x="324" y="24"/>
                    </a:cubicBezTo>
                    <a:cubicBezTo>
                      <a:pt x="324" y="24"/>
                      <a:pt x="324" y="24"/>
                      <a:pt x="324" y="24"/>
                    </a:cubicBezTo>
                    <a:cubicBezTo>
                      <a:pt x="324" y="24"/>
                      <a:pt x="322" y="23"/>
                      <a:pt x="322" y="23"/>
                    </a:cubicBezTo>
                    <a:cubicBezTo>
                      <a:pt x="322" y="18"/>
                      <a:pt x="322" y="18"/>
                      <a:pt x="322" y="18"/>
                    </a:cubicBezTo>
                    <a:cubicBezTo>
                      <a:pt x="322" y="18"/>
                      <a:pt x="323" y="18"/>
                      <a:pt x="323" y="18"/>
                    </a:cubicBezTo>
                    <a:cubicBezTo>
                      <a:pt x="327" y="18"/>
                      <a:pt x="329" y="20"/>
                      <a:pt x="329" y="21"/>
                    </a:cubicBezTo>
                    <a:lnTo>
                      <a:pt x="324" y="24"/>
                    </a:lnTo>
                    <a:close/>
                    <a:moveTo>
                      <a:pt x="309" y="20"/>
                    </a:moveTo>
                    <a:cubicBezTo>
                      <a:pt x="309" y="20"/>
                      <a:pt x="308" y="20"/>
                      <a:pt x="307" y="19"/>
                    </a:cubicBezTo>
                    <a:cubicBezTo>
                      <a:pt x="306" y="19"/>
                      <a:pt x="305" y="18"/>
                      <a:pt x="304" y="17"/>
                    </a:cubicBezTo>
                    <a:cubicBezTo>
                      <a:pt x="307" y="13"/>
                      <a:pt x="307" y="13"/>
                      <a:pt x="307" y="13"/>
                    </a:cubicBezTo>
                    <a:cubicBezTo>
                      <a:pt x="308" y="13"/>
                      <a:pt x="309" y="14"/>
                      <a:pt x="310" y="14"/>
                    </a:cubicBezTo>
                    <a:cubicBezTo>
                      <a:pt x="310" y="14"/>
                      <a:pt x="311" y="15"/>
                      <a:pt x="312" y="15"/>
                    </a:cubicBezTo>
                    <a:lnTo>
                      <a:pt x="309" y="20"/>
                    </a:lnTo>
                    <a:close/>
                    <a:moveTo>
                      <a:pt x="293" y="17"/>
                    </a:moveTo>
                    <a:cubicBezTo>
                      <a:pt x="287" y="17"/>
                      <a:pt x="287" y="17"/>
                      <a:pt x="287" y="17"/>
                    </a:cubicBezTo>
                    <a:cubicBezTo>
                      <a:pt x="287" y="15"/>
                      <a:pt x="287" y="13"/>
                      <a:pt x="287" y="11"/>
                    </a:cubicBezTo>
                    <a:cubicBezTo>
                      <a:pt x="293" y="12"/>
                      <a:pt x="293" y="12"/>
                      <a:pt x="293" y="12"/>
                    </a:cubicBezTo>
                    <a:cubicBezTo>
                      <a:pt x="293" y="13"/>
                      <a:pt x="293" y="15"/>
                      <a:pt x="293" y="17"/>
                    </a:cubicBezTo>
                    <a:close/>
                    <a:moveTo>
                      <a:pt x="295" y="7"/>
                    </a:moveTo>
                    <a:cubicBezTo>
                      <a:pt x="295" y="6"/>
                      <a:pt x="294" y="6"/>
                      <a:pt x="293" y="5"/>
                    </a:cubicBezTo>
                    <a:cubicBezTo>
                      <a:pt x="294" y="0"/>
                      <a:pt x="294" y="0"/>
                      <a:pt x="294" y="0"/>
                    </a:cubicBezTo>
                    <a:cubicBezTo>
                      <a:pt x="297" y="0"/>
                      <a:pt x="300" y="2"/>
                      <a:pt x="301" y="5"/>
                    </a:cubicBezTo>
                    <a:lnTo>
                      <a:pt x="295" y="7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2" name="îšļîďé"/>
              <p:cNvSpPr/>
              <p:nvPr/>
            </p:nvSpPr>
            <p:spPr bwMode="auto">
              <a:xfrm>
                <a:off x="6456363" y="2781300"/>
                <a:ext cx="519113" cy="388938"/>
              </a:xfrm>
              <a:custGeom>
                <a:avLst/>
                <a:gdLst>
                  <a:gd name="T0" fmla="*/ 28 w 242"/>
                  <a:gd name="T1" fmla="*/ 173 h 182"/>
                  <a:gd name="T2" fmla="*/ 41 w 242"/>
                  <a:gd name="T3" fmla="*/ 181 h 182"/>
                  <a:gd name="T4" fmla="*/ 47 w 242"/>
                  <a:gd name="T5" fmla="*/ 180 h 182"/>
                  <a:gd name="T6" fmla="*/ 75 w 242"/>
                  <a:gd name="T7" fmla="*/ 172 h 182"/>
                  <a:gd name="T8" fmla="*/ 75 w 242"/>
                  <a:gd name="T9" fmla="*/ 178 h 182"/>
                  <a:gd name="T10" fmla="*/ 63 w 242"/>
                  <a:gd name="T11" fmla="*/ 171 h 182"/>
                  <a:gd name="T12" fmla="*/ 20 w 242"/>
                  <a:gd name="T13" fmla="*/ 165 h 182"/>
                  <a:gd name="T14" fmla="*/ 25 w 242"/>
                  <a:gd name="T15" fmla="*/ 162 h 182"/>
                  <a:gd name="T16" fmla="*/ 0 w 242"/>
                  <a:gd name="T17" fmla="*/ 160 h 182"/>
                  <a:gd name="T18" fmla="*/ 6 w 242"/>
                  <a:gd name="T19" fmla="*/ 161 h 182"/>
                  <a:gd name="T20" fmla="*/ 77 w 242"/>
                  <a:gd name="T21" fmla="*/ 155 h 182"/>
                  <a:gd name="T22" fmla="*/ 83 w 242"/>
                  <a:gd name="T23" fmla="*/ 160 h 182"/>
                  <a:gd name="T24" fmla="*/ 92 w 242"/>
                  <a:gd name="T25" fmla="*/ 149 h 182"/>
                  <a:gd name="T26" fmla="*/ 98 w 242"/>
                  <a:gd name="T27" fmla="*/ 152 h 182"/>
                  <a:gd name="T28" fmla="*/ 85 w 242"/>
                  <a:gd name="T29" fmla="*/ 143 h 182"/>
                  <a:gd name="T30" fmla="*/ 95 w 242"/>
                  <a:gd name="T31" fmla="*/ 136 h 182"/>
                  <a:gd name="T32" fmla="*/ 94 w 242"/>
                  <a:gd name="T33" fmla="*/ 128 h 182"/>
                  <a:gd name="T34" fmla="*/ 95 w 242"/>
                  <a:gd name="T35" fmla="*/ 136 h 182"/>
                  <a:gd name="T36" fmla="*/ 88 w 242"/>
                  <a:gd name="T37" fmla="*/ 115 h 182"/>
                  <a:gd name="T38" fmla="*/ 94 w 242"/>
                  <a:gd name="T39" fmla="*/ 114 h 182"/>
                  <a:gd name="T40" fmla="*/ 102 w 242"/>
                  <a:gd name="T41" fmla="*/ 108 h 182"/>
                  <a:gd name="T42" fmla="*/ 106 w 242"/>
                  <a:gd name="T43" fmla="*/ 102 h 182"/>
                  <a:gd name="T44" fmla="*/ 110 w 242"/>
                  <a:gd name="T45" fmla="*/ 91 h 182"/>
                  <a:gd name="T46" fmla="*/ 118 w 242"/>
                  <a:gd name="T47" fmla="*/ 92 h 182"/>
                  <a:gd name="T48" fmla="*/ 123 w 242"/>
                  <a:gd name="T49" fmla="*/ 83 h 182"/>
                  <a:gd name="T50" fmla="*/ 124 w 242"/>
                  <a:gd name="T51" fmla="*/ 75 h 182"/>
                  <a:gd name="T52" fmla="*/ 123 w 242"/>
                  <a:gd name="T53" fmla="*/ 83 h 182"/>
                  <a:gd name="T54" fmla="*/ 132 w 242"/>
                  <a:gd name="T55" fmla="*/ 68 h 182"/>
                  <a:gd name="T56" fmla="*/ 138 w 242"/>
                  <a:gd name="T57" fmla="*/ 69 h 182"/>
                  <a:gd name="T58" fmla="*/ 140 w 242"/>
                  <a:gd name="T59" fmla="*/ 55 h 182"/>
                  <a:gd name="T60" fmla="*/ 146 w 242"/>
                  <a:gd name="T61" fmla="*/ 51 h 182"/>
                  <a:gd name="T62" fmla="*/ 154 w 242"/>
                  <a:gd name="T63" fmla="*/ 47 h 182"/>
                  <a:gd name="T64" fmla="*/ 160 w 242"/>
                  <a:gd name="T65" fmla="*/ 43 h 182"/>
                  <a:gd name="T66" fmla="*/ 166 w 242"/>
                  <a:gd name="T67" fmla="*/ 32 h 182"/>
                  <a:gd name="T68" fmla="*/ 173 w 242"/>
                  <a:gd name="T69" fmla="*/ 36 h 182"/>
                  <a:gd name="T70" fmla="*/ 200 w 242"/>
                  <a:gd name="T71" fmla="*/ 33 h 182"/>
                  <a:gd name="T72" fmla="*/ 201 w 242"/>
                  <a:gd name="T73" fmla="*/ 24 h 182"/>
                  <a:gd name="T74" fmla="*/ 200 w 242"/>
                  <a:gd name="T75" fmla="*/ 33 h 182"/>
                  <a:gd name="T76" fmla="*/ 187 w 242"/>
                  <a:gd name="T77" fmla="*/ 23 h 182"/>
                  <a:gd name="T78" fmla="*/ 191 w 242"/>
                  <a:gd name="T79" fmla="*/ 30 h 182"/>
                  <a:gd name="T80" fmla="*/ 209 w 242"/>
                  <a:gd name="T81" fmla="*/ 28 h 182"/>
                  <a:gd name="T82" fmla="*/ 216 w 242"/>
                  <a:gd name="T83" fmla="*/ 24 h 182"/>
                  <a:gd name="T84" fmla="*/ 172 w 242"/>
                  <a:gd name="T85" fmla="*/ 27 h 182"/>
                  <a:gd name="T86" fmla="*/ 176 w 242"/>
                  <a:gd name="T87" fmla="*/ 23 h 182"/>
                  <a:gd name="T88" fmla="*/ 172 w 242"/>
                  <a:gd name="T89" fmla="*/ 16 h 182"/>
                  <a:gd name="T90" fmla="*/ 175 w 242"/>
                  <a:gd name="T91" fmla="*/ 19 h 182"/>
                  <a:gd name="T92" fmla="*/ 219 w 242"/>
                  <a:gd name="T93" fmla="*/ 10 h 182"/>
                  <a:gd name="T94" fmla="*/ 222 w 242"/>
                  <a:gd name="T95" fmla="*/ 14 h 182"/>
                  <a:gd name="T96" fmla="*/ 233 w 242"/>
                  <a:gd name="T97" fmla="*/ 1 h 182"/>
                  <a:gd name="T98" fmla="*/ 237 w 242"/>
                  <a:gd name="T99" fmla="*/ 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2" h="182">
                    <a:moveTo>
                      <a:pt x="27" y="182"/>
                    </a:moveTo>
                    <a:cubicBezTo>
                      <a:pt x="26" y="180"/>
                      <a:pt x="24" y="179"/>
                      <a:pt x="23" y="176"/>
                    </a:cubicBezTo>
                    <a:cubicBezTo>
                      <a:pt x="28" y="173"/>
                      <a:pt x="28" y="173"/>
                      <a:pt x="28" y="173"/>
                    </a:cubicBezTo>
                    <a:cubicBezTo>
                      <a:pt x="29" y="176"/>
                      <a:pt x="30" y="176"/>
                      <a:pt x="31" y="177"/>
                    </a:cubicBezTo>
                    <a:lnTo>
                      <a:pt x="27" y="182"/>
                    </a:lnTo>
                    <a:close/>
                    <a:moveTo>
                      <a:pt x="41" y="181"/>
                    </a:moveTo>
                    <a:cubicBezTo>
                      <a:pt x="40" y="176"/>
                      <a:pt x="40" y="176"/>
                      <a:pt x="40" y="176"/>
                    </a:cubicBezTo>
                    <a:cubicBezTo>
                      <a:pt x="45" y="174"/>
                      <a:pt x="45" y="174"/>
                      <a:pt x="45" y="174"/>
                    </a:cubicBezTo>
                    <a:cubicBezTo>
                      <a:pt x="47" y="180"/>
                      <a:pt x="47" y="180"/>
                      <a:pt x="47" y="180"/>
                    </a:cubicBezTo>
                    <a:lnTo>
                      <a:pt x="41" y="181"/>
                    </a:lnTo>
                    <a:close/>
                    <a:moveTo>
                      <a:pt x="75" y="178"/>
                    </a:moveTo>
                    <a:cubicBezTo>
                      <a:pt x="75" y="172"/>
                      <a:pt x="75" y="172"/>
                      <a:pt x="75" y="172"/>
                    </a:cubicBezTo>
                    <a:cubicBezTo>
                      <a:pt x="76" y="172"/>
                      <a:pt x="77" y="171"/>
                      <a:pt x="77" y="171"/>
                    </a:cubicBezTo>
                    <a:cubicBezTo>
                      <a:pt x="82" y="173"/>
                      <a:pt x="82" y="173"/>
                      <a:pt x="82" y="173"/>
                    </a:cubicBezTo>
                    <a:cubicBezTo>
                      <a:pt x="81" y="175"/>
                      <a:pt x="79" y="178"/>
                      <a:pt x="75" y="178"/>
                    </a:cubicBezTo>
                    <a:close/>
                    <a:moveTo>
                      <a:pt x="58" y="177"/>
                    </a:moveTo>
                    <a:cubicBezTo>
                      <a:pt x="57" y="172"/>
                      <a:pt x="57" y="172"/>
                      <a:pt x="57" y="172"/>
                    </a:cubicBezTo>
                    <a:cubicBezTo>
                      <a:pt x="60" y="171"/>
                      <a:pt x="62" y="171"/>
                      <a:pt x="63" y="171"/>
                    </a:cubicBezTo>
                    <a:cubicBezTo>
                      <a:pt x="63" y="177"/>
                      <a:pt x="63" y="177"/>
                      <a:pt x="63" y="177"/>
                    </a:cubicBezTo>
                    <a:cubicBezTo>
                      <a:pt x="62" y="177"/>
                      <a:pt x="60" y="177"/>
                      <a:pt x="58" y="177"/>
                    </a:cubicBezTo>
                    <a:close/>
                    <a:moveTo>
                      <a:pt x="20" y="165"/>
                    </a:moveTo>
                    <a:cubicBezTo>
                      <a:pt x="20" y="165"/>
                      <a:pt x="19" y="164"/>
                      <a:pt x="16" y="163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21" y="159"/>
                      <a:pt x="23" y="160"/>
                      <a:pt x="25" y="162"/>
                    </a:cubicBezTo>
                    <a:lnTo>
                      <a:pt x="20" y="165"/>
                    </a:lnTo>
                    <a:close/>
                    <a:moveTo>
                      <a:pt x="6" y="161"/>
                    </a:moveTo>
                    <a:cubicBezTo>
                      <a:pt x="2" y="160"/>
                      <a:pt x="0" y="160"/>
                      <a:pt x="0" y="160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0" y="154"/>
                      <a:pt x="3" y="154"/>
                      <a:pt x="6" y="155"/>
                    </a:cubicBezTo>
                    <a:lnTo>
                      <a:pt x="6" y="161"/>
                    </a:lnTo>
                    <a:close/>
                    <a:moveTo>
                      <a:pt x="77" y="160"/>
                    </a:moveTo>
                    <a:cubicBezTo>
                      <a:pt x="77" y="158"/>
                      <a:pt x="77" y="158"/>
                      <a:pt x="77" y="158"/>
                    </a:cubicBezTo>
                    <a:cubicBezTo>
                      <a:pt x="77" y="157"/>
                      <a:pt x="77" y="156"/>
                      <a:pt x="77" y="155"/>
                    </a:cubicBezTo>
                    <a:cubicBezTo>
                      <a:pt x="83" y="154"/>
                      <a:pt x="83" y="154"/>
                      <a:pt x="83" y="154"/>
                    </a:cubicBezTo>
                    <a:cubicBezTo>
                      <a:pt x="83" y="155"/>
                      <a:pt x="83" y="157"/>
                      <a:pt x="83" y="158"/>
                    </a:cubicBezTo>
                    <a:cubicBezTo>
                      <a:pt x="83" y="160"/>
                      <a:pt x="83" y="160"/>
                      <a:pt x="83" y="160"/>
                    </a:cubicBezTo>
                    <a:lnTo>
                      <a:pt x="77" y="160"/>
                    </a:lnTo>
                    <a:close/>
                    <a:moveTo>
                      <a:pt x="98" y="152"/>
                    </a:moveTo>
                    <a:cubicBezTo>
                      <a:pt x="92" y="149"/>
                      <a:pt x="92" y="149"/>
                      <a:pt x="92" y="149"/>
                    </a:cubicBezTo>
                    <a:cubicBezTo>
                      <a:pt x="93" y="148"/>
                      <a:pt x="94" y="146"/>
                      <a:pt x="94" y="144"/>
                    </a:cubicBezTo>
                    <a:cubicBezTo>
                      <a:pt x="100" y="146"/>
                      <a:pt x="100" y="146"/>
                      <a:pt x="100" y="146"/>
                    </a:cubicBezTo>
                    <a:cubicBezTo>
                      <a:pt x="99" y="148"/>
                      <a:pt x="99" y="150"/>
                      <a:pt x="98" y="152"/>
                    </a:cubicBezTo>
                    <a:close/>
                    <a:moveTo>
                      <a:pt x="86" y="152"/>
                    </a:moveTo>
                    <a:cubicBezTo>
                      <a:pt x="84" y="149"/>
                      <a:pt x="84" y="149"/>
                      <a:pt x="83" y="149"/>
                    </a:cubicBezTo>
                    <a:cubicBezTo>
                      <a:pt x="85" y="143"/>
                      <a:pt x="85" y="143"/>
                      <a:pt x="85" y="143"/>
                    </a:cubicBezTo>
                    <a:cubicBezTo>
                      <a:pt x="88" y="144"/>
                      <a:pt x="89" y="146"/>
                      <a:pt x="91" y="148"/>
                    </a:cubicBezTo>
                    <a:lnTo>
                      <a:pt x="86" y="152"/>
                    </a:lnTo>
                    <a:close/>
                    <a:moveTo>
                      <a:pt x="95" y="136"/>
                    </a:moveTo>
                    <a:cubicBezTo>
                      <a:pt x="94" y="135"/>
                      <a:pt x="93" y="135"/>
                      <a:pt x="93" y="134"/>
                    </a:cubicBezTo>
                    <a:cubicBezTo>
                      <a:pt x="92" y="133"/>
                      <a:pt x="91" y="133"/>
                      <a:pt x="90" y="132"/>
                    </a:cubicBezTo>
                    <a:cubicBezTo>
                      <a:pt x="94" y="128"/>
                      <a:pt x="94" y="128"/>
                      <a:pt x="94" y="128"/>
                    </a:cubicBezTo>
                    <a:cubicBezTo>
                      <a:pt x="95" y="129"/>
                      <a:pt x="96" y="129"/>
                      <a:pt x="96" y="130"/>
                    </a:cubicBezTo>
                    <a:cubicBezTo>
                      <a:pt x="97" y="131"/>
                      <a:pt x="98" y="131"/>
                      <a:pt x="99" y="132"/>
                    </a:cubicBezTo>
                    <a:lnTo>
                      <a:pt x="95" y="136"/>
                    </a:lnTo>
                    <a:close/>
                    <a:moveTo>
                      <a:pt x="93" y="120"/>
                    </a:moveTo>
                    <a:cubicBezTo>
                      <a:pt x="88" y="118"/>
                      <a:pt x="88" y="118"/>
                      <a:pt x="88" y="118"/>
                    </a:cubicBezTo>
                    <a:cubicBezTo>
                      <a:pt x="88" y="117"/>
                      <a:pt x="88" y="116"/>
                      <a:pt x="88" y="115"/>
                    </a:cubicBezTo>
                    <a:cubicBezTo>
                      <a:pt x="88" y="114"/>
                      <a:pt x="88" y="114"/>
                      <a:pt x="88" y="114"/>
                    </a:cubicBezTo>
                    <a:cubicBezTo>
                      <a:pt x="88" y="114"/>
                      <a:pt x="88" y="114"/>
                      <a:pt x="88" y="113"/>
                    </a:cubicBezTo>
                    <a:cubicBezTo>
                      <a:pt x="94" y="114"/>
                      <a:pt x="94" y="114"/>
                      <a:pt x="94" y="114"/>
                    </a:cubicBezTo>
                    <a:cubicBezTo>
                      <a:pt x="94" y="115"/>
                      <a:pt x="94" y="115"/>
                      <a:pt x="94" y="115"/>
                    </a:cubicBezTo>
                    <a:cubicBezTo>
                      <a:pt x="94" y="116"/>
                      <a:pt x="94" y="118"/>
                      <a:pt x="93" y="120"/>
                    </a:cubicBezTo>
                    <a:close/>
                    <a:moveTo>
                      <a:pt x="102" y="108"/>
                    </a:moveTo>
                    <a:cubicBezTo>
                      <a:pt x="97" y="103"/>
                      <a:pt x="97" y="103"/>
                      <a:pt x="97" y="103"/>
                    </a:cubicBezTo>
                    <a:cubicBezTo>
                      <a:pt x="99" y="102"/>
                      <a:pt x="100" y="101"/>
                      <a:pt x="100" y="100"/>
                    </a:cubicBezTo>
                    <a:cubicBezTo>
                      <a:pt x="106" y="102"/>
                      <a:pt x="106" y="102"/>
                      <a:pt x="106" y="102"/>
                    </a:cubicBezTo>
                    <a:cubicBezTo>
                      <a:pt x="105" y="104"/>
                      <a:pt x="104" y="106"/>
                      <a:pt x="102" y="108"/>
                    </a:cubicBezTo>
                    <a:close/>
                    <a:moveTo>
                      <a:pt x="113" y="96"/>
                    </a:moveTo>
                    <a:cubicBezTo>
                      <a:pt x="110" y="91"/>
                      <a:pt x="110" y="91"/>
                      <a:pt x="110" y="91"/>
                    </a:cubicBezTo>
                    <a:cubicBezTo>
                      <a:pt x="110" y="90"/>
                      <a:pt x="110" y="90"/>
                      <a:pt x="110" y="90"/>
                    </a:cubicBezTo>
                    <a:cubicBezTo>
                      <a:pt x="112" y="89"/>
                      <a:pt x="113" y="88"/>
                      <a:pt x="114" y="88"/>
                    </a:cubicBezTo>
                    <a:cubicBezTo>
                      <a:pt x="118" y="92"/>
                      <a:pt x="118" y="92"/>
                      <a:pt x="118" y="92"/>
                    </a:cubicBezTo>
                    <a:cubicBezTo>
                      <a:pt x="117" y="93"/>
                      <a:pt x="115" y="94"/>
                      <a:pt x="114" y="95"/>
                    </a:cubicBezTo>
                    <a:lnTo>
                      <a:pt x="113" y="96"/>
                    </a:lnTo>
                    <a:close/>
                    <a:moveTo>
                      <a:pt x="123" y="83"/>
                    </a:moveTo>
                    <a:cubicBezTo>
                      <a:pt x="120" y="78"/>
                      <a:pt x="120" y="78"/>
                      <a:pt x="120" y="78"/>
                    </a:cubicBezTo>
                    <a:cubicBezTo>
                      <a:pt x="120" y="78"/>
                      <a:pt x="121" y="78"/>
                      <a:pt x="121" y="77"/>
                    </a:cubicBezTo>
                    <a:cubicBezTo>
                      <a:pt x="122" y="77"/>
                      <a:pt x="123" y="76"/>
                      <a:pt x="124" y="75"/>
                    </a:cubicBezTo>
                    <a:cubicBezTo>
                      <a:pt x="128" y="79"/>
                      <a:pt x="128" y="79"/>
                      <a:pt x="128" y="79"/>
                    </a:cubicBezTo>
                    <a:cubicBezTo>
                      <a:pt x="127" y="80"/>
                      <a:pt x="126" y="81"/>
                      <a:pt x="124" y="82"/>
                    </a:cubicBezTo>
                    <a:lnTo>
                      <a:pt x="123" y="83"/>
                    </a:lnTo>
                    <a:close/>
                    <a:moveTo>
                      <a:pt x="137" y="73"/>
                    </a:moveTo>
                    <a:cubicBezTo>
                      <a:pt x="132" y="70"/>
                      <a:pt x="132" y="70"/>
                      <a:pt x="132" y="70"/>
                    </a:cubicBezTo>
                    <a:cubicBezTo>
                      <a:pt x="132" y="70"/>
                      <a:pt x="132" y="69"/>
                      <a:pt x="132" y="68"/>
                    </a:cubicBezTo>
                    <a:cubicBezTo>
                      <a:pt x="132" y="67"/>
                      <a:pt x="133" y="66"/>
                      <a:pt x="133" y="65"/>
                    </a:cubicBezTo>
                    <a:cubicBezTo>
                      <a:pt x="139" y="67"/>
                      <a:pt x="139" y="67"/>
                      <a:pt x="139" y="67"/>
                    </a:cubicBezTo>
                    <a:cubicBezTo>
                      <a:pt x="138" y="67"/>
                      <a:pt x="138" y="68"/>
                      <a:pt x="138" y="69"/>
                    </a:cubicBezTo>
                    <a:cubicBezTo>
                      <a:pt x="138" y="70"/>
                      <a:pt x="138" y="72"/>
                      <a:pt x="137" y="73"/>
                    </a:cubicBezTo>
                    <a:close/>
                    <a:moveTo>
                      <a:pt x="145" y="57"/>
                    </a:moveTo>
                    <a:cubicBezTo>
                      <a:pt x="140" y="55"/>
                      <a:pt x="140" y="55"/>
                      <a:pt x="140" y="55"/>
                    </a:cubicBezTo>
                    <a:cubicBezTo>
                      <a:pt x="140" y="55"/>
                      <a:pt x="140" y="55"/>
                      <a:pt x="140" y="54"/>
                    </a:cubicBezTo>
                    <a:cubicBezTo>
                      <a:pt x="140" y="52"/>
                      <a:pt x="140" y="51"/>
                      <a:pt x="141" y="49"/>
                    </a:cubicBezTo>
                    <a:cubicBezTo>
                      <a:pt x="146" y="51"/>
                      <a:pt x="146" y="51"/>
                      <a:pt x="146" y="51"/>
                    </a:cubicBezTo>
                    <a:cubicBezTo>
                      <a:pt x="146" y="52"/>
                      <a:pt x="146" y="53"/>
                      <a:pt x="146" y="54"/>
                    </a:cubicBezTo>
                    <a:cubicBezTo>
                      <a:pt x="146" y="55"/>
                      <a:pt x="146" y="56"/>
                      <a:pt x="145" y="57"/>
                    </a:cubicBezTo>
                    <a:close/>
                    <a:moveTo>
                      <a:pt x="154" y="47"/>
                    </a:moveTo>
                    <a:cubicBezTo>
                      <a:pt x="152" y="42"/>
                      <a:pt x="152" y="42"/>
                      <a:pt x="152" y="42"/>
                    </a:cubicBezTo>
                    <a:cubicBezTo>
                      <a:pt x="153" y="41"/>
                      <a:pt x="155" y="40"/>
                      <a:pt x="155" y="39"/>
                    </a:cubicBezTo>
                    <a:cubicBezTo>
                      <a:pt x="160" y="43"/>
                      <a:pt x="160" y="43"/>
                      <a:pt x="160" y="43"/>
                    </a:cubicBezTo>
                    <a:cubicBezTo>
                      <a:pt x="159" y="45"/>
                      <a:pt x="157" y="46"/>
                      <a:pt x="154" y="47"/>
                    </a:cubicBezTo>
                    <a:close/>
                    <a:moveTo>
                      <a:pt x="166" y="38"/>
                    </a:moveTo>
                    <a:cubicBezTo>
                      <a:pt x="166" y="32"/>
                      <a:pt x="166" y="32"/>
                      <a:pt x="166" y="32"/>
                    </a:cubicBezTo>
                    <a:cubicBezTo>
                      <a:pt x="167" y="32"/>
                      <a:pt x="167" y="32"/>
                      <a:pt x="167" y="32"/>
                    </a:cubicBezTo>
                    <a:cubicBezTo>
                      <a:pt x="168" y="32"/>
                      <a:pt x="170" y="32"/>
                      <a:pt x="171" y="31"/>
                    </a:cubicBezTo>
                    <a:cubicBezTo>
                      <a:pt x="173" y="36"/>
                      <a:pt x="173" y="36"/>
                      <a:pt x="173" y="36"/>
                    </a:cubicBezTo>
                    <a:cubicBezTo>
                      <a:pt x="171" y="37"/>
                      <a:pt x="169" y="38"/>
                      <a:pt x="167" y="38"/>
                    </a:cubicBezTo>
                    <a:lnTo>
                      <a:pt x="166" y="38"/>
                    </a:lnTo>
                    <a:close/>
                    <a:moveTo>
                      <a:pt x="200" y="33"/>
                    </a:moveTo>
                    <a:cubicBezTo>
                      <a:pt x="199" y="32"/>
                      <a:pt x="198" y="30"/>
                      <a:pt x="198" y="29"/>
                    </a:cubicBezTo>
                    <a:cubicBezTo>
                      <a:pt x="197" y="28"/>
                      <a:pt x="197" y="28"/>
                      <a:pt x="197" y="28"/>
                    </a:cubicBezTo>
                    <a:cubicBezTo>
                      <a:pt x="201" y="24"/>
                      <a:pt x="201" y="24"/>
                      <a:pt x="201" y="24"/>
                    </a:cubicBezTo>
                    <a:cubicBezTo>
                      <a:pt x="202" y="25"/>
                      <a:pt x="202" y="25"/>
                      <a:pt x="203" y="26"/>
                    </a:cubicBezTo>
                    <a:cubicBezTo>
                      <a:pt x="203" y="27"/>
                      <a:pt x="204" y="28"/>
                      <a:pt x="204" y="29"/>
                    </a:cubicBezTo>
                    <a:lnTo>
                      <a:pt x="200" y="33"/>
                    </a:lnTo>
                    <a:close/>
                    <a:moveTo>
                      <a:pt x="188" y="31"/>
                    </a:moveTo>
                    <a:cubicBezTo>
                      <a:pt x="186" y="31"/>
                      <a:pt x="184" y="29"/>
                      <a:pt x="183" y="27"/>
                    </a:cubicBezTo>
                    <a:cubicBezTo>
                      <a:pt x="187" y="23"/>
                      <a:pt x="187" y="23"/>
                      <a:pt x="187" y="23"/>
                    </a:cubicBezTo>
                    <a:cubicBezTo>
                      <a:pt x="188" y="25"/>
                      <a:pt x="189" y="25"/>
                      <a:pt x="189" y="25"/>
                    </a:cubicBezTo>
                    <a:cubicBezTo>
                      <a:pt x="188" y="25"/>
                      <a:pt x="188" y="25"/>
                      <a:pt x="188" y="25"/>
                    </a:cubicBezTo>
                    <a:cubicBezTo>
                      <a:pt x="191" y="30"/>
                      <a:pt x="191" y="30"/>
                      <a:pt x="191" y="30"/>
                    </a:cubicBezTo>
                    <a:cubicBezTo>
                      <a:pt x="190" y="30"/>
                      <a:pt x="189" y="31"/>
                      <a:pt x="188" y="31"/>
                    </a:cubicBezTo>
                    <a:close/>
                    <a:moveTo>
                      <a:pt x="214" y="30"/>
                    </a:moveTo>
                    <a:cubicBezTo>
                      <a:pt x="209" y="28"/>
                      <a:pt x="209" y="28"/>
                      <a:pt x="209" y="28"/>
                    </a:cubicBezTo>
                    <a:cubicBezTo>
                      <a:pt x="209" y="27"/>
                      <a:pt x="209" y="26"/>
                      <a:pt x="210" y="25"/>
                    </a:cubicBezTo>
                    <a:cubicBezTo>
                      <a:pt x="210" y="24"/>
                      <a:pt x="210" y="23"/>
                      <a:pt x="210" y="22"/>
                    </a:cubicBezTo>
                    <a:cubicBezTo>
                      <a:pt x="216" y="24"/>
                      <a:pt x="216" y="24"/>
                      <a:pt x="216" y="24"/>
                    </a:cubicBezTo>
                    <a:cubicBezTo>
                      <a:pt x="216" y="25"/>
                      <a:pt x="215" y="25"/>
                      <a:pt x="215" y="26"/>
                    </a:cubicBezTo>
                    <a:cubicBezTo>
                      <a:pt x="215" y="27"/>
                      <a:pt x="215" y="29"/>
                      <a:pt x="214" y="30"/>
                    </a:cubicBezTo>
                    <a:close/>
                    <a:moveTo>
                      <a:pt x="172" y="27"/>
                    </a:moveTo>
                    <a:cubicBezTo>
                      <a:pt x="170" y="26"/>
                      <a:pt x="169" y="24"/>
                      <a:pt x="168" y="22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74" y="20"/>
                      <a:pt x="175" y="22"/>
                      <a:pt x="176" y="23"/>
                    </a:cubicBezTo>
                    <a:lnTo>
                      <a:pt x="172" y="27"/>
                    </a:lnTo>
                    <a:close/>
                    <a:moveTo>
                      <a:pt x="175" y="19"/>
                    </a:moveTo>
                    <a:cubicBezTo>
                      <a:pt x="174" y="17"/>
                      <a:pt x="172" y="16"/>
                      <a:pt x="172" y="16"/>
                    </a:cubicBezTo>
                    <a:cubicBezTo>
                      <a:pt x="173" y="11"/>
                      <a:pt x="173" y="11"/>
                      <a:pt x="173" y="11"/>
                    </a:cubicBezTo>
                    <a:cubicBezTo>
                      <a:pt x="175" y="11"/>
                      <a:pt x="177" y="12"/>
                      <a:pt x="179" y="14"/>
                    </a:cubicBezTo>
                    <a:lnTo>
                      <a:pt x="175" y="19"/>
                    </a:lnTo>
                    <a:close/>
                    <a:moveTo>
                      <a:pt x="221" y="15"/>
                    </a:moveTo>
                    <a:cubicBezTo>
                      <a:pt x="217" y="11"/>
                      <a:pt x="217" y="11"/>
                      <a:pt x="217" y="11"/>
                    </a:cubicBezTo>
                    <a:cubicBezTo>
                      <a:pt x="218" y="11"/>
                      <a:pt x="218" y="10"/>
                      <a:pt x="219" y="10"/>
                    </a:cubicBezTo>
                    <a:cubicBezTo>
                      <a:pt x="220" y="9"/>
                      <a:pt x="221" y="8"/>
                      <a:pt x="222" y="7"/>
                    </a:cubicBezTo>
                    <a:cubicBezTo>
                      <a:pt x="226" y="12"/>
                      <a:pt x="226" y="12"/>
                      <a:pt x="226" y="12"/>
                    </a:cubicBezTo>
                    <a:cubicBezTo>
                      <a:pt x="225" y="13"/>
                      <a:pt x="224" y="14"/>
                      <a:pt x="222" y="14"/>
                    </a:cubicBezTo>
                    <a:cubicBezTo>
                      <a:pt x="222" y="15"/>
                      <a:pt x="222" y="15"/>
                      <a:pt x="221" y="15"/>
                    </a:cubicBezTo>
                    <a:close/>
                    <a:moveTo>
                      <a:pt x="235" y="7"/>
                    </a:moveTo>
                    <a:cubicBezTo>
                      <a:pt x="233" y="1"/>
                      <a:pt x="233" y="1"/>
                      <a:pt x="233" y="1"/>
                    </a:cubicBezTo>
                    <a:cubicBezTo>
                      <a:pt x="236" y="0"/>
                      <a:pt x="238" y="0"/>
                      <a:pt x="240" y="1"/>
                    </a:cubicBezTo>
                    <a:cubicBezTo>
                      <a:pt x="241" y="2"/>
                      <a:pt x="241" y="2"/>
                      <a:pt x="242" y="2"/>
                    </a:cubicBezTo>
                    <a:cubicBezTo>
                      <a:pt x="237" y="6"/>
                      <a:pt x="237" y="6"/>
                      <a:pt x="237" y="6"/>
                    </a:cubicBezTo>
                    <a:cubicBezTo>
                      <a:pt x="237" y="6"/>
                      <a:pt x="236" y="6"/>
                      <a:pt x="235" y="7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3" name="îSļïḍe"/>
              <p:cNvSpPr/>
              <p:nvPr/>
            </p:nvSpPr>
            <p:spPr bwMode="auto">
              <a:xfrm>
                <a:off x="8124825" y="93663"/>
                <a:ext cx="633413" cy="1835150"/>
              </a:xfrm>
              <a:custGeom>
                <a:avLst/>
                <a:gdLst>
                  <a:gd name="T0" fmla="*/ 230 w 295"/>
                  <a:gd name="T1" fmla="*/ 851 h 856"/>
                  <a:gd name="T2" fmla="*/ 233 w 295"/>
                  <a:gd name="T3" fmla="*/ 825 h 856"/>
                  <a:gd name="T4" fmla="*/ 224 w 295"/>
                  <a:gd name="T5" fmla="*/ 793 h 856"/>
                  <a:gd name="T6" fmla="*/ 165 w 295"/>
                  <a:gd name="T7" fmla="*/ 782 h 856"/>
                  <a:gd name="T8" fmla="*/ 217 w 295"/>
                  <a:gd name="T9" fmla="*/ 777 h 856"/>
                  <a:gd name="T10" fmla="*/ 153 w 295"/>
                  <a:gd name="T11" fmla="*/ 774 h 856"/>
                  <a:gd name="T12" fmla="*/ 205 w 295"/>
                  <a:gd name="T13" fmla="*/ 771 h 856"/>
                  <a:gd name="T14" fmla="*/ 131 w 295"/>
                  <a:gd name="T15" fmla="*/ 747 h 856"/>
                  <a:gd name="T16" fmla="*/ 134 w 295"/>
                  <a:gd name="T17" fmla="*/ 730 h 856"/>
                  <a:gd name="T18" fmla="*/ 139 w 295"/>
                  <a:gd name="T19" fmla="*/ 695 h 856"/>
                  <a:gd name="T20" fmla="*/ 115 w 295"/>
                  <a:gd name="T21" fmla="*/ 668 h 856"/>
                  <a:gd name="T22" fmla="*/ 112 w 295"/>
                  <a:gd name="T23" fmla="*/ 661 h 856"/>
                  <a:gd name="T24" fmla="*/ 100 w 295"/>
                  <a:gd name="T25" fmla="*/ 657 h 856"/>
                  <a:gd name="T26" fmla="*/ 134 w 295"/>
                  <a:gd name="T27" fmla="*/ 645 h 856"/>
                  <a:gd name="T28" fmla="*/ 146 w 295"/>
                  <a:gd name="T29" fmla="*/ 646 h 856"/>
                  <a:gd name="T30" fmla="*/ 100 w 295"/>
                  <a:gd name="T31" fmla="*/ 638 h 856"/>
                  <a:gd name="T32" fmla="*/ 108 w 295"/>
                  <a:gd name="T33" fmla="*/ 627 h 856"/>
                  <a:gd name="T34" fmla="*/ 175 w 295"/>
                  <a:gd name="T35" fmla="*/ 614 h 856"/>
                  <a:gd name="T36" fmla="*/ 168 w 295"/>
                  <a:gd name="T37" fmla="*/ 588 h 856"/>
                  <a:gd name="T38" fmla="*/ 173 w 295"/>
                  <a:gd name="T39" fmla="*/ 568 h 856"/>
                  <a:gd name="T40" fmla="*/ 201 w 295"/>
                  <a:gd name="T41" fmla="*/ 566 h 856"/>
                  <a:gd name="T42" fmla="*/ 166 w 295"/>
                  <a:gd name="T43" fmla="*/ 556 h 856"/>
                  <a:gd name="T44" fmla="*/ 202 w 295"/>
                  <a:gd name="T45" fmla="*/ 551 h 856"/>
                  <a:gd name="T46" fmla="*/ 157 w 295"/>
                  <a:gd name="T47" fmla="*/ 543 h 856"/>
                  <a:gd name="T48" fmla="*/ 195 w 295"/>
                  <a:gd name="T49" fmla="*/ 539 h 856"/>
                  <a:gd name="T50" fmla="*/ 152 w 295"/>
                  <a:gd name="T51" fmla="*/ 531 h 856"/>
                  <a:gd name="T52" fmla="*/ 133 w 295"/>
                  <a:gd name="T53" fmla="*/ 505 h 856"/>
                  <a:gd name="T54" fmla="*/ 153 w 295"/>
                  <a:gd name="T55" fmla="*/ 480 h 856"/>
                  <a:gd name="T56" fmla="*/ 167 w 295"/>
                  <a:gd name="T57" fmla="*/ 455 h 856"/>
                  <a:gd name="T58" fmla="*/ 190 w 295"/>
                  <a:gd name="T59" fmla="*/ 429 h 856"/>
                  <a:gd name="T60" fmla="*/ 231 w 295"/>
                  <a:gd name="T61" fmla="*/ 422 h 856"/>
                  <a:gd name="T62" fmla="*/ 204 w 295"/>
                  <a:gd name="T63" fmla="*/ 417 h 856"/>
                  <a:gd name="T64" fmla="*/ 229 w 295"/>
                  <a:gd name="T65" fmla="*/ 404 h 856"/>
                  <a:gd name="T66" fmla="*/ 240 w 295"/>
                  <a:gd name="T67" fmla="*/ 387 h 856"/>
                  <a:gd name="T68" fmla="*/ 241 w 295"/>
                  <a:gd name="T69" fmla="*/ 350 h 856"/>
                  <a:gd name="T70" fmla="*/ 263 w 295"/>
                  <a:gd name="T71" fmla="*/ 330 h 856"/>
                  <a:gd name="T72" fmla="*/ 266 w 295"/>
                  <a:gd name="T73" fmla="*/ 296 h 856"/>
                  <a:gd name="T74" fmla="*/ 260 w 295"/>
                  <a:gd name="T75" fmla="*/ 290 h 856"/>
                  <a:gd name="T76" fmla="*/ 258 w 295"/>
                  <a:gd name="T77" fmla="*/ 250 h 856"/>
                  <a:gd name="T78" fmla="*/ 266 w 295"/>
                  <a:gd name="T79" fmla="*/ 223 h 856"/>
                  <a:gd name="T80" fmla="*/ 277 w 295"/>
                  <a:gd name="T81" fmla="*/ 202 h 856"/>
                  <a:gd name="T82" fmla="*/ 280 w 295"/>
                  <a:gd name="T83" fmla="*/ 175 h 856"/>
                  <a:gd name="T84" fmla="*/ 133 w 295"/>
                  <a:gd name="T85" fmla="*/ 159 h 856"/>
                  <a:gd name="T86" fmla="*/ 139 w 295"/>
                  <a:gd name="T87" fmla="*/ 157 h 856"/>
                  <a:gd name="T88" fmla="*/ 119 w 295"/>
                  <a:gd name="T89" fmla="*/ 153 h 856"/>
                  <a:gd name="T90" fmla="*/ 279 w 295"/>
                  <a:gd name="T91" fmla="*/ 143 h 856"/>
                  <a:gd name="T92" fmla="*/ 178 w 295"/>
                  <a:gd name="T93" fmla="*/ 143 h 856"/>
                  <a:gd name="T94" fmla="*/ 198 w 295"/>
                  <a:gd name="T95" fmla="*/ 145 h 856"/>
                  <a:gd name="T96" fmla="*/ 110 w 295"/>
                  <a:gd name="T97" fmla="*/ 134 h 856"/>
                  <a:gd name="T98" fmla="*/ 220 w 295"/>
                  <a:gd name="T99" fmla="*/ 125 h 856"/>
                  <a:gd name="T100" fmla="*/ 100 w 295"/>
                  <a:gd name="T101" fmla="*/ 128 h 856"/>
                  <a:gd name="T102" fmla="*/ 225 w 295"/>
                  <a:gd name="T103" fmla="*/ 114 h 856"/>
                  <a:gd name="T104" fmla="*/ 93 w 295"/>
                  <a:gd name="T105" fmla="*/ 112 h 856"/>
                  <a:gd name="T106" fmla="*/ 93 w 295"/>
                  <a:gd name="T107" fmla="*/ 113 h 856"/>
                  <a:gd name="T108" fmla="*/ 47 w 295"/>
                  <a:gd name="T109" fmla="*/ 88 h 856"/>
                  <a:gd name="T110" fmla="*/ 90 w 295"/>
                  <a:gd name="T111" fmla="*/ 80 h 856"/>
                  <a:gd name="T112" fmla="*/ 54 w 295"/>
                  <a:gd name="T113" fmla="*/ 76 h 856"/>
                  <a:gd name="T114" fmla="*/ 17 w 295"/>
                  <a:gd name="T115" fmla="*/ 66 h 856"/>
                  <a:gd name="T116" fmla="*/ 0 w 295"/>
                  <a:gd name="T117" fmla="*/ 63 h 856"/>
                  <a:gd name="T118" fmla="*/ 26 w 295"/>
                  <a:gd name="T119" fmla="*/ 36 h 856"/>
                  <a:gd name="T120" fmla="*/ 31 w 295"/>
                  <a:gd name="T121" fmla="*/ 12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5" h="856">
                    <a:moveTo>
                      <a:pt x="251" y="856"/>
                    </a:moveTo>
                    <a:cubicBezTo>
                      <a:pt x="250" y="856"/>
                      <a:pt x="249" y="856"/>
                      <a:pt x="247" y="856"/>
                    </a:cubicBezTo>
                    <a:cubicBezTo>
                      <a:pt x="248" y="850"/>
                      <a:pt x="248" y="850"/>
                      <a:pt x="248" y="850"/>
                    </a:cubicBezTo>
                    <a:cubicBezTo>
                      <a:pt x="251" y="850"/>
                      <a:pt x="252" y="850"/>
                      <a:pt x="252" y="850"/>
                    </a:cubicBezTo>
                    <a:cubicBezTo>
                      <a:pt x="252" y="850"/>
                      <a:pt x="251" y="850"/>
                      <a:pt x="250" y="852"/>
                    </a:cubicBezTo>
                    <a:cubicBezTo>
                      <a:pt x="256" y="854"/>
                      <a:pt x="256" y="854"/>
                      <a:pt x="256" y="854"/>
                    </a:cubicBezTo>
                    <a:cubicBezTo>
                      <a:pt x="255" y="856"/>
                      <a:pt x="252" y="856"/>
                      <a:pt x="251" y="856"/>
                    </a:cubicBezTo>
                    <a:close/>
                    <a:moveTo>
                      <a:pt x="236" y="852"/>
                    </a:moveTo>
                    <a:cubicBezTo>
                      <a:pt x="237" y="849"/>
                      <a:pt x="237" y="849"/>
                      <a:pt x="237" y="849"/>
                    </a:cubicBezTo>
                    <a:cubicBezTo>
                      <a:pt x="236" y="852"/>
                      <a:pt x="236" y="852"/>
                      <a:pt x="236" y="852"/>
                    </a:cubicBezTo>
                    <a:cubicBezTo>
                      <a:pt x="234" y="852"/>
                      <a:pt x="232" y="851"/>
                      <a:pt x="230" y="851"/>
                    </a:cubicBezTo>
                    <a:cubicBezTo>
                      <a:pt x="232" y="845"/>
                      <a:pt x="232" y="845"/>
                      <a:pt x="232" y="845"/>
                    </a:cubicBezTo>
                    <a:cubicBezTo>
                      <a:pt x="233" y="845"/>
                      <a:pt x="235" y="846"/>
                      <a:pt x="236" y="846"/>
                    </a:cubicBezTo>
                    <a:cubicBezTo>
                      <a:pt x="237" y="849"/>
                      <a:pt x="237" y="849"/>
                      <a:pt x="237" y="849"/>
                    </a:cubicBezTo>
                    <a:lnTo>
                      <a:pt x="236" y="852"/>
                    </a:lnTo>
                    <a:close/>
                    <a:moveTo>
                      <a:pt x="228" y="841"/>
                    </a:moveTo>
                    <a:cubicBezTo>
                      <a:pt x="223" y="838"/>
                      <a:pt x="223" y="838"/>
                      <a:pt x="223" y="838"/>
                    </a:cubicBezTo>
                    <a:cubicBezTo>
                      <a:pt x="224" y="836"/>
                      <a:pt x="226" y="834"/>
                      <a:pt x="229" y="833"/>
                    </a:cubicBezTo>
                    <a:cubicBezTo>
                      <a:pt x="231" y="839"/>
                      <a:pt x="231" y="839"/>
                      <a:pt x="231" y="839"/>
                    </a:cubicBezTo>
                    <a:cubicBezTo>
                      <a:pt x="230" y="839"/>
                      <a:pt x="229" y="840"/>
                      <a:pt x="228" y="841"/>
                    </a:cubicBezTo>
                    <a:close/>
                    <a:moveTo>
                      <a:pt x="234" y="830"/>
                    </a:moveTo>
                    <a:cubicBezTo>
                      <a:pt x="234" y="827"/>
                      <a:pt x="234" y="826"/>
                      <a:pt x="233" y="825"/>
                    </a:cubicBezTo>
                    <a:cubicBezTo>
                      <a:pt x="238" y="822"/>
                      <a:pt x="238" y="822"/>
                      <a:pt x="238" y="822"/>
                    </a:cubicBezTo>
                    <a:cubicBezTo>
                      <a:pt x="239" y="824"/>
                      <a:pt x="240" y="826"/>
                      <a:pt x="240" y="829"/>
                    </a:cubicBezTo>
                    <a:lnTo>
                      <a:pt x="234" y="830"/>
                    </a:lnTo>
                    <a:close/>
                    <a:moveTo>
                      <a:pt x="227" y="815"/>
                    </a:moveTo>
                    <a:cubicBezTo>
                      <a:pt x="226" y="813"/>
                      <a:pt x="226" y="811"/>
                      <a:pt x="225" y="810"/>
                    </a:cubicBezTo>
                    <a:cubicBezTo>
                      <a:pt x="230" y="807"/>
                      <a:pt x="230" y="807"/>
                      <a:pt x="230" y="807"/>
                    </a:cubicBezTo>
                    <a:cubicBezTo>
                      <a:pt x="231" y="809"/>
                      <a:pt x="232" y="811"/>
                      <a:pt x="233" y="813"/>
                    </a:cubicBezTo>
                    <a:lnTo>
                      <a:pt x="227" y="815"/>
                    </a:lnTo>
                    <a:close/>
                    <a:moveTo>
                      <a:pt x="220" y="800"/>
                    </a:moveTo>
                    <a:cubicBezTo>
                      <a:pt x="218" y="797"/>
                      <a:pt x="218" y="795"/>
                      <a:pt x="218" y="793"/>
                    </a:cubicBezTo>
                    <a:cubicBezTo>
                      <a:pt x="224" y="793"/>
                      <a:pt x="224" y="793"/>
                      <a:pt x="224" y="793"/>
                    </a:cubicBezTo>
                    <a:cubicBezTo>
                      <a:pt x="224" y="794"/>
                      <a:pt x="224" y="795"/>
                      <a:pt x="225" y="797"/>
                    </a:cubicBezTo>
                    <a:lnTo>
                      <a:pt x="220" y="800"/>
                    </a:lnTo>
                    <a:close/>
                    <a:moveTo>
                      <a:pt x="156" y="792"/>
                    </a:moveTo>
                    <a:cubicBezTo>
                      <a:pt x="155" y="792"/>
                      <a:pt x="153" y="792"/>
                      <a:pt x="152" y="791"/>
                    </a:cubicBezTo>
                    <a:cubicBezTo>
                      <a:pt x="151" y="791"/>
                      <a:pt x="150" y="790"/>
                      <a:pt x="149" y="788"/>
                    </a:cubicBezTo>
                    <a:cubicBezTo>
                      <a:pt x="154" y="785"/>
                      <a:pt x="154" y="785"/>
                      <a:pt x="154" y="785"/>
                    </a:cubicBezTo>
                    <a:cubicBezTo>
                      <a:pt x="154" y="786"/>
                      <a:pt x="154" y="786"/>
                      <a:pt x="155" y="786"/>
                    </a:cubicBezTo>
                    <a:cubicBezTo>
                      <a:pt x="155" y="786"/>
                      <a:pt x="156" y="786"/>
                      <a:pt x="156" y="786"/>
                    </a:cubicBezTo>
                    <a:lnTo>
                      <a:pt x="156" y="792"/>
                    </a:lnTo>
                    <a:close/>
                    <a:moveTo>
                      <a:pt x="169" y="787"/>
                    </a:moveTo>
                    <a:cubicBezTo>
                      <a:pt x="165" y="782"/>
                      <a:pt x="165" y="782"/>
                      <a:pt x="165" y="782"/>
                    </a:cubicBezTo>
                    <a:cubicBezTo>
                      <a:pt x="166" y="781"/>
                      <a:pt x="168" y="780"/>
                      <a:pt x="169" y="779"/>
                    </a:cubicBezTo>
                    <a:cubicBezTo>
                      <a:pt x="169" y="779"/>
                      <a:pt x="169" y="779"/>
                      <a:pt x="169" y="779"/>
                    </a:cubicBezTo>
                    <a:cubicBezTo>
                      <a:pt x="173" y="783"/>
                      <a:pt x="173" y="783"/>
                      <a:pt x="173" y="783"/>
                    </a:cubicBezTo>
                    <a:cubicBezTo>
                      <a:pt x="173" y="784"/>
                      <a:pt x="173" y="784"/>
                      <a:pt x="173" y="784"/>
                    </a:cubicBezTo>
                    <a:cubicBezTo>
                      <a:pt x="171" y="785"/>
                      <a:pt x="170" y="786"/>
                      <a:pt x="169" y="787"/>
                    </a:cubicBezTo>
                    <a:close/>
                    <a:moveTo>
                      <a:pt x="213" y="783"/>
                    </a:moveTo>
                    <a:cubicBezTo>
                      <a:pt x="213" y="783"/>
                      <a:pt x="213" y="783"/>
                      <a:pt x="213" y="782"/>
                    </a:cubicBezTo>
                    <a:cubicBezTo>
                      <a:pt x="212" y="781"/>
                      <a:pt x="212" y="780"/>
                      <a:pt x="212" y="779"/>
                    </a:cubicBezTo>
                    <a:cubicBezTo>
                      <a:pt x="211" y="778"/>
                      <a:pt x="211" y="778"/>
                      <a:pt x="211" y="778"/>
                    </a:cubicBezTo>
                    <a:cubicBezTo>
                      <a:pt x="217" y="776"/>
                      <a:pt x="217" y="776"/>
                      <a:pt x="217" y="776"/>
                    </a:cubicBezTo>
                    <a:cubicBezTo>
                      <a:pt x="217" y="777"/>
                      <a:pt x="217" y="777"/>
                      <a:pt x="217" y="777"/>
                    </a:cubicBezTo>
                    <a:cubicBezTo>
                      <a:pt x="217" y="778"/>
                      <a:pt x="218" y="779"/>
                      <a:pt x="218" y="780"/>
                    </a:cubicBezTo>
                    <a:cubicBezTo>
                      <a:pt x="218" y="780"/>
                      <a:pt x="218" y="781"/>
                      <a:pt x="219" y="781"/>
                    </a:cubicBezTo>
                    <a:lnTo>
                      <a:pt x="213" y="783"/>
                    </a:lnTo>
                    <a:close/>
                    <a:moveTo>
                      <a:pt x="153" y="775"/>
                    </a:moveTo>
                    <a:cubicBezTo>
                      <a:pt x="147" y="775"/>
                      <a:pt x="147" y="775"/>
                      <a:pt x="147" y="775"/>
                    </a:cubicBezTo>
                    <a:cubicBezTo>
                      <a:pt x="147" y="773"/>
                      <a:pt x="147" y="773"/>
                      <a:pt x="147" y="773"/>
                    </a:cubicBezTo>
                    <a:cubicBezTo>
                      <a:pt x="147" y="773"/>
                      <a:pt x="147" y="772"/>
                      <a:pt x="147" y="772"/>
                    </a:cubicBezTo>
                    <a:cubicBezTo>
                      <a:pt x="147" y="771"/>
                      <a:pt x="147" y="771"/>
                      <a:pt x="147" y="771"/>
                    </a:cubicBezTo>
                    <a:cubicBezTo>
                      <a:pt x="152" y="768"/>
                      <a:pt x="152" y="768"/>
                      <a:pt x="152" y="768"/>
                    </a:cubicBezTo>
                    <a:cubicBezTo>
                      <a:pt x="153" y="770"/>
                      <a:pt x="153" y="771"/>
                      <a:pt x="153" y="772"/>
                    </a:cubicBezTo>
                    <a:cubicBezTo>
                      <a:pt x="153" y="772"/>
                      <a:pt x="153" y="773"/>
                      <a:pt x="153" y="774"/>
                    </a:cubicBezTo>
                    <a:lnTo>
                      <a:pt x="153" y="775"/>
                    </a:lnTo>
                    <a:close/>
                    <a:moveTo>
                      <a:pt x="182" y="775"/>
                    </a:moveTo>
                    <a:cubicBezTo>
                      <a:pt x="178" y="771"/>
                      <a:pt x="178" y="771"/>
                      <a:pt x="178" y="771"/>
                    </a:cubicBezTo>
                    <a:cubicBezTo>
                      <a:pt x="182" y="767"/>
                      <a:pt x="182" y="767"/>
                      <a:pt x="182" y="767"/>
                    </a:cubicBezTo>
                    <a:cubicBezTo>
                      <a:pt x="186" y="771"/>
                      <a:pt x="186" y="771"/>
                      <a:pt x="186" y="771"/>
                    </a:cubicBezTo>
                    <a:lnTo>
                      <a:pt x="182" y="775"/>
                    </a:lnTo>
                    <a:close/>
                    <a:moveTo>
                      <a:pt x="205" y="771"/>
                    </a:moveTo>
                    <a:cubicBezTo>
                      <a:pt x="203" y="771"/>
                      <a:pt x="200" y="769"/>
                      <a:pt x="200" y="764"/>
                    </a:cubicBezTo>
                    <a:cubicBezTo>
                      <a:pt x="206" y="764"/>
                      <a:pt x="206" y="764"/>
                      <a:pt x="206" y="764"/>
                    </a:cubicBezTo>
                    <a:cubicBezTo>
                      <a:pt x="206" y="765"/>
                      <a:pt x="206" y="765"/>
                      <a:pt x="207" y="766"/>
                    </a:cubicBezTo>
                    <a:lnTo>
                      <a:pt x="205" y="771"/>
                    </a:lnTo>
                    <a:close/>
                    <a:moveTo>
                      <a:pt x="138" y="764"/>
                    </a:moveTo>
                    <a:cubicBezTo>
                      <a:pt x="137" y="763"/>
                      <a:pt x="135" y="761"/>
                      <a:pt x="134" y="759"/>
                    </a:cubicBezTo>
                    <a:cubicBezTo>
                      <a:pt x="140" y="756"/>
                      <a:pt x="140" y="756"/>
                      <a:pt x="140" y="756"/>
                    </a:cubicBezTo>
                    <a:cubicBezTo>
                      <a:pt x="140" y="758"/>
                      <a:pt x="141" y="759"/>
                      <a:pt x="142" y="760"/>
                    </a:cubicBezTo>
                    <a:lnTo>
                      <a:pt x="138" y="764"/>
                    </a:lnTo>
                    <a:close/>
                    <a:moveTo>
                      <a:pt x="195" y="763"/>
                    </a:moveTo>
                    <a:cubicBezTo>
                      <a:pt x="191" y="759"/>
                      <a:pt x="191" y="759"/>
                      <a:pt x="191" y="759"/>
                    </a:cubicBezTo>
                    <a:cubicBezTo>
                      <a:pt x="193" y="757"/>
                      <a:pt x="194" y="756"/>
                      <a:pt x="196" y="755"/>
                    </a:cubicBezTo>
                    <a:cubicBezTo>
                      <a:pt x="199" y="760"/>
                      <a:pt x="199" y="760"/>
                      <a:pt x="199" y="760"/>
                    </a:cubicBezTo>
                    <a:cubicBezTo>
                      <a:pt x="198" y="761"/>
                      <a:pt x="196" y="762"/>
                      <a:pt x="195" y="763"/>
                    </a:cubicBezTo>
                    <a:close/>
                    <a:moveTo>
                      <a:pt x="131" y="747"/>
                    </a:moveTo>
                    <a:cubicBezTo>
                      <a:pt x="131" y="746"/>
                      <a:pt x="131" y="746"/>
                      <a:pt x="131" y="746"/>
                    </a:cubicBezTo>
                    <a:cubicBezTo>
                      <a:pt x="131" y="744"/>
                      <a:pt x="130" y="743"/>
                      <a:pt x="130" y="742"/>
                    </a:cubicBezTo>
                    <a:cubicBezTo>
                      <a:pt x="135" y="739"/>
                      <a:pt x="135" y="739"/>
                      <a:pt x="135" y="739"/>
                    </a:cubicBezTo>
                    <a:cubicBezTo>
                      <a:pt x="136" y="741"/>
                      <a:pt x="136" y="743"/>
                      <a:pt x="137" y="744"/>
                    </a:cubicBezTo>
                    <a:cubicBezTo>
                      <a:pt x="137" y="745"/>
                      <a:pt x="137" y="745"/>
                      <a:pt x="137" y="745"/>
                    </a:cubicBezTo>
                    <a:lnTo>
                      <a:pt x="131" y="747"/>
                    </a:lnTo>
                    <a:close/>
                    <a:moveTo>
                      <a:pt x="134" y="730"/>
                    </a:moveTo>
                    <a:cubicBezTo>
                      <a:pt x="128" y="729"/>
                      <a:pt x="128" y="729"/>
                      <a:pt x="128" y="729"/>
                    </a:cubicBezTo>
                    <a:cubicBezTo>
                      <a:pt x="128" y="727"/>
                      <a:pt x="128" y="726"/>
                      <a:pt x="128" y="723"/>
                    </a:cubicBezTo>
                    <a:cubicBezTo>
                      <a:pt x="134" y="723"/>
                      <a:pt x="134" y="723"/>
                      <a:pt x="134" y="723"/>
                    </a:cubicBezTo>
                    <a:cubicBezTo>
                      <a:pt x="134" y="726"/>
                      <a:pt x="134" y="728"/>
                      <a:pt x="134" y="730"/>
                    </a:cubicBezTo>
                    <a:close/>
                    <a:moveTo>
                      <a:pt x="133" y="712"/>
                    </a:moveTo>
                    <a:cubicBezTo>
                      <a:pt x="127" y="711"/>
                      <a:pt x="127" y="711"/>
                      <a:pt x="127" y="711"/>
                    </a:cubicBezTo>
                    <a:cubicBezTo>
                      <a:pt x="128" y="709"/>
                      <a:pt x="129" y="707"/>
                      <a:pt x="130" y="705"/>
                    </a:cubicBezTo>
                    <a:cubicBezTo>
                      <a:pt x="135" y="708"/>
                      <a:pt x="135" y="708"/>
                      <a:pt x="135" y="708"/>
                    </a:cubicBezTo>
                    <a:cubicBezTo>
                      <a:pt x="134" y="710"/>
                      <a:pt x="133" y="711"/>
                      <a:pt x="133" y="712"/>
                    </a:cubicBezTo>
                    <a:close/>
                    <a:moveTo>
                      <a:pt x="134" y="698"/>
                    </a:moveTo>
                    <a:cubicBezTo>
                      <a:pt x="134" y="697"/>
                      <a:pt x="134" y="697"/>
                      <a:pt x="133" y="696"/>
                    </a:cubicBezTo>
                    <a:cubicBezTo>
                      <a:pt x="132" y="696"/>
                      <a:pt x="132" y="695"/>
                      <a:pt x="131" y="694"/>
                    </a:cubicBezTo>
                    <a:cubicBezTo>
                      <a:pt x="135" y="690"/>
                      <a:pt x="135" y="690"/>
                      <a:pt x="135" y="690"/>
                    </a:cubicBezTo>
                    <a:cubicBezTo>
                      <a:pt x="136" y="691"/>
                      <a:pt x="136" y="691"/>
                      <a:pt x="137" y="692"/>
                    </a:cubicBezTo>
                    <a:cubicBezTo>
                      <a:pt x="138" y="693"/>
                      <a:pt x="139" y="694"/>
                      <a:pt x="139" y="695"/>
                    </a:cubicBezTo>
                    <a:lnTo>
                      <a:pt x="134" y="698"/>
                    </a:lnTo>
                    <a:close/>
                    <a:moveTo>
                      <a:pt x="126" y="683"/>
                    </a:moveTo>
                    <a:cubicBezTo>
                      <a:pt x="126" y="682"/>
                      <a:pt x="125" y="681"/>
                      <a:pt x="124" y="680"/>
                    </a:cubicBezTo>
                    <a:cubicBezTo>
                      <a:pt x="123" y="679"/>
                      <a:pt x="123" y="679"/>
                      <a:pt x="123" y="679"/>
                    </a:cubicBezTo>
                    <a:cubicBezTo>
                      <a:pt x="127" y="675"/>
                      <a:pt x="127" y="675"/>
                      <a:pt x="127" y="675"/>
                    </a:cubicBezTo>
                    <a:cubicBezTo>
                      <a:pt x="127" y="675"/>
                      <a:pt x="128" y="675"/>
                      <a:pt x="128" y="676"/>
                    </a:cubicBezTo>
                    <a:cubicBezTo>
                      <a:pt x="129" y="677"/>
                      <a:pt x="131" y="679"/>
                      <a:pt x="132" y="680"/>
                    </a:cubicBezTo>
                    <a:lnTo>
                      <a:pt x="126" y="683"/>
                    </a:lnTo>
                    <a:close/>
                    <a:moveTo>
                      <a:pt x="115" y="669"/>
                    </a:moveTo>
                    <a:cubicBezTo>
                      <a:pt x="115" y="669"/>
                      <a:pt x="115" y="668"/>
                      <a:pt x="115" y="668"/>
                    </a:cubicBezTo>
                    <a:cubicBezTo>
                      <a:pt x="115" y="668"/>
                      <a:pt x="115" y="668"/>
                      <a:pt x="115" y="668"/>
                    </a:cubicBezTo>
                    <a:cubicBezTo>
                      <a:pt x="115" y="666"/>
                      <a:pt x="115" y="665"/>
                      <a:pt x="116" y="664"/>
                    </a:cubicBezTo>
                    <a:cubicBezTo>
                      <a:pt x="116" y="663"/>
                      <a:pt x="116" y="663"/>
                      <a:pt x="116" y="663"/>
                    </a:cubicBezTo>
                    <a:cubicBezTo>
                      <a:pt x="122" y="663"/>
                      <a:pt x="122" y="663"/>
                      <a:pt x="122" y="663"/>
                    </a:cubicBezTo>
                    <a:cubicBezTo>
                      <a:pt x="122" y="664"/>
                      <a:pt x="121" y="665"/>
                      <a:pt x="121" y="666"/>
                    </a:cubicBezTo>
                    <a:cubicBezTo>
                      <a:pt x="121" y="667"/>
                      <a:pt x="121" y="667"/>
                      <a:pt x="120" y="668"/>
                    </a:cubicBezTo>
                    <a:lnTo>
                      <a:pt x="115" y="669"/>
                    </a:lnTo>
                    <a:close/>
                    <a:moveTo>
                      <a:pt x="106" y="664"/>
                    </a:moveTo>
                    <a:cubicBezTo>
                      <a:pt x="105" y="658"/>
                      <a:pt x="105" y="658"/>
                      <a:pt x="105" y="658"/>
                    </a:cubicBezTo>
                    <a:cubicBezTo>
                      <a:pt x="106" y="658"/>
                      <a:pt x="107" y="658"/>
                      <a:pt x="108" y="657"/>
                    </a:cubicBezTo>
                    <a:cubicBezTo>
                      <a:pt x="109" y="656"/>
                      <a:pt x="109" y="656"/>
                      <a:pt x="109" y="656"/>
                    </a:cubicBezTo>
                    <a:cubicBezTo>
                      <a:pt x="112" y="661"/>
                      <a:pt x="112" y="661"/>
                      <a:pt x="112" y="661"/>
                    </a:cubicBezTo>
                    <a:cubicBezTo>
                      <a:pt x="111" y="662"/>
                      <a:pt x="111" y="662"/>
                      <a:pt x="111" y="662"/>
                    </a:cubicBezTo>
                    <a:cubicBezTo>
                      <a:pt x="110" y="663"/>
                      <a:pt x="108" y="664"/>
                      <a:pt x="106" y="664"/>
                    </a:cubicBezTo>
                    <a:close/>
                    <a:moveTo>
                      <a:pt x="100" y="657"/>
                    </a:moveTo>
                    <a:cubicBezTo>
                      <a:pt x="96" y="653"/>
                      <a:pt x="96" y="653"/>
                      <a:pt x="96" y="653"/>
                    </a:cubicBezTo>
                    <a:cubicBezTo>
                      <a:pt x="96" y="653"/>
                      <a:pt x="96" y="653"/>
                      <a:pt x="97" y="653"/>
                    </a:cubicBezTo>
                    <a:cubicBezTo>
                      <a:pt x="97" y="652"/>
                      <a:pt x="98" y="651"/>
                      <a:pt x="98" y="651"/>
                    </a:cubicBezTo>
                    <a:cubicBezTo>
                      <a:pt x="99" y="650"/>
                      <a:pt x="99" y="650"/>
                      <a:pt x="100" y="649"/>
                    </a:cubicBezTo>
                    <a:cubicBezTo>
                      <a:pt x="104" y="653"/>
                      <a:pt x="104" y="653"/>
                      <a:pt x="104" y="653"/>
                    </a:cubicBezTo>
                    <a:cubicBezTo>
                      <a:pt x="104" y="654"/>
                      <a:pt x="103" y="655"/>
                      <a:pt x="102" y="655"/>
                    </a:cubicBezTo>
                    <a:cubicBezTo>
                      <a:pt x="102" y="656"/>
                      <a:pt x="101" y="656"/>
                      <a:pt x="101" y="657"/>
                    </a:cubicBezTo>
                    <a:cubicBezTo>
                      <a:pt x="101" y="657"/>
                      <a:pt x="100" y="657"/>
                      <a:pt x="100" y="657"/>
                    </a:cubicBezTo>
                    <a:close/>
                    <a:moveTo>
                      <a:pt x="162" y="653"/>
                    </a:moveTo>
                    <a:cubicBezTo>
                      <a:pt x="161" y="653"/>
                      <a:pt x="160" y="653"/>
                      <a:pt x="158" y="653"/>
                    </a:cubicBezTo>
                    <a:cubicBezTo>
                      <a:pt x="159" y="647"/>
                      <a:pt x="159" y="647"/>
                      <a:pt x="159" y="647"/>
                    </a:cubicBezTo>
                    <a:cubicBezTo>
                      <a:pt x="160" y="647"/>
                      <a:pt x="161" y="647"/>
                      <a:pt x="162" y="647"/>
                    </a:cubicBezTo>
                    <a:cubicBezTo>
                      <a:pt x="163" y="647"/>
                      <a:pt x="163" y="647"/>
                      <a:pt x="163" y="647"/>
                    </a:cubicBezTo>
                    <a:cubicBezTo>
                      <a:pt x="166" y="653"/>
                      <a:pt x="166" y="653"/>
                      <a:pt x="166" y="653"/>
                    </a:cubicBezTo>
                    <a:cubicBezTo>
                      <a:pt x="165" y="653"/>
                      <a:pt x="163" y="653"/>
                      <a:pt x="162" y="653"/>
                    </a:cubicBezTo>
                    <a:close/>
                    <a:moveTo>
                      <a:pt x="139" y="649"/>
                    </a:moveTo>
                    <a:cubicBezTo>
                      <a:pt x="134" y="645"/>
                      <a:pt x="134" y="645"/>
                      <a:pt x="134" y="645"/>
                    </a:cubicBezTo>
                    <a:cubicBezTo>
                      <a:pt x="136" y="647"/>
                      <a:pt x="136" y="647"/>
                      <a:pt x="136" y="647"/>
                    </a:cubicBezTo>
                    <a:cubicBezTo>
                      <a:pt x="134" y="645"/>
                      <a:pt x="134" y="645"/>
                      <a:pt x="134" y="645"/>
                    </a:cubicBezTo>
                    <a:cubicBezTo>
                      <a:pt x="134" y="645"/>
                      <a:pt x="134" y="645"/>
                      <a:pt x="134" y="643"/>
                    </a:cubicBezTo>
                    <a:cubicBezTo>
                      <a:pt x="134" y="642"/>
                      <a:pt x="134" y="641"/>
                      <a:pt x="135" y="640"/>
                    </a:cubicBezTo>
                    <a:cubicBezTo>
                      <a:pt x="140" y="642"/>
                      <a:pt x="140" y="642"/>
                      <a:pt x="140" y="642"/>
                    </a:cubicBezTo>
                    <a:cubicBezTo>
                      <a:pt x="140" y="642"/>
                      <a:pt x="140" y="643"/>
                      <a:pt x="140" y="643"/>
                    </a:cubicBezTo>
                    <a:cubicBezTo>
                      <a:pt x="140" y="645"/>
                      <a:pt x="140" y="647"/>
                      <a:pt x="139" y="649"/>
                    </a:cubicBezTo>
                    <a:close/>
                    <a:moveTo>
                      <a:pt x="146" y="646"/>
                    </a:moveTo>
                    <a:cubicBezTo>
                      <a:pt x="146" y="645"/>
                      <a:pt x="146" y="645"/>
                      <a:pt x="146" y="645"/>
                    </a:cubicBezTo>
                    <a:cubicBezTo>
                      <a:pt x="146" y="644"/>
                      <a:pt x="145" y="642"/>
                      <a:pt x="144" y="641"/>
                    </a:cubicBezTo>
                    <a:cubicBezTo>
                      <a:pt x="149" y="638"/>
                      <a:pt x="149" y="638"/>
                      <a:pt x="149" y="638"/>
                    </a:cubicBezTo>
                    <a:cubicBezTo>
                      <a:pt x="150" y="640"/>
                      <a:pt x="151" y="642"/>
                      <a:pt x="152" y="643"/>
                    </a:cubicBezTo>
                    <a:lnTo>
                      <a:pt x="146" y="646"/>
                    </a:lnTo>
                    <a:close/>
                    <a:moveTo>
                      <a:pt x="125" y="646"/>
                    </a:moveTo>
                    <a:cubicBezTo>
                      <a:pt x="124" y="645"/>
                      <a:pt x="123" y="645"/>
                      <a:pt x="122" y="645"/>
                    </a:cubicBezTo>
                    <a:cubicBezTo>
                      <a:pt x="121" y="644"/>
                      <a:pt x="121" y="644"/>
                      <a:pt x="121" y="644"/>
                    </a:cubicBezTo>
                    <a:cubicBezTo>
                      <a:pt x="120" y="644"/>
                      <a:pt x="120" y="643"/>
                      <a:pt x="119" y="643"/>
                    </a:cubicBezTo>
                    <a:cubicBezTo>
                      <a:pt x="122" y="638"/>
                      <a:pt x="122" y="638"/>
                      <a:pt x="122" y="638"/>
                    </a:cubicBezTo>
                    <a:cubicBezTo>
                      <a:pt x="123" y="638"/>
                      <a:pt x="123" y="639"/>
                      <a:pt x="123" y="639"/>
                    </a:cubicBezTo>
                    <a:cubicBezTo>
                      <a:pt x="125" y="639"/>
                      <a:pt x="125" y="639"/>
                      <a:pt x="125" y="639"/>
                    </a:cubicBezTo>
                    <a:cubicBezTo>
                      <a:pt x="125" y="640"/>
                      <a:pt x="126" y="640"/>
                      <a:pt x="127" y="641"/>
                    </a:cubicBezTo>
                    <a:lnTo>
                      <a:pt x="125" y="646"/>
                    </a:lnTo>
                    <a:close/>
                    <a:moveTo>
                      <a:pt x="102" y="641"/>
                    </a:moveTo>
                    <a:cubicBezTo>
                      <a:pt x="102" y="640"/>
                      <a:pt x="101" y="639"/>
                      <a:pt x="100" y="638"/>
                    </a:cubicBezTo>
                    <a:cubicBezTo>
                      <a:pt x="103" y="633"/>
                      <a:pt x="103" y="633"/>
                      <a:pt x="103" y="633"/>
                    </a:cubicBezTo>
                    <a:cubicBezTo>
                      <a:pt x="106" y="635"/>
                      <a:pt x="107" y="637"/>
                      <a:pt x="108" y="640"/>
                    </a:cubicBezTo>
                    <a:lnTo>
                      <a:pt x="102" y="641"/>
                    </a:lnTo>
                    <a:close/>
                    <a:moveTo>
                      <a:pt x="162" y="639"/>
                    </a:moveTo>
                    <a:cubicBezTo>
                      <a:pt x="162" y="637"/>
                      <a:pt x="161" y="635"/>
                      <a:pt x="161" y="633"/>
                    </a:cubicBezTo>
                    <a:cubicBezTo>
                      <a:pt x="167" y="633"/>
                      <a:pt x="167" y="633"/>
                      <a:pt x="167" y="633"/>
                    </a:cubicBezTo>
                    <a:cubicBezTo>
                      <a:pt x="167" y="635"/>
                      <a:pt x="167" y="637"/>
                      <a:pt x="168" y="638"/>
                    </a:cubicBezTo>
                    <a:lnTo>
                      <a:pt x="162" y="639"/>
                    </a:lnTo>
                    <a:close/>
                    <a:moveTo>
                      <a:pt x="112" y="634"/>
                    </a:moveTo>
                    <a:cubicBezTo>
                      <a:pt x="111" y="633"/>
                      <a:pt x="110" y="633"/>
                      <a:pt x="109" y="633"/>
                    </a:cubicBezTo>
                    <a:cubicBezTo>
                      <a:pt x="108" y="627"/>
                      <a:pt x="108" y="627"/>
                      <a:pt x="108" y="627"/>
                    </a:cubicBezTo>
                    <a:cubicBezTo>
                      <a:pt x="110" y="627"/>
                      <a:pt x="113" y="628"/>
                      <a:pt x="115" y="629"/>
                    </a:cubicBezTo>
                    <a:lnTo>
                      <a:pt x="112" y="634"/>
                    </a:lnTo>
                    <a:close/>
                    <a:moveTo>
                      <a:pt x="160" y="622"/>
                    </a:moveTo>
                    <a:cubicBezTo>
                      <a:pt x="160" y="621"/>
                      <a:pt x="160" y="620"/>
                      <a:pt x="160" y="619"/>
                    </a:cubicBezTo>
                    <a:cubicBezTo>
                      <a:pt x="160" y="616"/>
                      <a:pt x="161" y="615"/>
                      <a:pt x="164" y="614"/>
                    </a:cubicBezTo>
                    <a:cubicBezTo>
                      <a:pt x="165" y="620"/>
                      <a:pt x="165" y="620"/>
                      <a:pt x="165" y="620"/>
                    </a:cubicBezTo>
                    <a:cubicBezTo>
                      <a:pt x="165" y="620"/>
                      <a:pt x="166" y="619"/>
                      <a:pt x="166" y="619"/>
                    </a:cubicBezTo>
                    <a:cubicBezTo>
                      <a:pt x="166" y="620"/>
                      <a:pt x="166" y="620"/>
                      <a:pt x="166" y="621"/>
                    </a:cubicBezTo>
                    <a:lnTo>
                      <a:pt x="160" y="622"/>
                    </a:lnTo>
                    <a:close/>
                    <a:moveTo>
                      <a:pt x="178" y="619"/>
                    </a:moveTo>
                    <a:cubicBezTo>
                      <a:pt x="175" y="614"/>
                      <a:pt x="175" y="614"/>
                      <a:pt x="175" y="614"/>
                    </a:cubicBezTo>
                    <a:cubicBezTo>
                      <a:pt x="176" y="613"/>
                      <a:pt x="176" y="612"/>
                      <a:pt x="177" y="611"/>
                    </a:cubicBezTo>
                    <a:cubicBezTo>
                      <a:pt x="177" y="610"/>
                      <a:pt x="177" y="610"/>
                      <a:pt x="177" y="610"/>
                    </a:cubicBezTo>
                    <a:cubicBezTo>
                      <a:pt x="183" y="613"/>
                      <a:pt x="183" y="613"/>
                      <a:pt x="183" y="613"/>
                    </a:cubicBezTo>
                    <a:cubicBezTo>
                      <a:pt x="182" y="614"/>
                      <a:pt x="182" y="614"/>
                      <a:pt x="182" y="614"/>
                    </a:cubicBezTo>
                    <a:cubicBezTo>
                      <a:pt x="181" y="616"/>
                      <a:pt x="179" y="618"/>
                      <a:pt x="178" y="619"/>
                    </a:cubicBezTo>
                    <a:close/>
                    <a:moveTo>
                      <a:pt x="179" y="601"/>
                    </a:moveTo>
                    <a:cubicBezTo>
                      <a:pt x="178" y="600"/>
                      <a:pt x="178" y="598"/>
                      <a:pt x="177" y="597"/>
                    </a:cubicBezTo>
                    <a:cubicBezTo>
                      <a:pt x="181" y="593"/>
                      <a:pt x="181" y="593"/>
                      <a:pt x="181" y="593"/>
                    </a:cubicBezTo>
                    <a:cubicBezTo>
                      <a:pt x="182" y="595"/>
                      <a:pt x="184" y="597"/>
                      <a:pt x="184" y="600"/>
                    </a:cubicBezTo>
                    <a:lnTo>
                      <a:pt x="179" y="601"/>
                    </a:lnTo>
                    <a:close/>
                    <a:moveTo>
                      <a:pt x="168" y="588"/>
                    </a:moveTo>
                    <a:cubicBezTo>
                      <a:pt x="168" y="586"/>
                      <a:pt x="168" y="585"/>
                      <a:pt x="168" y="583"/>
                    </a:cubicBezTo>
                    <a:cubicBezTo>
                      <a:pt x="167" y="581"/>
                      <a:pt x="167" y="581"/>
                      <a:pt x="167" y="581"/>
                    </a:cubicBezTo>
                    <a:cubicBezTo>
                      <a:pt x="173" y="581"/>
                      <a:pt x="173" y="581"/>
                      <a:pt x="173" y="581"/>
                    </a:cubicBezTo>
                    <a:cubicBezTo>
                      <a:pt x="173" y="583"/>
                      <a:pt x="173" y="583"/>
                      <a:pt x="173" y="583"/>
                    </a:cubicBezTo>
                    <a:cubicBezTo>
                      <a:pt x="173" y="584"/>
                      <a:pt x="174" y="585"/>
                      <a:pt x="174" y="586"/>
                    </a:cubicBezTo>
                    <a:lnTo>
                      <a:pt x="168" y="588"/>
                    </a:lnTo>
                    <a:close/>
                    <a:moveTo>
                      <a:pt x="174" y="577"/>
                    </a:moveTo>
                    <a:cubicBezTo>
                      <a:pt x="173" y="576"/>
                      <a:pt x="172" y="575"/>
                      <a:pt x="172" y="575"/>
                    </a:cubicBezTo>
                    <a:cubicBezTo>
                      <a:pt x="171" y="574"/>
                      <a:pt x="170" y="573"/>
                      <a:pt x="170" y="573"/>
                    </a:cubicBezTo>
                    <a:cubicBezTo>
                      <a:pt x="173" y="568"/>
                      <a:pt x="173" y="568"/>
                      <a:pt x="173" y="568"/>
                    </a:cubicBezTo>
                    <a:cubicBezTo>
                      <a:pt x="173" y="568"/>
                      <a:pt x="173" y="568"/>
                      <a:pt x="173" y="568"/>
                    </a:cubicBezTo>
                    <a:cubicBezTo>
                      <a:pt x="174" y="569"/>
                      <a:pt x="175" y="570"/>
                      <a:pt x="176" y="571"/>
                    </a:cubicBezTo>
                    <a:cubicBezTo>
                      <a:pt x="176" y="571"/>
                      <a:pt x="177" y="572"/>
                      <a:pt x="177" y="572"/>
                    </a:cubicBezTo>
                    <a:lnTo>
                      <a:pt x="174" y="577"/>
                    </a:lnTo>
                    <a:close/>
                    <a:moveTo>
                      <a:pt x="187" y="572"/>
                    </a:moveTo>
                    <a:cubicBezTo>
                      <a:pt x="181" y="570"/>
                      <a:pt x="181" y="570"/>
                      <a:pt x="181" y="570"/>
                    </a:cubicBezTo>
                    <a:cubicBezTo>
                      <a:pt x="181" y="570"/>
                      <a:pt x="181" y="569"/>
                      <a:pt x="182" y="569"/>
                    </a:cubicBezTo>
                    <a:cubicBezTo>
                      <a:pt x="182" y="567"/>
                      <a:pt x="182" y="565"/>
                      <a:pt x="185" y="564"/>
                    </a:cubicBezTo>
                    <a:cubicBezTo>
                      <a:pt x="188" y="568"/>
                      <a:pt x="188" y="568"/>
                      <a:pt x="188" y="568"/>
                    </a:cubicBezTo>
                    <a:cubicBezTo>
                      <a:pt x="188" y="569"/>
                      <a:pt x="188" y="569"/>
                      <a:pt x="187" y="570"/>
                    </a:cubicBezTo>
                    <a:cubicBezTo>
                      <a:pt x="187" y="571"/>
                      <a:pt x="187" y="571"/>
                      <a:pt x="187" y="572"/>
                    </a:cubicBezTo>
                    <a:close/>
                    <a:moveTo>
                      <a:pt x="201" y="566"/>
                    </a:moveTo>
                    <a:cubicBezTo>
                      <a:pt x="198" y="566"/>
                      <a:pt x="198" y="566"/>
                      <a:pt x="198" y="566"/>
                    </a:cubicBezTo>
                    <a:cubicBezTo>
                      <a:pt x="198" y="561"/>
                      <a:pt x="198" y="561"/>
                      <a:pt x="198" y="561"/>
                    </a:cubicBezTo>
                    <a:cubicBezTo>
                      <a:pt x="201" y="561"/>
                      <a:pt x="201" y="561"/>
                      <a:pt x="201" y="561"/>
                    </a:cubicBezTo>
                    <a:cubicBezTo>
                      <a:pt x="201" y="561"/>
                      <a:pt x="202" y="561"/>
                      <a:pt x="202" y="560"/>
                    </a:cubicBezTo>
                    <a:cubicBezTo>
                      <a:pt x="202" y="561"/>
                      <a:pt x="201" y="561"/>
                      <a:pt x="201" y="561"/>
                    </a:cubicBezTo>
                    <a:cubicBezTo>
                      <a:pt x="205" y="565"/>
                      <a:pt x="205" y="565"/>
                      <a:pt x="205" y="565"/>
                    </a:cubicBezTo>
                    <a:cubicBezTo>
                      <a:pt x="204" y="566"/>
                      <a:pt x="202" y="566"/>
                      <a:pt x="201" y="566"/>
                    </a:cubicBezTo>
                    <a:close/>
                    <a:moveTo>
                      <a:pt x="166" y="562"/>
                    </a:moveTo>
                    <a:cubicBezTo>
                      <a:pt x="162" y="562"/>
                      <a:pt x="160" y="561"/>
                      <a:pt x="159" y="560"/>
                    </a:cubicBezTo>
                    <a:cubicBezTo>
                      <a:pt x="162" y="556"/>
                      <a:pt x="162" y="556"/>
                      <a:pt x="162" y="556"/>
                    </a:cubicBezTo>
                    <a:cubicBezTo>
                      <a:pt x="163" y="556"/>
                      <a:pt x="163" y="556"/>
                      <a:pt x="166" y="556"/>
                    </a:cubicBezTo>
                    <a:lnTo>
                      <a:pt x="166" y="562"/>
                    </a:lnTo>
                    <a:close/>
                    <a:moveTo>
                      <a:pt x="179" y="558"/>
                    </a:moveTo>
                    <a:cubicBezTo>
                      <a:pt x="175" y="554"/>
                      <a:pt x="175" y="554"/>
                      <a:pt x="175" y="554"/>
                    </a:cubicBezTo>
                    <a:cubicBezTo>
                      <a:pt x="175" y="553"/>
                      <a:pt x="176" y="552"/>
                      <a:pt x="177" y="551"/>
                    </a:cubicBezTo>
                    <a:cubicBezTo>
                      <a:pt x="177" y="551"/>
                      <a:pt x="177" y="550"/>
                      <a:pt x="178" y="550"/>
                    </a:cubicBezTo>
                    <a:cubicBezTo>
                      <a:pt x="182" y="553"/>
                      <a:pt x="182" y="553"/>
                      <a:pt x="182" y="553"/>
                    </a:cubicBezTo>
                    <a:cubicBezTo>
                      <a:pt x="182" y="553"/>
                      <a:pt x="182" y="554"/>
                      <a:pt x="182" y="554"/>
                    </a:cubicBezTo>
                    <a:cubicBezTo>
                      <a:pt x="181" y="556"/>
                      <a:pt x="180" y="557"/>
                      <a:pt x="179" y="558"/>
                    </a:cubicBezTo>
                    <a:close/>
                    <a:moveTo>
                      <a:pt x="205" y="555"/>
                    </a:moveTo>
                    <a:cubicBezTo>
                      <a:pt x="202" y="549"/>
                      <a:pt x="202" y="549"/>
                      <a:pt x="202" y="549"/>
                    </a:cubicBezTo>
                    <a:cubicBezTo>
                      <a:pt x="202" y="550"/>
                      <a:pt x="202" y="550"/>
                      <a:pt x="202" y="551"/>
                    </a:cubicBezTo>
                    <a:cubicBezTo>
                      <a:pt x="202" y="550"/>
                      <a:pt x="201" y="549"/>
                      <a:pt x="201" y="548"/>
                    </a:cubicBezTo>
                    <a:cubicBezTo>
                      <a:pt x="206" y="546"/>
                      <a:pt x="206" y="546"/>
                      <a:pt x="206" y="546"/>
                    </a:cubicBezTo>
                    <a:cubicBezTo>
                      <a:pt x="207" y="547"/>
                      <a:pt x="208" y="549"/>
                      <a:pt x="208" y="551"/>
                    </a:cubicBezTo>
                    <a:cubicBezTo>
                      <a:pt x="208" y="552"/>
                      <a:pt x="207" y="554"/>
                      <a:pt x="205" y="555"/>
                    </a:cubicBezTo>
                    <a:close/>
                    <a:moveTo>
                      <a:pt x="156" y="548"/>
                    </a:moveTo>
                    <a:cubicBezTo>
                      <a:pt x="156" y="548"/>
                      <a:pt x="156" y="548"/>
                      <a:pt x="155" y="548"/>
                    </a:cubicBezTo>
                    <a:cubicBezTo>
                      <a:pt x="155" y="548"/>
                      <a:pt x="154" y="548"/>
                      <a:pt x="154" y="548"/>
                    </a:cubicBezTo>
                    <a:cubicBezTo>
                      <a:pt x="153" y="547"/>
                      <a:pt x="152" y="547"/>
                      <a:pt x="151" y="546"/>
                    </a:cubicBezTo>
                    <a:cubicBezTo>
                      <a:pt x="155" y="542"/>
                      <a:pt x="155" y="542"/>
                      <a:pt x="155" y="542"/>
                    </a:cubicBezTo>
                    <a:cubicBezTo>
                      <a:pt x="155" y="542"/>
                      <a:pt x="155" y="542"/>
                      <a:pt x="156" y="542"/>
                    </a:cubicBezTo>
                    <a:cubicBezTo>
                      <a:pt x="156" y="542"/>
                      <a:pt x="157" y="542"/>
                      <a:pt x="157" y="543"/>
                    </a:cubicBezTo>
                    <a:cubicBezTo>
                      <a:pt x="158" y="543"/>
                      <a:pt x="160" y="544"/>
                      <a:pt x="161" y="545"/>
                    </a:cubicBezTo>
                    <a:cubicBezTo>
                      <a:pt x="156" y="548"/>
                      <a:pt x="156" y="548"/>
                      <a:pt x="156" y="548"/>
                    </a:cubicBezTo>
                    <a:cubicBezTo>
                      <a:pt x="156" y="548"/>
                      <a:pt x="156" y="548"/>
                      <a:pt x="156" y="548"/>
                    </a:cubicBezTo>
                    <a:close/>
                    <a:moveTo>
                      <a:pt x="184" y="545"/>
                    </a:moveTo>
                    <a:cubicBezTo>
                      <a:pt x="184" y="544"/>
                      <a:pt x="184" y="542"/>
                      <a:pt x="183" y="541"/>
                    </a:cubicBezTo>
                    <a:cubicBezTo>
                      <a:pt x="183" y="540"/>
                      <a:pt x="183" y="540"/>
                      <a:pt x="183" y="540"/>
                    </a:cubicBezTo>
                    <a:cubicBezTo>
                      <a:pt x="189" y="539"/>
                      <a:pt x="189" y="539"/>
                      <a:pt x="189" y="539"/>
                    </a:cubicBezTo>
                    <a:cubicBezTo>
                      <a:pt x="189" y="540"/>
                      <a:pt x="189" y="540"/>
                      <a:pt x="189" y="540"/>
                    </a:cubicBezTo>
                    <a:cubicBezTo>
                      <a:pt x="189" y="542"/>
                      <a:pt x="189" y="544"/>
                      <a:pt x="190" y="545"/>
                    </a:cubicBezTo>
                    <a:lnTo>
                      <a:pt x="184" y="545"/>
                    </a:lnTo>
                    <a:close/>
                    <a:moveTo>
                      <a:pt x="195" y="539"/>
                    </a:moveTo>
                    <a:cubicBezTo>
                      <a:pt x="194" y="538"/>
                      <a:pt x="193" y="537"/>
                      <a:pt x="192" y="536"/>
                    </a:cubicBezTo>
                    <a:cubicBezTo>
                      <a:pt x="194" y="531"/>
                      <a:pt x="194" y="531"/>
                      <a:pt x="194" y="531"/>
                    </a:cubicBezTo>
                    <a:cubicBezTo>
                      <a:pt x="196" y="531"/>
                      <a:pt x="198" y="533"/>
                      <a:pt x="200" y="535"/>
                    </a:cubicBezTo>
                    <a:lnTo>
                      <a:pt x="195" y="539"/>
                    </a:lnTo>
                    <a:close/>
                    <a:moveTo>
                      <a:pt x="148" y="535"/>
                    </a:moveTo>
                    <a:cubicBezTo>
                      <a:pt x="147" y="534"/>
                      <a:pt x="146" y="533"/>
                      <a:pt x="145" y="533"/>
                    </a:cubicBezTo>
                    <a:cubicBezTo>
                      <a:pt x="145" y="530"/>
                      <a:pt x="145" y="530"/>
                      <a:pt x="145" y="530"/>
                    </a:cubicBezTo>
                    <a:cubicBezTo>
                      <a:pt x="147" y="527"/>
                      <a:pt x="147" y="527"/>
                      <a:pt x="147" y="527"/>
                    </a:cubicBezTo>
                    <a:cubicBezTo>
                      <a:pt x="146" y="530"/>
                      <a:pt x="146" y="530"/>
                      <a:pt x="146" y="530"/>
                    </a:cubicBezTo>
                    <a:cubicBezTo>
                      <a:pt x="147" y="527"/>
                      <a:pt x="147" y="527"/>
                      <a:pt x="147" y="527"/>
                    </a:cubicBezTo>
                    <a:cubicBezTo>
                      <a:pt x="149" y="528"/>
                      <a:pt x="151" y="530"/>
                      <a:pt x="152" y="531"/>
                    </a:cubicBezTo>
                    <a:lnTo>
                      <a:pt x="148" y="535"/>
                    </a:lnTo>
                    <a:close/>
                    <a:moveTo>
                      <a:pt x="133" y="527"/>
                    </a:moveTo>
                    <a:cubicBezTo>
                      <a:pt x="131" y="525"/>
                      <a:pt x="130" y="523"/>
                      <a:pt x="129" y="521"/>
                    </a:cubicBezTo>
                    <a:cubicBezTo>
                      <a:pt x="134" y="519"/>
                      <a:pt x="134" y="519"/>
                      <a:pt x="134" y="519"/>
                    </a:cubicBezTo>
                    <a:cubicBezTo>
                      <a:pt x="134" y="520"/>
                      <a:pt x="135" y="521"/>
                      <a:pt x="137" y="522"/>
                    </a:cubicBezTo>
                    <a:lnTo>
                      <a:pt x="133" y="527"/>
                    </a:lnTo>
                    <a:close/>
                    <a:moveTo>
                      <a:pt x="131" y="511"/>
                    </a:moveTo>
                    <a:cubicBezTo>
                      <a:pt x="125" y="508"/>
                      <a:pt x="125" y="508"/>
                      <a:pt x="125" y="508"/>
                    </a:cubicBezTo>
                    <a:cubicBezTo>
                      <a:pt x="125" y="508"/>
                      <a:pt x="125" y="508"/>
                      <a:pt x="125" y="508"/>
                    </a:cubicBezTo>
                    <a:cubicBezTo>
                      <a:pt x="126" y="507"/>
                      <a:pt x="126" y="505"/>
                      <a:pt x="127" y="503"/>
                    </a:cubicBezTo>
                    <a:cubicBezTo>
                      <a:pt x="133" y="505"/>
                      <a:pt x="133" y="505"/>
                      <a:pt x="133" y="505"/>
                    </a:cubicBezTo>
                    <a:cubicBezTo>
                      <a:pt x="132" y="507"/>
                      <a:pt x="132" y="509"/>
                      <a:pt x="131" y="511"/>
                    </a:cubicBezTo>
                    <a:close/>
                    <a:moveTo>
                      <a:pt x="136" y="495"/>
                    </a:moveTo>
                    <a:cubicBezTo>
                      <a:pt x="131" y="491"/>
                      <a:pt x="131" y="491"/>
                      <a:pt x="131" y="491"/>
                    </a:cubicBezTo>
                    <a:cubicBezTo>
                      <a:pt x="132" y="490"/>
                      <a:pt x="134" y="488"/>
                      <a:pt x="136" y="487"/>
                    </a:cubicBezTo>
                    <a:cubicBezTo>
                      <a:pt x="139" y="491"/>
                      <a:pt x="139" y="491"/>
                      <a:pt x="139" y="491"/>
                    </a:cubicBezTo>
                    <a:cubicBezTo>
                      <a:pt x="138" y="492"/>
                      <a:pt x="137" y="493"/>
                      <a:pt x="136" y="495"/>
                    </a:cubicBezTo>
                    <a:close/>
                    <a:moveTo>
                      <a:pt x="149" y="484"/>
                    </a:moveTo>
                    <a:cubicBezTo>
                      <a:pt x="145" y="479"/>
                      <a:pt x="145" y="479"/>
                      <a:pt x="145" y="479"/>
                    </a:cubicBezTo>
                    <a:cubicBezTo>
                      <a:pt x="146" y="478"/>
                      <a:pt x="147" y="477"/>
                      <a:pt x="148" y="476"/>
                    </a:cubicBezTo>
                    <a:cubicBezTo>
                      <a:pt x="149" y="475"/>
                      <a:pt x="149" y="475"/>
                      <a:pt x="149" y="475"/>
                    </a:cubicBezTo>
                    <a:cubicBezTo>
                      <a:pt x="153" y="480"/>
                      <a:pt x="153" y="480"/>
                      <a:pt x="153" y="480"/>
                    </a:cubicBezTo>
                    <a:cubicBezTo>
                      <a:pt x="152" y="481"/>
                      <a:pt x="152" y="481"/>
                      <a:pt x="152" y="481"/>
                    </a:cubicBezTo>
                    <a:cubicBezTo>
                      <a:pt x="151" y="482"/>
                      <a:pt x="150" y="483"/>
                      <a:pt x="149" y="484"/>
                    </a:cubicBezTo>
                    <a:close/>
                    <a:moveTo>
                      <a:pt x="162" y="473"/>
                    </a:moveTo>
                    <a:cubicBezTo>
                      <a:pt x="158" y="468"/>
                      <a:pt x="158" y="468"/>
                      <a:pt x="158" y="468"/>
                    </a:cubicBezTo>
                    <a:cubicBezTo>
                      <a:pt x="159" y="467"/>
                      <a:pt x="159" y="467"/>
                      <a:pt x="159" y="467"/>
                    </a:cubicBezTo>
                    <a:cubicBezTo>
                      <a:pt x="160" y="466"/>
                      <a:pt x="162" y="466"/>
                      <a:pt x="163" y="465"/>
                    </a:cubicBezTo>
                    <a:cubicBezTo>
                      <a:pt x="167" y="469"/>
                      <a:pt x="167" y="469"/>
                      <a:pt x="167" y="469"/>
                    </a:cubicBezTo>
                    <a:cubicBezTo>
                      <a:pt x="165" y="470"/>
                      <a:pt x="164" y="471"/>
                      <a:pt x="162" y="472"/>
                    </a:cubicBezTo>
                    <a:lnTo>
                      <a:pt x="162" y="473"/>
                    </a:lnTo>
                    <a:close/>
                    <a:moveTo>
                      <a:pt x="173" y="458"/>
                    </a:moveTo>
                    <a:cubicBezTo>
                      <a:pt x="167" y="455"/>
                      <a:pt x="167" y="455"/>
                      <a:pt x="167" y="455"/>
                    </a:cubicBezTo>
                    <a:cubicBezTo>
                      <a:pt x="168" y="453"/>
                      <a:pt x="170" y="451"/>
                      <a:pt x="171" y="450"/>
                    </a:cubicBezTo>
                    <a:cubicBezTo>
                      <a:pt x="175" y="454"/>
                      <a:pt x="175" y="454"/>
                      <a:pt x="175" y="454"/>
                    </a:cubicBezTo>
                    <a:cubicBezTo>
                      <a:pt x="174" y="455"/>
                      <a:pt x="173" y="456"/>
                      <a:pt x="173" y="458"/>
                    </a:cubicBezTo>
                    <a:close/>
                    <a:moveTo>
                      <a:pt x="185" y="447"/>
                    </a:moveTo>
                    <a:cubicBezTo>
                      <a:pt x="181" y="443"/>
                      <a:pt x="181" y="443"/>
                      <a:pt x="181" y="443"/>
                    </a:cubicBezTo>
                    <a:cubicBezTo>
                      <a:pt x="182" y="441"/>
                      <a:pt x="183" y="440"/>
                      <a:pt x="184" y="439"/>
                    </a:cubicBezTo>
                    <a:cubicBezTo>
                      <a:pt x="189" y="442"/>
                      <a:pt x="189" y="442"/>
                      <a:pt x="189" y="442"/>
                    </a:cubicBezTo>
                    <a:cubicBezTo>
                      <a:pt x="188" y="444"/>
                      <a:pt x="186" y="446"/>
                      <a:pt x="185" y="447"/>
                    </a:cubicBezTo>
                    <a:close/>
                    <a:moveTo>
                      <a:pt x="195" y="431"/>
                    </a:moveTo>
                    <a:cubicBezTo>
                      <a:pt x="190" y="429"/>
                      <a:pt x="190" y="429"/>
                      <a:pt x="190" y="429"/>
                    </a:cubicBezTo>
                    <a:cubicBezTo>
                      <a:pt x="190" y="429"/>
                      <a:pt x="190" y="429"/>
                      <a:pt x="190" y="429"/>
                    </a:cubicBezTo>
                    <a:cubicBezTo>
                      <a:pt x="190" y="427"/>
                      <a:pt x="191" y="426"/>
                      <a:pt x="192" y="424"/>
                    </a:cubicBezTo>
                    <a:cubicBezTo>
                      <a:pt x="197" y="427"/>
                      <a:pt x="197" y="427"/>
                      <a:pt x="197" y="427"/>
                    </a:cubicBezTo>
                    <a:cubicBezTo>
                      <a:pt x="196" y="429"/>
                      <a:pt x="196" y="430"/>
                      <a:pt x="195" y="431"/>
                    </a:cubicBezTo>
                    <a:close/>
                    <a:moveTo>
                      <a:pt x="243" y="426"/>
                    </a:moveTo>
                    <a:cubicBezTo>
                      <a:pt x="237" y="424"/>
                      <a:pt x="237" y="424"/>
                      <a:pt x="237" y="424"/>
                    </a:cubicBezTo>
                    <a:cubicBezTo>
                      <a:pt x="238" y="423"/>
                      <a:pt x="238" y="422"/>
                      <a:pt x="238" y="421"/>
                    </a:cubicBezTo>
                    <a:cubicBezTo>
                      <a:pt x="238" y="420"/>
                      <a:pt x="238" y="420"/>
                      <a:pt x="238" y="419"/>
                    </a:cubicBezTo>
                    <a:cubicBezTo>
                      <a:pt x="244" y="420"/>
                      <a:pt x="244" y="420"/>
                      <a:pt x="244" y="420"/>
                    </a:cubicBezTo>
                    <a:cubicBezTo>
                      <a:pt x="244" y="420"/>
                      <a:pt x="244" y="421"/>
                      <a:pt x="244" y="421"/>
                    </a:cubicBezTo>
                    <a:cubicBezTo>
                      <a:pt x="244" y="422"/>
                      <a:pt x="243" y="424"/>
                      <a:pt x="243" y="426"/>
                    </a:cubicBezTo>
                    <a:close/>
                    <a:moveTo>
                      <a:pt x="231" y="422"/>
                    </a:moveTo>
                    <a:cubicBezTo>
                      <a:pt x="230" y="421"/>
                      <a:pt x="230" y="421"/>
                      <a:pt x="230" y="421"/>
                    </a:cubicBezTo>
                    <a:cubicBezTo>
                      <a:pt x="230" y="420"/>
                      <a:pt x="229" y="419"/>
                      <a:pt x="228" y="417"/>
                    </a:cubicBezTo>
                    <a:cubicBezTo>
                      <a:pt x="233" y="414"/>
                      <a:pt x="233" y="414"/>
                      <a:pt x="233" y="414"/>
                    </a:cubicBezTo>
                    <a:cubicBezTo>
                      <a:pt x="234" y="416"/>
                      <a:pt x="235" y="417"/>
                      <a:pt x="235" y="418"/>
                    </a:cubicBezTo>
                    <a:cubicBezTo>
                      <a:pt x="236" y="419"/>
                      <a:pt x="236" y="419"/>
                      <a:pt x="236" y="419"/>
                    </a:cubicBezTo>
                    <a:lnTo>
                      <a:pt x="231" y="422"/>
                    </a:lnTo>
                    <a:close/>
                    <a:moveTo>
                      <a:pt x="204" y="417"/>
                    </a:moveTo>
                    <a:cubicBezTo>
                      <a:pt x="199" y="414"/>
                      <a:pt x="199" y="414"/>
                      <a:pt x="199" y="414"/>
                    </a:cubicBezTo>
                    <a:cubicBezTo>
                      <a:pt x="200" y="412"/>
                      <a:pt x="202" y="411"/>
                      <a:pt x="203" y="409"/>
                    </a:cubicBezTo>
                    <a:cubicBezTo>
                      <a:pt x="208" y="413"/>
                      <a:pt x="208" y="413"/>
                      <a:pt x="208" y="413"/>
                    </a:cubicBezTo>
                    <a:cubicBezTo>
                      <a:pt x="206" y="414"/>
                      <a:pt x="205" y="416"/>
                      <a:pt x="204" y="417"/>
                    </a:cubicBezTo>
                    <a:close/>
                    <a:moveTo>
                      <a:pt x="239" y="409"/>
                    </a:moveTo>
                    <a:cubicBezTo>
                      <a:pt x="239" y="408"/>
                      <a:pt x="239" y="407"/>
                      <a:pt x="239" y="407"/>
                    </a:cubicBezTo>
                    <a:cubicBezTo>
                      <a:pt x="239" y="406"/>
                      <a:pt x="238" y="405"/>
                      <a:pt x="238" y="403"/>
                    </a:cubicBezTo>
                    <a:cubicBezTo>
                      <a:pt x="243" y="402"/>
                      <a:pt x="243" y="402"/>
                      <a:pt x="243" y="402"/>
                    </a:cubicBezTo>
                    <a:cubicBezTo>
                      <a:pt x="244" y="403"/>
                      <a:pt x="244" y="404"/>
                      <a:pt x="244" y="404"/>
                    </a:cubicBezTo>
                    <a:cubicBezTo>
                      <a:pt x="245" y="405"/>
                      <a:pt x="245" y="406"/>
                      <a:pt x="245" y="407"/>
                    </a:cubicBezTo>
                    <a:lnTo>
                      <a:pt x="239" y="409"/>
                    </a:lnTo>
                    <a:close/>
                    <a:moveTo>
                      <a:pt x="224" y="406"/>
                    </a:moveTo>
                    <a:cubicBezTo>
                      <a:pt x="223" y="404"/>
                      <a:pt x="222" y="402"/>
                      <a:pt x="222" y="400"/>
                    </a:cubicBezTo>
                    <a:cubicBezTo>
                      <a:pt x="227" y="398"/>
                      <a:pt x="227" y="398"/>
                      <a:pt x="227" y="398"/>
                    </a:cubicBezTo>
                    <a:cubicBezTo>
                      <a:pt x="228" y="400"/>
                      <a:pt x="229" y="402"/>
                      <a:pt x="229" y="404"/>
                    </a:cubicBezTo>
                    <a:lnTo>
                      <a:pt x="224" y="406"/>
                    </a:lnTo>
                    <a:close/>
                    <a:moveTo>
                      <a:pt x="215" y="404"/>
                    </a:moveTo>
                    <a:cubicBezTo>
                      <a:pt x="211" y="400"/>
                      <a:pt x="211" y="400"/>
                      <a:pt x="211" y="400"/>
                    </a:cubicBezTo>
                    <a:cubicBezTo>
                      <a:pt x="212" y="398"/>
                      <a:pt x="214" y="397"/>
                      <a:pt x="215" y="396"/>
                    </a:cubicBezTo>
                    <a:cubicBezTo>
                      <a:pt x="219" y="400"/>
                      <a:pt x="219" y="400"/>
                      <a:pt x="219" y="400"/>
                    </a:cubicBezTo>
                    <a:cubicBezTo>
                      <a:pt x="218" y="401"/>
                      <a:pt x="217" y="403"/>
                      <a:pt x="215" y="404"/>
                    </a:cubicBezTo>
                    <a:close/>
                    <a:moveTo>
                      <a:pt x="235" y="391"/>
                    </a:moveTo>
                    <a:cubicBezTo>
                      <a:pt x="235" y="390"/>
                      <a:pt x="235" y="388"/>
                      <a:pt x="235" y="387"/>
                    </a:cubicBezTo>
                    <a:cubicBezTo>
                      <a:pt x="235" y="385"/>
                      <a:pt x="235" y="385"/>
                      <a:pt x="235" y="385"/>
                    </a:cubicBezTo>
                    <a:cubicBezTo>
                      <a:pt x="240" y="385"/>
                      <a:pt x="240" y="385"/>
                      <a:pt x="240" y="385"/>
                    </a:cubicBezTo>
                    <a:cubicBezTo>
                      <a:pt x="240" y="387"/>
                      <a:pt x="240" y="387"/>
                      <a:pt x="240" y="387"/>
                    </a:cubicBezTo>
                    <a:cubicBezTo>
                      <a:pt x="240" y="388"/>
                      <a:pt x="241" y="389"/>
                      <a:pt x="241" y="391"/>
                    </a:cubicBezTo>
                    <a:lnTo>
                      <a:pt x="235" y="391"/>
                    </a:lnTo>
                    <a:close/>
                    <a:moveTo>
                      <a:pt x="241" y="374"/>
                    </a:moveTo>
                    <a:cubicBezTo>
                      <a:pt x="235" y="373"/>
                      <a:pt x="235" y="373"/>
                      <a:pt x="235" y="373"/>
                    </a:cubicBezTo>
                    <a:cubicBezTo>
                      <a:pt x="236" y="371"/>
                      <a:pt x="236" y="369"/>
                      <a:pt x="236" y="367"/>
                    </a:cubicBezTo>
                    <a:cubicBezTo>
                      <a:pt x="242" y="368"/>
                      <a:pt x="242" y="368"/>
                      <a:pt x="242" y="368"/>
                    </a:cubicBezTo>
                    <a:cubicBezTo>
                      <a:pt x="242" y="370"/>
                      <a:pt x="242" y="372"/>
                      <a:pt x="241" y="374"/>
                    </a:cubicBezTo>
                    <a:close/>
                    <a:moveTo>
                      <a:pt x="245" y="357"/>
                    </a:moveTo>
                    <a:cubicBezTo>
                      <a:pt x="239" y="355"/>
                      <a:pt x="239" y="355"/>
                      <a:pt x="239" y="355"/>
                    </a:cubicBezTo>
                    <a:cubicBezTo>
                      <a:pt x="239" y="355"/>
                      <a:pt x="240" y="354"/>
                      <a:pt x="240" y="354"/>
                    </a:cubicBezTo>
                    <a:cubicBezTo>
                      <a:pt x="241" y="350"/>
                      <a:pt x="241" y="350"/>
                      <a:pt x="241" y="350"/>
                    </a:cubicBezTo>
                    <a:cubicBezTo>
                      <a:pt x="247" y="352"/>
                      <a:pt x="247" y="352"/>
                      <a:pt x="247" y="352"/>
                    </a:cubicBezTo>
                    <a:cubicBezTo>
                      <a:pt x="245" y="356"/>
                      <a:pt x="245" y="356"/>
                      <a:pt x="245" y="356"/>
                    </a:cubicBezTo>
                    <a:cubicBezTo>
                      <a:pt x="245" y="356"/>
                      <a:pt x="245" y="357"/>
                      <a:pt x="245" y="357"/>
                    </a:cubicBezTo>
                    <a:close/>
                    <a:moveTo>
                      <a:pt x="249" y="340"/>
                    </a:moveTo>
                    <a:cubicBezTo>
                      <a:pt x="243" y="339"/>
                      <a:pt x="243" y="339"/>
                      <a:pt x="243" y="339"/>
                    </a:cubicBezTo>
                    <a:cubicBezTo>
                      <a:pt x="244" y="337"/>
                      <a:pt x="245" y="334"/>
                      <a:pt x="247" y="332"/>
                    </a:cubicBezTo>
                    <a:cubicBezTo>
                      <a:pt x="251" y="337"/>
                      <a:pt x="251" y="337"/>
                      <a:pt x="251" y="337"/>
                    </a:cubicBezTo>
                    <a:cubicBezTo>
                      <a:pt x="250" y="338"/>
                      <a:pt x="249" y="339"/>
                      <a:pt x="249" y="340"/>
                    </a:cubicBezTo>
                    <a:close/>
                    <a:moveTo>
                      <a:pt x="260" y="337"/>
                    </a:moveTo>
                    <a:cubicBezTo>
                      <a:pt x="260" y="331"/>
                      <a:pt x="260" y="331"/>
                      <a:pt x="260" y="331"/>
                    </a:cubicBezTo>
                    <a:cubicBezTo>
                      <a:pt x="262" y="331"/>
                      <a:pt x="263" y="331"/>
                      <a:pt x="263" y="330"/>
                    </a:cubicBezTo>
                    <a:cubicBezTo>
                      <a:pt x="268" y="333"/>
                      <a:pt x="268" y="333"/>
                      <a:pt x="268" y="333"/>
                    </a:cubicBezTo>
                    <a:cubicBezTo>
                      <a:pt x="267" y="335"/>
                      <a:pt x="264" y="337"/>
                      <a:pt x="260" y="337"/>
                    </a:cubicBezTo>
                    <a:close/>
                    <a:moveTo>
                      <a:pt x="271" y="321"/>
                    </a:moveTo>
                    <a:cubicBezTo>
                      <a:pt x="265" y="320"/>
                      <a:pt x="265" y="320"/>
                      <a:pt x="265" y="320"/>
                    </a:cubicBezTo>
                    <a:cubicBezTo>
                      <a:pt x="266" y="318"/>
                      <a:pt x="266" y="316"/>
                      <a:pt x="266" y="314"/>
                    </a:cubicBezTo>
                    <a:cubicBezTo>
                      <a:pt x="272" y="315"/>
                      <a:pt x="272" y="315"/>
                      <a:pt x="272" y="315"/>
                    </a:cubicBezTo>
                    <a:cubicBezTo>
                      <a:pt x="272" y="316"/>
                      <a:pt x="272" y="319"/>
                      <a:pt x="271" y="321"/>
                    </a:cubicBezTo>
                    <a:close/>
                    <a:moveTo>
                      <a:pt x="264" y="304"/>
                    </a:moveTo>
                    <a:cubicBezTo>
                      <a:pt x="264" y="303"/>
                      <a:pt x="263" y="302"/>
                      <a:pt x="262" y="301"/>
                    </a:cubicBezTo>
                    <a:cubicBezTo>
                      <a:pt x="261" y="300"/>
                      <a:pt x="261" y="300"/>
                      <a:pt x="261" y="300"/>
                    </a:cubicBezTo>
                    <a:cubicBezTo>
                      <a:pt x="266" y="296"/>
                      <a:pt x="266" y="296"/>
                      <a:pt x="266" y="296"/>
                    </a:cubicBezTo>
                    <a:cubicBezTo>
                      <a:pt x="267" y="298"/>
                      <a:pt x="267" y="298"/>
                      <a:pt x="267" y="298"/>
                    </a:cubicBezTo>
                    <a:cubicBezTo>
                      <a:pt x="268" y="299"/>
                      <a:pt x="269" y="300"/>
                      <a:pt x="269" y="302"/>
                    </a:cubicBezTo>
                    <a:lnTo>
                      <a:pt x="264" y="304"/>
                    </a:lnTo>
                    <a:close/>
                    <a:moveTo>
                      <a:pt x="260" y="290"/>
                    </a:moveTo>
                    <a:cubicBezTo>
                      <a:pt x="260" y="290"/>
                      <a:pt x="260" y="290"/>
                      <a:pt x="260" y="290"/>
                    </a:cubicBezTo>
                    <a:cubicBezTo>
                      <a:pt x="256" y="287"/>
                      <a:pt x="256" y="287"/>
                      <a:pt x="256" y="287"/>
                    </a:cubicBezTo>
                    <a:cubicBezTo>
                      <a:pt x="256" y="286"/>
                      <a:pt x="257" y="285"/>
                      <a:pt x="258" y="285"/>
                    </a:cubicBezTo>
                    <a:cubicBezTo>
                      <a:pt x="259" y="285"/>
                      <a:pt x="259" y="284"/>
                      <a:pt x="259" y="284"/>
                    </a:cubicBezTo>
                    <a:cubicBezTo>
                      <a:pt x="265" y="285"/>
                      <a:pt x="265" y="285"/>
                      <a:pt x="265" y="285"/>
                    </a:cubicBezTo>
                    <a:cubicBezTo>
                      <a:pt x="264" y="288"/>
                      <a:pt x="263" y="290"/>
                      <a:pt x="260" y="290"/>
                    </a:cubicBezTo>
                    <a:cubicBezTo>
                      <a:pt x="260" y="290"/>
                      <a:pt x="260" y="290"/>
                      <a:pt x="260" y="290"/>
                    </a:cubicBezTo>
                    <a:close/>
                    <a:moveTo>
                      <a:pt x="256" y="274"/>
                    </a:moveTo>
                    <a:cubicBezTo>
                      <a:pt x="255" y="273"/>
                      <a:pt x="255" y="272"/>
                      <a:pt x="255" y="270"/>
                    </a:cubicBezTo>
                    <a:cubicBezTo>
                      <a:pt x="255" y="270"/>
                      <a:pt x="255" y="269"/>
                      <a:pt x="255" y="268"/>
                    </a:cubicBezTo>
                    <a:cubicBezTo>
                      <a:pt x="261" y="268"/>
                      <a:pt x="261" y="268"/>
                      <a:pt x="261" y="268"/>
                    </a:cubicBezTo>
                    <a:cubicBezTo>
                      <a:pt x="261" y="269"/>
                      <a:pt x="261" y="270"/>
                      <a:pt x="261" y="270"/>
                    </a:cubicBezTo>
                    <a:cubicBezTo>
                      <a:pt x="261" y="271"/>
                      <a:pt x="261" y="272"/>
                      <a:pt x="261" y="273"/>
                    </a:cubicBezTo>
                    <a:lnTo>
                      <a:pt x="256" y="274"/>
                    </a:lnTo>
                    <a:close/>
                    <a:moveTo>
                      <a:pt x="262" y="257"/>
                    </a:moveTo>
                    <a:cubicBezTo>
                      <a:pt x="256" y="255"/>
                      <a:pt x="256" y="255"/>
                      <a:pt x="256" y="255"/>
                    </a:cubicBezTo>
                    <a:cubicBezTo>
                      <a:pt x="256" y="254"/>
                      <a:pt x="257" y="253"/>
                      <a:pt x="257" y="252"/>
                    </a:cubicBezTo>
                    <a:cubicBezTo>
                      <a:pt x="257" y="251"/>
                      <a:pt x="258" y="250"/>
                      <a:pt x="258" y="250"/>
                    </a:cubicBezTo>
                    <a:cubicBezTo>
                      <a:pt x="263" y="252"/>
                      <a:pt x="263" y="252"/>
                      <a:pt x="263" y="252"/>
                    </a:cubicBezTo>
                    <a:cubicBezTo>
                      <a:pt x="263" y="252"/>
                      <a:pt x="263" y="253"/>
                      <a:pt x="263" y="254"/>
                    </a:cubicBezTo>
                    <a:cubicBezTo>
                      <a:pt x="262" y="255"/>
                      <a:pt x="262" y="256"/>
                      <a:pt x="262" y="257"/>
                    </a:cubicBezTo>
                    <a:close/>
                    <a:moveTo>
                      <a:pt x="268" y="241"/>
                    </a:moveTo>
                    <a:cubicBezTo>
                      <a:pt x="263" y="239"/>
                      <a:pt x="263" y="239"/>
                      <a:pt x="263" y="239"/>
                    </a:cubicBezTo>
                    <a:cubicBezTo>
                      <a:pt x="264" y="236"/>
                      <a:pt x="264" y="236"/>
                      <a:pt x="264" y="236"/>
                    </a:cubicBezTo>
                    <a:cubicBezTo>
                      <a:pt x="265" y="235"/>
                      <a:pt x="265" y="234"/>
                      <a:pt x="265" y="234"/>
                    </a:cubicBezTo>
                    <a:cubicBezTo>
                      <a:pt x="271" y="236"/>
                      <a:pt x="271" y="236"/>
                      <a:pt x="271" y="236"/>
                    </a:cubicBezTo>
                    <a:cubicBezTo>
                      <a:pt x="270" y="237"/>
                      <a:pt x="270" y="238"/>
                      <a:pt x="270" y="239"/>
                    </a:cubicBezTo>
                    <a:lnTo>
                      <a:pt x="268" y="241"/>
                    </a:lnTo>
                    <a:close/>
                    <a:moveTo>
                      <a:pt x="266" y="223"/>
                    </a:moveTo>
                    <a:cubicBezTo>
                      <a:pt x="266" y="223"/>
                      <a:pt x="266" y="222"/>
                      <a:pt x="266" y="221"/>
                    </a:cubicBezTo>
                    <a:cubicBezTo>
                      <a:pt x="266" y="220"/>
                      <a:pt x="266" y="219"/>
                      <a:pt x="266" y="219"/>
                    </a:cubicBezTo>
                    <a:cubicBezTo>
                      <a:pt x="266" y="217"/>
                      <a:pt x="266" y="217"/>
                      <a:pt x="266" y="217"/>
                    </a:cubicBezTo>
                    <a:cubicBezTo>
                      <a:pt x="272" y="217"/>
                      <a:pt x="272" y="217"/>
                      <a:pt x="272" y="217"/>
                    </a:cubicBezTo>
                    <a:cubicBezTo>
                      <a:pt x="272" y="219"/>
                      <a:pt x="272" y="219"/>
                      <a:pt x="272" y="219"/>
                    </a:cubicBezTo>
                    <a:cubicBezTo>
                      <a:pt x="272" y="219"/>
                      <a:pt x="272" y="220"/>
                      <a:pt x="272" y="221"/>
                    </a:cubicBezTo>
                    <a:cubicBezTo>
                      <a:pt x="272" y="222"/>
                      <a:pt x="272" y="222"/>
                      <a:pt x="272" y="223"/>
                    </a:cubicBezTo>
                    <a:lnTo>
                      <a:pt x="266" y="223"/>
                    </a:lnTo>
                    <a:close/>
                    <a:moveTo>
                      <a:pt x="276" y="210"/>
                    </a:moveTo>
                    <a:cubicBezTo>
                      <a:pt x="273" y="206"/>
                      <a:pt x="273" y="206"/>
                      <a:pt x="273" y="206"/>
                    </a:cubicBezTo>
                    <a:cubicBezTo>
                      <a:pt x="275" y="205"/>
                      <a:pt x="276" y="204"/>
                      <a:pt x="277" y="202"/>
                    </a:cubicBezTo>
                    <a:cubicBezTo>
                      <a:pt x="281" y="206"/>
                      <a:pt x="281" y="206"/>
                      <a:pt x="281" y="206"/>
                    </a:cubicBezTo>
                    <a:cubicBezTo>
                      <a:pt x="280" y="208"/>
                      <a:pt x="278" y="209"/>
                      <a:pt x="276" y="210"/>
                    </a:cubicBezTo>
                    <a:close/>
                    <a:moveTo>
                      <a:pt x="279" y="194"/>
                    </a:moveTo>
                    <a:cubicBezTo>
                      <a:pt x="279" y="194"/>
                      <a:pt x="279" y="194"/>
                      <a:pt x="279" y="194"/>
                    </a:cubicBezTo>
                    <a:cubicBezTo>
                      <a:pt x="278" y="192"/>
                      <a:pt x="278" y="190"/>
                      <a:pt x="277" y="188"/>
                    </a:cubicBezTo>
                    <a:cubicBezTo>
                      <a:pt x="283" y="187"/>
                      <a:pt x="283" y="187"/>
                      <a:pt x="283" y="187"/>
                    </a:cubicBezTo>
                    <a:cubicBezTo>
                      <a:pt x="283" y="189"/>
                      <a:pt x="284" y="190"/>
                      <a:pt x="284" y="192"/>
                    </a:cubicBezTo>
                    <a:cubicBezTo>
                      <a:pt x="281" y="193"/>
                      <a:pt x="281" y="193"/>
                      <a:pt x="281" y="193"/>
                    </a:cubicBezTo>
                    <a:lnTo>
                      <a:pt x="279" y="194"/>
                    </a:lnTo>
                    <a:close/>
                    <a:moveTo>
                      <a:pt x="284" y="179"/>
                    </a:moveTo>
                    <a:cubicBezTo>
                      <a:pt x="280" y="175"/>
                      <a:pt x="280" y="175"/>
                      <a:pt x="280" y="175"/>
                    </a:cubicBezTo>
                    <a:cubicBezTo>
                      <a:pt x="281" y="174"/>
                      <a:pt x="282" y="172"/>
                      <a:pt x="283" y="171"/>
                    </a:cubicBezTo>
                    <a:cubicBezTo>
                      <a:pt x="288" y="173"/>
                      <a:pt x="288" y="173"/>
                      <a:pt x="288" y="173"/>
                    </a:cubicBezTo>
                    <a:cubicBezTo>
                      <a:pt x="287" y="176"/>
                      <a:pt x="286" y="178"/>
                      <a:pt x="284" y="179"/>
                    </a:cubicBezTo>
                    <a:close/>
                    <a:moveTo>
                      <a:pt x="130" y="163"/>
                    </a:moveTo>
                    <a:cubicBezTo>
                      <a:pt x="129" y="163"/>
                      <a:pt x="129" y="163"/>
                      <a:pt x="128" y="163"/>
                    </a:cubicBezTo>
                    <a:cubicBezTo>
                      <a:pt x="128" y="163"/>
                      <a:pt x="128" y="163"/>
                      <a:pt x="128" y="163"/>
                    </a:cubicBezTo>
                    <a:cubicBezTo>
                      <a:pt x="128" y="163"/>
                      <a:pt x="127" y="163"/>
                      <a:pt x="127" y="163"/>
                    </a:cubicBezTo>
                    <a:cubicBezTo>
                      <a:pt x="126" y="157"/>
                      <a:pt x="126" y="157"/>
                      <a:pt x="126" y="157"/>
                    </a:cubicBezTo>
                    <a:cubicBezTo>
                      <a:pt x="126" y="157"/>
                      <a:pt x="127" y="157"/>
                      <a:pt x="128" y="157"/>
                    </a:cubicBezTo>
                    <a:cubicBezTo>
                      <a:pt x="128" y="157"/>
                      <a:pt x="128" y="157"/>
                      <a:pt x="128" y="157"/>
                    </a:cubicBezTo>
                    <a:cubicBezTo>
                      <a:pt x="130" y="157"/>
                      <a:pt x="132" y="157"/>
                      <a:pt x="133" y="159"/>
                    </a:cubicBezTo>
                    <a:lnTo>
                      <a:pt x="130" y="163"/>
                    </a:lnTo>
                    <a:close/>
                    <a:moveTo>
                      <a:pt x="294" y="163"/>
                    </a:moveTo>
                    <a:cubicBezTo>
                      <a:pt x="289" y="161"/>
                      <a:pt x="289" y="161"/>
                      <a:pt x="289" y="161"/>
                    </a:cubicBezTo>
                    <a:cubicBezTo>
                      <a:pt x="289" y="161"/>
                      <a:pt x="289" y="160"/>
                      <a:pt x="289" y="160"/>
                    </a:cubicBezTo>
                    <a:cubicBezTo>
                      <a:pt x="289" y="160"/>
                      <a:pt x="288" y="159"/>
                      <a:pt x="288" y="159"/>
                    </a:cubicBezTo>
                    <a:cubicBezTo>
                      <a:pt x="292" y="155"/>
                      <a:pt x="292" y="155"/>
                      <a:pt x="292" y="155"/>
                    </a:cubicBezTo>
                    <a:cubicBezTo>
                      <a:pt x="293" y="156"/>
                      <a:pt x="294" y="157"/>
                      <a:pt x="294" y="158"/>
                    </a:cubicBezTo>
                    <a:cubicBezTo>
                      <a:pt x="295" y="158"/>
                      <a:pt x="295" y="159"/>
                      <a:pt x="295" y="160"/>
                    </a:cubicBezTo>
                    <a:cubicBezTo>
                      <a:pt x="295" y="161"/>
                      <a:pt x="295" y="162"/>
                      <a:pt x="294" y="163"/>
                    </a:cubicBezTo>
                    <a:close/>
                    <a:moveTo>
                      <a:pt x="144" y="161"/>
                    </a:move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40" y="156"/>
                      <a:pt x="142" y="154"/>
                      <a:pt x="145" y="154"/>
                    </a:cubicBezTo>
                    <a:cubicBezTo>
                      <a:pt x="146" y="154"/>
                      <a:pt x="147" y="154"/>
                      <a:pt x="148" y="155"/>
                    </a:cubicBezTo>
                    <a:cubicBezTo>
                      <a:pt x="146" y="160"/>
                      <a:pt x="146" y="160"/>
                      <a:pt x="146" y="160"/>
                    </a:cubicBezTo>
                    <a:cubicBezTo>
                      <a:pt x="145" y="160"/>
                      <a:pt x="145" y="160"/>
                      <a:pt x="145" y="160"/>
                    </a:cubicBezTo>
                    <a:cubicBezTo>
                      <a:pt x="144" y="160"/>
                      <a:pt x="144" y="160"/>
                      <a:pt x="144" y="161"/>
                    </a:cubicBezTo>
                    <a:close/>
                    <a:moveTo>
                      <a:pt x="114" y="157"/>
                    </a:moveTo>
                    <a:cubicBezTo>
                      <a:pt x="114" y="157"/>
                      <a:pt x="113" y="156"/>
                      <a:pt x="113" y="156"/>
                    </a:cubicBezTo>
                    <a:cubicBezTo>
                      <a:pt x="112" y="155"/>
                      <a:pt x="111" y="154"/>
                      <a:pt x="110" y="153"/>
                    </a:cubicBezTo>
                    <a:cubicBezTo>
                      <a:pt x="114" y="149"/>
                      <a:pt x="114" y="149"/>
                      <a:pt x="114" y="149"/>
                    </a:cubicBezTo>
                    <a:cubicBezTo>
                      <a:pt x="115" y="150"/>
                      <a:pt x="116" y="151"/>
                      <a:pt x="117" y="151"/>
                    </a:cubicBezTo>
                    <a:cubicBezTo>
                      <a:pt x="117" y="152"/>
                      <a:pt x="118" y="153"/>
                      <a:pt x="119" y="153"/>
                    </a:cubicBezTo>
                    <a:lnTo>
                      <a:pt x="114" y="157"/>
                    </a:lnTo>
                    <a:close/>
                    <a:moveTo>
                      <a:pt x="169" y="154"/>
                    </a:moveTo>
                    <a:cubicBezTo>
                      <a:pt x="167" y="154"/>
                      <a:pt x="165" y="154"/>
                      <a:pt x="163" y="152"/>
                    </a:cubicBezTo>
                    <a:cubicBezTo>
                      <a:pt x="162" y="152"/>
                      <a:pt x="162" y="152"/>
                      <a:pt x="162" y="152"/>
                    </a:cubicBezTo>
                    <a:cubicBezTo>
                      <a:pt x="165" y="147"/>
                      <a:pt x="165" y="147"/>
                      <a:pt x="165" y="147"/>
                    </a:cubicBezTo>
                    <a:cubicBezTo>
                      <a:pt x="166" y="148"/>
                      <a:pt x="166" y="148"/>
                      <a:pt x="166" y="148"/>
                    </a:cubicBezTo>
                    <a:cubicBezTo>
                      <a:pt x="167" y="148"/>
                      <a:pt x="168" y="148"/>
                      <a:pt x="169" y="148"/>
                    </a:cubicBezTo>
                    <a:cubicBezTo>
                      <a:pt x="169" y="154"/>
                      <a:pt x="169" y="154"/>
                      <a:pt x="169" y="154"/>
                    </a:cubicBezTo>
                    <a:close/>
                    <a:moveTo>
                      <a:pt x="279" y="152"/>
                    </a:moveTo>
                    <a:cubicBezTo>
                      <a:pt x="277" y="150"/>
                      <a:pt x="276" y="149"/>
                      <a:pt x="275" y="147"/>
                    </a:cubicBezTo>
                    <a:cubicBezTo>
                      <a:pt x="279" y="143"/>
                      <a:pt x="279" y="143"/>
                      <a:pt x="279" y="143"/>
                    </a:cubicBezTo>
                    <a:cubicBezTo>
                      <a:pt x="280" y="145"/>
                      <a:pt x="282" y="146"/>
                      <a:pt x="283" y="147"/>
                    </a:cubicBezTo>
                    <a:lnTo>
                      <a:pt x="279" y="152"/>
                    </a:lnTo>
                    <a:close/>
                    <a:moveTo>
                      <a:pt x="154" y="149"/>
                    </a:moveTo>
                    <a:cubicBezTo>
                      <a:pt x="148" y="149"/>
                      <a:pt x="148" y="149"/>
                      <a:pt x="148" y="149"/>
                    </a:cubicBezTo>
                    <a:cubicBezTo>
                      <a:pt x="148" y="147"/>
                      <a:pt x="148" y="146"/>
                      <a:pt x="149" y="145"/>
                    </a:cubicBezTo>
                    <a:cubicBezTo>
                      <a:pt x="150" y="143"/>
                      <a:pt x="151" y="142"/>
                      <a:pt x="153" y="141"/>
                    </a:cubicBezTo>
                    <a:cubicBezTo>
                      <a:pt x="154" y="147"/>
                      <a:pt x="154" y="147"/>
                      <a:pt x="154" y="147"/>
                    </a:cubicBezTo>
                    <a:cubicBezTo>
                      <a:pt x="154" y="147"/>
                      <a:pt x="154" y="147"/>
                      <a:pt x="154" y="147"/>
                    </a:cubicBezTo>
                    <a:cubicBezTo>
                      <a:pt x="154" y="148"/>
                      <a:pt x="154" y="149"/>
                      <a:pt x="154" y="149"/>
                    </a:cubicBezTo>
                    <a:close/>
                    <a:moveTo>
                      <a:pt x="181" y="148"/>
                    </a:moveTo>
                    <a:cubicBezTo>
                      <a:pt x="178" y="143"/>
                      <a:pt x="178" y="143"/>
                      <a:pt x="178" y="143"/>
                    </a:cubicBezTo>
                    <a:cubicBezTo>
                      <a:pt x="180" y="142"/>
                      <a:pt x="182" y="142"/>
                      <a:pt x="184" y="141"/>
                    </a:cubicBezTo>
                    <a:cubicBezTo>
                      <a:pt x="185" y="147"/>
                      <a:pt x="185" y="147"/>
                      <a:pt x="185" y="147"/>
                    </a:cubicBezTo>
                    <a:cubicBezTo>
                      <a:pt x="183" y="147"/>
                      <a:pt x="182" y="148"/>
                      <a:pt x="181" y="148"/>
                    </a:cubicBezTo>
                    <a:close/>
                    <a:moveTo>
                      <a:pt x="198" y="145"/>
                    </a:moveTo>
                    <a:cubicBezTo>
                      <a:pt x="194" y="140"/>
                      <a:pt x="194" y="140"/>
                      <a:pt x="194" y="140"/>
                    </a:cubicBezTo>
                    <a:cubicBezTo>
                      <a:pt x="195" y="139"/>
                      <a:pt x="196" y="138"/>
                      <a:pt x="197" y="137"/>
                    </a:cubicBezTo>
                    <a:cubicBezTo>
                      <a:pt x="197" y="137"/>
                      <a:pt x="197" y="137"/>
                      <a:pt x="197" y="137"/>
                    </a:cubicBezTo>
                    <a:cubicBezTo>
                      <a:pt x="197" y="136"/>
                      <a:pt x="197" y="136"/>
                      <a:pt x="197" y="136"/>
                    </a:cubicBezTo>
                    <a:cubicBezTo>
                      <a:pt x="200" y="138"/>
                      <a:pt x="200" y="138"/>
                      <a:pt x="200" y="138"/>
                    </a:cubicBezTo>
                    <a:cubicBezTo>
                      <a:pt x="202" y="140"/>
                      <a:pt x="202" y="140"/>
                      <a:pt x="202" y="140"/>
                    </a:cubicBezTo>
                    <a:cubicBezTo>
                      <a:pt x="201" y="141"/>
                      <a:pt x="200" y="143"/>
                      <a:pt x="198" y="145"/>
                    </a:cubicBezTo>
                    <a:close/>
                    <a:moveTo>
                      <a:pt x="210" y="145"/>
                    </a:moveTo>
                    <a:cubicBezTo>
                      <a:pt x="208" y="139"/>
                      <a:pt x="208" y="139"/>
                      <a:pt x="208" y="139"/>
                    </a:cubicBezTo>
                    <a:cubicBezTo>
                      <a:pt x="209" y="139"/>
                      <a:pt x="210" y="138"/>
                      <a:pt x="212" y="136"/>
                    </a:cubicBezTo>
                    <a:cubicBezTo>
                      <a:pt x="216" y="141"/>
                      <a:pt x="216" y="141"/>
                      <a:pt x="216" y="141"/>
                    </a:cubicBezTo>
                    <a:cubicBezTo>
                      <a:pt x="214" y="143"/>
                      <a:pt x="212" y="144"/>
                      <a:pt x="210" y="145"/>
                    </a:cubicBezTo>
                    <a:close/>
                    <a:moveTo>
                      <a:pt x="109" y="141"/>
                    </a:moveTo>
                    <a:cubicBezTo>
                      <a:pt x="109" y="140"/>
                      <a:pt x="108" y="140"/>
                      <a:pt x="108" y="139"/>
                    </a:cubicBezTo>
                    <a:cubicBezTo>
                      <a:pt x="108" y="139"/>
                      <a:pt x="107" y="139"/>
                      <a:pt x="107" y="139"/>
                    </a:cubicBezTo>
                    <a:cubicBezTo>
                      <a:pt x="106" y="138"/>
                      <a:pt x="106" y="138"/>
                      <a:pt x="106" y="138"/>
                    </a:cubicBezTo>
                    <a:cubicBezTo>
                      <a:pt x="109" y="133"/>
                      <a:pt x="109" y="133"/>
                      <a:pt x="109" y="133"/>
                    </a:cubicBezTo>
                    <a:cubicBezTo>
                      <a:pt x="110" y="134"/>
                      <a:pt x="110" y="134"/>
                      <a:pt x="110" y="134"/>
                    </a:cubicBezTo>
                    <a:cubicBezTo>
                      <a:pt x="110" y="134"/>
                      <a:pt x="111" y="134"/>
                      <a:pt x="111" y="135"/>
                    </a:cubicBezTo>
                    <a:cubicBezTo>
                      <a:pt x="113" y="136"/>
                      <a:pt x="114" y="138"/>
                      <a:pt x="114" y="140"/>
                    </a:cubicBezTo>
                    <a:lnTo>
                      <a:pt x="109" y="141"/>
                    </a:lnTo>
                    <a:close/>
                    <a:moveTo>
                      <a:pt x="267" y="139"/>
                    </a:moveTo>
                    <a:cubicBezTo>
                      <a:pt x="265" y="138"/>
                      <a:pt x="264" y="136"/>
                      <a:pt x="262" y="135"/>
                    </a:cubicBezTo>
                    <a:cubicBezTo>
                      <a:pt x="267" y="131"/>
                      <a:pt x="267" y="131"/>
                      <a:pt x="267" y="131"/>
                    </a:cubicBezTo>
                    <a:cubicBezTo>
                      <a:pt x="268" y="132"/>
                      <a:pt x="269" y="133"/>
                      <a:pt x="271" y="134"/>
                    </a:cubicBezTo>
                    <a:lnTo>
                      <a:pt x="267" y="139"/>
                    </a:lnTo>
                    <a:close/>
                    <a:moveTo>
                      <a:pt x="225" y="131"/>
                    </a:moveTo>
                    <a:cubicBezTo>
                      <a:pt x="219" y="129"/>
                      <a:pt x="219" y="129"/>
                      <a:pt x="219" y="129"/>
                    </a:cubicBezTo>
                    <a:cubicBezTo>
                      <a:pt x="220" y="128"/>
                      <a:pt x="220" y="127"/>
                      <a:pt x="220" y="125"/>
                    </a:cubicBezTo>
                    <a:cubicBezTo>
                      <a:pt x="220" y="125"/>
                      <a:pt x="220" y="124"/>
                      <a:pt x="220" y="124"/>
                    </a:cubicBezTo>
                    <a:cubicBezTo>
                      <a:pt x="226" y="125"/>
                      <a:pt x="226" y="125"/>
                      <a:pt x="226" y="125"/>
                    </a:cubicBezTo>
                    <a:cubicBezTo>
                      <a:pt x="226" y="125"/>
                      <a:pt x="226" y="125"/>
                      <a:pt x="226" y="125"/>
                    </a:cubicBezTo>
                    <a:cubicBezTo>
                      <a:pt x="226" y="128"/>
                      <a:pt x="226" y="130"/>
                      <a:pt x="225" y="131"/>
                    </a:cubicBezTo>
                    <a:close/>
                    <a:moveTo>
                      <a:pt x="100" y="128"/>
                    </a:moveTo>
                    <a:cubicBezTo>
                      <a:pt x="99" y="127"/>
                      <a:pt x="99" y="127"/>
                      <a:pt x="99" y="127"/>
                    </a:cubicBezTo>
                    <a:cubicBezTo>
                      <a:pt x="98" y="126"/>
                      <a:pt x="97" y="124"/>
                      <a:pt x="96" y="123"/>
                    </a:cubicBezTo>
                    <a:cubicBezTo>
                      <a:pt x="101" y="120"/>
                      <a:pt x="101" y="120"/>
                      <a:pt x="101" y="120"/>
                    </a:cubicBezTo>
                    <a:cubicBezTo>
                      <a:pt x="102" y="121"/>
                      <a:pt x="102" y="122"/>
                      <a:pt x="103" y="123"/>
                    </a:cubicBezTo>
                    <a:cubicBezTo>
                      <a:pt x="104" y="125"/>
                      <a:pt x="104" y="125"/>
                      <a:pt x="104" y="125"/>
                    </a:cubicBezTo>
                    <a:lnTo>
                      <a:pt x="100" y="128"/>
                    </a:lnTo>
                    <a:close/>
                    <a:moveTo>
                      <a:pt x="255" y="125"/>
                    </a:moveTo>
                    <a:cubicBezTo>
                      <a:pt x="254" y="124"/>
                      <a:pt x="252" y="123"/>
                      <a:pt x="251" y="121"/>
                    </a:cubicBezTo>
                    <a:cubicBezTo>
                      <a:pt x="255" y="117"/>
                      <a:pt x="255" y="117"/>
                      <a:pt x="255" y="117"/>
                    </a:cubicBezTo>
                    <a:cubicBezTo>
                      <a:pt x="257" y="119"/>
                      <a:pt x="258" y="120"/>
                      <a:pt x="259" y="122"/>
                    </a:cubicBezTo>
                    <a:lnTo>
                      <a:pt x="255" y="125"/>
                    </a:lnTo>
                    <a:close/>
                    <a:moveTo>
                      <a:pt x="242" y="115"/>
                    </a:moveTo>
                    <a:cubicBezTo>
                      <a:pt x="241" y="114"/>
                      <a:pt x="239" y="113"/>
                      <a:pt x="238" y="112"/>
                    </a:cubicBezTo>
                    <a:cubicBezTo>
                      <a:pt x="240" y="107"/>
                      <a:pt x="240" y="107"/>
                      <a:pt x="240" y="107"/>
                    </a:cubicBezTo>
                    <a:cubicBezTo>
                      <a:pt x="242" y="108"/>
                      <a:pt x="244" y="109"/>
                      <a:pt x="246" y="110"/>
                    </a:cubicBezTo>
                    <a:lnTo>
                      <a:pt x="242" y="115"/>
                    </a:lnTo>
                    <a:close/>
                    <a:moveTo>
                      <a:pt x="225" y="114"/>
                    </a:moveTo>
                    <a:cubicBezTo>
                      <a:pt x="225" y="113"/>
                      <a:pt x="225" y="113"/>
                      <a:pt x="224" y="112"/>
                    </a:cubicBezTo>
                    <a:cubicBezTo>
                      <a:pt x="224" y="111"/>
                      <a:pt x="224" y="110"/>
                      <a:pt x="224" y="110"/>
                    </a:cubicBezTo>
                    <a:cubicBezTo>
                      <a:pt x="224" y="109"/>
                      <a:pt x="224" y="108"/>
                      <a:pt x="224" y="108"/>
                    </a:cubicBezTo>
                    <a:cubicBezTo>
                      <a:pt x="225" y="107"/>
                      <a:pt x="225" y="106"/>
                      <a:pt x="225" y="106"/>
                    </a:cubicBezTo>
                    <a:cubicBezTo>
                      <a:pt x="230" y="110"/>
                      <a:pt x="230" y="110"/>
                      <a:pt x="230" y="110"/>
                    </a:cubicBezTo>
                    <a:cubicBezTo>
                      <a:pt x="230" y="110"/>
                      <a:pt x="230" y="110"/>
                      <a:pt x="230" y="109"/>
                    </a:cubicBezTo>
                    <a:cubicBezTo>
                      <a:pt x="230" y="110"/>
                      <a:pt x="230" y="111"/>
                      <a:pt x="230" y="111"/>
                    </a:cubicBezTo>
                    <a:cubicBezTo>
                      <a:pt x="230" y="112"/>
                      <a:pt x="230" y="113"/>
                      <a:pt x="230" y="114"/>
                    </a:cubicBezTo>
                    <a:lnTo>
                      <a:pt x="225" y="114"/>
                    </a:lnTo>
                    <a:close/>
                    <a:moveTo>
                      <a:pt x="93" y="113"/>
                    </a:moveTo>
                    <a:cubicBezTo>
                      <a:pt x="93" y="112"/>
                      <a:pt x="93" y="112"/>
                      <a:pt x="93" y="112"/>
                    </a:cubicBezTo>
                    <a:cubicBezTo>
                      <a:pt x="92" y="112"/>
                      <a:pt x="92" y="112"/>
                      <a:pt x="92" y="111"/>
                    </a:cubicBezTo>
                    <a:cubicBezTo>
                      <a:pt x="90" y="110"/>
                      <a:pt x="89" y="109"/>
                      <a:pt x="89" y="107"/>
                    </a:cubicBezTo>
                    <a:cubicBezTo>
                      <a:pt x="95" y="106"/>
                      <a:pt x="95" y="106"/>
                      <a:pt x="95" y="106"/>
                    </a:cubicBezTo>
                    <a:cubicBezTo>
                      <a:pt x="95" y="106"/>
                      <a:pt x="95" y="106"/>
                      <a:pt x="94" y="106"/>
                    </a:cubicBezTo>
                    <a:cubicBezTo>
                      <a:pt x="95" y="106"/>
                      <a:pt x="95" y="106"/>
                      <a:pt x="95" y="106"/>
                    </a:cubicBezTo>
                    <a:cubicBezTo>
                      <a:pt x="95" y="106"/>
                      <a:pt x="95" y="106"/>
                      <a:pt x="95" y="106"/>
                    </a:cubicBezTo>
                    <a:cubicBezTo>
                      <a:pt x="95" y="106"/>
                      <a:pt x="95" y="106"/>
                      <a:pt x="95" y="106"/>
                    </a:cubicBezTo>
                    <a:cubicBezTo>
                      <a:pt x="95" y="106"/>
                      <a:pt x="95" y="106"/>
                      <a:pt x="95" y="107"/>
                    </a:cubicBezTo>
                    <a:cubicBezTo>
                      <a:pt x="96" y="107"/>
                      <a:pt x="96" y="107"/>
                      <a:pt x="97" y="108"/>
                    </a:cubicBezTo>
                    <a:cubicBezTo>
                      <a:pt x="97" y="109"/>
                      <a:pt x="97" y="109"/>
                      <a:pt x="97" y="109"/>
                    </a:cubicBezTo>
                    <a:lnTo>
                      <a:pt x="93" y="113"/>
                    </a:lnTo>
                    <a:close/>
                    <a:moveTo>
                      <a:pt x="87" y="97"/>
                    </a:moveTo>
                    <a:cubicBezTo>
                      <a:pt x="85" y="95"/>
                      <a:pt x="84" y="93"/>
                      <a:pt x="84" y="91"/>
                    </a:cubicBezTo>
                    <a:cubicBezTo>
                      <a:pt x="84" y="91"/>
                      <a:pt x="84" y="90"/>
                      <a:pt x="84" y="89"/>
                    </a:cubicBezTo>
                    <a:cubicBezTo>
                      <a:pt x="90" y="91"/>
                      <a:pt x="90" y="91"/>
                      <a:pt x="90" y="91"/>
                    </a:cubicBezTo>
                    <a:cubicBezTo>
                      <a:pt x="90" y="91"/>
                      <a:pt x="90" y="92"/>
                      <a:pt x="91" y="94"/>
                    </a:cubicBezTo>
                    <a:lnTo>
                      <a:pt x="87" y="97"/>
                    </a:lnTo>
                    <a:close/>
                    <a:moveTo>
                      <a:pt x="43" y="89"/>
                    </a:moveTo>
                    <a:cubicBezTo>
                      <a:pt x="42" y="89"/>
                      <a:pt x="41" y="88"/>
                      <a:pt x="39" y="88"/>
                    </a:cubicBezTo>
                    <a:cubicBezTo>
                      <a:pt x="42" y="82"/>
                      <a:pt x="42" y="82"/>
                      <a:pt x="42" y="82"/>
                    </a:cubicBezTo>
                    <a:cubicBezTo>
                      <a:pt x="43" y="83"/>
                      <a:pt x="44" y="83"/>
                      <a:pt x="45" y="82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6" y="88"/>
                      <a:pt x="45" y="89"/>
                      <a:pt x="43" y="89"/>
                    </a:cubicBezTo>
                    <a:close/>
                    <a:moveTo>
                      <a:pt x="77" y="81"/>
                    </a:moveTo>
                    <a:cubicBezTo>
                      <a:pt x="72" y="80"/>
                      <a:pt x="71" y="78"/>
                      <a:pt x="70" y="76"/>
                    </a:cubicBezTo>
                    <a:cubicBezTo>
                      <a:pt x="70" y="76"/>
                      <a:pt x="70" y="76"/>
                      <a:pt x="70" y="76"/>
                    </a:cubicBezTo>
                    <a:cubicBezTo>
                      <a:pt x="76" y="74"/>
                      <a:pt x="76" y="74"/>
                      <a:pt x="76" y="74"/>
                    </a:cubicBezTo>
                    <a:cubicBezTo>
                      <a:pt x="76" y="74"/>
                      <a:pt x="76" y="74"/>
                      <a:pt x="76" y="74"/>
                    </a:cubicBezTo>
                    <a:cubicBezTo>
                      <a:pt x="76" y="75"/>
                      <a:pt x="76" y="75"/>
                      <a:pt x="77" y="75"/>
                    </a:cubicBezTo>
                    <a:lnTo>
                      <a:pt x="77" y="81"/>
                    </a:lnTo>
                    <a:close/>
                    <a:moveTo>
                      <a:pt x="96" y="80"/>
                    </a:moveTo>
                    <a:cubicBezTo>
                      <a:pt x="90" y="80"/>
                      <a:pt x="90" y="80"/>
                      <a:pt x="90" y="80"/>
                    </a:cubicBezTo>
                    <a:cubicBezTo>
                      <a:pt x="90" y="80"/>
                      <a:pt x="90" y="80"/>
                      <a:pt x="90" y="80"/>
                    </a:cubicBezTo>
                    <a:cubicBezTo>
                      <a:pt x="89" y="80"/>
                      <a:pt x="89" y="80"/>
                      <a:pt x="89" y="80"/>
                    </a:cubicBezTo>
                    <a:cubicBezTo>
                      <a:pt x="89" y="74"/>
                      <a:pt x="89" y="74"/>
                      <a:pt x="89" y="74"/>
                    </a:cubicBezTo>
                    <a:cubicBezTo>
                      <a:pt x="90" y="74"/>
                      <a:pt x="90" y="74"/>
                      <a:pt x="90" y="74"/>
                    </a:cubicBezTo>
                    <a:cubicBezTo>
                      <a:pt x="93" y="74"/>
                      <a:pt x="96" y="76"/>
                      <a:pt x="96" y="80"/>
                    </a:cubicBezTo>
                    <a:cubicBezTo>
                      <a:pt x="96" y="80"/>
                      <a:pt x="96" y="80"/>
                      <a:pt x="96" y="80"/>
                    </a:cubicBezTo>
                    <a:close/>
                    <a:moveTo>
                      <a:pt x="31" y="78"/>
                    </a:moveTo>
                    <a:cubicBezTo>
                      <a:pt x="29" y="76"/>
                      <a:pt x="29" y="76"/>
                      <a:pt x="28" y="76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31" y="71"/>
                      <a:pt x="33" y="72"/>
                      <a:pt x="35" y="75"/>
                    </a:cubicBezTo>
                    <a:lnTo>
                      <a:pt x="31" y="78"/>
                    </a:lnTo>
                    <a:close/>
                    <a:moveTo>
                      <a:pt x="54" y="76"/>
                    </a:moveTo>
                    <a:cubicBezTo>
                      <a:pt x="49" y="75"/>
                      <a:pt x="49" y="75"/>
                      <a:pt x="49" y="75"/>
                    </a:cubicBezTo>
                    <a:cubicBezTo>
                      <a:pt x="49" y="73"/>
                      <a:pt x="49" y="73"/>
                      <a:pt x="49" y="73"/>
                    </a:cubicBezTo>
                    <a:cubicBezTo>
                      <a:pt x="49" y="72"/>
                      <a:pt x="49" y="70"/>
                      <a:pt x="50" y="69"/>
                    </a:cubicBezTo>
                    <a:cubicBezTo>
                      <a:pt x="55" y="70"/>
                      <a:pt x="55" y="70"/>
                      <a:pt x="55" y="70"/>
                    </a:cubicBezTo>
                    <a:cubicBezTo>
                      <a:pt x="55" y="72"/>
                      <a:pt x="55" y="73"/>
                      <a:pt x="55" y="74"/>
                    </a:cubicBezTo>
                    <a:lnTo>
                      <a:pt x="54" y="76"/>
                    </a:lnTo>
                    <a:close/>
                    <a:moveTo>
                      <a:pt x="15" y="73"/>
                    </a:moveTo>
                    <a:cubicBezTo>
                      <a:pt x="14" y="72"/>
                      <a:pt x="14" y="71"/>
                      <a:pt x="13" y="71"/>
                    </a:cubicBezTo>
                    <a:cubicBezTo>
                      <a:pt x="12" y="70"/>
                      <a:pt x="11" y="69"/>
                      <a:pt x="11" y="69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5" y="65"/>
                      <a:pt x="16" y="65"/>
                      <a:pt x="17" y="66"/>
                    </a:cubicBezTo>
                    <a:cubicBezTo>
                      <a:pt x="17" y="67"/>
                      <a:pt x="18" y="68"/>
                      <a:pt x="19" y="68"/>
                    </a:cubicBezTo>
                    <a:lnTo>
                      <a:pt x="15" y="73"/>
                    </a:lnTo>
                    <a:close/>
                    <a:moveTo>
                      <a:pt x="64" y="68"/>
                    </a:moveTo>
                    <a:cubicBezTo>
                      <a:pt x="64" y="67"/>
                      <a:pt x="63" y="67"/>
                      <a:pt x="63" y="67"/>
                    </a:cubicBezTo>
                    <a:cubicBezTo>
                      <a:pt x="62" y="67"/>
                      <a:pt x="61" y="66"/>
                      <a:pt x="60" y="66"/>
                    </a:cubicBezTo>
                    <a:cubicBezTo>
                      <a:pt x="61" y="60"/>
                      <a:pt x="61" y="60"/>
                      <a:pt x="61" y="60"/>
                    </a:cubicBezTo>
                    <a:cubicBezTo>
                      <a:pt x="62" y="61"/>
                      <a:pt x="64" y="61"/>
                      <a:pt x="65" y="62"/>
                    </a:cubicBezTo>
                    <a:cubicBezTo>
                      <a:pt x="66" y="62"/>
                      <a:pt x="67" y="62"/>
                      <a:pt x="68" y="63"/>
                    </a:cubicBezTo>
                    <a:lnTo>
                      <a:pt x="64" y="68"/>
                    </a:lnTo>
                    <a:close/>
                    <a:moveTo>
                      <a:pt x="6" y="65"/>
                    </a:moveTo>
                    <a:cubicBezTo>
                      <a:pt x="0" y="63"/>
                      <a:pt x="0" y="63"/>
                      <a:pt x="0" y="63"/>
                    </a:cubicBezTo>
                    <a:cubicBezTo>
                      <a:pt x="0" y="61"/>
                      <a:pt x="1" y="60"/>
                      <a:pt x="3" y="58"/>
                    </a:cubicBezTo>
                    <a:cubicBezTo>
                      <a:pt x="4" y="57"/>
                      <a:pt x="4" y="57"/>
                      <a:pt x="4" y="57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8" y="62"/>
                      <a:pt x="8" y="62"/>
                      <a:pt x="8" y="62"/>
                    </a:cubicBezTo>
                    <a:cubicBezTo>
                      <a:pt x="6" y="63"/>
                      <a:pt x="6" y="64"/>
                      <a:pt x="6" y="65"/>
                    </a:cubicBezTo>
                    <a:close/>
                    <a:moveTo>
                      <a:pt x="16" y="52"/>
                    </a:moveTo>
                    <a:cubicBezTo>
                      <a:pt x="11" y="48"/>
                      <a:pt x="11" y="48"/>
                      <a:pt x="11" y="48"/>
                    </a:cubicBezTo>
                    <a:cubicBezTo>
                      <a:pt x="12" y="46"/>
                      <a:pt x="14" y="45"/>
                      <a:pt x="15" y="43"/>
                    </a:cubicBezTo>
                    <a:cubicBezTo>
                      <a:pt x="19" y="47"/>
                      <a:pt x="19" y="47"/>
                      <a:pt x="19" y="47"/>
                    </a:cubicBezTo>
                    <a:cubicBezTo>
                      <a:pt x="18" y="49"/>
                      <a:pt x="17" y="50"/>
                      <a:pt x="16" y="52"/>
                    </a:cubicBezTo>
                    <a:close/>
                    <a:moveTo>
                      <a:pt x="26" y="36"/>
                    </a:move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33"/>
                      <a:pt x="21" y="33"/>
                      <a:pt x="21" y="32"/>
                    </a:cubicBezTo>
                    <a:cubicBezTo>
                      <a:pt x="21" y="31"/>
                      <a:pt x="21" y="30"/>
                      <a:pt x="21" y="29"/>
                    </a:cubicBezTo>
                    <a:cubicBezTo>
                      <a:pt x="27" y="30"/>
                      <a:pt x="27" y="30"/>
                      <a:pt x="27" y="30"/>
                    </a:cubicBezTo>
                    <a:cubicBezTo>
                      <a:pt x="27" y="31"/>
                      <a:pt x="27" y="31"/>
                      <a:pt x="27" y="32"/>
                    </a:cubicBezTo>
                    <a:cubicBezTo>
                      <a:pt x="27" y="33"/>
                      <a:pt x="27" y="35"/>
                      <a:pt x="26" y="36"/>
                    </a:cubicBezTo>
                    <a:close/>
                    <a:moveTo>
                      <a:pt x="31" y="21"/>
                    </a:move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7"/>
                      <a:pt x="27" y="16"/>
                      <a:pt x="27" y="16"/>
                    </a:cubicBezTo>
                    <a:cubicBezTo>
                      <a:pt x="27" y="16"/>
                      <a:pt x="27" y="15"/>
                      <a:pt x="27" y="15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2" y="13"/>
                      <a:pt x="33" y="14"/>
                      <a:pt x="33" y="16"/>
                    </a:cubicBezTo>
                    <a:cubicBezTo>
                      <a:pt x="33" y="18"/>
                      <a:pt x="32" y="20"/>
                      <a:pt x="31" y="21"/>
                    </a:cubicBezTo>
                    <a:close/>
                    <a:moveTo>
                      <a:pt x="18" y="7"/>
                    </a:moveTo>
                    <a:cubicBezTo>
                      <a:pt x="17" y="6"/>
                      <a:pt x="17" y="6"/>
                      <a:pt x="16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2" y="2"/>
                      <a:pt x="23" y="3"/>
                      <a:pt x="23" y="6"/>
                    </a:cubicBezTo>
                    <a:lnTo>
                      <a:pt x="18" y="7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4" name="îṡľíḍê"/>
              <p:cNvSpPr/>
              <p:nvPr/>
            </p:nvSpPr>
            <p:spPr bwMode="auto">
              <a:xfrm>
                <a:off x="8515350" y="1360488"/>
                <a:ext cx="1185863" cy="415925"/>
              </a:xfrm>
              <a:custGeom>
                <a:avLst/>
                <a:gdLst>
                  <a:gd name="T0" fmla="*/ 406 w 553"/>
                  <a:gd name="T1" fmla="*/ 192 h 194"/>
                  <a:gd name="T2" fmla="*/ 388 w 553"/>
                  <a:gd name="T3" fmla="*/ 191 h 194"/>
                  <a:gd name="T4" fmla="*/ 417 w 553"/>
                  <a:gd name="T5" fmla="*/ 180 h 194"/>
                  <a:gd name="T6" fmla="*/ 382 w 553"/>
                  <a:gd name="T7" fmla="*/ 167 h 194"/>
                  <a:gd name="T8" fmla="*/ 524 w 553"/>
                  <a:gd name="T9" fmla="*/ 162 h 194"/>
                  <a:gd name="T10" fmla="*/ 417 w 553"/>
                  <a:gd name="T11" fmla="*/ 167 h 194"/>
                  <a:gd name="T12" fmla="*/ 546 w 553"/>
                  <a:gd name="T13" fmla="*/ 166 h 194"/>
                  <a:gd name="T14" fmla="*/ 534 w 553"/>
                  <a:gd name="T15" fmla="*/ 161 h 194"/>
                  <a:gd name="T16" fmla="*/ 534 w 553"/>
                  <a:gd name="T17" fmla="*/ 161 h 194"/>
                  <a:gd name="T18" fmla="*/ 313 w 553"/>
                  <a:gd name="T19" fmla="*/ 159 h 194"/>
                  <a:gd name="T20" fmla="*/ 317 w 553"/>
                  <a:gd name="T21" fmla="*/ 155 h 194"/>
                  <a:gd name="T22" fmla="*/ 504 w 553"/>
                  <a:gd name="T23" fmla="*/ 151 h 194"/>
                  <a:gd name="T24" fmla="*/ 434 w 553"/>
                  <a:gd name="T25" fmla="*/ 151 h 194"/>
                  <a:gd name="T26" fmla="*/ 485 w 553"/>
                  <a:gd name="T27" fmla="*/ 153 h 194"/>
                  <a:gd name="T28" fmla="*/ 457 w 553"/>
                  <a:gd name="T29" fmla="*/ 152 h 194"/>
                  <a:gd name="T30" fmla="*/ 460 w 553"/>
                  <a:gd name="T31" fmla="*/ 153 h 194"/>
                  <a:gd name="T32" fmla="*/ 440 w 553"/>
                  <a:gd name="T33" fmla="*/ 148 h 194"/>
                  <a:gd name="T34" fmla="*/ 446 w 553"/>
                  <a:gd name="T35" fmla="*/ 147 h 194"/>
                  <a:gd name="T36" fmla="*/ 304 w 553"/>
                  <a:gd name="T37" fmla="*/ 140 h 194"/>
                  <a:gd name="T38" fmla="*/ 328 w 553"/>
                  <a:gd name="T39" fmla="*/ 138 h 194"/>
                  <a:gd name="T40" fmla="*/ 329 w 553"/>
                  <a:gd name="T41" fmla="*/ 144 h 194"/>
                  <a:gd name="T42" fmla="*/ 472 w 553"/>
                  <a:gd name="T43" fmla="*/ 139 h 194"/>
                  <a:gd name="T44" fmla="*/ 472 w 553"/>
                  <a:gd name="T45" fmla="*/ 139 h 194"/>
                  <a:gd name="T46" fmla="*/ 453 w 553"/>
                  <a:gd name="T47" fmla="*/ 132 h 194"/>
                  <a:gd name="T48" fmla="*/ 288 w 553"/>
                  <a:gd name="T49" fmla="*/ 128 h 194"/>
                  <a:gd name="T50" fmla="*/ 350 w 553"/>
                  <a:gd name="T51" fmla="*/ 128 h 194"/>
                  <a:gd name="T52" fmla="*/ 334 w 553"/>
                  <a:gd name="T53" fmla="*/ 123 h 194"/>
                  <a:gd name="T54" fmla="*/ 264 w 553"/>
                  <a:gd name="T55" fmla="*/ 119 h 194"/>
                  <a:gd name="T56" fmla="*/ 343 w 553"/>
                  <a:gd name="T57" fmla="*/ 113 h 194"/>
                  <a:gd name="T58" fmla="*/ 347 w 553"/>
                  <a:gd name="T59" fmla="*/ 120 h 194"/>
                  <a:gd name="T60" fmla="*/ 293 w 553"/>
                  <a:gd name="T61" fmla="*/ 115 h 194"/>
                  <a:gd name="T62" fmla="*/ 271 w 553"/>
                  <a:gd name="T63" fmla="*/ 112 h 194"/>
                  <a:gd name="T64" fmla="*/ 260 w 553"/>
                  <a:gd name="T65" fmla="*/ 98 h 194"/>
                  <a:gd name="T66" fmla="*/ 254 w 553"/>
                  <a:gd name="T67" fmla="*/ 88 h 194"/>
                  <a:gd name="T68" fmla="*/ 258 w 553"/>
                  <a:gd name="T69" fmla="*/ 92 h 194"/>
                  <a:gd name="T70" fmla="*/ 204 w 553"/>
                  <a:gd name="T71" fmla="*/ 85 h 194"/>
                  <a:gd name="T72" fmla="*/ 182 w 553"/>
                  <a:gd name="T73" fmla="*/ 77 h 194"/>
                  <a:gd name="T74" fmla="*/ 250 w 553"/>
                  <a:gd name="T75" fmla="*/ 75 h 194"/>
                  <a:gd name="T76" fmla="*/ 215 w 553"/>
                  <a:gd name="T77" fmla="*/ 70 h 194"/>
                  <a:gd name="T78" fmla="*/ 91 w 553"/>
                  <a:gd name="T79" fmla="*/ 69 h 194"/>
                  <a:gd name="T80" fmla="*/ 226 w 553"/>
                  <a:gd name="T81" fmla="*/ 71 h 194"/>
                  <a:gd name="T82" fmla="*/ 169 w 553"/>
                  <a:gd name="T83" fmla="*/ 74 h 194"/>
                  <a:gd name="T84" fmla="*/ 131 w 553"/>
                  <a:gd name="T85" fmla="*/ 72 h 194"/>
                  <a:gd name="T86" fmla="*/ 137 w 553"/>
                  <a:gd name="T87" fmla="*/ 71 h 194"/>
                  <a:gd name="T88" fmla="*/ 113 w 553"/>
                  <a:gd name="T89" fmla="*/ 70 h 194"/>
                  <a:gd name="T90" fmla="*/ 148 w 553"/>
                  <a:gd name="T91" fmla="*/ 61 h 194"/>
                  <a:gd name="T92" fmla="*/ 148 w 553"/>
                  <a:gd name="T93" fmla="*/ 68 h 194"/>
                  <a:gd name="T94" fmla="*/ 121 w 553"/>
                  <a:gd name="T95" fmla="*/ 62 h 194"/>
                  <a:gd name="T96" fmla="*/ 121 w 553"/>
                  <a:gd name="T97" fmla="*/ 62 h 194"/>
                  <a:gd name="T98" fmla="*/ 163 w 553"/>
                  <a:gd name="T99" fmla="*/ 58 h 194"/>
                  <a:gd name="T100" fmla="*/ 65 w 553"/>
                  <a:gd name="T101" fmla="*/ 56 h 194"/>
                  <a:gd name="T102" fmla="*/ 60 w 553"/>
                  <a:gd name="T103" fmla="*/ 25 h 194"/>
                  <a:gd name="T104" fmla="*/ 6 w 553"/>
                  <a:gd name="T105" fmla="*/ 13 h 194"/>
                  <a:gd name="T106" fmla="*/ 17 w 553"/>
                  <a:gd name="T107" fmla="*/ 6 h 194"/>
                  <a:gd name="T108" fmla="*/ 35 w 553"/>
                  <a:gd name="T109" fmla="*/ 2 h 194"/>
                  <a:gd name="T110" fmla="*/ 51 w 553"/>
                  <a:gd name="T111" fmla="*/ 8 h 194"/>
                  <a:gd name="T112" fmla="*/ 57 w 553"/>
                  <a:gd name="T113" fmla="*/ 7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53" h="194">
                    <a:moveTo>
                      <a:pt x="402" y="194"/>
                    </a:moveTo>
                    <a:cubicBezTo>
                      <a:pt x="400" y="189"/>
                      <a:pt x="400" y="189"/>
                      <a:pt x="400" y="189"/>
                    </a:cubicBezTo>
                    <a:cubicBezTo>
                      <a:pt x="401" y="188"/>
                      <a:pt x="401" y="188"/>
                      <a:pt x="402" y="187"/>
                    </a:cubicBezTo>
                    <a:cubicBezTo>
                      <a:pt x="403" y="187"/>
                      <a:pt x="404" y="186"/>
                      <a:pt x="405" y="186"/>
                    </a:cubicBezTo>
                    <a:cubicBezTo>
                      <a:pt x="408" y="191"/>
                      <a:pt x="408" y="191"/>
                      <a:pt x="408" y="191"/>
                    </a:cubicBezTo>
                    <a:cubicBezTo>
                      <a:pt x="407" y="191"/>
                      <a:pt x="406" y="191"/>
                      <a:pt x="406" y="192"/>
                    </a:cubicBezTo>
                    <a:cubicBezTo>
                      <a:pt x="405" y="193"/>
                      <a:pt x="404" y="194"/>
                      <a:pt x="402" y="194"/>
                    </a:cubicBezTo>
                    <a:close/>
                    <a:moveTo>
                      <a:pt x="388" y="191"/>
                    </a:moveTo>
                    <a:cubicBezTo>
                      <a:pt x="387" y="190"/>
                      <a:pt x="386" y="188"/>
                      <a:pt x="385" y="186"/>
                    </a:cubicBezTo>
                    <a:cubicBezTo>
                      <a:pt x="390" y="183"/>
                      <a:pt x="390" y="183"/>
                      <a:pt x="390" y="183"/>
                    </a:cubicBezTo>
                    <a:cubicBezTo>
                      <a:pt x="391" y="185"/>
                      <a:pt x="392" y="186"/>
                      <a:pt x="393" y="187"/>
                    </a:cubicBezTo>
                    <a:lnTo>
                      <a:pt x="388" y="191"/>
                    </a:lnTo>
                    <a:close/>
                    <a:moveTo>
                      <a:pt x="412" y="182"/>
                    </a:moveTo>
                    <a:cubicBezTo>
                      <a:pt x="412" y="182"/>
                      <a:pt x="411" y="181"/>
                      <a:pt x="411" y="181"/>
                    </a:cubicBezTo>
                    <a:cubicBezTo>
                      <a:pt x="410" y="180"/>
                      <a:pt x="410" y="179"/>
                      <a:pt x="409" y="177"/>
                    </a:cubicBezTo>
                    <a:cubicBezTo>
                      <a:pt x="415" y="175"/>
                      <a:pt x="415" y="175"/>
                      <a:pt x="415" y="175"/>
                    </a:cubicBezTo>
                    <a:cubicBezTo>
                      <a:pt x="415" y="176"/>
                      <a:pt x="415" y="177"/>
                      <a:pt x="416" y="178"/>
                    </a:cubicBezTo>
                    <a:cubicBezTo>
                      <a:pt x="416" y="178"/>
                      <a:pt x="417" y="179"/>
                      <a:pt x="417" y="180"/>
                    </a:cubicBezTo>
                    <a:cubicBezTo>
                      <a:pt x="417" y="180"/>
                      <a:pt x="417" y="180"/>
                      <a:pt x="417" y="180"/>
                    </a:cubicBezTo>
                    <a:cubicBezTo>
                      <a:pt x="415" y="181"/>
                      <a:pt x="415" y="181"/>
                      <a:pt x="415" y="181"/>
                    </a:cubicBezTo>
                    <a:lnTo>
                      <a:pt x="412" y="182"/>
                    </a:lnTo>
                    <a:close/>
                    <a:moveTo>
                      <a:pt x="380" y="175"/>
                    </a:moveTo>
                    <a:cubicBezTo>
                      <a:pt x="380" y="173"/>
                      <a:pt x="379" y="172"/>
                      <a:pt x="378" y="171"/>
                    </a:cubicBezTo>
                    <a:cubicBezTo>
                      <a:pt x="382" y="167"/>
                      <a:pt x="382" y="167"/>
                      <a:pt x="382" y="167"/>
                    </a:cubicBezTo>
                    <a:cubicBezTo>
                      <a:pt x="383" y="168"/>
                      <a:pt x="385" y="170"/>
                      <a:pt x="386" y="173"/>
                    </a:cubicBezTo>
                    <a:lnTo>
                      <a:pt x="380" y="175"/>
                    </a:lnTo>
                    <a:close/>
                    <a:moveTo>
                      <a:pt x="522" y="168"/>
                    </a:moveTo>
                    <a:cubicBezTo>
                      <a:pt x="520" y="167"/>
                      <a:pt x="518" y="166"/>
                      <a:pt x="516" y="165"/>
                    </a:cubicBezTo>
                    <a:cubicBezTo>
                      <a:pt x="519" y="160"/>
                      <a:pt x="519" y="160"/>
                      <a:pt x="519" y="160"/>
                    </a:cubicBezTo>
                    <a:cubicBezTo>
                      <a:pt x="521" y="161"/>
                      <a:pt x="522" y="162"/>
                      <a:pt x="524" y="162"/>
                    </a:cubicBezTo>
                    <a:lnTo>
                      <a:pt x="522" y="168"/>
                    </a:lnTo>
                    <a:close/>
                    <a:moveTo>
                      <a:pt x="417" y="167"/>
                    </a:moveTo>
                    <a:cubicBezTo>
                      <a:pt x="412" y="163"/>
                      <a:pt x="412" y="163"/>
                      <a:pt x="412" y="163"/>
                    </a:cubicBezTo>
                    <a:cubicBezTo>
                      <a:pt x="414" y="162"/>
                      <a:pt x="415" y="160"/>
                      <a:pt x="417" y="159"/>
                    </a:cubicBezTo>
                    <a:cubicBezTo>
                      <a:pt x="421" y="163"/>
                      <a:pt x="421" y="163"/>
                      <a:pt x="421" y="163"/>
                    </a:cubicBezTo>
                    <a:cubicBezTo>
                      <a:pt x="419" y="164"/>
                      <a:pt x="418" y="166"/>
                      <a:pt x="417" y="167"/>
                    </a:cubicBezTo>
                    <a:close/>
                    <a:moveTo>
                      <a:pt x="546" y="166"/>
                    </a:moveTo>
                    <a:cubicBezTo>
                      <a:pt x="546" y="160"/>
                      <a:pt x="546" y="160"/>
                      <a:pt x="546" y="160"/>
                    </a:cubicBezTo>
                    <a:cubicBezTo>
                      <a:pt x="546" y="161"/>
                      <a:pt x="546" y="161"/>
                      <a:pt x="546" y="161"/>
                    </a:cubicBezTo>
                    <a:cubicBezTo>
                      <a:pt x="547" y="160"/>
                      <a:pt x="547" y="160"/>
                      <a:pt x="549" y="159"/>
                    </a:cubicBezTo>
                    <a:cubicBezTo>
                      <a:pt x="553" y="163"/>
                      <a:pt x="553" y="163"/>
                      <a:pt x="553" y="163"/>
                    </a:cubicBezTo>
                    <a:cubicBezTo>
                      <a:pt x="551" y="165"/>
                      <a:pt x="549" y="166"/>
                      <a:pt x="546" y="166"/>
                    </a:cubicBezTo>
                    <a:close/>
                    <a:moveTo>
                      <a:pt x="368" y="166"/>
                    </a:moveTo>
                    <a:cubicBezTo>
                      <a:pt x="366" y="165"/>
                      <a:pt x="364" y="163"/>
                      <a:pt x="363" y="160"/>
                    </a:cubicBezTo>
                    <a:cubicBezTo>
                      <a:pt x="369" y="158"/>
                      <a:pt x="369" y="158"/>
                      <a:pt x="369" y="158"/>
                    </a:cubicBezTo>
                    <a:cubicBezTo>
                      <a:pt x="369" y="160"/>
                      <a:pt x="370" y="161"/>
                      <a:pt x="371" y="161"/>
                    </a:cubicBezTo>
                    <a:lnTo>
                      <a:pt x="368" y="166"/>
                    </a:lnTo>
                    <a:close/>
                    <a:moveTo>
                      <a:pt x="534" y="161"/>
                    </a:moveTo>
                    <a:cubicBezTo>
                      <a:pt x="529" y="158"/>
                      <a:pt x="529" y="158"/>
                      <a:pt x="529" y="158"/>
                    </a:cubicBezTo>
                    <a:cubicBezTo>
                      <a:pt x="529" y="157"/>
                      <a:pt x="531" y="154"/>
                      <a:pt x="534" y="154"/>
                    </a:cubicBezTo>
                    <a:cubicBezTo>
                      <a:pt x="535" y="154"/>
                      <a:pt x="536" y="155"/>
                      <a:pt x="537" y="155"/>
                    </a:cubicBezTo>
                    <a:cubicBezTo>
                      <a:pt x="534" y="161"/>
                      <a:pt x="534" y="161"/>
                      <a:pt x="534" y="161"/>
                    </a:cubicBezTo>
                    <a:cubicBezTo>
                      <a:pt x="534" y="161"/>
                      <a:pt x="534" y="160"/>
                      <a:pt x="534" y="160"/>
                    </a:cubicBezTo>
                    <a:cubicBezTo>
                      <a:pt x="534" y="161"/>
                      <a:pt x="534" y="161"/>
                      <a:pt x="534" y="161"/>
                    </a:cubicBezTo>
                    <a:close/>
                    <a:moveTo>
                      <a:pt x="327" y="160"/>
                    </a:moveTo>
                    <a:cubicBezTo>
                      <a:pt x="326" y="155"/>
                      <a:pt x="326" y="155"/>
                      <a:pt x="326" y="155"/>
                    </a:cubicBezTo>
                    <a:cubicBezTo>
                      <a:pt x="327" y="154"/>
                      <a:pt x="328" y="154"/>
                      <a:pt x="329" y="153"/>
                    </a:cubicBezTo>
                    <a:cubicBezTo>
                      <a:pt x="334" y="157"/>
                      <a:pt x="334" y="157"/>
                      <a:pt x="334" y="157"/>
                    </a:cubicBezTo>
                    <a:cubicBezTo>
                      <a:pt x="332" y="158"/>
                      <a:pt x="330" y="160"/>
                      <a:pt x="327" y="160"/>
                    </a:cubicBezTo>
                    <a:close/>
                    <a:moveTo>
                      <a:pt x="313" y="159"/>
                    </a:moveTo>
                    <a:cubicBezTo>
                      <a:pt x="312" y="158"/>
                      <a:pt x="312" y="156"/>
                      <a:pt x="312" y="155"/>
                    </a:cubicBezTo>
                    <a:cubicBezTo>
                      <a:pt x="311" y="155"/>
                      <a:pt x="311" y="155"/>
                      <a:pt x="311" y="154"/>
                    </a:cubicBezTo>
                    <a:cubicBezTo>
                      <a:pt x="311" y="154"/>
                      <a:pt x="311" y="154"/>
                      <a:pt x="311" y="154"/>
                    </a:cubicBezTo>
                    <a:cubicBezTo>
                      <a:pt x="315" y="149"/>
                      <a:pt x="315" y="149"/>
                      <a:pt x="315" y="149"/>
                    </a:cubicBezTo>
                    <a:cubicBezTo>
                      <a:pt x="315" y="150"/>
                      <a:pt x="316" y="151"/>
                      <a:pt x="316" y="151"/>
                    </a:cubicBezTo>
                    <a:cubicBezTo>
                      <a:pt x="317" y="153"/>
                      <a:pt x="317" y="154"/>
                      <a:pt x="317" y="155"/>
                    </a:cubicBezTo>
                    <a:cubicBezTo>
                      <a:pt x="317" y="155"/>
                      <a:pt x="317" y="155"/>
                      <a:pt x="317" y="155"/>
                    </a:cubicBezTo>
                    <a:cubicBezTo>
                      <a:pt x="317" y="155"/>
                      <a:pt x="317" y="155"/>
                      <a:pt x="317" y="155"/>
                    </a:cubicBezTo>
                    <a:lnTo>
                      <a:pt x="313" y="159"/>
                    </a:lnTo>
                    <a:close/>
                    <a:moveTo>
                      <a:pt x="506" y="158"/>
                    </a:moveTo>
                    <a:cubicBezTo>
                      <a:pt x="504" y="157"/>
                      <a:pt x="503" y="157"/>
                      <a:pt x="501" y="156"/>
                    </a:cubicBezTo>
                    <a:cubicBezTo>
                      <a:pt x="504" y="151"/>
                      <a:pt x="504" y="151"/>
                      <a:pt x="504" y="151"/>
                    </a:cubicBezTo>
                    <a:cubicBezTo>
                      <a:pt x="505" y="151"/>
                      <a:pt x="507" y="152"/>
                      <a:pt x="509" y="153"/>
                    </a:cubicBezTo>
                    <a:lnTo>
                      <a:pt x="506" y="158"/>
                    </a:lnTo>
                    <a:close/>
                    <a:moveTo>
                      <a:pt x="430" y="158"/>
                    </a:moveTo>
                    <a:cubicBezTo>
                      <a:pt x="428" y="152"/>
                      <a:pt x="428" y="152"/>
                      <a:pt x="428" y="152"/>
                    </a:cubicBezTo>
                    <a:cubicBezTo>
                      <a:pt x="430" y="152"/>
                      <a:pt x="432" y="152"/>
                      <a:pt x="433" y="151"/>
                    </a:cubicBezTo>
                    <a:cubicBezTo>
                      <a:pt x="434" y="151"/>
                      <a:pt x="434" y="151"/>
                      <a:pt x="434" y="151"/>
                    </a:cubicBezTo>
                    <a:cubicBezTo>
                      <a:pt x="435" y="157"/>
                      <a:pt x="435" y="157"/>
                      <a:pt x="435" y="157"/>
                    </a:cubicBezTo>
                    <a:cubicBezTo>
                      <a:pt x="435" y="157"/>
                      <a:pt x="435" y="157"/>
                      <a:pt x="435" y="157"/>
                    </a:cubicBezTo>
                    <a:cubicBezTo>
                      <a:pt x="433" y="157"/>
                      <a:pt x="431" y="158"/>
                      <a:pt x="430" y="158"/>
                    </a:cubicBezTo>
                    <a:close/>
                    <a:moveTo>
                      <a:pt x="491" y="153"/>
                    </a:moveTo>
                    <a:cubicBezTo>
                      <a:pt x="490" y="153"/>
                      <a:pt x="488" y="153"/>
                      <a:pt x="487" y="153"/>
                    </a:cubicBezTo>
                    <a:cubicBezTo>
                      <a:pt x="487" y="153"/>
                      <a:pt x="486" y="153"/>
                      <a:pt x="485" y="153"/>
                    </a:cubicBezTo>
                    <a:cubicBezTo>
                      <a:pt x="486" y="147"/>
                      <a:pt x="486" y="147"/>
                      <a:pt x="486" y="147"/>
                    </a:cubicBezTo>
                    <a:cubicBezTo>
                      <a:pt x="486" y="147"/>
                      <a:pt x="487" y="147"/>
                      <a:pt x="488" y="147"/>
                    </a:cubicBezTo>
                    <a:cubicBezTo>
                      <a:pt x="489" y="147"/>
                      <a:pt x="490" y="147"/>
                      <a:pt x="492" y="148"/>
                    </a:cubicBezTo>
                    <a:lnTo>
                      <a:pt x="491" y="153"/>
                    </a:lnTo>
                    <a:close/>
                    <a:moveTo>
                      <a:pt x="460" y="153"/>
                    </a:moveTo>
                    <a:cubicBezTo>
                      <a:pt x="458" y="153"/>
                      <a:pt x="457" y="152"/>
                      <a:pt x="457" y="152"/>
                    </a:cubicBezTo>
                    <a:cubicBezTo>
                      <a:pt x="460" y="147"/>
                      <a:pt x="460" y="147"/>
                      <a:pt x="460" y="147"/>
                    </a:cubicBezTo>
                    <a:cubicBezTo>
                      <a:pt x="460" y="147"/>
                      <a:pt x="460" y="147"/>
                      <a:pt x="460" y="147"/>
                    </a:cubicBezTo>
                    <a:cubicBezTo>
                      <a:pt x="460" y="147"/>
                      <a:pt x="461" y="146"/>
                      <a:pt x="461" y="146"/>
                    </a:cubicBezTo>
                    <a:cubicBezTo>
                      <a:pt x="466" y="150"/>
                      <a:pt x="466" y="150"/>
                      <a:pt x="466" y="150"/>
                    </a:cubicBezTo>
                    <a:cubicBezTo>
                      <a:pt x="464" y="152"/>
                      <a:pt x="462" y="153"/>
                      <a:pt x="460" y="153"/>
                    </a:cubicBezTo>
                    <a:cubicBezTo>
                      <a:pt x="460" y="153"/>
                      <a:pt x="460" y="153"/>
                      <a:pt x="460" y="153"/>
                    </a:cubicBezTo>
                    <a:close/>
                    <a:moveTo>
                      <a:pt x="361" y="150"/>
                    </a:moveTo>
                    <a:cubicBezTo>
                      <a:pt x="360" y="148"/>
                      <a:pt x="359" y="147"/>
                      <a:pt x="357" y="146"/>
                    </a:cubicBezTo>
                    <a:cubicBezTo>
                      <a:pt x="361" y="141"/>
                      <a:pt x="361" y="141"/>
                      <a:pt x="361" y="141"/>
                    </a:cubicBezTo>
                    <a:cubicBezTo>
                      <a:pt x="362" y="142"/>
                      <a:pt x="364" y="144"/>
                      <a:pt x="366" y="147"/>
                    </a:cubicBezTo>
                    <a:lnTo>
                      <a:pt x="361" y="150"/>
                    </a:lnTo>
                    <a:close/>
                    <a:moveTo>
                      <a:pt x="440" y="148"/>
                    </a:moveTo>
                    <a:cubicBezTo>
                      <a:pt x="440" y="148"/>
                      <a:pt x="440" y="148"/>
                      <a:pt x="440" y="148"/>
                    </a:cubicBezTo>
                    <a:cubicBezTo>
                      <a:pt x="440" y="147"/>
                      <a:pt x="440" y="146"/>
                      <a:pt x="440" y="145"/>
                    </a:cubicBezTo>
                    <a:cubicBezTo>
                      <a:pt x="440" y="144"/>
                      <a:pt x="440" y="142"/>
                      <a:pt x="441" y="141"/>
                    </a:cubicBezTo>
                    <a:cubicBezTo>
                      <a:pt x="446" y="144"/>
                      <a:pt x="446" y="144"/>
                      <a:pt x="446" y="144"/>
                    </a:cubicBezTo>
                    <a:cubicBezTo>
                      <a:pt x="446" y="144"/>
                      <a:pt x="445" y="145"/>
                      <a:pt x="445" y="145"/>
                    </a:cubicBezTo>
                    <a:cubicBezTo>
                      <a:pt x="445" y="146"/>
                      <a:pt x="446" y="147"/>
                      <a:pt x="446" y="147"/>
                    </a:cubicBezTo>
                    <a:cubicBezTo>
                      <a:pt x="446" y="148"/>
                      <a:pt x="446" y="148"/>
                      <a:pt x="446" y="148"/>
                    </a:cubicBezTo>
                    <a:lnTo>
                      <a:pt x="440" y="148"/>
                    </a:lnTo>
                    <a:close/>
                    <a:moveTo>
                      <a:pt x="301" y="147"/>
                    </a:moveTo>
                    <a:cubicBezTo>
                      <a:pt x="301" y="147"/>
                      <a:pt x="301" y="146"/>
                      <a:pt x="301" y="146"/>
                    </a:cubicBezTo>
                    <a:cubicBezTo>
                      <a:pt x="301" y="145"/>
                      <a:pt x="300" y="144"/>
                      <a:pt x="300" y="143"/>
                    </a:cubicBezTo>
                    <a:cubicBezTo>
                      <a:pt x="304" y="140"/>
                      <a:pt x="304" y="140"/>
                      <a:pt x="304" y="140"/>
                    </a:cubicBezTo>
                    <a:cubicBezTo>
                      <a:pt x="306" y="142"/>
                      <a:pt x="307" y="144"/>
                      <a:pt x="307" y="146"/>
                    </a:cubicBezTo>
                    <a:cubicBezTo>
                      <a:pt x="307" y="146"/>
                      <a:pt x="307" y="146"/>
                      <a:pt x="307" y="146"/>
                    </a:cubicBezTo>
                    <a:lnTo>
                      <a:pt x="301" y="147"/>
                    </a:lnTo>
                    <a:close/>
                    <a:moveTo>
                      <a:pt x="329" y="144"/>
                    </a:moveTo>
                    <a:cubicBezTo>
                      <a:pt x="329" y="143"/>
                      <a:pt x="328" y="141"/>
                      <a:pt x="328" y="140"/>
                    </a:cubicBezTo>
                    <a:cubicBezTo>
                      <a:pt x="328" y="139"/>
                      <a:pt x="328" y="139"/>
                      <a:pt x="328" y="138"/>
                    </a:cubicBezTo>
                    <a:cubicBezTo>
                      <a:pt x="334" y="137"/>
                      <a:pt x="334" y="137"/>
                      <a:pt x="334" y="137"/>
                    </a:cubicBezTo>
                    <a:cubicBezTo>
                      <a:pt x="334" y="138"/>
                      <a:pt x="334" y="138"/>
                      <a:pt x="334" y="138"/>
                    </a:cubicBezTo>
                    <a:cubicBezTo>
                      <a:pt x="334" y="138"/>
                      <a:pt x="334" y="139"/>
                      <a:pt x="334" y="139"/>
                    </a:cubicBezTo>
                    <a:cubicBezTo>
                      <a:pt x="334" y="139"/>
                      <a:pt x="334" y="139"/>
                      <a:pt x="334" y="140"/>
                    </a:cubicBezTo>
                    <a:cubicBezTo>
                      <a:pt x="334" y="141"/>
                      <a:pt x="334" y="142"/>
                      <a:pt x="335" y="143"/>
                    </a:cubicBezTo>
                    <a:lnTo>
                      <a:pt x="329" y="144"/>
                    </a:lnTo>
                    <a:close/>
                    <a:moveTo>
                      <a:pt x="477" y="142"/>
                    </a:moveTo>
                    <a:cubicBezTo>
                      <a:pt x="476" y="141"/>
                      <a:pt x="476" y="139"/>
                      <a:pt x="475" y="137"/>
                    </a:cubicBezTo>
                    <a:cubicBezTo>
                      <a:pt x="481" y="135"/>
                      <a:pt x="481" y="135"/>
                      <a:pt x="481" y="135"/>
                    </a:cubicBezTo>
                    <a:cubicBezTo>
                      <a:pt x="482" y="137"/>
                      <a:pt x="482" y="139"/>
                      <a:pt x="482" y="141"/>
                    </a:cubicBezTo>
                    <a:lnTo>
                      <a:pt x="477" y="142"/>
                    </a:lnTo>
                    <a:close/>
                    <a:moveTo>
                      <a:pt x="472" y="139"/>
                    </a:moveTo>
                    <a:cubicBezTo>
                      <a:pt x="466" y="136"/>
                      <a:pt x="466" y="136"/>
                      <a:pt x="466" y="136"/>
                    </a:cubicBezTo>
                    <a:cubicBezTo>
                      <a:pt x="467" y="135"/>
                      <a:pt x="467" y="134"/>
                      <a:pt x="468" y="133"/>
                    </a:cubicBezTo>
                    <a:cubicBezTo>
                      <a:pt x="468" y="132"/>
                      <a:pt x="469" y="131"/>
                      <a:pt x="469" y="131"/>
                    </a:cubicBezTo>
                    <a:cubicBezTo>
                      <a:pt x="474" y="134"/>
                      <a:pt x="474" y="134"/>
                      <a:pt x="474" y="134"/>
                    </a:cubicBezTo>
                    <a:cubicBezTo>
                      <a:pt x="474" y="135"/>
                      <a:pt x="473" y="135"/>
                      <a:pt x="473" y="136"/>
                    </a:cubicBezTo>
                    <a:cubicBezTo>
                      <a:pt x="472" y="137"/>
                      <a:pt x="472" y="138"/>
                      <a:pt x="472" y="139"/>
                    </a:cubicBezTo>
                    <a:close/>
                    <a:moveTo>
                      <a:pt x="453" y="139"/>
                    </a:moveTo>
                    <a:cubicBezTo>
                      <a:pt x="453" y="138"/>
                      <a:pt x="453" y="138"/>
                      <a:pt x="453" y="138"/>
                    </a:cubicBezTo>
                    <a:cubicBezTo>
                      <a:pt x="453" y="138"/>
                      <a:pt x="453" y="138"/>
                      <a:pt x="453" y="138"/>
                    </a:cubicBezTo>
                    <a:cubicBezTo>
                      <a:pt x="451" y="133"/>
                      <a:pt x="451" y="133"/>
                      <a:pt x="451" y="133"/>
                    </a:cubicBezTo>
                    <a:cubicBezTo>
                      <a:pt x="452" y="132"/>
                      <a:pt x="453" y="132"/>
                      <a:pt x="453" y="132"/>
                    </a:cubicBezTo>
                    <a:cubicBezTo>
                      <a:pt x="453" y="132"/>
                      <a:pt x="453" y="132"/>
                      <a:pt x="453" y="132"/>
                    </a:cubicBezTo>
                    <a:cubicBezTo>
                      <a:pt x="455" y="132"/>
                      <a:pt x="457" y="133"/>
                      <a:pt x="458" y="134"/>
                    </a:cubicBezTo>
                    <a:cubicBezTo>
                      <a:pt x="458" y="135"/>
                      <a:pt x="459" y="136"/>
                      <a:pt x="459" y="138"/>
                    </a:cubicBezTo>
                    <a:lnTo>
                      <a:pt x="453" y="139"/>
                    </a:lnTo>
                    <a:close/>
                    <a:moveTo>
                      <a:pt x="292" y="134"/>
                    </a:moveTo>
                    <a:cubicBezTo>
                      <a:pt x="292" y="134"/>
                      <a:pt x="291" y="133"/>
                      <a:pt x="290" y="132"/>
                    </a:cubicBezTo>
                    <a:cubicBezTo>
                      <a:pt x="289" y="131"/>
                      <a:pt x="289" y="130"/>
                      <a:pt x="288" y="128"/>
                    </a:cubicBezTo>
                    <a:cubicBezTo>
                      <a:pt x="294" y="127"/>
                      <a:pt x="294" y="127"/>
                      <a:pt x="294" y="127"/>
                    </a:cubicBezTo>
                    <a:cubicBezTo>
                      <a:pt x="294" y="127"/>
                      <a:pt x="294" y="128"/>
                      <a:pt x="295" y="129"/>
                    </a:cubicBezTo>
                    <a:cubicBezTo>
                      <a:pt x="296" y="129"/>
                      <a:pt x="296" y="130"/>
                      <a:pt x="297" y="130"/>
                    </a:cubicBezTo>
                    <a:lnTo>
                      <a:pt x="292" y="134"/>
                    </a:lnTo>
                    <a:close/>
                    <a:moveTo>
                      <a:pt x="351" y="134"/>
                    </a:moveTo>
                    <a:cubicBezTo>
                      <a:pt x="351" y="132"/>
                      <a:pt x="351" y="130"/>
                      <a:pt x="350" y="128"/>
                    </a:cubicBezTo>
                    <a:cubicBezTo>
                      <a:pt x="356" y="128"/>
                      <a:pt x="356" y="128"/>
                      <a:pt x="356" y="128"/>
                    </a:cubicBezTo>
                    <a:cubicBezTo>
                      <a:pt x="356" y="129"/>
                      <a:pt x="357" y="131"/>
                      <a:pt x="357" y="133"/>
                    </a:cubicBezTo>
                    <a:lnTo>
                      <a:pt x="351" y="134"/>
                    </a:lnTo>
                    <a:close/>
                    <a:moveTo>
                      <a:pt x="333" y="131"/>
                    </a:moveTo>
                    <a:cubicBezTo>
                      <a:pt x="331" y="126"/>
                      <a:pt x="331" y="126"/>
                      <a:pt x="331" y="126"/>
                    </a:cubicBezTo>
                    <a:cubicBezTo>
                      <a:pt x="331" y="126"/>
                      <a:pt x="332" y="125"/>
                      <a:pt x="334" y="123"/>
                    </a:cubicBezTo>
                    <a:cubicBezTo>
                      <a:pt x="338" y="126"/>
                      <a:pt x="338" y="126"/>
                      <a:pt x="338" y="126"/>
                    </a:cubicBezTo>
                    <a:cubicBezTo>
                      <a:pt x="337" y="129"/>
                      <a:pt x="335" y="130"/>
                      <a:pt x="333" y="131"/>
                    </a:cubicBezTo>
                    <a:close/>
                    <a:moveTo>
                      <a:pt x="259" y="122"/>
                    </a:moveTo>
                    <a:cubicBezTo>
                      <a:pt x="258" y="121"/>
                      <a:pt x="257" y="119"/>
                      <a:pt x="257" y="116"/>
                    </a:cubicBezTo>
                    <a:cubicBezTo>
                      <a:pt x="262" y="115"/>
                      <a:pt x="262" y="115"/>
                      <a:pt x="262" y="115"/>
                    </a:cubicBezTo>
                    <a:cubicBezTo>
                      <a:pt x="263" y="117"/>
                      <a:pt x="264" y="119"/>
                      <a:pt x="264" y="119"/>
                    </a:cubicBezTo>
                    <a:lnTo>
                      <a:pt x="259" y="122"/>
                    </a:lnTo>
                    <a:close/>
                    <a:moveTo>
                      <a:pt x="347" y="120"/>
                    </a:moveTo>
                    <a:cubicBezTo>
                      <a:pt x="347" y="119"/>
                      <a:pt x="347" y="119"/>
                      <a:pt x="347" y="119"/>
                    </a:cubicBezTo>
                    <a:cubicBezTo>
                      <a:pt x="346" y="119"/>
                      <a:pt x="346" y="119"/>
                      <a:pt x="346" y="118"/>
                    </a:cubicBezTo>
                    <a:cubicBezTo>
                      <a:pt x="346" y="118"/>
                      <a:pt x="345" y="119"/>
                      <a:pt x="345" y="119"/>
                    </a:cubicBezTo>
                    <a:cubicBezTo>
                      <a:pt x="343" y="113"/>
                      <a:pt x="343" y="113"/>
                      <a:pt x="343" y="113"/>
                    </a:cubicBezTo>
                    <a:cubicBezTo>
                      <a:pt x="344" y="113"/>
                      <a:pt x="345" y="113"/>
                      <a:pt x="346" y="113"/>
                    </a:cubicBezTo>
                    <a:cubicBezTo>
                      <a:pt x="346" y="113"/>
                      <a:pt x="346" y="113"/>
                      <a:pt x="346" y="113"/>
                    </a:cubicBezTo>
                    <a:cubicBezTo>
                      <a:pt x="347" y="113"/>
                      <a:pt x="348" y="113"/>
                      <a:pt x="349" y="114"/>
                    </a:cubicBezTo>
                    <a:cubicBezTo>
                      <a:pt x="350" y="114"/>
                      <a:pt x="350" y="114"/>
                      <a:pt x="350" y="115"/>
                    </a:cubicBezTo>
                    <a:cubicBezTo>
                      <a:pt x="351" y="115"/>
                      <a:pt x="351" y="115"/>
                      <a:pt x="351" y="115"/>
                    </a:cubicBezTo>
                    <a:lnTo>
                      <a:pt x="347" y="120"/>
                    </a:lnTo>
                    <a:close/>
                    <a:moveTo>
                      <a:pt x="289" y="119"/>
                    </a:moveTo>
                    <a:cubicBezTo>
                      <a:pt x="288" y="118"/>
                      <a:pt x="287" y="118"/>
                      <a:pt x="287" y="118"/>
                    </a:cubicBezTo>
                    <a:cubicBezTo>
                      <a:pt x="287" y="118"/>
                      <a:pt x="286" y="118"/>
                      <a:pt x="286" y="118"/>
                    </a:cubicBezTo>
                    <a:cubicBezTo>
                      <a:pt x="286" y="112"/>
                      <a:pt x="286" y="112"/>
                      <a:pt x="286" y="112"/>
                    </a:cubicBezTo>
                    <a:cubicBezTo>
                      <a:pt x="286" y="112"/>
                      <a:pt x="286" y="112"/>
                      <a:pt x="287" y="112"/>
                    </a:cubicBezTo>
                    <a:cubicBezTo>
                      <a:pt x="290" y="112"/>
                      <a:pt x="291" y="113"/>
                      <a:pt x="293" y="115"/>
                    </a:cubicBezTo>
                    <a:lnTo>
                      <a:pt x="289" y="119"/>
                    </a:lnTo>
                    <a:close/>
                    <a:moveTo>
                      <a:pt x="274" y="119"/>
                    </a:moveTo>
                    <a:cubicBezTo>
                      <a:pt x="272" y="119"/>
                      <a:pt x="271" y="118"/>
                      <a:pt x="269" y="118"/>
                    </a:cubicBezTo>
                    <a:cubicBezTo>
                      <a:pt x="269" y="118"/>
                      <a:pt x="269" y="118"/>
                      <a:pt x="269" y="118"/>
                    </a:cubicBezTo>
                    <a:cubicBezTo>
                      <a:pt x="268" y="112"/>
                      <a:pt x="268" y="112"/>
                      <a:pt x="268" y="112"/>
                    </a:cubicBezTo>
                    <a:cubicBezTo>
                      <a:pt x="269" y="112"/>
                      <a:pt x="270" y="112"/>
                      <a:pt x="271" y="112"/>
                    </a:cubicBezTo>
                    <a:cubicBezTo>
                      <a:pt x="272" y="113"/>
                      <a:pt x="273" y="113"/>
                      <a:pt x="274" y="113"/>
                    </a:cubicBezTo>
                    <a:lnTo>
                      <a:pt x="274" y="119"/>
                    </a:lnTo>
                    <a:close/>
                    <a:moveTo>
                      <a:pt x="254" y="104"/>
                    </a:moveTo>
                    <a:cubicBezTo>
                      <a:pt x="254" y="103"/>
                      <a:pt x="254" y="101"/>
                      <a:pt x="254" y="100"/>
                    </a:cubicBezTo>
                    <a:cubicBezTo>
                      <a:pt x="254" y="99"/>
                      <a:pt x="254" y="99"/>
                      <a:pt x="254" y="98"/>
                    </a:cubicBezTo>
                    <a:cubicBezTo>
                      <a:pt x="260" y="98"/>
                      <a:pt x="260" y="98"/>
                      <a:pt x="260" y="98"/>
                    </a:cubicBezTo>
                    <a:cubicBezTo>
                      <a:pt x="260" y="100"/>
                      <a:pt x="260" y="100"/>
                      <a:pt x="260" y="100"/>
                    </a:cubicBezTo>
                    <a:cubicBezTo>
                      <a:pt x="260" y="101"/>
                      <a:pt x="260" y="102"/>
                      <a:pt x="260" y="104"/>
                    </a:cubicBezTo>
                    <a:lnTo>
                      <a:pt x="254" y="104"/>
                    </a:lnTo>
                    <a:close/>
                    <a:moveTo>
                      <a:pt x="258" y="92"/>
                    </a:moveTo>
                    <a:cubicBezTo>
                      <a:pt x="258" y="91"/>
                      <a:pt x="257" y="91"/>
                      <a:pt x="257" y="91"/>
                    </a:cubicBezTo>
                    <a:cubicBezTo>
                      <a:pt x="256" y="90"/>
                      <a:pt x="255" y="89"/>
                      <a:pt x="254" y="88"/>
                    </a:cubicBezTo>
                    <a:cubicBezTo>
                      <a:pt x="254" y="88"/>
                      <a:pt x="254" y="88"/>
                      <a:pt x="254" y="88"/>
                    </a:cubicBezTo>
                    <a:cubicBezTo>
                      <a:pt x="258" y="83"/>
                      <a:pt x="258" y="83"/>
                      <a:pt x="258" y="83"/>
                    </a:cubicBezTo>
                    <a:cubicBezTo>
                      <a:pt x="258" y="84"/>
                      <a:pt x="258" y="84"/>
                      <a:pt x="258" y="84"/>
                    </a:cubicBezTo>
                    <a:cubicBezTo>
                      <a:pt x="259" y="85"/>
                      <a:pt x="260" y="86"/>
                      <a:pt x="262" y="87"/>
                    </a:cubicBezTo>
                    <a:cubicBezTo>
                      <a:pt x="262" y="87"/>
                      <a:pt x="262" y="88"/>
                      <a:pt x="262" y="88"/>
                    </a:cubicBezTo>
                    <a:lnTo>
                      <a:pt x="258" y="92"/>
                    </a:lnTo>
                    <a:close/>
                    <a:moveTo>
                      <a:pt x="199" y="86"/>
                    </a:moveTo>
                    <a:cubicBezTo>
                      <a:pt x="198" y="86"/>
                      <a:pt x="197" y="86"/>
                      <a:pt x="197" y="86"/>
                    </a:cubicBezTo>
                    <a:cubicBezTo>
                      <a:pt x="197" y="80"/>
                      <a:pt x="197" y="80"/>
                      <a:pt x="197" y="80"/>
                    </a:cubicBezTo>
                    <a:cubicBezTo>
                      <a:pt x="198" y="80"/>
                      <a:pt x="198" y="80"/>
                      <a:pt x="199" y="80"/>
                    </a:cubicBezTo>
                    <a:cubicBezTo>
                      <a:pt x="201" y="80"/>
                      <a:pt x="201" y="80"/>
                      <a:pt x="202" y="80"/>
                    </a:cubicBezTo>
                    <a:cubicBezTo>
                      <a:pt x="204" y="85"/>
                      <a:pt x="204" y="85"/>
                      <a:pt x="204" y="85"/>
                    </a:cubicBezTo>
                    <a:cubicBezTo>
                      <a:pt x="203" y="85"/>
                      <a:pt x="201" y="86"/>
                      <a:pt x="199" y="86"/>
                    </a:cubicBezTo>
                    <a:close/>
                    <a:moveTo>
                      <a:pt x="185" y="84"/>
                    </a:moveTo>
                    <a:cubicBezTo>
                      <a:pt x="183" y="83"/>
                      <a:pt x="181" y="83"/>
                      <a:pt x="180" y="82"/>
                    </a:cubicBezTo>
                    <a:cubicBezTo>
                      <a:pt x="179" y="82"/>
                      <a:pt x="179" y="82"/>
                      <a:pt x="178" y="81"/>
                    </a:cubicBezTo>
                    <a:cubicBezTo>
                      <a:pt x="181" y="76"/>
                      <a:pt x="181" y="76"/>
                      <a:pt x="181" y="76"/>
                    </a:cubicBezTo>
                    <a:cubicBezTo>
                      <a:pt x="182" y="76"/>
                      <a:pt x="182" y="77"/>
                      <a:pt x="182" y="77"/>
                    </a:cubicBezTo>
                    <a:cubicBezTo>
                      <a:pt x="183" y="77"/>
                      <a:pt x="184" y="77"/>
                      <a:pt x="186" y="78"/>
                    </a:cubicBezTo>
                    <a:lnTo>
                      <a:pt x="185" y="84"/>
                    </a:lnTo>
                    <a:close/>
                    <a:moveTo>
                      <a:pt x="246" y="79"/>
                    </a:moveTo>
                    <a:cubicBezTo>
                      <a:pt x="245" y="78"/>
                      <a:pt x="244" y="78"/>
                      <a:pt x="243" y="78"/>
                    </a:cubicBezTo>
                    <a:cubicBezTo>
                      <a:pt x="242" y="72"/>
                      <a:pt x="242" y="72"/>
                      <a:pt x="242" y="72"/>
                    </a:cubicBezTo>
                    <a:cubicBezTo>
                      <a:pt x="246" y="72"/>
                      <a:pt x="248" y="73"/>
                      <a:pt x="250" y="75"/>
                    </a:cubicBezTo>
                    <a:lnTo>
                      <a:pt x="246" y="79"/>
                    </a:lnTo>
                    <a:close/>
                    <a:moveTo>
                      <a:pt x="214" y="78"/>
                    </a:moveTo>
                    <a:cubicBezTo>
                      <a:pt x="212" y="76"/>
                      <a:pt x="212" y="76"/>
                      <a:pt x="212" y="76"/>
                    </a:cubicBezTo>
                    <a:cubicBezTo>
                      <a:pt x="211" y="73"/>
                      <a:pt x="211" y="73"/>
                      <a:pt x="211" y="73"/>
                    </a:cubicBezTo>
                    <a:cubicBezTo>
                      <a:pt x="212" y="72"/>
                      <a:pt x="213" y="71"/>
                      <a:pt x="214" y="71"/>
                    </a:cubicBezTo>
                    <a:cubicBezTo>
                      <a:pt x="215" y="70"/>
                      <a:pt x="215" y="70"/>
                      <a:pt x="215" y="70"/>
                    </a:cubicBezTo>
                    <a:cubicBezTo>
                      <a:pt x="219" y="75"/>
                      <a:pt x="219" y="75"/>
                      <a:pt x="219" y="75"/>
                    </a:cubicBezTo>
                    <a:cubicBezTo>
                      <a:pt x="218" y="75"/>
                      <a:pt x="218" y="75"/>
                      <a:pt x="218" y="75"/>
                    </a:cubicBezTo>
                    <a:cubicBezTo>
                      <a:pt x="217" y="76"/>
                      <a:pt x="216" y="77"/>
                      <a:pt x="214" y="78"/>
                    </a:cubicBezTo>
                    <a:close/>
                    <a:moveTo>
                      <a:pt x="95" y="76"/>
                    </a:moveTo>
                    <a:cubicBezTo>
                      <a:pt x="93" y="76"/>
                      <a:pt x="91" y="75"/>
                      <a:pt x="89" y="74"/>
                    </a:cubicBezTo>
                    <a:cubicBezTo>
                      <a:pt x="91" y="69"/>
                      <a:pt x="91" y="69"/>
                      <a:pt x="91" y="69"/>
                    </a:cubicBezTo>
                    <a:cubicBezTo>
                      <a:pt x="93" y="70"/>
                      <a:pt x="94" y="70"/>
                      <a:pt x="95" y="70"/>
                    </a:cubicBezTo>
                    <a:cubicBezTo>
                      <a:pt x="96" y="76"/>
                      <a:pt x="96" y="76"/>
                      <a:pt x="96" y="76"/>
                    </a:cubicBezTo>
                    <a:cubicBezTo>
                      <a:pt x="96" y="76"/>
                      <a:pt x="95" y="76"/>
                      <a:pt x="95" y="76"/>
                    </a:cubicBezTo>
                    <a:close/>
                    <a:moveTo>
                      <a:pt x="230" y="75"/>
                    </a:moveTo>
                    <a:cubicBezTo>
                      <a:pt x="229" y="74"/>
                      <a:pt x="227" y="73"/>
                      <a:pt x="227" y="72"/>
                    </a:cubicBezTo>
                    <a:cubicBezTo>
                      <a:pt x="226" y="71"/>
                      <a:pt x="226" y="71"/>
                      <a:pt x="226" y="71"/>
                    </a:cubicBezTo>
                    <a:cubicBezTo>
                      <a:pt x="229" y="67"/>
                      <a:pt x="229" y="67"/>
                      <a:pt x="229" y="67"/>
                    </a:cubicBezTo>
                    <a:cubicBezTo>
                      <a:pt x="230" y="67"/>
                      <a:pt x="230" y="67"/>
                      <a:pt x="231" y="68"/>
                    </a:cubicBezTo>
                    <a:cubicBezTo>
                      <a:pt x="231" y="68"/>
                      <a:pt x="231" y="68"/>
                      <a:pt x="231" y="68"/>
                    </a:cubicBezTo>
                    <a:cubicBezTo>
                      <a:pt x="232" y="69"/>
                      <a:pt x="233" y="70"/>
                      <a:pt x="234" y="71"/>
                    </a:cubicBezTo>
                    <a:lnTo>
                      <a:pt x="230" y="75"/>
                    </a:lnTo>
                    <a:close/>
                    <a:moveTo>
                      <a:pt x="169" y="74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167" y="72"/>
                      <a:pt x="166" y="70"/>
                      <a:pt x="165" y="67"/>
                    </a:cubicBezTo>
                    <a:cubicBezTo>
                      <a:pt x="171" y="66"/>
                      <a:pt x="171" y="66"/>
                      <a:pt x="171" y="66"/>
                    </a:cubicBezTo>
                    <a:cubicBezTo>
                      <a:pt x="171" y="67"/>
                      <a:pt x="172" y="68"/>
                      <a:pt x="172" y="69"/>
                    </a:cubicBezTo>
                    <a:lnTo>
                      <a:pt x="169" y="74"/>
                    </a:lnTo>
                    <a:close/>
                    <a:moveTo>
                      <a:pt x="131" y="72"/>
                    </a:moveTo>
                    <a:cubicBezTo>
                      <a:pt x="130" y="72"/>
                      <a:pt x="130" y="72"/>
                      <a:pt x="130" y="72"/>
                    </a:cubicBezTo>
                    <a:cubicBezTo>
                      <a:pt x="130" y="66"/>
                      <a:pt x="130" y="66"/>
                      <a:pt x="130" y="66"/>
                    </a:cubicBezTo>
                    <a:cubicBezTo>
                      <a:pt x="130" y="69"/>
                      <a:pt x="130" y="69"/>
                      <a:pt x="130" y="69"/>
                    </a:cubicBezTo>
                    <a:cubicBezTo>
                      <a:pt x="131" y="66"/>
                      <a:pt x="131" y="66"/>
                      <a:pt x="131" y="66"/>
                    </a:cubicBezTo>
                    <a:cubicBezTo>
                      <a:pt x="133" y="66"/>
                      <a:pt x="134" y="66"/>
                      <a:pt x="136" y="66"/>
                    </a:cubicBezTo>
                    <a:cubicBezTo>
                      <a:pt x="137" y="71"/>
                      <a:pt x="137" y="71"/>
                      <a:pt x="137" y="71"/>
                    </a:cubicBezTo>
                    <a:cubicBezTo>
                      <a:pt x="135" y="72"/>
                      <a:pt x="133" y="72"/>
                      <a:pt x="131" y="72"/>
                    </a:cubicBezTo>
                    <a:close/>
                    <a:moveTo>
                      <a:pt x="107" y="71"/>
                    </a:moveTo>
                    <a:cubicBezTo>
                      <a:pt x="105" y="66"/>
                      <a:pt x="105" y="66"/>
                      <a:pt x="105" y="66"/>
                    </a:cubicBezTo>
                    <a:cubicBezTo>
                      <a:pt x="107" y="65"/>
                      <a:pt x="108" y="65"/>
                      <a:pt x="110" y="65"/>
                    </a:cubicBezTo>
                    <a:cubicBezTo>
                      <a:pt x="110" y="65"/>
                      <a:pt x="111" y="65"/>
                      <a:pt x="111" y="64"/>
                    </a:cubicBezTo>
                    <a:cubicBezTo>
                      <a:pt x="113" y="70"/>
                      <a:pt x="113" y="70"/>
                      <a:pt x="113" y="70"/>
                    </a:cubicBezTo>
                    <a:cubicBezTo>
                      <a:pt x="112" y="70"/>
                      <a:pt x="111" y="70"/>
                      <a:pt x="110" y="70"/>
                    </a:cubicBezTo>
                    <a:cubicBezTo>
                      <a:pt x="109" y="70"/>
                      <a:pt x="108" y="71"/>
                      <a:pt x="107" y="71"/>
                    </a:cubicBezTo>
                    <a:close/>
                    <a:moveTo>
                      <a:pt x="148" y="68"/>
                    </a:moveTo>
                    <a:cubicBezTo>
                      <a:pt x="147" y="62"/>
                      <a:pt x="147" y="62"/>
                      <a:pt x="147" y="62"/>
                    </a:cubicBezTo>
                    <a:cubicBezTo>
                      <a:pt x="147" y="62"/>
                      <a:pt x="147" y="62"/>
                      <a:pt x="147" y="62"/>
                    </a:cubicBezTo>
                    <a:cubicBezTo>
                      <a:pt x="147" y="62"/>
                      <a:pt x="147" y="61"/>
                      <a:pt x="148" y="61"/>
                    </a:cubicBezTo>
                    <a:cubicBezTo>
                      <a:pt x="148" y="60"/>
                      <a:pt x="148" y="60"/>
                      <a:pt x="148" y="60"/>
                    </a:cubicBezTo>
                    <a:cubicBezTo>
                      <a:pt x="148" y="60"/>
                      <a:pt x="149" y="60"/>
                      <a:pt x="149" y="59"/>
                    </a:cubicBezTo>
                    <a:cubicBezTo>
                      <a:pt x="154" y="63"/>
                      <a:pt x="154" y="63"/>
                      <a:pt x="154" y="63"/>
                    </a:cubicBezTo>
                    <a:cubicBezTo>
                      <a:pt x="153" y="63"/>
                      <a:pt x="153" y="63"/>
                      <a:pt x="153" y="64"/>
                    </a:cubicBezTo>
                    <a:cubicBezTo>
                      <a:pt x="153" y="64"/>
                      <a:pt x="153" y="64"/>
                      <a:pt x="153" y="64"/>
                    </a:cubicBezTo>
                    <a:cubicBezTo>
                      <a:pt x="151" y="66"/>
                      <a:pt x="150" y="67"/>
                      <a:pt x="148" y="68"/>
                    </a:cubicBezTo>
                    <a:close/>
                    <a:moveTo>
                      <a:pt x="79" y="66"/>
                    </a:moveTo>
                    <a:cubicBezTo>
                      <a:pt x="78" y="65"/>
                      <a:pt x="77" y="64"/>
                      <a:pt x="75" y="63"/>
                    </a:cubicBezTo>
                    <a:cubicBezTo>
                      <a:pt x="78" y="58"/>
                      <a:pt x="78" y="58"/>
                      <a:pt x="78" y="58"/>
                    </a:cubicBezTo>
                    <a:cubicBezTo>
                      <a:pt x="80" y="59"/>
                      <a:pt x="82" y="61"/>
                      <a:pt x="83" y="63"/>
                    </a:cubicBezTo>
                    <a:lnTo>
                      <a:pt x="79" y="66"/>
                    </a:lnTo>
                    <a:close/>
                    <a:moveTo>
                      <a:pt x="121" y="62"/>
                    </a:moveTo>
                    <a:cubicBezTo>
                      <a:pt x="120" y="62"/>
                      <a:pt x="120" y="62"/>
                      <a:pt x="120" y="62"/>
                    </a:cubicBezTo>
                    <a:cubicBezTo>
                      <a:pt x="119" y="61"/>
                      <a:pt x="119" y="61"/>
                      <a:pt x="119" y="61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9" y="55"/>
                      <a:pt x="121" y="55"/>
                      <a:pt x="124" y="57"/>
                    </a:cubicBezTo>
                    <a:cubicBezTo>
                      <a:pt x="124" y="58"/>
                      <a:pt x="125" y="58"/>
                      <a:pt x="125" y="59"/>
                    </a:cubicBezTo>
                    <a:lnTo>
                      <a:pt x="121" y="62"/>
                    </a:lnTo>
                    <a:close/>
                    <a:moveTo>
                      <a:pt x="162" y="58"/>
                    </a:moveTo>
                    <a:cubicBezTo>
                      <a:pt x="160" y="52"/>
                      <a:pt x="160" y="52"/>
                      <a:pt x="160" y="52"/>
                    </a:cubicBezTo>
                    <a:cubicBezTo>
                      <a:pt x="161" y="52"/>
                      <a:pt x="161" y="52"/>
                      <a:pt x="162" y="52"/>
                    </a:cubicBezTo>
                    <a:cubicBezTo>
                      <a:pt x="165" y="51"/>
                      <a:pt x="167" y="52"/>
                      <a:pt x="168" y="52"/>
                    </a:cubicBezTo>
                    <a:cubicBezTo>
                      <a:pt x="165" y="57"/>
                      <a:pt x="165" y="57"/>
                      <a:pt x="165" y="57"/>
                    </a:cubicBezTo>
                    <a:cubicBezTo>
                      <a:pt x="165" y="58"/>
                      <a:pt x="164" y="58"/>
                      <a:pt x="163" y="58"/>
                    </a:cubicBezTo>
                    <a:cubicBezTo>
                      <a:pt x="163" y="58"/>
                      <a:pt x="162" y="58"/>
                      <a:pt x="162" y="58"/>
                    </a:cubicBezTo>
                    <a:close/>
                    <a:moveTo>
                      <a:pt x="65" y="56"/>
                    </a:moveTo>
                    <a:cubicBezTo>
                      <a:pt x="64" y="55"/>
                      <a:pt x="63" y="53"/>
                      <a:pt x="62" y="53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6" y="48"/>
                      <a:pt x="68" y="50"/>
                      <a:pt x="70" y="52"/>
                    </a:cubicBezTo>
                    <a:lnTo>
                      <a:pt x="65" y="56"/>
                    </a:lnTo>
                    <a:close/>
                    <a:moveTo>
                      <a:pt x="58" y="40"/>
                    </a:moveTo>
                    <a:cubicBezTo>
                      <a:pt x="58" y="37"/>
                      <a:pt x="57" y="37"/>
                      <a:pt x="57" y="36"/>
                    </a:cubicBezTo>
                    <a:cubicBezTo>
                      <a:pt x="61" y="32"/>
                      <a:pt x="61" y="32"/>
                      <a:pt x="61" y="32"/>
                    </a:cubicBezTo>
                    <a:cubicBezTo>
                      <a:pt x="63" y="34"/>
                      <a:pt x="63" y="36"/>
                      <a:pt x="64" y="39"/>
                    </a:cubicBezTo>
                    <a:lnTo>
                      <a:pt x="58" y="40"/>
                    </a:lnTo>
                    <a:close/>
                    <a:moveTo>
                      <a:pt x="60" y="25"/>
                    </a:move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3"/>
                      <a:pt x="54" y="22"/>
                      <a:pt x="53" y="21"/>
                    </a:cubicBezTo>
                    <a:cubicBezTo>
                      <a:pt x="58" y="17"/>
                      <a:pt x="58" y="17"/>
                      <a:pt x="58" y="17"/>
                    </a:cubicBezTo>
                    <a:cubicBezTo>
                      <a:pt x="59" y="18"/>
                      <a:pt x="60" y="21"/>
                      <a:pt x="60" y="23"/>
                    </a:cubicBezTo>
                    <a:cubicBezTo>
                      <a:pt x="60" y="24"/>
                      <a:pt x="60" y="24"/>
                      <a:pt x="60" y="25"/>
                    </a:cubicBezTo>
                    <a:close/>
                    <a:moveTo>
                      <a:pt x="6" y="13"/>
                    </a:moveTo>
                    <a:cubicBezTo>
                      <a:pt x="2" y="13"/>
                      <a:pt x="0" y="12"/>
                      <a:pt x="0" y="1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6"/>
                      <a:pt x="3" y="7"/>
                      <a:pt x="6" y="7"/>
                    </a:cubicBezTo>
                    <a:lnTo>
                      <a:pt x="6" y="13"/>
                    </a:lnTo>
                    <a:close/>
                    <a:moveTo>
                      <a:pt x="18" y="11"/>
                    </a:moveTo>
                    <a:cubicBezTo>
                      <a:pt x="17" y="6"/>
                      <a:pt x="17" y="6"/>
                      <a:pt x="17" y="6"/>
                    </a:cubicBezTo>
                    <a:cubicBezTo>
                      <a:pt x="19" y="5"/>
                      <a:pt x="21" y="5"/>
                      <a:pt x="23" y="4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2" y="10"/>
                      <a:pt x="20" y="11"/>
                      <a:pt x="18" y="11"/>
                    </a:cubicBezTo>
                    <a:close/>
                    <a:moveTo>
                      <a:pt x="36" y="8"/>
                    </a:moveTo>
                    <a:cubicBezTo>
                      <a:pt x="33" y="3"/>
                      <a:pt x="33" y="3"/>
                      <a:pt x="33" y="3"/>
                    </a:cubicBezTo>
                    <a:cubicBezTo>
                      <a:pt x="35" y="2"/>
                      <a:pt x="35" y="2"/>
                      <a:pt x="35" y="2"/>
                    </a:cubicBezTo>
                    <a:cubicBezTo>
                      <a:pt x="36" y="2"/>
                      <a:pt x="37" y="1"/>
                      <a:pt x="38" y="0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1" y="5"/>
                      <a:pt x="41" y="5"/>
                      <a:pt x="41" y="5"/>
                    </a:cubicBezTo>
                    <a:cubicBezTo>
                      <a:pt x="40" y="6"/>
                      <a:pt x="39" y="7"/>
                      <a:pt x="37" y="7"/>
                    </a:cubicBezTo>
                    <a:lnTo>
                      <a:pt x="36" y="8"/>
                    </a:lnTo>
                    <a:close/>
                    <a:moveTo>
                      <a:pt x="51" y="8"/>
                    </a:moveTo>
                    <a:cubicBezTo>
                      <a:pt x="51" y="7"/>
                      <a:pt x="51" y="7"/>
                      <a:pt x="51" y="7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1" y="6"/>
                      <a:pt x="50" y="6"/>
                      <a:pt x="50" y="6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5" y="1"/>
                      <a:pt x="56" y="3"/>
                      <a:pt x="57" y="7"/>
                    </a:cubicBezTo>
                    <a:cubicBezTo>
                      <a:pt x="57" y="7"/>
                      <a:pt x="57" y="7"/>
                      <a:pt x="57" y="7"/>
                    </a:cubicBezTo>
                    <a:lnTo>
                      <a:pt x="51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5" name="îṥlíḋè"/>
              <p:cNvSpPr/>
              <p:nvPr/>
            </p:nvSpPr>
            <p:spPr bwMode="auto">
              <a:xfrm>
                <a:off x="8650288" y="4295775"/>
                <a:ext cx="219075" cy="98425"/>
              </a:xfrm>
              <a:custGeom>
                <a:avLst/>
                <a:gdLst>
                  <a:gd name="T0" fmla="*/ 5 w 102"/>
                  <a:gd name="T1" fmla="*/ 46 h 46"/>
                  <a:gd name="T2" fmla="*/ 0 w 102"/>
                  <a:gd name="T3" fmla="*/ 46 h 46"/>
                  <a:gd name="T4" fmla="*/ 1 w 102"/>
                  <a:gd name="T5" fmla="*/ 40 h 46"/>
                  <a:gd name="T6" fmla="*/ 6 w 102"/>
                  <a:gd name="T7" fmla="*/ 40 h 46"/>
                  <a:gd name="T8" fmla="*/ 6 w 102"/>
                  <a:gd name="T9" fmla="*/ 46 h 46"/>
                  <a:gd name="T10" fmla="*/ 5 w 102"/>
                  <a:gd name="T11" fmla="*/ 46 h 46"/>
                  <a:gd name="T12" fmla="*/ 18 w 102"/>
                  <a:gd name="T13" fmla="*/ 45 h 46"/>
                  <a:gd name="T14" fmla="*/ 18 w 102"/>
                  <a:gd name="T15" fmla="*/ 39 h 46"/>
                  <a:gd name="T16" fmla="*/ 23 w 102"/>
                  <a:gd name="T17" fmla="*/ 38 h 46"/>
                  <a:gd name="T18" fmla="*/ 24 w 102"/>
                  <a:gd name="T19" fmla="*/ 44 h 46"/>
                  <a:gd name="T20" fmla="*/ 18 w 102"/>
                  <a:gd name="T21" fmla="*/ 45 h 46"/>
                  <a:gd name="T22" fmla="*/ 35 w 102"/>
                  <a:gd name="T23" fmla="*/ 36 h 46"/>
                  <a:gd name="T24" fmla="*/ 30 w 102"/>
                  <a:gd name="T25" fmla="*/ 32 h 46"/>
                  <a:gd name="T26" fmla="*/ 32 w 102"/>
                  <a:gd name="T27" fmla="*/ 31 h 46"/>
                  <a:gd name="T28" fmla="*/ 34 w 102"/>
                  <a:gd name="T29" fmla="*/ 28 h 46"/>
                  <a:gd name="T30" fmla="*/ 38 w 102"/>
                  <a:gd name="T31" fmla="*/ 31 h 46"/>
                  <a:gd name="T32" fmla="*/ 37 w 102"/>
                  <a:gd name="T33" fmla="*/ 34 h 46"/>
                  <a:gd name="T34" fmla="*/ 35 w 102"/>
                  <a:gd name="T35" fmla="*/ 36 h 46"/>
                  <a:gd name="T36" fmla="*/ 47 w 102"/>
                  <a:gd name="T37" fmla="*/ 26 h 46"/>
                  <a:gd name="T38" fmla="*/ 45 w 102"/>
                  <a:gd name="T39" fmla="*/ 21 h 46"/>
                  <a:gd name="T40" fmla="*/ 51 w 102"/>
                  <a:gd name="T41" fmla="*/ 19 h 46"/>
                  <a:gd name="T42" fmla="*/ 52 w 102"/>
                  <a:gd name="T43" fmla="*/ 25 h 46"/>
                  <a:gd name="T44" fmla="*/ 47 w 102"/>
                  <a:gd name="T45" fmla="*/ 26 h 46"/>
                  <a:gd name="T46" fmla="*/ 64 w 102"/>
                  <a:gd name="T47" fmla="*/ 22 h 46"/>
                  <a:gd name="T48" fmla="*/ 62 w 102"/>
                  <a:gd name="T49" fmla="*/ 16 h 46"/>
                  <a:gd name="T50" fmla="*/ 67 w 102"/>
                  <a:gd name="T51" fmla="*/ 14 h 46"/>
                  <a:gd name="T52" fmla="*/ 69 w 102"/>
                  <a:gd name="T53" fmla="*/ 19 h 46"/>
                  <a:gd name="T54" fmla="*/ 64 w 102"/>
                  <a:gd name="T55" fmla="*/ 22 h 46"/>
                  <a:gd name="T56" fmla="*/ 80 w 102"/>
                  <a:gd name="T57" fmla="*/ 15 h 46"/>
                  <a:gd name="T58" fmla="*/ 78 w 102"/>
                  <a:gd name="T59" fmla="*/ 9 h 46"/>
                  <a:gd name="T60" fmla="*/ 83 w 102"/>
                  <a:gd name="T61" fmla="*/ 7 h 46"/>
                  <a:gd name="T62" fmla="*/ 86 w 102"/>
                  <a:gd name="T63" fmla="*/ 12 h 46"/>
                  <a:gd name="T64" fmla="*/ 80 w 102"/>
                  <a:gd name="T65" fmla="*/ 15 h 46"/>
                  <a:gd name="T66" fmla="*/ 96 w 102"/>
                  <a:gd name="T67" fmla="*/ 7 h 46"/>
                  <a:gd name="T68" fmla="*/ 94 w 102"/>
                  <a:gd name="T69" fmla="*/ 2 h 46"/>
                  <a:gd name="T70" fmla="*/ 99 w 102"/>
                  <a:gd name="T71" fmla="*/ 0 h 46"/>
                  <a:gd name="T72" fmla="*/ 102 w 102"/>
                  <a:gd name="T73" fmla="*/ 5 h 46"/>
                  <a:gd name="T74" fmla="*/ 96 w 102"/>
                  <a:gd name="T75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2" h="46">
                    <a:moveTo>
                      <a:pt x="5" y="46"/>
                    </a:moveTo>
                    <a:cubicBezTo>
                      <a:pt x="3" y="46"/>
                      <a:pt x="2" y="46"/>
                      <a:pt x="0" y="46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3" y="40"/>
                      <a:pt x="4" y="40"/>
                      <a:pt x="6" y="40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5" y="46"/>
                      <a:pt x="5" y="46"/>
                    </a:cubicBezTo>
                    <a:close/>
                    <a:moveTo>
                      <a:pt x="18" y="45"/>
                    </a:moveTo>
                    <a:cubicBezTo>
                      <a:pt x="18" y="39"/>
                      <a:pt x="18" y="39"/>
                      <a:pt x="18" y="39"/>
                    </a:cubicBezTo>
                    <a:cubicBezTo>
                      <a:pt x="20" y="39"/>
                      <a:pt x="21" y="39"/>
                      <a:pt x="23" y="38"/>
                    </a:cubicBezTo>
                    <a:cubicBezTo>
                      <a:pt x="24" y="44"/>
                      <a:pt x="24" y="44"/>
                      <a:pt x="24" y="44"/>
                    </a:cubicBezTo>
                    <a:cubicBezTo>
                      <a:pt x="23" y="44"/>
                      <a:pt x="21" y="45"/>
                      <a:pt x="18" y="45"/>
                    </a:cubicBezTo>
                    <a:close/>
                    <a:moveTo>
                      <a:pt x="35" y="36"/>
                    </a:moveTo>
                    <a:cubicBezTo>
                      <a:pt x="30" y="32"/>
                      <a:pt x="30" y="32"/>
                      <a:pt x="30" y="32"/>
                    </a:cubicBezTo>
                    <a:cubicBezTo>
                      <a:pt x="31" y="32"/>
                      <a:pt x="31" y="31"/>
                      <a:pt x="32" y="31"/>
                    </a:cubicBezTo>
                    <a:cubicBezTo>
                      <a:pt x="32" y="30"/>
                      <a:pt x="33" y="28"/>
                      <a:pt x="34" y="28"/>
                    </a:cubicBezTo>
                    <a:cubicBezTo>
                      <a:pt x="38" y="31"/>
                      <a:pt x="38" y="31"/>
                      <a:pt x="38" y="31"/>
                    </a:cubicBezTo>
                    <a:cubicBezTo>
                      <a:pt x="38" y="32"/>
                      <a:pt x="37" y="33"/>
                      <a:pt x="37" y="34"/>
                    </a:cubicBezTo>
                    <a:cubicBezTo>
                      <a:pt x="36" y="35"/>
                      <a:pt x="36" y="35"/>
                      <a:pt x="35" y="36"/>
                    </a:cubicBezTo>
                    <a:close/>
                    <a:moveTo>
                      <a:pt x="47" y="26"/>
                    </a:moveTo>
                    <a:cubicBezTo>
                      <a:pt x="45" y="21"/>
                      <a:pt x="45" y="21"/>
                      <a:pt x="45" y="21"/>
                    </a:cubicBezTo>
                    <a:cubicBezTo>
                      <a:pt x="47" y="20"/>
                      <a:pt x="49" y="20"/>
                      <a:pt x="51" y="19"/>
                    </a:cubicBezTo>
                    <a:cubicBezTo>
                      <a:pt x="52" y="25"/>
                      <a:pt x="52" y="25"/>
                      <a:pt x="52" y="25"/>
                    </a:cubicBezTo>
                    <a:cubicBezTo>
                      <a:pt x="50" y="25"/>
                      <a:pt x="49" y="26"/>
                      <a:pt x="47" y="26"/>
                    </a:cubicBezTo>
                    <a:close/>
                    <a:moveTo>
                      <a:pt x="64" y="22"/>
                    </a:moveTo>
                    <a:cubicBezTo>
                      <a:pt x="62" y="16"/>
                      <a:pt x="62" y="16"/>
                      <a:pt x="62" y="16"/>
                    </a:cubicBezTo>
                    <a:cubicBezTo>
                      <a:pt x="63" y="16"/>
                      <a:pt x="65" y="15"/>
                      <a:pt x="67" y="14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67" y="20"/>
                      <a:pt x="66" y="21"/>
                      <a:pt x="64" y="22"/>
                    </a:cubicBezTo>
                    <a:close/>
                    <a:moveTo>
                      <a:pt x="80" y="15"/>
                    </a:moveTo>
                    <a:cubicBezTo>
                      <a:pt x="78" y="9"/>
                      <a:pt x="78" y="9"/>
                      <a:pt x="78" y="9"/>
                    </a:cubicBezTo>
                    <a:cubicBezTo>
                      <a:pt x="83" y="7"/>
                      <a:pt x="83" y="7"/>
                      <a:pt x="83" y="7"/>
                    </a:cubicBezTo>
                    <a:cubicBezTo>
                      <a:pt x="86" y="12"/>
                      <a:pt x="86" y="12"/>
                      <a:pt x="86" y="12"/>
                    </a:cubicBezTo>
                    <a:lnTo>
                      <a:pt x="80" y="15"/>
                    </a:lnTo>
                    <a:close/>
                    <a:moveTo>
                      <a:pt x="96" y="7"/>
                    </a:moveTo>
                    <a:cubicBezTo>
                      <a:pt x="94" y="2"/>
                      <a:pt x="94" y="2"/>
                      <a:pt x="94" y="2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102" y="5"/>
                      <a:pt x="102" y="5"/>
                      <a:pt x="102" y="5"/>
                    </a:cubicBezTo>
                    <a:lnTo>
                      <a:pt x="96" y="7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6" name="ïšľiḋé"/>
              <p:cNvSpPr/>
              <p:nvPr/>
            </p:nvSpPr>
            <p:spPr bwMode="auto">
              <a:xfrm>
                <a:off x="8558213" y="4303713"/>
                <a:ext cx="84138" cy="85725"/>
              </a:xfrm>
              <a:custGeom>
                <a:avLst/>
                <a:gdLst>
                  <a:gd name="T0" fmla="*/ 37 w 39"/>
                  <a:gd name="T1" fmla="*/ 40 h 40"/>
                  <a:gd name="T2" fmla="*/ 31 w 39"/>
                  <a:gd name="T3" fmla="*/ 37 h 40"/>
                  <a:gd name="T4" fmla="*/ 34 w 39"/>
                  <a:gd name="T5" fmla="*/ 32 h 40"/>
                  <a:gd name="T6" fmla="*/ 39 w 39"/>
                  <a:gd name="T7" fmla="*/ 35 h 40"/>
                  <a:gd name="T8" fmla="*/ 37 w 39"/>
                  <a:gd name="T9" fmla="*/ 40 h 40"/>
                  <a:gd name="T10" fmla="*/ 23 w 39"/>
                  <a:gd name="T11" fmla="*/ 30 h 40"/>
                  <a:gd name="T12" fmla="*/ 17 w 39"/>
                  <a:gd name="T13" fmla="*/ 29 h 40"/>
                  <a:gd name="T14" fmla="*/ 19 w 39"/>
                  <a:gd name="T15" fmla="*/ 24 h 40"/>
                  <a:gd name="T16" fmla="*/ 21 w 39"/>
                  <a:gd name="T17" fmla="*/ 24 h 40"/>
                  <a:gd name="T18" fmla="*/ 24 w 39"/>
                  <a:gd name="T19" fmla="*/ 24 h 40"/>
                  <a:gd name="T20" fmla="*/ 23 w 39"/>
                  <a:gd name="T21" fmla="*/ 30 h 40"/>
                  <a:gd name="T22" fmla="*/ 8 w 39"/>
                  <a:gd name="T23" fmla="*/ 19 h 40"/>
                  <a:gd name="T24" fmla="*/ 6 w 39"/>
                  <a:gd name="T25" fmla="*/ 14 h 40"/>
                  <a:gd name="T26" fmla="*/ 12 w 39"/>
                  <a:gd name="T27" fmla="*/ 11 h 40"/>
                  <a:gd name="T28" fmla="*/ 14 w 39"/>
                  <a:gd name="T29" fmla="*/ 17 h 40"/>
                  <a:gd name="T30" fmla="*/ 8 w 39"/>
                  <a:gd name="T31" fmla="*/ 19 h 40"/>
                  <a:gd name="T32" fmla="*/ 0 w 39"/>
                  <a:gd name="T33" fmla="*/ 5 h 40"/>
                  <a:gd name="T34" fmla="*/ 0 w 39"/>
                  <a:gd name="T35" fmla="*/ 4 h 40"/>
                  <a:gd name="T36" fmla="*/ 4 w 39"/>
                  <a:gd name="T37" fmla="*/ 0 h 40"/>
                  <a:gd name="T38" fmla="*/ 5 w 39"/>
                  <a:gd name="T39" fmla="*/ 1 h 40"/>
                  <a:gd name="T40" fmla="*/ 0 w 39"/>
                  <a:gd name="T41" fmla="*/ 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9" h="40">
                    <a:moveTo>
                      <a:pt x="37" y="40"/>
                    </a:moveTo>
                    <a:cubicBezTo>
                      <a:pt x="34" y="39"/>
                      <a:pt x="32" y="38"/>
                      <a:pt x="31" y="37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35" y="33"/>
                      <a:pt x="37" y="34"/>
                      <a:pt x="39" y="35"/>
                    </a:cubicBezTo>
                    <a:lnTo>
                      <a:pt x="37" y="40"/>
                    </a:lnTo>
                    <a:close/>
                    <a:moveTo>
                      <a:pt x="23" y="30"/>
                    </a:moveTo>
                    <a:cubicBezTo>
                      <a:pt x="22" y="30"/>
                      <a:pt x="19" y="30"/>
                      <a:pt x="17" y="29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20" y="24"/>
                      <a:pt x="20" y="24"/>
                      <a:pt x="21" y="24"/>
                    </a:cubicBezTo>
                    <a:cubicBezTo>
                      <a:pt x="22" y="24"/>
                      <a:pt x="23" y="24"/>
                      <a:pt x="24" y="24"/>
                    </a:cubicBezTo>
                    <a:lnTo>
                      <a:pt x="23" y="30"/>
                    </a:lnTo>
                    <a:close/>
                    <a:moveTo>
                      <a:pt x="8" y="19"/>
                    </a:moveTo>
                    <a:cubicBezTo>
                      <a:pt x="8" y="17"/>
                      <a:pt x="7" y="16"/>
                      <a:pt x="6" y="14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3" y="13"/>
                      <a:pt x="14" y="15"/>
                      <a:pt x="14" y="17"/>
                    </a:cubicBezTo>
                    <a:lnTo>
                      <a:pt x="8" y="19"/>
                    </a:lnTo>
                    <a:close/>
                    <a:moveTo>
                      <a:pt x="0" y="5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1"/>
                      <a:pt x="5" y="1"/>
                      <a:pt x="5" y="1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7" name="iṧliḍè"/>
              <p:cNvSpPr/>
              <p:nvPr/>
            </p:nvSpPr>
            <p:spPr bwMode="auto">
              <a:xfrm>
                <a:off x="7775575" y="3554413"/>
                <a:ext cx="915988" cy="817563"/>
              </a:xfrm>
              <a:custGeom>
                <a:avLst/>
                <a:gdLst>
                  <a:gd name="T0" fmla="*/ 341 w 427"/>
                  <a:gd name="T1" fmla="*/ 372 h 382"/>
                  <a:gd name="T2" fmla="*/ 304 w 427"/>
                  <a:gd name="T3" fmla="*/ 365 h 382"/>
                  <a:gd name="T4" fmla="*/ 319 w 427"/>
                  <a:gd name="T5" fmla="*/ 366 h 382"/>
                  <a:gd name="T6" fmla="*/ 347 w 427"/>
                  <a:gd name="T7" fmla="*/ 358 h 382"/>
                  <a:gd name="T8" fmla="*/ 298 w 427"/>
                  <a:gd name="T9" fmla="*/ 357 h 382"/>
                  <a:gd name="T10" fmla="*/ 261 w 427"/>
                  <a:gd name="T11" fmla="*/ 357 h 382"/>
                  <a:gd name="T12" fmla="*/ 208 w 427"/>
                  <a:gd name="T13" fmla="*/ 354 h 382"/>
                  <a:gd name="T14" fmla="*/ 224 w 427"/>
                  <a:gd name="T15" fmla="*/ 348 h 382"/>
                  <a:gd name="T16" fmla="*/ 252 w 427"/>
                  <a:gd name="T17" fmla="*/ 350 h 382"/>
                  <a:gd name="T18" fmla="*/ 201 w 427"/>
                  <a:gd name="T19" fmla="*/ 348 h 382"/>
                  <a:gd name="T20" fmla="*/ 372 w 427"/>
                  <a:gd name="T21" fmla="*/ 345 h 382"/>
                  <a:gd name="T22" fmla="*/ 372 w 427"/>
                  <a:gd name="T23" fmla="*/ 344 h 382"/>
                  <a:gd name="T24" fmla="*/ 378 w 427"/>
                  <a:gd name="T25" fmla="*/ 327 h 382"/>
                  <a:gd name="T26" fmla="*/ 203 w 427"/>
                  <a:gd name="T27" fmla="*/ 317 h 382"/>
                  <a:gd name="T28" fmla="*/ 197 w 427"/>
                  <a:gd name="T29" fmla="*/ 314 h 382"/>
                  <a:gd name="T30" fmla="*/ 385 w 427"/>
                  <a:gd name="T31" fmla="*/ 313 h 382"/>
                  <a:gd name="T32" fmla="*/ 388 w 427"/>
                  <a:gd name="T33" fmla="*/ 294 h 382"/>
                  <a:gd name="T34" fmla="*/ 176 w 427"/>
                  <a:gd name="T35" fmla="*/ 295 h 382"/>
                  <a:gd name="T36" fmla="*/ 408 w 427"/>
                  <a:gd name="T37" fmla="*/ 282 h 382"/>
                  <a:gd name="T38" fmla="*/ 382 w 427"/>
                  <a:gd name="T39" fmla="*/ 287 h 382"/>
                  <a:gd name="T40" fmla="*/ 166 w 427"/>
                  <a:gd name="T41" fmla="*/ 285 h 382"/>
                  <a:gd name="T42" fmla="*/ 172 w 427"/>
                  <a:gd name="T43" fmla="*/ 271 h 382"/>
                  <a:gd name="T44" fmla="*/ 190 w 427"/>
                  <a:gd name="T45" fmla="*/ 255 h 382"/>
                  <a:gd name="T46" fmla="*/ 216 w 427"/>
                  <a:gd name="T47" fmla="*/ 241 h 382"/>
                  <a:gd name="T48" fmla="*/ 184 w 427"/>
                  <a:gd name="T49" fmla="*/ 233 h 382"/>
                  <a:gd name="T50" fmla="*/ 195 w 427"/>
                  <a:gd name="T51" fmla="*/ 232 h 382"/>
                  <a:gd name="T52" fmla="*/ 229 w 427"/>
                  <a:gd name="T53" fmla="*/ 227 h 382"/>
                  <a:gd name="T54" fmla="*/ 219 w 427"/>
                  <a:gd name="T55" fmla="*/ 216 h 382"/>
                  <a:gd name="T56" fmla="*/ 181 w 427"/>
                  <a:gd name="T57" fmla="*/ 215 h 382"/>
                  <a:gd name="T58" fmla="*/ 167 w 427"/>
                  <a:gd name="T59" fmla="*/ 221 h 382"/>
                  <a:gd name="T60" fmla="*/ 189 w 427"/>
                  <a:gd name="T61" fmla="*/ 203 h 382"/>
                  <a:gd name="T62" fmla="*/ 214 w 427"/>
                  <a:gd name="T63" fmla="*/ 203 h 382"/>
                  <a:gd name="T64" fmla="*/ 200 w 427"/>
                  <a:gd name="T65" fmla="*/ 193 h 382"/>
                  <a:gd name="T66" fmla="*/ 150 w 427"/>
                  <a:gd name="T67" fmla="*/ 189 h 382"/>
                  <a:gd name="T68" fmla="*/ 142 w 427"/>
                  <a:gd name="T69" fmla="*/ 182 h 382"/>
                  <a:gd name="T70" fmla="*/ 127 w 427"/>
                  <a:gd name="T71" fmla="*/ 165 h 382"/>
                  <a:gd name="T72" fmla="*/ 132 w 427"/>
                  <a:gd name="T73" fmla="*/ 158 h 382"/>
                  <a:gd name="T74" fmla="*/ 138 w 427"/>
                  <a:gd name="T75" fmla="*/ 145 h 382"/>
                  <a:gd name="T76" fmla="*/ 113 w 427"/>
                  <a:gd name="T77" fmla="*/ 132 h 382"/>
                  <a:gd name="T78" fmla="*/ 131 w 427"/>
                  <a:gd name="T79" fmla="*/ 136 h 382"/>
                  <a:gd name="T80" fmla="*/ 105 w 427"/>
                  <a:gd name="T81" fmla="*/ 126 h 382"/>
                  <a:gd name="T82" fmla="*/ 77 w 427"/>
                  <a:gd name="T83" fmla="*/ 112 h 382"/>
                  <a:gd name="T84" fmla="*/ 60 w 427"/>
                  <a:gd name="T85" fmla="*/ 104 h 382"/>
                  <a:gd name="T86" fmla="*/ 48 w 427"/>
                  <a:gd name="T87" fmla="*/ 100 h 382"/>
                  <a:gd name="T88" fmla="*/ 25 w 427"/>
                  <a:gd name="T89" fmla="*/ 77 h 382"/>
                  <a:gd name="T90" fmla="*/ 145 w 427"/>
                  <a:gd name="T91" fmla="*/ 73 h 382"/>
                  <a:gd name="T92" fmla="*/ 64 w 427"/>
                  <a:gd name="T93" fmla="*/ 70 h 382"/>
                  <a:gd name="T94" fmla="*/ 13 w 427"/>
                  <a:gd name="T95" fmla="*/ 63 h 382"/>
                  <a:gd name="T96" fmla="*/ 96 w 427"/>
                  <a:gd name="T97" fmla="*/ 71 h 382"/>
                  <a:gd name="T98" fmla="*/ 131 w 427"/>
                  <a:gd name="T99" fmla="*/ 70 h 382"/>
                  <a:gd name="T100" fmla="*/ 150 w 427"/>
                  <a:gd name="T101" fmla="*/ 61 h 382"/>
                  <a:gd name="T102" fmla="*/ 0 w 427"/>
                  <a:gd name="T103" fmla="*/ 55 h 382"/>
                  <a:gd name="T104" fmla="*/ 124 w 427"/>
                  <a:gd name="T105" fmla="*/ 49 h 382"/>
                  <a:gd name="T106" fmla="*/ 56 w 427"/>
                  <a:gd name="T107" fmla="*/ 52 h 382"/>
                  <a:gd name="T108" fmla="*/ 174 w 427"/>
                  <a:gd name="T109" fmla="*/ 40 h 382"/>
                  <a:gd name="T110" fmla="*/ 174 w 427"/>
                  <a:gd name="T111" fmla="*/ 40 h 382"/>
                  <a:gd name="T112" fmla="*/ 44 w 427"/>
                  <a:gd name="T113" fmla="*/ 33 h 382"/>
                  <a:gd name="T114" fmla="*/ 178 w 427"/>
                  <a:gd name="T115" fmla="*/ 31 h 382"/>
                  <a:gd name="T116" fmla="*/ 183 w 427"/>
                  <a:gd name="T117" fmla="*/ 14 h 382"/>
                  <a:gd name="T118" fmla="*/ 217 w 427"/>
                  <a:gd name="T119" fmla="*/ 0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7" h="382">
                    <a:moveTo>
                      <a:pt x="332" y="382"/>
                    </a:moveTo>
                    <a:cubicBezTo>
                      <a:pt x="331" y="380"/>
                      <a:pt x="331" y="378"/>
                      <a:pt x="330" y="376"/>
                    </a:cubicBezTo>
                    <a:cubicBezTo>
                      <a:pt x="330" y="375"/>
                      <a:pt x="330" y="375"/>
                      <a:pt x="330" y="375"/>
                    </a:cubicBezTo>
                    <a:cubicBezTo>
                      <a:pt x="336" y="374"/>
                      <a:pt x="336" y="374"/>
                      <a:pt x="336" y="374"/>
                    </a:cubicBezTo>
                    <a:cubicBezTo>
                      <a:pt x="336" y="375"/>
                      <a:pt x="336" y="375"/>
                      <a:pt x="336" y="375"/>
                    </a:cubicBezTo>
                    <a:cubicBezTo>
                      <a:pt x="336" y="376"/>
                      <a:pt x="337" y="378"/>
                      <a:pt x="337" y="379"/>
                    </a:cubicBezTo>
                    <a:lnTo>
                      <a:pt x="332" y="382"/>
                    </a:lnTo>
                    <a:close/>
                    <a:moveTo>
                      <a:pt x="345" y="376"/>
                    </a:moveTo>
                    <a:cubicBezTo>
                      <a:pt x="341" y="372"/>
                      <a:pt x="341" y="372"/>
                      <a:pt x="341" y="372"/>
                    </a:cubicBezTo>
                    <a:cubicBezTo>
                      <a:pt x="342" y="371"/>
                      <a:pt x="344" y="369"/>
                      <a:pt x="345" y="369"/>
                    </a:cubicBezTo>
                    <a:cubicBezTo>
                      <a:pt x="346" y="368"/>
                      <a:pt x="346" y="368"/>
                      <a:pt x="347" y="368"/>
                    </a:cubicBezTo>
                    <a:cubicBezTo>
                      <a:pt x="348" y="374"/>
                      <a:pt x="348" y="374"/>
                      <a:pt x="348" y="374"/>
                    </a:cubicBezTo>
                    <a:cubicBezTo>
                      <a:pt x="348" y="374"/>
                      <a:pt x="348" y="374"/>
                      <a:pt x="348" y="374"/>
                    </a:cubicBezTo>
                    <a:cubicBezTo>
                      <a:pt x="347" y="374"/>
                      <a:pt x="346" y="375"/>
                      <a:pt x="345" y="376"/>
                    </a:cubicBezTo>
                    <a:close/>
                    <a:moveTo>
                      <a:pt x="308" y="372"/>
                    </a:moveTo>
                    <a:cubicBezTo>
                      <a:pt x="306" y="372"/>
                      <a:pt x="305" y="372"/>
                      <a:pt x="304" y="372"/>
                    </a:cubicBezTo>
                    <a:cubicBezTo>
                      <a:pt x="303" y="371"/>
                      <a:pt x="302" y="371"/>
                      <a:pt x="301" y="370"/>
                    </a:cubicBezTo>
                    <a:cubicBezTo>
                      <a:pt x="304" y="365"/>
                      <a:pt x="304" y="365"/>
                      <a:pt x="304" y="365"/>
                    </a:cubicBezTo>
                    <a:cubicBezTo>
                      <a:pt x="305" y="366"/>
                      <a:pt x="305" y="366"/>
                      <a:pt x="306" y="366"/>
                    </a:cubicBezTo>
                    <a:cubicBezTo>
                      <a:pt x="307" y="366"/>
                      <a:pt x="307" y="366"/>
                      <a:pt x="308" y="367"/>
                    </a:cubicBezTo>
                    <a:lnTo>
                      <a:pt x="308" y="372"/>
                    </a:lnTo>
                    <a:close/>
                    <a:moveTo>
                      <a:pt x="324" y="372"/>
                    </a:moveTo>
                    <a:cubicBezTo>
                      <a:pt x="324" y="371"/>
                      <a:pt x="324" y="371"/>
                      <a:pt x="324" y="371"/>
                    </a:cubicBezTo>
                    <a:cubicBezTo>
                      <a:pt x="323" y="371"/>
                      <a:pt x="323" y="371"/>
                      <a:pt x="322" y="371"/>
                    </a:cubicBezTo>
                    <a:cubicBezTo>
                      <a:pt x="322" y="371"/>
                      <a:pt x="322" y="371"/>
                      <a:pt x="321" y="371"/>
                    </a:cubicBezTo>
                    <a:cubicBezTo>
                      <a:pt x="320" y="371"/>
                      <a:pt x="320" y="371"/>
                      <a:pt x="320" y="371"/>
                    </a:cubicBezTo>
                    <a:cubicBezTo>
                      <a:pt x="319" y="366"/>
                      <a:pt x="319" y="366"/>
                      <a:pt x="319" y="366"/>
                    </a:cubicBezTo>
                    <a:cubicBezTo>
                      <a:pt x="320" y="366"/>
                      <a:pt x="320" y="366"/>
                      <a:pt x="320" y="366"/>
                    </a:cubicBezTo>
                    <a:cubicBezTo>
                      <a:pt x="321" y="365"/>
                      <a:pt x="322" y="365"/>
                      <a:pt x="322" y="365"/>
                    </a:cubicBezTo>
                    <a:cubicBezTo>
                      <a:pt x="323" y="365"/>
                      <a:pt x="324" y="365"/>
                      <a:pt x="326" y="366"/>
                    </a:cubicBezTo>
                    <a:cubicBezTo>
                      <a:pt x="326" y="366"/>
                      <a:pt x="326" y="366"/>
                      <a:pt x="326" y="366"/>
                    </a:cubicBezTo>
                    <a:lnTo>
                      <a:pt x="324" y="372"/>
                    </a:lnTo>
                    <a:close/>
                    <a:moveTo>
                      <a:pt x="350" y="366"/>
                    </a:moveTo>
                    <a:cubicBezTo>
                      <a:pt x="350" y="365"/>
                      <a:pt x="349" y="365"/>
                      <a:pt x="349" y="365"/>
                    </a:cubicBezTo>
                    <a:cubicBezTo>
                      <a:pt x="348" y="364"/>
                      <a:pt x="347" y="362"/>
                      <a:pt x="347" y="360"/>
                    </a:cubicBezTo>
                    <a:cubicBezTo>
                      <a:pt x="347" y="359"/>
                      <a:pt x="347" y="358"/>
                      <a:pt x="347" y="358"/>
                    </a:cubicBezTo>
                    <a:cubicBezTo>
                      <a:pt x="352" y="360"/>
                      <a:pt x="352" y="360"/>
                      <a:pt x="352" y="360"/>
                    </a:cubicBezTo>
                    <a:cubicBezTo>
                      <a:pt x="352" y="360"/>
                      <a:pt x="352" y="360"/>
                      <a:pt x="352" y="360"/>
                    </a:cubicBezTo>
                    <a:cubicBezTo>
                      <a:pt x="353" y="360"/>
                      <a:pt x="353" y="361"/>
                      <a:pt x="354" y="361"/>
                    </a:cubicBezTo>
                    <a:cubicBezTo>
                      <a:pt x="354" y="361"/>
                      <a:pt x="354" y="362"/>
                      <a:pt x="354" y="362"/>
                    </a:cubicBezTo>
                    <a:lnTo>
                      <a:pt x="350" y="366"/>
                    </a:lnTo>
                    <a:close/>
                    <a:moveTo>
                      <a:pt x="293" y="360"/>
                    </a:moveTo>
                    <a:cubicBezTo>
                      <a:pt x="292" y="358"/>
                      <a:pt x="291" y="356"/>
                      <a:pt x="290" y="355"/>
                    </a:cubicBezTo>
                    <a:cubicBezTo>
                      <a:pt x="295" y="352"/>
                      <a:pt x="295" y="352"/>
                      <a:pt x="295" y="352"/>
                    </a:cubicBezTo>
                    <a:cubicBezTo>
                      <a:pt x="296" y="353"/>
                      <a:pt x="297" y="355"/>
                      <a:pt x="298" y="357"/>
                    </a:cubicBezTo>
                    <a:lnTo>
                      <a:pt x="293" y="360"/>
                    </a:lnTo>
                    <a:close/>
                    <a:moveTo>
                      <a:pt x="361" y="358"/>
                    </a:moveTo>
                    <a:cubicBezTo>
                      <a:pt x="360" y="352"/>
                      <a:pt x="360" y="352"/>
                      <a:pt x="360" y="352"/>
                    </a:cubicBezTo>
                    <a:cubicBezTo>
                      <a:pt x="362" y="352"/>
                      <a:pt x="363" y="352"/>
                      <a:pt x="364" y="351"/>
                    </a:cubicBezTo>
                    <a:cubicBezTo>
                      <a:pt x="364" y="351"/>
                      <a:pt x="364" y="351"/>
                      <a:pt x="364" y="351"/>
                    </a:cubicBezTo>
                    <a:cubicBezTo>
                      <a:pt x="368" y="356"/>
                      <a:pt x="368" y="356"/>
                      <a:pt x="368" y="356"/>
                    </a:cubicBezTo>
                    <a:cubicBezTo>
                      <a:pt x="367" y="356"/>
                      <a:pt x="367" y="356"/>
                      <a:pt x="367" y="356"/>
                    </a:cubicBezTo>
                    <a:cubicBezTo>
                      <a:pt x="365" y="357"/>
                      <a:pt x="363" y="358"/>
                      <a:pt x="361" y="358"/>
                    </a:cubicBezTo>
                    <a:close/>
                    <a:moveTo>
                      <a:pt x="261" y="357"/>
                    </a:moveTo>
                    <a:cubicBezTo>
                      <a:pt x="261" y="351"/>
                      <a:pt x="261" y="351"/>
                      <a:pt x="261" y="351"/>
                    </a:cubicBezTo>
                    <a:cubicBezTo>
                      <a:pt x="263" y="351"/>
                      <a:pt x="265" y="351"/>
                      <a:pt x="267" y="351"/>
                    </a:cubicBezTo>
                    <a:cubicBezTo>
                      <a:pt x="267" y="357"/>
                      <a:pt x="267" y="357"/>
                      <a:pt x="267" y="357"/>
                    </a:cubicBezTo>
                    <a:cubicBezTo>
                      <a:pt x="265" y="357"/>
                      <a:pt x="263" y="357"/>
                      <a:pt x="261" y="357"/>
                    </a:cubicBezTo>
                    <a:close/>
                    <a:moveTo>
                      <a:pt x="208" y="354"/>
                    </a:moveTo>
                    <a:cubicBezTo>
                      <a:pt x="208" y="348"/>
                      <a:pt x="208" y="348"/>
                      <a:pt x="208" y="348"/>
                    </a:cubicBezTo>
                    <a:cubicBezTo>
                      <a:pt x="210" y="348"/>
                      <a:pt x="212" y="348"/>
                      <a:pt x="214" y="348"/>
                    </a:cubicBezTo>
                    <a:cubicBezTo>
                      <a:pt x="214" y="354"/>
                      <a:pt x="214" y="354"/>
                      <a:pt x="214" y="354"/>
                    </a:cubicBezTo>
                    <a:cubicBezTo>
                      <a:pt x="212" y="354"/>
                      <a:pt x="210" y="354"/>
                      <a:pt x="208" y="354"/>
                    </a:cubicBezTo>
                    <a:close/>
                    <a:moveTo>
                      <a:pt x="279" y="354"/>
                    </a:moveTo>
                    <a:cubicBezTo>
                      <a:pt x="277" y="349"/>
                      <a:pt x="277" y="349"/>
                      <a:pt x="277" y="349"/>
                    </a:cubicBezTo>
                    <a:cubicBezTo>
                      <a:pt x="277" y="348"/>
                      <a:pt x="278" y="348"/>
                      <a:pt x="279" y="348"/>
                    </a:cubicBezTo>
                    <a:cubicBezTo>
                      <a:pt x="280" y="347"/>
                      <a:pt x="282" y="347"/>
                      <a:pt x="283" y="347"/>
                    </a:cubicBezTo>
                    <a:cubicBezTo>
                      <a:pt x="284" y="352"/>
                      <a:pt x="284" y="352"/>
                      <a:pt x="284" y="352"/>
                    </a:cubicBezTo>
                    <a:cubicBezTo>
                      <a:pt x="283" y="353"/>
                      <a:pt x="282" y="353"/>
                      <a:pt x="280" y="353"/>
                    </a:cubicBezTo>
                    <a:cubicBezTo>
                      <a:pt x="280" y="354"/>
                      <a:pt x="280" y="354"/>
                      <a:pt x="279" y="354"/>
                    </a:cubicBezTo>
                    <a:close/>
                    <a:moveTo>
                      <a:pt x="226" y="354"/>
                    </a:moveTo>
                    <a:cubicBezTo>
                      <a:pt x="224" y="348"/>
                      <a:pt x="224" y="348"/>
                      <a:pt x="224" y="348"/>
                    </a:cubicBezTo>
                    <a:cubicBezTo>
                      <a:pt x="225" y="348"/>
                      <a:pt x="227" y="347"/>
                      <a:pt x="228" y="345"/>
                    </a:cubicBezTo>
                    <a:cubicBezTo>
                      <a:pt x="232" y="350"/>
                      <a:pt x="232" y="350"/>
                      <a:pt x="232" y="350"/>
                    </a:cubicBezTo>
                    <a:cubicBezTo>
                      <a:pt x="230" y="351"/>
                      <a:pt x="228" y="353"/>
                      <a:pt x="226" y="354"/>
                    </a:cubicBezTo>
                    <a:close/>
                    <a:moveTo>
                      <a:pt x="247" y="353"/>
                    </a:moveTo>
                    <a:cubicBezTo>
                      <a:pt x="247" y="352"/>
                      <a:pt x="246" y="350"/>
                      <a:pt x="246" y="348"/>
                    </a:cubicBezTo>
                    <a:cubicBezTo>
                      <a:pt x="246" y="348"/>
                      <a:pt x="246" y="347"/>
                      <a:pt x="246" y="346"/>
                    </a:cubicBezTo>
                    <a:cubicBezTo>
                      <a:pt x="252" y="347"/>
                      <a:pt x="252" y="347"/>
                      <a:pt x="252" y="347"/>
                    </a:cubicBezTo>
                    <a:cubicBezTo>
                      <a:pt x="252" y="347"/>
                      <a:pt x="252" y="348"/>
                      <a:pt x="252" y="348"/>
                    </a:cubicBezTo>
                    <a:cubicBezTo>
                      <a:pt x="252" y="349"/>
                      <a:pt x="252" y="350"/>
                      <a:pt x="252" y="350"/>
                    </a:cubicBezTo>
                    <a:lnTo>
                      <a:pt x="247" y="353"/>
                    </a:lnTo>
                    <a:close/>
                    <a:moveTo>
                      <a:pt x="195" y="349"/>
                    </a:moveTo>
                    <a:cubicBezTo>
                      <a:pt x="195" y="348"/>
                      <a:pt x="195" y="348"/>
                      <a:pt x="194" y="347"/>
                    </a:cubicBezTo>
                    <a:cubicBezTo>
                      <a:pt x="194" y="346"/>
                      <a:pt x="194" y="345"/>
                      <a:pt x="194" y="344"/>
                    </a:cubicBezTo>
                    <a:cubicBezTo>
                      <a:pt x="194" y="343"/>
                      <a:pt x="194" y="343"/>
                      <a:pt x="194" y="342"/>
                    </a:cubicBezTo>
                    <a:cubicBezTo>
                      <a:pt x="200" y="344"/>
                      <a:pt x="200" y="344"/>
                      <a:pt x="200" y="344"/>
                    </a:cubicBezTo>
                    <a:cubicBezTo>
                      <a:pt x="200" y="344"/>
                      <a:pt x="200" y="344"/>
                      <a:pt x="200" y="344"/>
                    </a:cubicBezTo>
                    <a:cubicBezTo>
                      <a:pt x="200" y="344"/>
                      <a:pt x="200" y="344"/>
                      <a:pt x="200" y="345"/>
                    </a:cubicBezTo>
                    <a:cubicBezTo>
                      <a:pt x="200" y="346"/>
                      <a:pt x="201" y="347"/>
                      <a:pt x="201" y="348"/>
                    </a:cubicBezTo>
                    <a:lnTo>
                      <a:pt x="195" y="349"/>
                    </a:lnTo>
                    <a:close/>
                    <a:moveTo>
                      <a:pt x="241" y="348"/>
                    </a:moveTo>
                    <a:cubicBezTo>
                      <a:pt x="240" y="342"/>
                      <a:pt x="240" y="342"/>
                      <a:pt x="240" y="342"/>
                    </a:cubicBezTo>
                    <a:cubicBezTo>
                      <a:pt x="241" y="342"/>
                      <a:pt x="242" y="342"/>
                      <a:pt x="242" y="342"/>
                    </a:cubicBezTo>
                    <a:cubicBezTo>
                      <a:pt x="242" y="341"/>
                      <a:pt x="243" y="341"/>
                      <a:pt x="244" y="340"/>
                    </a:cubicBezTo>
                    <a:cubicBezTo>
                      <a:pt x="247" y="345"/>
                      <a:pt x="247" y="345"/>
                      <a:pt x="247" y="345"/>
                    </a:cubicBezTo>
                    <a:cubicBezTo>
                      <a:pt x="247" y="345"/>
                      <a:pt x="247" y="345"/>
                      <a:pt x="246" y="345"/>
                    </a:cubicBezTo>
                    <a:cubicBezTo>
                      <a:pt x="245" y="347"/>
                      <a:pt x="244" y="348"/>
                      <a:pt x="241" y="348"/>
                    </a:cubicBezTo>
                    <a:close/>
                    <a:moveTo>
                      <a:pt x="372" y="345"/>
                    </a:moveTo>
                    <a:cubicBezTo>
                      <a:pt x="370" y="343"/>
                      <a:pt x="370" y="343"/>
                      <a:pt x="370" y="343"/>
                    </a:cubicBezTo>
                    <a:cubicBezTo>
                      <a:pt x="367" y="341"/>
                      <a:pt x="367" y="341"/>
                      <a:pt x="367" y="341"/>
                    </a:cubicBezTo>
                    <a:cubicBezTo>
                      <a:pt x="367" y="341"/>
                      <a:pt x="367" y="341"/>
                      <a:pt x="367" y="341"/>
                    </a:cubicBezTo>
                    <a:cubicBezTo>
                      <a:pt x="367" y="341"/>
                      <a:pt x="367" y="341"/>
                      <a:pt x="367" y="341"/>
                    </a:cubicBezTo>
                    <a:cubicBezTo>
                      <a:pt x="368" y="339"/>
                      <a:pt x="369" y="338"/>
                      <a:pt x="370" y="337"/>
                    </a:cubicBezTo>
                    <a:cubicBezTo>
                      <a:pt x="370" y="337"/>
                      <a:pt x="371" y="336"/>
                      <a:pt x="371" y="336"/>
                    </a:cubicBezTo>
                    <a:cubicBezTo>
                      <a:pt x="375" y="340"/>
                      <a:pt x="375" y="340"/>
                      <a:pt x="375" y="340"/>
                    </a:cubicBezTo>
                    <a:cubicBezTo>
                      <a:pt x="375" y="340"/>
                      <a:pt x="375" y="341"/>
                      <a:pt x="375" y="341"/>
                    </a:cubicBezTo>
                    <a:cubicBezTo>
                      <a:pt x="374" y="342"/>
                      <a:pt x="373" y="343"/>
                      <a:pt x="372" y="344"/>
                    </a:cubicBezTo>
                    <a:lnTo>
                      <a:pt x="372" y="345"/>
                    </a:lnTo>
                    <a:close/>
                    <a:moveTo>
                      <a:pt x="209" y="338"/>
                    </a:moveTo>
                    <a:cubicBezTo>
                      <a:pt x="204" y="335"/>
                      <a:pt x="204" y="335"/>
                      <a:pt x="204" y="335"/>
                    </a:cubicBezTo>
                    <a:cubicBezTo>
                      <a:pt x="204" y="335"/>
                      <a:pt x="204" y="335"/>
                      <a:pt x="204" y="334"/>
                    </a:cubicBezTo>
                    <a:cubicBezTo>
                      <a:pt x="204" y="334"/>
                      <a:pt x="204" y="333"/>
                      <a:pt x="204" y="332"/>
                    </a:cubicBezTo>
                    <a:cubicBezTo>
                      <a:pt x="210" y="330"/>
                      <a:pt x="210" y="330"/>
                      <a:pt x="210" y="330"/>
                    </a:cubicBezTo>
                    <a:cubicBezTo>
                      <a:pt x="210" y="332"/>
                      <a:pt x="210" y="333"/>
                      <a:pt x="210" y="334"/>
                    </a:cubicBezTo>
                    <a:cubicBezTo>
                      <a:pt x="210" y="336"/>
                      <a:pt x="210" y="337"/>
                      <a:pt x="209" y="338"/>
                    </a:cubicBezTo>
                    <a:close/>
                    <a:moveTo>
                      <a:pt x="378" y="327"/>
                    </a:moveTo>
                    <a:cubicBezTo>
                      <a:pt x="373" y="326"/>
                      <a:pt x="373" y="326"/>
                      <a:pt x="373" y="326"/>
                    </a:cubicBezTo>
                    <a:cubicBezTo>
                      <a:pt x="373" y="326"/>
                      <a:pt x="373" y="325"/>
                      <a:pt x="373" y="323"/>
                    </a:cubicBezTo>
                    <a:cubicBezTo>
                      <a:pt x="373" y="322"/>
                      <a:pt x="373" y="321"/>
                      <a:pt x="373" y="320"/>
                    </a:cubicBezTo>
                    <a:cubicBezTo>
                      <a:pt x="379" y="322"/>
                      <a:pt x="379" y="322"/>
                      <a:pt x="379" y="322"/>
                    </a:cubicBezTo>
                    <a:cubicBezTo>
                      <a:pt x="379" y="322"/>
                      <a:pt x="379" y="323"/>
                      <a:pt x="379" y="323"/>
                    </a:cubicBezTo>
                    <a:cubicBezTo>
                      <a:pt x="379" y="325"/>
                      <a:pt x="379" y="326"/>
                      <a:pt x="378" y="327"/>
                    </a:cubicBezTo>
                    <a:close/>
                    <a:moveTo>
                      <a:pt x="209" y="320"/>
                    </a:moveTo>
                    <a:cubicBezTo>
                      <a:pt x="203" y="319"/>
                      <a:pt x="203" y="319"/>
                      <a:pt x="203" y="319"/>
                    </a:cubicBezTo>
                    <a:cubicBezTo>
                      <a:pt x="203" y="318"/>
                      <a:pt x="203" y="317"/>
                      <a:pt x="203" y="317"/>
                    </a:cubicBezTo>
                    <a:cubicBezTo>
                      <a:pt x="203" y="317"/>
                      <a:pt x="204" y="318"/>
                      <a:pt x="204" y="318"/>
                    </a:cubicBezTo>
                    <a:cubicBezTo>
                      <a:pt x="204" y="312"/>
                      <a:pt x="204" y="312"/>
                      <a:pt x="204" y="312"/>
                    </a:cubicBezTo>
                    <a:cubicBezTo>
                      <a:pt x="207" y="312"/>
                      <a:pt x="209" y="314"/>
                      <a:pt x="209" y="317"/>
                    </a:cubicBezTo>
                    <a:cubicBezTo>
                      <a:pt x="209" y="317"/>
                      <a:pt x="209" y="318"/>
                      <a:pt x="209" y="320"/>
                    </a:cubicBezTo>
                    <a:close/>
                    <a:moveTo>
                      <a:pt x="193" y="318"/>
                    </a:moveTo>
                    <a:cubicBezTo>
                      <a:pt x="190" y="314"/>
                      <a:pt x="190" y="314"/>
                      <a:pt x="190" y="314"/>
                    </a:cubicBezTo>
                    <a:cubicBezTo>
                      <a:pt x="190" y="313"/>
                      <a:pt x="190" y="313"/>
                      <a:pt x="191" y="312"/>
                    </a:cubicBezTo>
                    <a:cubicBezTo>
                      <a:pt x="192" y="311"/>
                      <a:pt x="193" y="310"/>
                      <a:pt x="194" y="310"/>
                    </a:cubicBezTo>
                    <a:cubicBezTo>
                      <a:pt x="197" y="314"/>
                      <a:pt x="197" y="314"/>
                      <a:pt x="197" y="314"/>
                    </a:cubicBezTo>
                    <a:cubicBezTo>
                      <a:pt x="197" y="315"/>
                      <a:pt x="196" y="316"/>
                      <a:pt x="195" y="316"/>
                    </a:cubicBezTo>
                    <a:cubicBezTo>
                      <a:pt x="194" y="317"/>
                      <a:pt x="194" y="318"/>
                      <a:pt x="193" y="318"/>
                    </a:cubicBezTo>
                    <a:close/>
                    <a:moveTo>
                      <a:pt x="385" y="313"/>
                    </a:moveTo>
                    <a:cubicBezTo>
                      <a:pt x="380" y="309"/>
                      <a:pt x="380" y="309"/>
                      <a:pt x="380" y="309"/>
                    </a:cubicBezTo>
                    <a:cubicBezTo>
                      <a:pt x="381" y="308"/>
                      <a:pt x="382" y="307"/>
                      <a:pt x="383" y="306"/>
                    </a:cubicBezTo>
                    <a:cubicBezTo>
                      <a:pt x="383" y="306"/>
                      <a:pt x="383" y="305"/>
                      <a:pt x="384" y="305"/>
                    </a:cubicBezTo>
                    <a:cubicBezTo>
                      <a:pt x="388" y="309"/>
                      <a:pt x="388" y="309"/>
                      <a:pt x="388" y="309"/>
                    </a:cubicBezTo>
                    <a:cubicBezTo>
                      <a:pt x="388" y="309"/>
                      <a:pt x="388" y="309"/>
                      <a:pt x="388" y="310"/>
                    </a:cubicBezTo>
                    <a:cubicBezTo>
                      <a:pt x="387" y="311"/>
                      <a:pt x="386" y="312"/>
                      <a:pt x="385" y="313"/>
                    </a:cubicBezTo>
                    <a:close/>
                    <a:moveTo>
                      <a:pt x="186" y="308"/>
                    </a:moveTo>
                    <a:cubicBezTo>
                      <a:pt x="186" y="308"/>
                      <a:pt x="186" y="307"/>
                      <a:pt x="183" y="305"/>
                    </a:cubicBezTo>
                    <a:cubicBezTo>
                      <a:pt x="186" y="300"/>
                      <a:pt x="186" y="300"/>
                      <a:pt x="186" y="300"/>
                    </a:cubicBezTo>
                    <a:cubicBezTo>
                      <a:pt x="189" y="302"/>
                      <a:pt x="191" y="304"/>
                      <a:pt x="192" y="306"/>
                    </a:cubicBezTo>
                    <a:lnTo>
                      <a:pt x="186" y="308"/>
                    </a:lnTo>
                    <a:close/>
                    <a:moveTo>
                      <a:pt x="390" y="301"/>
                    </a:moveTo>
                    <a:cubicBezTo>
                      <a:pt x="389" y="301"/>
                      <a:pt x="388" y="301"/>
                      <a:pt x="387" y="300"/>
                    </a:cubicBezTo>
                    <a:cubicBezTo>
                      <a:pt x="387" y="300"/>
                      <a:pt x="386" y="299"/>
                      <a:pt x="385" y="299"/>
                    </a:cubicBezTo>
                    <a:cubicBezTo>
                      <a:pt x="388" y="294"/>
                      <a:pt x="388" y="294"/>
                      <a:pt x="388" y="294"/>
                    </a:cubicBezTo>
                    <a:cubicBezTo>
                      <a:pt x="388" y="294"/>
                      <a:pt x="389" y="295"/>
                      <a:pt x="390" y="295"/>
                    </a:cubicBezTo>
                    <a:cubicBezTo>
                      <a:pt x="391" y="295"/>
                      <a:pt x="392" y="296"/>
                      <a:pt x="393" y="296"/>
                    </a:cubicBezTo>
                    <a:lnTo>
                      <a:pt x="390" y="301"/>
                    </a:lnTo>
                    <a:close/>
                    <a:moveTo>
                      <a:pt x="173" y="300"/>
                    </a:moveTo>
                    <a:cubicBezTo>
                      <a:pt x="172" y="299"/>
                      <a:pt x="172" y="299"/>
                      <a:pt x="172" y="299"/>
                    </a:cubicBezTo>
                    <a:cubicBezTo>
                      <a:pt x="170" y="298"/>
                      <a:pt x="169" y="298"/>
                      <a:pt x="168" y="297"/>
                    </a:cubicBezTo>
                    <a:cubicBezTo>
                      <a:pt x="171" y="292"/>
                      <a:pt x="171" y="292"/>
                      <a:pt x="171" y="292"/>
                    </a:cubicBezTo>
                    <a:cubicBezTo>
                      <a:pt x="172" y="293"/>
                      <a:pt x="173" y="293"/>
                      <a:pt x="174" y="294"/>
                    </a:cubicBezTo>
                    <a:cubicBezTo>
                      <a:pt x="176" y="295"/>
                      <a:pt x="176" y="295"/>
                      <a:pt x="176" y="295"/>
                    </a:cubicBezTo>
                    <a:lnTo>
                      <a:pt x="173" y="300"/>
                    </a:lnTo>
                    <a:close/>
                    <a:moveTo>
                      <a:pt x="425" y="297"/>
                    </a:moveTo>
                    <a:cubicBezTo>
                      <a:pt x="423" y="296"/>
                      <a:pt x="422" y="296"/>
                      <a:pt x="421" y="296"/>
                    </a:cubicBezTo>
                    <a:cubicBezTo>
                      <a:pt x="424" y="290"/>
                      <a:pt x="424" y="290"/>
                      <a:pt x="424" y="290"/>
                    </a:cubicBezTo>
                    <a:cubicBezTo>
                      <a:pt x="425" y="291"/>
                      <a:pt x="426" y="291"/>
                      <a:pt x="427" y="292"/>
                    </a:cubicBezTo>
                    <a:lnTo>
                      <a:pt x="425" y="297"/>
                    </a:lnTo>
                    <a:close/>
                    <a:moveTo>
                      <a:pt x="411" y="290"/>
                    </a:moveTo>
                    <a:cubicBezTo>
                      <a:pt x="409" y="289"/>
                      <a:pt x="407" y="288"/>
                      <a:pt x="405" y="287"/>
                    </a:cubicBezTo>
                    <a:cubicBezTo>
                      <a:pt x="408" y="282"/>
                      <a:pt x="408" y="282"/>
                      <a:pt x="408" y="282"/>
                    </a:cubicBezTo>
                    <a:cubicBezTo>
                      <a:pt x="410" y="283"/>
                      <a:pt x="411" y="284"/>
                      <a:pt x="413" y="285"/>
                    </a:cubicBezTo>
                    <a:lnTo>
                      <a:pt x="411" y="290"/>
                    </a:lnTo>
                    <a:close/>
                    <a:moveTo>
                      <a:pt x="374" y="290"/>
                    </a:moveTo>
                    <a:cubicBezTo>
                      <a:pt x="374" y="289"/>
                      <a:pt x="374" y="289"/>
                      <a:pt x="374" y="289"/>
                    </a:cubicBezTo>
                    <a:cubicBezTo>
                      <a:pt x="374" y="287"/>
                      <a:pt x="376" y="285"/>
                      <a:pt x="377" y="285"/>
                    </a:cubicBezTo>
                    <a:cubicBezTo>
                      <a:pt x="377" y="285"/>
                      <a:pt x="377" y="284"/>
                      <a:pt x="377" y="284"/>
                    </a:cubicBezTo>
                    <a:cubicBezTo>
                      <a:pt x="377" y="284"/>
                      <a:pt x="378" y="283"/>
                      <a:pt x="379" y="282"/>
                    </a:cubicBezTo>
                    <a:cubicBezTo>
                      <a:pt x="383" y="287"/>
                      <a:pt x="383" y="287"/>
                      <a:pt x="383" y="287"/>
                    </a:cubicBezTo>
                    <a:cubicBezTo>
                      <a:pt x="382" y="287"/>
                      <a:pt x="382" y="287"/>
                      <a:pt x="382" y="287"/>
                    </a:cubicBezTo>
                    <a:cubicBezTo>
                      <a:pt x="382" y="288"/>
                      <a:pt x="381" y="289"/>
                      <a:pt x="380" y="289"/>
                    </a:cubicBezTo>
                    <a:cubicBezTo>
                      <a:pt x="380" y="289"/>
                      <a:pt x="380" y="289"/>
                      <a:pt x="380" y="289"/>
                    </a:cubicBezTo>
                    <a:cubicBezTo>
                      <a:pt x="380" y="289"/>
                      <a:pt x="380" y="289"/>
                      <a:pt x="380" y="289"/>
                    </a:cubicBezTo>
                    <a:lnTo>
                      <a:pt x="374" y="290"/>
                    </a:lnTo>
                    <a:close/>
                    <a:moveTo>
                      <a:pt x="160" y="286"/>
                    </a:moveTo>
                    <a:cubicBezTo>
                      <a:pt x="160" y="285"/>
                      <a:pt x="160" y="285"/>
                      <a:pt x="160" y="285"/>
                    </a:cubicBezTo>
                    <a:cubicBezTo>
                      <a:pt x="160" y="282"/>
                      <a:pt x="161" y="280"/>
                      <a:pt x="162" y="278"/>
                    </a:cubicBezTo>
                    <a:cubicBezTo>
                      <a:pt x="167" y="282"/>
                      <a:pt x="167" y="282"/>
                      <a:pt x="167" y="282"/>
                    </a:cubicBezTo>
                    <a:cubicBezTo>
                      <a:pt x="166" y="283"/>
                      <a:pt x="166" y="284"/>
                      <a:pt x="166" y="285"/>
                    </a:cubicBezTo>
                    <a:cubicBezTo>
                      <a:pt x="166" y="285"/>
                      <a:pt x="166" y="285"/>
                      <a:pt x="166" y="285"/>
                    </a:cubicBezTo>
                    <a:lnTo>
                      <a:pt x="160" y="286"/>
                    </a:lnTo>
                    <a:close/>
                    <a:moveTo>
                      <a:pt x="392" y="282"/>
                    </a:moveTo>
                    <a:cubicBezTo>
                      <a:pt x="390" y="276"/>
                      <a:pt x="390" y="276"/>
                      <a:pt x="390" y="276"/>
                    </a:cubicBezTo>
                    <a:cubicBezTo>
                      <a:pt x="393" y="275"/>
                      <a:pt x="395" y="275"/>
                      <a:pt x="398" y="276"/>
                    </a:cubicBezTo>
                    <a:cubicBezTo>
                      <a:pt x="396" y="282"/>
                      <a:pt x="396" y="282"/>
                      <a:pt x="396" y="282"/>
                    </a:cubicBezTo>
                    <a:cubicBezTo>
                      <a:pt x="394" y="281"/>
                      <a:pt x="394" y="281"/>
                      <a:pt x="392" y="282"/>
                    </a:cubicBezTo>
                    <a:close/>
                    <a:moveTo>
                      <a:pt x="176" y="275"/>
                    </a:moveTo>
                    <a:cubicBezTo>
                      <a:pt x="172" y="271"/>
                      <a:pt x="172" y="271"/>
                      <a:pt x="172" y="271"/>
                    </a:cubicBezTo>
                    <a:cubicBezTo>
                      <a:pt x="172" y="270"/>
                      <a:pt x="173" y="269"/>
                      <a:pt x="174" y="268"/>
                    </a:cubicBezTo>
                    <a:cubicBezTo>
                      <a:pt x="176" y="267"/>
                      <a:pt x="176" y="267"/>
                      <a:pt x="176" y="267"/>
                    </a:cubicBezTo>
                    <a:cubicBezTo>
                      <a:pt x="180" y="271"/>
                      <a:pt x="180" y="271"/>
                      <a:pt x="180" y="271"/>
                    </a:cubicBezTo>
                    <a:cubicBezTo>
                      <a:pt x="178" y="272"/>
                      <a:pt x="178" y="272"/>
                      <a:pt x="178" y="272"/>
                    </a:cubicBezTo>
                    <a:cubicBezTo>
                      <a:pt x="177" y="273"/>
                      <a:pt x="176" y="274"/>
                      <a:pt x="176" y="275"/>
                    </a:cubicBezTo>
                    <a:close/>
                    <a:moveTo>
                      <a:pt x="188" y="261"/>
                    </a:moveTo>
                    <a:cubicBezTo>
                      <a:pt x="183" y="259"/>
                      <a:pt x="183" y="259"/>
                      <a:pt x="183" y="259"/>
                    </a:cubicBezTo>
                    <a:cubicBezTo>
                      <a:pt x="183" y="258"/>
                      <a:pt x="184" y="256"/>
                      <a:pt x="184" y="254"/>
                    </a:cubicBezTo>
                    <a:cubicBezTo>
                      <a:pt x="190" y="255"/>
                      <a:pt x="190" y="255"/>
                      <a:pt x="190" y="255"/>
                    </a:cubicBezTo>
                    <a:cubicBezTo>
                      <a:pt x="189" y="257"/>
                      <a:pt x="189" y="260"/>
                      <a:pt x="188" y="261"/>
                    </a:cubicBezTo>
                    <a:close/>
                    <a:moveTo>
                      <a:pt x="183" y="245"/>
                    </a:moveTo>
                    <a:cubicBezTo>
                      <a:pt x="182" y="244"/>
                      <a:pt x="182" y="244"/>
                      <a:pt x="181" y="243"/>
                    </a:cubicBezTo>
                    <a:cubicBezTo>
                      <a:pt x="180" y="243"/>
                      <a:pt x="179" y="243"/>
                      <a:pt x="179" y="242"/>
                    </a:cubicBezTo>
                    <a:cubicBezTo>
                      <a:pt x="182" y="238"/>
                      <a:pt x="182" y="238"/>
                      <a:pt x="182" y="238"/>
                    </a:cubicBezTo>
                    <a:cubicBezTo>
                      <a:pt x="182" y="238"/>
                      <a:pt x="183" y="238"/>
                      <a:pt x="183" y="238"/>
                    </a:cubicBezTo>
                    <a:cubicBezTo>
                      <a:pt x="185" y="239"/>
                      <a:pt x="187" y="240"/>
                      <a:pt x="188" y="242"/>
                    </a:cubicBezTo>
                    <a:lnTo>
                      <a:pt x="183" y="245"/>
                    </a:lnTo>
                    <a:close/>
                    <a:moveTo>
                      <a:pt x="216" y="241"/>
                    </a:moveTo>
                    <a:cubicBezTo>
                      <a:pt x="214" y="241"/>
                      <a:pt x="211" y="240"/>
                      <a:pt x="210" y="238"/>
                    </a:cubicBezTo>
                    <a:cubicBezTo>
                      <a:pt x="209" y="238"/>
                      <a:pt x="209" y="238"/>
                      <a:pt x="209" y="238"/>
                    </a:cubicBezTo>
                    <a:cubicBezTo>
                      <a:pt x="209" y="237"/>
                      <a:pt x="209" y="237"/>
                      <a:pt x="209" y="237"/>
                    </a:cubicBezTo>
                    <a:cubicBezTo>
                      <a:pt x="211" y="236"/>
                      <a:pt x="211" y="236"/>
                      <a:pt x="211" y="236"/>
                    </a:cubicBezTo>
                    <a:cubicBezTo>
                      <a:pt x="213" y="233"/>
                      <a:pt x="213" y="233"/>
                      <a:pt x="213" y="233"/>
                    </a:cubicBezTo>
                    <a:cubicBezTo>
                      <a:pt x="213" y="234"/>
                      <a:pt x="213" y="234"/>
                      <a:pt x="213" y="234"/>
                    </a:cubicBezTo>
                    <a:cubicBezTo>
                      <a:pt x="214" y="234"/>
                      <a:pt x="216" y="235"/>
                      <a:pt x="217" y="236"/>
                    </a:cubicBezTo>
                    <a:lnTo>
                      <a:pt x="216" y="241"/>
                    </a:lnTo>
                    <a:close/>
                    <a:moveTo>
                      <a:pt x="184" y="233"/>
                    </a:moveTo>
                    <a:cubicBezTo>
                      <a:pt x="183" y="233"/>
                      <a:pt x="182" y="233"/>
                      <a:pt x="181" y="233"/>
                    </a:cubicBezTo>
                    <a:cubicBezTo>
                      <a:pt x="180" y="233"/>
                      <a:pt x="180" y="233"/>
                      <a:pt x="179" y="233"/>
                    </a:cubicBezTo>
                    <a:cubicBezTo>
                      <a:pt x="178" y="227"/>
                      <a:pt x="178" y="227"/>
                      <a:pt x="178" y="227"/>
                    </a:cubicBezTo>
                    <a:cubicBezTo>
                      <a:pt x="179" y="227"/>
                      <a:pt x="180" y="227"/>
                      <a:pt x="182" y="227"/>
                    </a:cubicBezTo>
                    <a:cubicBezTo>
                      <a:pt x="183" y="227"/>
                      <a:pt x="184" y="228"/>
                      <a:pt x="185" y="228"/>
                    </a:cubicBezTo>
                    <a:lnTo>
                      <a:pt x="184" y="233"/>
                    </a:lnTo>
                    <a:close/>
                    <a:moveTo>
                      <a:pt x="201" y="233"/>
                    </a:moveTo>
                    <a:cubicBezTo>
                      <a:pt x="201" y="233"/>
                      <a:pt x="201" y="233"/>
                      <a:pt x="200" y="233"/>
                    </a:cubicBezTo>
                    <a:cubicBezTo>
                      <a:pt x="198" y="233"/>
                      <a:pt x="197" y="232"/>
                      <a:pt x="195" y="232"/>
                    </a:cubicBezTo>
                    <a:cubicBezTo>
                      <a:pt x="196" y="227"/>
                      <a:pt x="196" y="227"/>
                      <a:pt x="196" y="227"/>
                    </a:cubicBezTo>
                    <a:cubicBezTo>
                      <a:pt x="197" y="227"/>
                      <a:pt x="199" y="227"/>
                      <a:pt x="200" y="227"/>
                    </a:cubicBezTo>
                    <a:cubicBezTo>
                      <a:pt x="201" y="227"/>
                      <a:pt x="201" y="227"/>
                      <a:pt x="202" y="227"/>
                    </a:cubicBezTo>
                    <a:lnTo>
                      <a:pt x="201" y="233"/>
                    </a:lnTo>
                    <a:close/>
                    <a:moveTo>
                      <a:pt x="225" y="233"/>
                    </a:moveTo>
                    <a:cubicBezTo>
                      <a:pt x="220" y="230"/>
                      <a:pt x="220" y="230"/>
                      <a:pt x="220" y="230"/>
                    </a:cubicBezTo>
                    <a:cubicBezTo>
                      <a:pt x="221" y="229"/>
                      <a:pt x="221" y="228"/>
                      <a:pt x="222" y="227"/>
                    </a:cubicBezTo>
                    <a:cubicBezTo>
                      <a:pt x="222" y="227"/>
                      <a:pt x="223" y="227"/>
                      <a:pt x="223" y="225"/>
                    </a:cubicBezTo>
                    <a:cubicBezTo>
                      <a:pt x="229" y="227"/>
                      <a:pt x="229" y="227"/>
                      <a:pt x="229" y="227"/>
                    </a:cubicBezTo>
                    <a:cubicBezTo>
                      <a:pt x="228" y="228"/>
                      <a:pt x="227" y="231"/>
                      <a:pt x="226" y="232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6" y="232"/>
                      <a:pt x="225" y="232"/>
                      <a:pt x="225" y="233"/>
                    </a:cubicBezTo>
                    <a:close/>
                    <a:moveTo>
                      <a:pt x="218" y="222"/>
                    </a:moveTo>
                    <a:cubicBezTo>
                      <a:pt x="216" y="222"/>
                      <a:pt x="215" y="221"/>
                      <a:pt x="215" y="219"/>
                    </a:cubicBezTo>
                    <a:cubicBezTo>
                      <a:pt x="220" y="218"/>
                      <a:pt x="220" y="218"/>
                      <a:pt x="220" y="218"/>
                    </a:cubicBezTo>
                    <a:cubicBezTo>
                      <a:pt x="220" y="217"/>
                      <a:pt x="219" y="216"/>
                      <a:pt x="218" y="216"/>
                    </a:cubicBezTo>
                    <a:cubicBezTo>
                      <a:pt x="218" y="216"/>
                      <a:pt x="218" y="216"/>
                      <a:pt x="218" y="216"/>
                    </a:cubicBezTo>
                    <a:cubicBezTo>
                      <a:pt x="218" y="216"/>
                      <a:pt x="218" y="216"/>
                      <a:pt x="219" y="216"/>
                    </a:cubicBezTo>
                    <a:cubicBezTo>
                      <a:pt x="220" y="215"/>
                      <a:pt x="221" y="215"/>
                      <a:pt x="221" y="215"/>
                    </a:cubicBezTo>
                    <a:cubicBezTo>
                      <a:pt x="223" y="220"/>
                      <a:pt x="223" y="220"/>
                      <a:pt x="223" y="220"/>
                    </a:cubicBezTo>
                    <a:cubicBezTo>
                      <a:pt x="223" y="220"/>
                      <a:pt x="222" y="221"/>
                      <a:pt x="222" y="221"/>
                    </a:cubicBezTo>
                    <a:cubicBezTo>
                      <a:pt x="220" y="222"/>
                      <a:pt x="219" y="222"/>
                      <a:pt x="218" y="222"/>
                    </a:cubicBezTo>
                    <a:close/>
                    <a:moveTo>
                      <a:pt x="184" y="222"/>
                    </a:moveTo>
                    <a:cubicBezTo>
                      <a:pt x="183" y="222"/>
                      <a:pt x="181" y="221"/>
                      <a:pt x="180" y="221"/>
                    </a:cubicBezTo>
                    <a:cubicBezTo>
                      <a:pt x="179" y="221"/>
                      <a:pt x="179" y="221"/>
                      <a:pt x="178" y="221"/>
                    </a:cubicBezTo>
                    <a:cubicBezTo>
                      <a:pt x="179" y="215"/>
                      <a:pt x="179" y="215"/>
                      <a:pt x="179" y="215"/>
                    </a:cubicBezTo>
                    <a:cubicBezTo>
                      <a:pt x="180" y="215"/>
                      <a:pt x="180" y="215"/>
                      <a:pt x="181" y="215"/>
                    </a:cubicBezTo>
                    <a:cubicBezTo>
                      <a:pt x="183" y="216"/>
                      <a:pt x="184" y="216"/>
                      <a:pt x="185" y="216"/>
                    </a:cubicBezTo>
                    <a:lnTo>
                      <a:pt x="184" y="222"/>
                    </a:lnTo>
                    <a:close/>
                    <a:moveTo>
                      <a:pt x="162" y="222"/>
                    </a:moveTo>
                    <a:cubicBezTo>
                      <a:pt x="162" y="222"/>
                      <a:pt x="161" y="222"/>
                      <a:pt x="161" y="222"/>
                    </a:cubicBezTo>
                    <a:cubicBezTo>
                      <a:pt x="162" y="216"/>
                      <a:pt x="162" y="216"/>
                      <a:pt x="162" y="216"/>
                    </a:cubicBezTo>
                    <a:cubicBezTo>
                      <a:pt x="162" y="216"/>
                      <a:pt x="164" y="216"/>
                      <a:pt x="166" y="215"/>
                    </a:cubicBezTo>
                    <a:cubicBezTo>
                      <a:pt x="167" y="215"/>
                      <a:pt x="167" y="215"/>
                      <a:pt x="167" y="215"/>
                    </a:cubicBezTo>
                    <a:cubicBezTo>
                      <a:pt x="168" y="221"/>
                      <a:pt x="168" y="221"/>
                      <a:pt x="168" y="221"/>
                    </a:cubicBezTo>
                    <a:cubicBezTo>
                      <a:pt x="167" y="221"/>
                      <a:pt x="167" y="221"/>
                      <a:pt x="167" y="221"/>
                    </a:cubicBezTo>
                    <a:cubicBezTo>
                      <a:pt x="165" y="221"/>
                      <a:pt x="163" y="222"/>
                      <a:pt x="162" y="222"/>
                    </a:cubicBezTo>
                    <a:close/>
                    <a:moveTo>
                      <a:pt x="151" y="213"/>
                    </a:moveTo>
                    <a:cubicBezTo>
                      <a:pt x="148" y="210"/>
                      <a:pt x="147" y="208"/>
                      <a:pt x="147" y="206"/>
                    </a:cubicBezTo>
                    <a:cubicBezTo>
                      <a:pt x="153" y="206"/>
                      <a:pt x="153" y="206"/>
                      <a:pt x="153" y="206"/>
                    </a:cubicBezTo>
                    <a:cubicBezTo>
                      <a:pt x="153" y="206"/>
                      <a:pt x="154" y="208"/>
                      <a:pt x="155" y="209"/>
                    </a:cubicBezTo>
                    <a:lnTo>
                      <a:pt x="151" y="213"/>
                    </a:lnTo>
                    <a:close/>
                    <a:moveTo>
                      <a:pt x="192" y="211"/>
                    </a:moveTo>
                    <a:cubicBezTo>
                      <a:pt x="186" y="211"/>
                      <a:pt x="186" y="211"/>
                      <a:pt x="186" y="211"/>
                    </a:cubicBezTo>
                    <a:cubicBezTo>
                      <a:pt x="186" y="209"/>
                      <a:pt x="186" y="205"/>
                      <a:pt x="189" y="203"/>
                    </a:cubicBezTo>
                    <a:cubicBezTo>
                      <a:pt x="192" y="208"/>
                      <a:pt x="192" y="208"/>
                      <a:pt x="192" y="208"/>
                    </a:cubicBezTo>
                    <a:cubicBezTo>
                      <a:pt x="192" y="208"/>
                      <a:pt x="192" y="208"/>
                      <a:pt x="192" y="208"/>
                    </a:cubicBezTo>
                    <a:cubicBezTo>
                      <a:pt x="192" y="208"/>
                      <a:pt x="192" y="209"/>
                      <a:pt x="192" y="211"/>
                    </a:cubicBezTo>
                    <a:close/>
                    <a:moveTo>
                      <a:pt x="213" y="211"/>
                    </a:moveTo>
                    <a:cubicBezTo>
                      <a:pt x="212" y="210"/>
                      <a:pt x="212" y="210"/>
                      <a:pt x="212" y="210"/>
                    </a:cubicBezTo>
                    <a:cubicBezTo>
                      <a:pt x="212" y="210"/>
                      <a:pt x="211" y="210"/>
                      <a:pt x="211" y="209"/>
                    </a:cubicBezTo>
                    <a:cubicBezTo>
                      <a:pt x="209" y="208"/>
                      <a:pt x="209" y="207"/>
                      <a:pt x="208" y="206"/>
                    </a:cubicBezTo>
                    <a:cubicBezTo>
                      <a:pt x="208" y="206"/>
                      <a:pt x="208" y="205"/>
                      <a:pt x="208" y="205"/>
                    </a:cubicBezTo>
                    <a:cubicBezTo>
                      <a:pt x="214" y="203"/>
                      <a:pt x="214" y="203"/>
                      <a:pt x="214" y="203"/>
                    </a:cubicBezTo>
                    <a:cubicBezTo>
                      <a:pt x="214" y="203"/>
                      <a:pt x="214" y="204"/>
                      <a:pt x="214" y="204"/>
                    </a:cubicBezTo>
                    <a:cubicBezTo>
                      <a:pt x="214" y="204"/>
                      <a:pt x="214" y="205"/>
                      <a:pt x="214" y="205"/>
                    </a:cubicBezTo>
                    <a:cubicBezTo>
                      <a:pt x="215" y="205"/>
                      <a:pt x="215" y="205"/>
                      <a:pt x="215" y="205"/>
                    </a:cubicBezTo>
                    <a:cubicBezTo>
                      <a:pt x="216" y="206"/>
                      <a:pt x="216" y="206"/>
                      <a:pt x="216" y="206"/>
                    </a:cubicBezTo>
                    <a:lnTo>
                      <a:pt x="213" y="211"/>
                    </a:lnTo>
                    <a:close/>
                    <a:moveTo>
                      <a:pt x="198" y="199"/>
                    </a:moveTo>
                    <a:cubicBezTo>
                      <a:pt x="196" y="194"/>
                      <a:pt x="196" y="194"/>
                      <a:pt x="196" y="194"/>
                    </a:cubicBezTo>
                    <a:cubicBezTo>
                      <a:pt x="197" y="194"/>
                      <a:pt x="198" y="193"/>
                      <a:pt x="199" y="193"/>
                    </a:cubicBezTo>
                    <a:cubicBezTo>
                      <a:pt x="200" y="193"/>
                      <a:pt x="200" y="193"/>
                      <a:pt x="200" y="193"/>
                    </a:cubicBezTo>
                    <a:cubicBezTo>
                      <a:pt x="201" y="193"/>
                      <a:pt x="202" y="193"/>
                      <a:pt x="203" y="193"/>
                    </a:cubicBezTo>
                    <a:cubicBezTo>
                      <a:pt x="203" y="199"/>
                      <a:pt x="203" y="199"/>
                      <a:pt x="203" y="199"/>
                    </a:cubicBezTo>
                    <a:cubicBezTo>
                      <a:pt x="202" y="199"/>
                      <a:pt x="201" y="199"/>
                      <a:pt x="200" y="199"/>
                    </a:cubicBezTo>
                    <a:cubicBezTo>
                      <a:pt x="200" y="199"/>
                      <a:pt x="199" y="199"/>
                      <a:pt x="199" y="199"/>
                    </a:cubicBezTo>
                    <a:cubicBezTo>
                      <a:pt x="199" y="199"/>
                      <a:pt x="199" y="199"/>
                      <a:pt x="198" y="199"/>
                    </a:cubicBezTo>
                    <a:close/>
                    <a:moveTo>
                      <a:pt x="148" y="196"/>
                    </a:moveTo>
                    <a:cubicBezTo>
                      <a:pt x="147" y="195"/>
                      <a:pt x="147" y="194"/>
                      <a:pt x="146" y="193"/>
                    </a:cubicBezTo>
                    <a:cubicBezTo>
                      <a:pt x="145" y="192"/>
                      <a:pt x="145" y="191"/>
                      <a:pt x="144" y="190"/>
                    </a:cubicBezTo>
                    <a:cubicBezTo>
                      <a:pt x="150" y="189"/>
                      <a:pt x="150" y="189"/>
                      <a:pt x="150" y="189"/>
                    </a:cubicBezTo>
                    <a:cubicBezTo>
                      <a:pt x="150" y="189"/>
                      <a:pt x="150" y="189"/>
                      <a:pt x="150" y="189"/>
                    </a:cubicBezTo>
                    <a:cubicBezTo>
                      <a:pt x="151" y="191"/>
                      <a:pt x="152" y="192"/>
                      <a:pt x="153" y="193"/>
                    </a:cubicBezTo>
                    <a:lnTo>
                      <a:pt x="148" y="196"/>
                    </a:lnTo>
                    <a:close/>
                    <a:moveTo>
                      <a:pt x="129" y="187"/>
                    </a:moveTo>
                    <a:cubicBezTo>
                      <a:pt x="127" y="186"/>
                      <a:pt x="125" y="183"/>
                      <a:pt x="125" y="181"/>
                    </a:cubicBezTo>
                    <a:cubicBezTo>
                      <a:pt x="130" y="179"/>
                      <a:pt x="130" y="179"/>
                      <a:pt x="130" y="179"/>
                    </a:cubicBezTo>
                    <a:cubicBezTo>
                      <a:pt x="131" y="181"/>
                      <a:pt x="132" y="182"/>
                      <a:pt x="132" y="182"/>
                    </a:cubicBezTo>
                    <a:lnTo>
                      <a:pt x="129" y="187"/>
                    </a:lnTo>
                    <a:close/>
                    <a:moveTo>
                      <a:pt x="142" y="182"/>
                    </a:moveTo>
                    <a:cubicBezTo>
                      <a:pt x="138" y="178"/>
                      <a:pt x="138" y="178"/>
                      <a:pt x="138" y="178"/>
                    </a:cubicBezTo>
                    <a:cubicBezTo>
                      <a:pt x="139" y="177"/>
                      <a:pt x="141" y="176"/>
                      <a:pt x="143" y="176"/>
                    </a:cubicBezTo>
                    <a:cubicBezTo>
                      <a:pt x="144" y="176"/>
                      <a:pt x="145" y="176"/>
                      <a:pt x="146" y="177"/>
                    </a:cubicBezTo>
                    <a:cubicBezTo>
                      <a:pt x="144" y="182"/>
                      <a:pt x="144" y="182"/>
                      <a:pt x="144" y="182"/>
                    </a:cubicBezTo>
                    <a:cubicBezTo>
                      <a:pt x="143" y="182"/>
                      <a:pt x="143" y="182"/>
                      <a:pt x="143" y="182"/>
                    </a:cubicBezTo>
                    <a:cubicBezTo>
                      <a:pt x="143" y="182"/>
                      <a:pt x="142" y="182"/>
                      <a:pt x="142" y="182"/>
                    </a:cubicBezTo>
                    <a:close/>
                    <a:moveTo>
                      <a:pt x="131" y="171"/>
                    </a:moveTo>
                    <a:cubicBezTo>
                      <a:pt x="126" y="167"/>
                      <a:pt x="126" y="167"/>
                      <a:pt x="126" y="167"/>
                    </a:cubicBezTo>
                    <a:cubicBezTo>
                      <a:pt x="126" y="166"/>
                      <a:pt x="127" y="166"/>
                      <a:pt x="127" y="165"/>
                    </a:cubicBezTo>
                    <a:cubicBezTo>
                      <a:pt x="128" y="164"/>
                      <a:pt x="128" y="164"/>
                      <a:pt x="128" y="164"/>
                    </a:cubicBezTo>
                    <a:cubicBezTo>
                      <a:pt x="128" y="164"/>
                      <a:pt x="129" y="163"/>
                      <a:pt x="129" y="163"/>
                    </a:cubicBezTo>
                    <a:cubicBezTo>
                      <a:pt x="134" y="165"/>
                      <a:pt x="134" y="165"/>
                      <a:pt x="134" y="165"/>
                    </a:cubicBezTo>
                    <a:cubicBezTo>
                      <a:pt x="134" y="166"/>
                      <a:pt x="133" y="167"/>
                      <a:pt x="133" y="168"/>
                    </a:cubicBezTo>
                    <a:cubicBezTo>
                      <a:pt x="132" y="169"/>
                      <a:pt x="132" y="169"/>
                      <a:pt x="132" y="169"/>
                    </a:cubicBezTo>
                    <a:cubicBezTo>
                      <a:pt x="132" y="169"/>
                      <a:pt x="131" y="170"/>
                      <a:pt x="131" y="171"/>
                    </a:cubicBezTo>
                    <a:close/>
                    <a:moveTo>
                      <a:pt x="137" y="159"/>
                    </a:moveTo>
                    <a:cubicBezTo>
                      <a:pt x="137" y="159"/>
                      <a:pt x="137" y="159"/>
                      <a:pt x="137" y="159"/>
                    </a:cubicBezTo>
                    <a:cubicBezTo>
                      <a:pt x="135" y="159"/>
                      <a:pt x="134" y="159"/>
                      <a:pt x="132" y="158"/>
                    </a:cubicBezTo>
                    <a:cubicBezTo>
                      <a:pt x="132" y="157"/>
                      <a:pt x="132" y="157"/>
                      <a:pt x="132" y="157"/>
                    </a:cubicBezTo>
                    <a:cubicBezTo>
                      <a:pt x="135" y="152"/>
                      <a:pt x="135" y="152"/>
                      <a:pt x="135" y="152"/>
                    </a:cubicBezTo>
                    <a:cubicBezTo>
                      <a:pt x="135" y="152"/>
                      <a:pt x="136" y="153"/>
                      <a:pt x="136" y="153"/>
                    </a:cubicBezTo>
                    <a:cubicBezTo>
                      <a:pt x="136" y="153"/>
                      <a:pt x="137" y="153"/>
                      <a:pt x="137" y="153"/>
                    </a:cubicBezTo>
                    <a:cubicBezTo>
                      <a:pt x="136" y="153"/>
                      <a:pt x="136" y="154"/>
                      <a:pt x="135" y="154"/>
                    </a:cubicBezTo>
                    <a:cubicBezTo>
                      <a:pt x="141" y="156"/>
                      <a:pt x="141" y="156"/>
                      <a:pt x="141" y="156"/>
                    </a:cubicBezTo>
                    <a:cubicBezTo>
                      <a:pt x="140" y="158"/>
                      <a:pt x="138" y="159"/>
                      <a:pt x="137" y="159"/>
                    </a:cubicBezTo>
                    <a:close/>
                    <a:moveTo>
                      <a:pt x="138" y="145"/>
                    </a:moveTo>
                    <a:cubicBezTo>
                      <a:pt x="138" y="145"/>
                      <a:pt x="138" y="145"/>
                      <a:pt x="138" y="145"/>
                    </a:cubicBezTo>
                    <a:cubicBezTo>
                      <a:pt x="132" y="144"/>
                      <a:pt x="132" y="144"/>
                      <a:pt x="132" y="144"/>
                    </a:cubicBezTo>
                    <a:cubicBezTo>
                      <a:pt x="133" y="142"/>
                      <a:pt x="135" y="140"/>
                      <a:pt x="136" y="140"/>
                    </a:cubicBezTo>
                    <a:cubicBezTo>
                      <a:pt x="136" y="140"/>
                      <a:pt x="136" y="139"/>
                      <a:pt x="137" y="139"/>
                    </a:cubicBezTo>
                    <a:cubicBezTo>
                      <a:pt x="142" y="142"/>
                      <a:pt x="142" y="142"/>
                      <a:pt x="142" y="142"/>
                    </a:cubicBezTo>
                    <a:cubicBezTo>
                      <a:pt x="141" y="144"/>
                      <a:pt x="139" y="145"/>
                      <a:pt x="138" y="145"/>
                    </a:cubicBezTo>
                    <a:cubicBezTo>
                      <a:pt x="138" y="145"/>
                      <a:pt x="138" y="145"/>
                      <a:pt x="138" y="145"/>
                    </a:cubicBezTo>
                    <a:close/>
                    <a:moveTo>
                      <a:pt x="118" y="139"/>
                    </a:moveTo>
                    <a:cubicBezTo>
                      <a:pt x="116" y="138"/>
                      <a:pt x="114" y="138"/>
                      <a:pt x="112" y="138"/>
                    </a:cubicBezTo>
                    <a:cubicBezTo>
                      <a:pt x="113" y="132"/>
                      <a:pt x="113" y="132"/>
                      <a:pt x="113" y="132"/>
                    </a:cubicBezTo>
                    <a:cubicBezTo>
                      <a:pt x="113" y="132"/>
                      <a:pt x="114" y="132"/>
                      <a:pt x="114" y="132"/>
                    </a:cubicBezTo>
                    <a:cubicBezTo>
                      <a:pt x="116" y="132"/>
                      <a:pt x="118" y="133"/>
                      <a:pt x="119" y="133"/>
                    </a:cubicBezTo>
                    <a:lnTo>
                      <a:pt x="118" y="139"/>
                    </a:lnTo>
                    <a:close/>
                    <a:moveTo>
                      <a:pt x="131" y="136"/>
                    </a:moveTo>
                    <a:cubicBezTo>
                      <a:pt x="128" y="132"/>
                      <a:pt x="128" y="132"/>
                      <a:pt x="128" y="132"/>
                    </a:cubicBezTo>
                    <a:cubicBezTo>
                      <a:pt x="130" y="130"/>
                      <a:pt x="132" y="129"/>
                      <a:pt x="135" y="129"/>
                    </a:cubicBezTo>
                    <a:cubicBezTo>
                      <a:pt x="135" y="129"/>
                      <a:pt x="135" y="129"/>
                      <a:pt x="135" y="129"/>
                    </a:cubicBezTo>
                    <a:cubicBezTo>
                      <a:pt x="135" y="135"/>
                      <a:pt x="135" y="135"/>
                      <a:pt x="135" y="135"/>
                    </a:cubicBezTo>
                    <a:cubicBezTo>
                      <a:pt x="134" y="135"/>
                      <a:pt x="133" y="135"/>
                      <a:pt x="131" y="136"/>
                    </a:cubicBezTo>
                    <a:close/>
                    <a:moveTo>
                      <a:pt x="105" y="126"/>
                    </a:moveTo>
                    <a:cubicBezTo>
                      <a:pt x="105" y="126"/>
                      <a:pt x="105" y="125"/>
                      <a:pt x="105" y="125"/>
                    </a:cubicBezTo>
                    <a:cubicBezTo>
                      <a:pt x="105" y="125"/>
                      <a:pt x="105" y="125"/>
                      <a:pt x="104" y="124"/>
                    </a:cubicBezTo>
                    <a:cubicBezTo>
                      <a:pt x="104" y="124"/>
                      <a:pt x="103" y="124"/>
                      <a:pt x="103" y="123"/>
                    </a:cubicBezTo>
                    <a:cubicBezTo>
                      <a:pt x="107" y="119"/>
                      <a:pt x="107" y="119"/>
                      <a:pt x="107" y="119"/>
                    </a:cubicBezTo>
                    <a:cubicBezTo>
                      <a:pt x="107" y="119"/>
                      <a:pt x="108" y="120"/>
                      <a:pt x="108" y="120"/>
                    </a:cubicBezTo>
                    <a:cubicBezTo>
                      <a:pt x="108" y="120"/>
                      <a:pt x="109" y="121"/>
                      <a:pt x="109" y="121"/>
                    </a:cubicBezTo>
                    <a:cubicBezTo>
                      <a:pt x="110" y="122"/>
                      <a:pt x="111" y="123"/>
                      <a:pt x="111" y="125"/>
                    </a:cubicBezTo>
                    <a:lnTo>
                      <a:pt x="105" y="126"/>
                    </a:lnTo>
                    <a:close/>
                    <a:moveTo>
                      <a:pt x="95" y="118"/>
                    </a:moveTo>
                    <a:cubicBezTo>
                      <a:pt x="93" y="118"/>
                      <a:pt x="91" y="117"/>
                      <a:pt x="90" y="116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4" y="112"/>
                      <a:pt x="94" y="112"/>
                      <a:pt x="95" y="112"/>
                    </a:cubicBezTo>
                    <a:cubicBezTo>
                      <a:pt x="96" y="112"/>
                      <a:pt x="96" y="112"/>
                      <a:pt x="97" y="112"/>
                    </a:cubicBezTo>
                    <a:cubicBezTo>
                      <a:pt x="97" y="117"/>
                      <a:pt x="97" y="117"/>
                      <a:pt x="97" y="117"/>
                    </a:cubicBezTo>
                    <a:cubicBezTo>
                      <a:pt x="97" y="117"/>
                      <a:pt x="96" y="118"/>
                      <a:pt x="95" y="118"/>
                    </a:cubicBezTo>
                    <a:cubicBezTo>
                      <a:pt x="95" y="118"/>
                      <a:pt x="95" y="118"/>
                      <a:pt x="95" y="118"/>
                    </a:cubicBezTo>
                    <a:close/>
                    <a:moveTo>
                      <a:pt x="77" y="112"/>
                    </a:moveTo>
                    <a:cubicBezTo>
                      <a:pt x="76" y="106"/>
                      <a:pt x="76" y="106"/>
                      <a:pt x="76" y="106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80" y="106"/>
                      <a:pt x="81" y="106"/>
                      <a:pt x="82" y="106"/>
                    </a:cubicBezTo>
                    <a:cubicBezTo>
                      <a:pt x="82" y="112"/>
                      <a:pt x="82" y="112"/>
                      <a:pt x="82" y="112"/>
                    </a:cubicBezTo>
                    <a:cubicBezTo>
                      <a:pt x="81" y="112"/>
                      <a:pt x="80" y="112"/>
                      <a:pt x="79" y="112"/>
                    </a:cubicBezTo>
                    <a:lnTo>
                      <a:pt x="77" y="112"/>
                    </a:lnTo>
                    <a:close/>
                    <a:moveTo>
                      <a:pt x="64" y="112"/>
                    </a:moveTo>
                    <a:cubicBezTo>
                      <a:pt x="62" y="111"/>
                      <a:pt x="60" y="110"/>
                      <a:pt x="58" y="110"/>
                    </a:cubicBezTo>
                    <a:cubicBezTo>
                      <a:pt x="60" y="104"/>
                      <a:pt x="60" y="104"/>
                      <a:pt x="60" y="104"/>
                    </a:cubicBezTo>
                    <a:cubicBezTo>
                      <a:pt x="62" y="105"/>
                      <a:pt x="64" y="106"/>
                      <a:pt x="65" y="106"/>
                    </a:cubicBezTo>
                    <a:lnTo>
                      <a:pt x="64" y="112"/>
                    </a:lnTo>
                    <a:close/>
                    <a:moveTo>
                      <a:pt x="48" y="100"/>
                    </a:moveTo>
                    <a:cubicBezTo>
                      <a:pt x="48" y="98"/>
                      <a:pt x="48" y="96"/>
                      <a:pt x="47" y="94"/>
                    </a:cubicBezTo>
                    <a:cubicBezTo>
                      <a:pt x="47" y="93"/>
                      <a:pt x="47" y="93"/>
                      <a:pt x="47" y="93"/>
                    </a:cubicBezTo>
                    <a:cubicBezTo>
                      <a:pt x="53" y="93"/>
                      <a:pt x="53" y="93"/>
                      <a:pt x="53" y="93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53" y="95"/>
                      <a:pt x="54" y="97"/>
                      <a:pt x="54" y="98"/>
                    </a:cubicBezTo>
                    <a:lnTo>
                      <a:pt x="48" y="100"/>
                    </a:lnTo>
                    <a:close/>
                    <a:moveTo>
                      <a:pt x="41" y="85"/>
                    </a:moveTo>
                    <a:cubicBezTo>
                      <a:pt x="41" y="80"/>
                      <a:pt x="41" y="80"/>
                      <a:pt x="41" y="80"/>
                    </a:cubicBezTo>
                    <a:cubicBezTo>
                      <a:pt x="41" y="80"/>
                      <a:pt x="42" y="80"/>
                      <a:pt x="42" y="79"/>
                    </a:cubicBezTo>
                    <a:cubicBezTo>
                      <a:pt x="44" y="78"/>
                      <a:pt x="47" y="79"/>
                      <a:pt x="48" y="80"/>
                    </a:cubicBezTo>
                    <a:cubicBezTo>
                      <a:pt x="45" y="85"/>
                      <a:pt x="45" y="85"/>
                      <a:pt x="45" y="85"/>
                    </a:cubicBezTo>
                    <a:cubicBezTo>
                      <a:pt x="45" y="85"/>
                      <a:pt x="44" y="85"/>
                      <a:pt x="44" y="85"/>
                    </a:cubicBezTo>
                    <a:cubicBezTo>
                      <a:pt x="43" y="85"/>
                      <a:pt x="42" y="85"/>
                      <a:pt x="41" y="85"/>
                    </a:cubicBezTo>
                    <a:close/>
                    <a:moveTo>
                      <a:pt x="29" y="79"/>
                    </a:moveTo>
                    <a:cubicBezTo>
                      <a:pt x="28" y="78"/>
                      <a:pt x="27" y="78"/>
                      <a:pt x="25" y="77"/>
                    </a:cubicBezTo>
                    <a:cubicBezTo>
                      <a:pt x="26" y="72"/>
                      <a:pt x="26" y="72"/>
                      <a:pt x="26" y="72"/>
                    </a:cubicBezTo>
                    <a:cubicBezTo>
                      <a:pt x="29" y="72"/>
                      <a:pt x="31" y="73"/>
                      <a:pt x="32" y="74"/>
                    </a:cubicBezTo>
                    <a:lnTo>
                      <a:pt x="29" y="79"/>
                    </a:lnTo>
                    <a:close/>
                    <a:moveTo>
                      <a:pt x="145" y="73"/>
                    </a:moveTo>
                    <a:cubicBezTo>
                      <a:pt x="140" y="70"/>
                      <a:pt x="140" y="70"/>
                      <a:pt x="140" y="70"/>
                    </a:cubicBezTo>
                    <a:cubicBezTo>
                      <a:pt x="141" y="68"/>
                      <a:pt x="144" y="67"/>
                      <a:pt x="147" y="66"/>
                    </a:cubicBezTo>
                    <a:cubicBezTo>
                      <a:pt x="148" y="72"/>
                      <a:pt x="148" y="72"/>
                      <a:pt x="148" y="72"/>
                    </a:cubicBezTo>
                    <a:cubicBezTo>
                      <a:pt x="148" y="72"/>
                      <a:pt x="148" y="72"/>
                      <a:pt x="148" y="72"/>
                    </a:cubicBezTo>
                    <a:cubicBezTo>
                      <a:pt x="147" y="72"/>
                      <a:pt x="146" y="73"/>
                      <a:pt x="145" y="73"/>
                    </a:cubicBezTo>
                    <a:close/>
                    <a:moveTo>
                      <a:pt x="84" y="73"/>
                    </a:moveTo>
                    <a:cubicBezTo>
                      <a:pt x="82" y="72"/>
                      <a:pt x="80" y="71"/>
                      <a:pt x="78" y="69"/>
                    </a:cubicBezTo>
                    <a:cubicBezTo>
                      <a:pt x="82" y="65"/>
                      <a:pt x="82" y="65"/>
                      <a:pt x="82" y="65"/>
                    </a:cubicBezTo>
                    <a:cubicBezTo>
                      <a:pt x="84" y="66"/>
                      <a:pt x="85" y="67"/>
                      <a:pt x="87" y="68"/>
                    </a:cubicBezTo>
                    <a:lnTo>
                      <a:pt x="84" y="73"/>
                    </a:lnTo>
                    <a:close/>
                    <a:moveTo>
                      <a:pt x="59" y="73"/>
                    </a:moveTo>
                    <a:cubicBezTo>
                      <a:pt x="58" y="71"/>
                      <a:pt x="57" y="70"/>
                      <a:pt x="56" y="67"/>
                    </a:cubicBezTo>
                    <a:cubicBezTo>
                      <a:pt x="61" y="65"/>
                      <a:pt x="61" y="65"/>
                      <a:pt x="61" y="65"/>
                    </a:cubicBezTo>
                    <a:cubicBezTo>
                      <a:pt x="62" y="67"/>
                      <a:pt x="63" y="69"/>
                      <a:pt x="64" y="70"/>
                    </a:cubicBezTo>
                    <a:lnTo>
                      <a:pt x="59" y="73"/>
                    </a:lnTo>
                    <a:close/>
                    <a:moveTo>
                      <a:pt x="72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69"/>
                      <a:pt x="67" y="67"/>
                      <a:pt x="69" y="65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3" y="69"/>
                      <a:pt x="72" y="71"/>
                      <a:pt x="72" y="72"/>
                    </a:cubicBezTo>
                    <a:close/>
                    <a:moveTo>
                      <a:pt x="14" y="71"/>
                    </a:moveTo>
                    <a:cubicBezTo>
                      <a:pt x="12" y="70"/>
                      <a:pt x="11" y="69"/>
                      <a:pt x="10" y="68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5" y="65"/>
                      <a:pt x="17" y="66"/>
                      <a:pt x="18" y="67"/>
                    </a:cubicBezTo>
                    <a:lnTo>
                      <a:pt x="14" y="71"/>
                    </a:lnTo>
                    <a:close/>
                    <a:moveTo>
                      <a:pt x="96" y="71"/>
                    </a:moveTo>
                    <a:cubicBezTo>
                      <a:pt x="93" y="65"/>
                      <a:pt x="93" y="65"/>
                      <a:pt x="93" y="65"/>
                    </a:cubicBezTo>
                    <a:cubicBezTo>
                      <a:pt x="95" y="65"/>
                      <a:pt x="97" y="64"/>
                      <a:pt x="99" y="63"/>
                    </a:cubicBezTo>
                    <a:cubicBezTo>
                      <a:pt x="99" y="63"/>
                      <a:pt x="99" y="63"/>
                      <a:pt x="99" y="63"/>
                    </a:cubicBezTo>
                    <a:cubicBezTo>
                      <a:pt x="101" y="69"/>
                      <a:pt x="101" y="69"/>
                      <a:pt x="101" y="69"/>
                    </a:cubicBezTo>
                    <a:cubicBezTo>
                      <a:pt x="100" y="69"/>
                      <a:pt x="100" y="69"/>
                      <a:pt x="100" y="69"/>
                    </a:cubicBezTo>
                    <a:cubicBezTo>
                      <a:pt x="99" y="69"/>
                      <a:pt x="97" y="70"/>
                      <a:pt x="96" y="71"/>
                    </a:cubicBezTo>
                    <a:close/>
                    <a:moveTo>
                      <a:pt x="131" y="70"/>
                    </a:moveTo>
                    <a:cubicBezTo>
                      <a:pt x="131" y="69"/>
                      <a:pt x="131" y="68"/>
                      <a:pt x="131" y="68"/>
                    </a:cubicBezTo>
                    <a:cubicBezTo>
                      <a:pt x="131" y="66"/>
                      <a:pt x="131" y="65"/>
                      <a:pt x="131" y="64"/>
                    </a:cubicBezTo>
                    <a:cubicBezTo>
                      <a:pt x="131" y="64"/>
                      <a:pt x="131" y="63"/>
                      <a:pt x="131" y="63"/>
                    </a:cubicBezTo>
                    <a:cubicBezTo>
                      <a:pt x="137" y="64"/>
                      <a:pt x="137" y="64"/>
                      <a:pt x="137" y="64"/>
                    </a:cubicBezTo>
                    <a:cubicBezTo>
                      <a:pt x="137" y="64"/>
                      <a:pt x="137" y="65"/>
                      <a:pt x="137" y="66"/>
                    </a:cubicBezTo>
                    <a:cubicBezTo>
                      <a:pt x="137" y="66"/>
                      <a:pt x="136" y="67"/>
                      <a:pt x="136" y="68"/>
                    </a:cubicBezTo>
                    <a:cubicBezTo>
                      <a:pt x="136" y="68"/>
                      <a:pt x="136" y="68"/>
                      <a:pt x="136" y="68"/>
                    </a:cubicBezTo>
                    <a:lnTo>
                      <a:pt x="131" y="70"/>
                    </a:lnTo>
                    <a:close/>
                    <a:moveTo>
                      <a:pt x="150" y="61"/>
                    </a:moveTo>
                    <a:cubicBezTo>
                      <a:pt x="150" y="60"/>
                      <a:pt x="150" y="60"/>
                      <a:pt x="150" y="60"/>
                    </a:cubicBezTo>
                    <a:cubicBezTo>
                      <a:pt x="150" y="59"/>
                      <a:pt x="150" y="57"/>
                      <a:pt x="150" y="56"/>
                    </a:cubicBezTo>
                    <a:cubicBezTo>
                      <a:pt x="150" y="56"/>
                      <a:pt x="150" y="55"/>
                      <a:pt x="150" y="55"/>
                    </a:cubicBezTo>
                    <a:cubicBezTo>
                      <a:pt x="156" y="55"/>
                      <a:pt x="156" y="55"/>
                      <a:pt x="156" y="55"/>
                    </a:cubicBezTo>
                    <a:cubicBezTo>
                      <a:pt x="156" y="56"/>
                      <a:pt x="156" y="56"/>
                      <a:pt x="156" y="56"/>
                    </a:cubicBezTo>
                    <a:cubicBezTo>
                      <a:pt x="156" y="57"/>
                      <a:pt x="156" y="58"/>
                      <a:pt x="156" y="60"/>
                    </a:cubicBezTo>
                    <a:cubicBezTo>
                      <a:pt x="156" y="61"/>
                      <a:pt x="156" y="61"/>
                      <a:pt x="156" y="61"/>
                    </a:cubicBezTo>
                    <a:lnTo>
                      <a:pt x="150" y="61"/>
                    </a:lnTo>
                    <a:close/>
                    <a:moveTo>
                      <a:pt x="111" y="60"/>
                    </a:moveTo>
                    <a:cubicBezTo>
                      <a:pt x="106" y="57"/>
                      <a:pt x="106" y="57"/>
                      <a:pt x="106" y="57"/>
                    </a:cubicBezTo>
                    <a:cubicBezTo>
                      <a:pt x="106" y="56"/>
                      <a:pt x="106" y="56"/>
                      <a:pt x="106" y="56"/>
                    </a:cubicBezTo>
                    <a:cubicBezTo>
                      <a:pt x="107" y="54"/>
                      <a:pt x="108" y="53"/>
                      <a:pt x="110" y="51"/>
                    </a:cubicBezTo>
                    <a:cubicBezTo>
                      <a:pt x="114" y="56"/>
                      <a:pt x="114" y="56"/>
                      <a:pt x="114" y="56"/>
                    </a:cubicBezTo>
                    <a:cubicBezTo>
                      <a:pt x="113" y="57"/>
                      <a:pt x="112" y="58"/>
                      <a:pt x="111" y="59"/>
                    </a:cubicBezTo>
                    <a:lnTo>
                      <a:pt x="111" y="60"/>
                    </a:lnTo>
                    <a:close/>
                    <a:moveTo>
                      <a:pt x="0" y="58"/>
                    </a:moveTo>
                    <a:cubicBezTo>
                      <a:pt x="0" y="57"/>
                      <a:pt x="0" y="56"/>
                      <a:pt x="0" y="55"/>
                    </a:cubicBezTo>
                    <a:cubicBezTo>
                      <a:pt x="0" y="54"/>
                      <a:pt x="0" y="52"/>
                      <a:pt x="1" y="51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6" y="53"/>
                      <a:pt x="6" y="54"/>
                      <a:pt x="6" y="55"/>
                    </a:cubicBezTo>
                    <a:cubicBezTo>
                      <a:pt x="6" y="56"/>
                      <a:pt x="6" y="56"/>
                      <a:pt x="6" y="57"/>
                    </a:cubicBezTo>
                    <a:lnTo>
                      <a:pt x="0" y="58"/>
                    </a:lnTo>
                    <a:close/>
                    <a:moveTo>
                      <a:pt x="127" y="56"/>
                    </a:moveTo>
                    <a:cubicBezTo>
                      <a:pt x="126" y="56"/>
                      <a:pt x="124" y="55"/>
                      <a:pt x="123" y="54"/>
                    </a:cubicBezTo>
                    <a:cubicBezTo>
                      <a:pt x="123" y="54"/>
                      <a:pt x="122" y="54"/>
                      <a:pt x="122" y="54"/>
                    </a:cubicBezTo>
                    <a:cubicBezTo>
                      <a:pt x="124" y="49"/>
                      <a:pt x="124" y="49"/>
                      <a:pt x="124" y="49"/>
                    </a:cubicBezTo>
                    <a:cubicBezTo>
                      <a:pt x="124" y="49"/>
                      <a:pt x="125" y="49"/>
                      <a:pt x="125" y="49"/>
                    </a:cubicBezTo>
                    <a:cubicBezTo>
                      <a:pt x="127" y="50"/>
                      <a:pt x="128" y="51"/>
                      <a:pt x="130" y="52"/>
                    </a:cubicBezTo>
                    <a:lnTo>
                      <a:pt x="127" y="56"/>
                    </a:lnTo>
                    <a:close/>
                    <a:moveTo>
                      <a:pt x="51" y="56"/>
                    </a:moveTo>
                    <a:cubicBezTo>
                      <a:pt x="51" y="54"/>
                      <a:pt x="51" y="54"/>
                      <a:pt x="51" y="54"/>
                    </a:cubicBezTo>
                    <a:cubicBezTo>
                      <a:pt x="51" y="54"/>
                      <a:pt x="51" y="54"/>
                      <a:pt x="51" y="54"/>
                    </a:cubicBezTo>
                    <a:cubicBezTo>
                      <a:pt x="51" y="54"/>
                      <a:pt x="50" y="53"/>
                      <a:pt x="49" y="51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55" y="51"/>
                      <a:pt x="56" y="52"/>
                      <a:pt x="56" y="52"/>
                    </a:cubicBezTo>
                    <a:cubicBezTo>
                      <a:pt x="57" y="54"/>
                      <a:pt x="57" y="54"/>
                      <a:pt x="57" y="54"/>
                    </a:cubicBezTo>
                    <a:lnTo>
                      <a:pt x="51" y="56"/>
                    </a:lnTo>
                    <a:close/>
                    <a:moveTo>
                      <a:pt x="160" y="47"/>
                    </a:moveTo>
                    <a:cubicBezTo>
                      <a:pt x="155" y="43"/>
                      <a:pt x="155" y="43"/>
                      <a:pt x="155" y="43"/>
                    </a:cubicBezTo>
                    <a:cubicBezTo>
                      <a:pt x="157" y="41"/>
                      <a:pt x="160" y="39"/>
                      <a:pt x="162" y="39"/>
                    </a:cubicBezTo>
                    <a:cubicBezTo>
                      <a:pt x="163" y="45"/>
                      <a:pt x="163" y="45"/>
                      <a:pt x="163" y="45"/>
                    </a:cubicBezTo>
                    <a:cubicBezTo>
                      <a:pt x="162" y="45"/>
                      <a:pt x="161" y="46"/>
                      <a:pt x="160" y="47"/>
                    </a:cubicBezTo>
                    <a:close/>
                    <a:moveTo>
                      <a:pt x="174" y="46"/>
                    </a:moveTo>
                    <a:cubicBezTo>
                      <a:pt x="174" y="40"/>
                      <a:pt x="174" y="40"/>
                      <a:pt x="174" y="40"/>
                    </a:cubicBezTo>
                    <a:cubicBezTo>
                      <a:pt x="173" y="41"/>
                      <a:pt x="173" y="41"/>
                      <a:pt x="173" y="41"/>
                    </a:cubicBezTo>
                    <a:cubicBezTo>
                      <a:pt x="173" y="41"/>
                      <a:pt x="173" y="42"/>
                      <a:pt x="173" y="42"/>
                    </a:cubicBezTo>
                    <a:cubicBezTo>
                      <a:pt x="173" y="41"/>
                      <a:pt x="173" y="41"/>
                      <a:pt x="173" y="40"/>
                    </a:cubicBezTo>
                    <a:cubicBezTo>
                      <a:pt x="178" y="37"/>
                      <a:pt x="178" y="37"/>
                      <a:pt x="178" y="37"/>
                    </a:cubicBezTo>
                    <a:cubicBezTo>
                      <a:pt x="178" y="38"/>
                      <a:pt x="178" y="38"/>
                      <a:pt x="178" y="38"/>
                    </a:cubicBezTo>
                    <a:cubicBezTo>
                      <a:pt x="179" y="39"/>
                      <a:pt x="179" y="40"/>
                      <a:pt x="179" y="41"/>
                    </a:cubicBezTo>
                    <a:cubicBezTo>
                      <a:pt x="179" y="42"/>
                      <a:pt x="179" y="45"/>
                      <a:pt x="174" y="46"/>
                    </a:cubicBezTo>
                    <a:close/>
                    <a:moveTo>
                      <a:pt x="174" y="40"/>
                    </a:moveTo>
                    <a:cubicBezTo>
                      <a:pt x="174" y="40"/>
                      <a:pt x="174" y="40"/>
                      <a:pt x="174" y="40"/>
                    </a:cubicBezTo>
                    <a:close/>
                    <a:moveTo>
                      <a:pt x="11" y="44"/>
                    </a:moveTo>
                    <a:cubicBezTo>
                      <a:pt x="7" y="39"/>
                      <a:pt x="7" y="39"/>
                      <a:pt x="7" y="39"/>
                    </a:cubicBezTo>
                    <a:cubicBezTo>
                      <a:pt x="9" y="38"/>
                      <a:pt x="10" y="37"/>
                      <a:pt x="13" y="36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3" y="42"/>
                      <a:pt x="12" y="43"/>
                      <a:pt x="11" y="44"/>
                    </a:cubicBezTo>
                    <a:close/>
                    <a:moveTo>
                      <a:pt x="44" y="41"/>
                    </a:moveTo>
                    <a:cubicBezTo>
                      <a:pt x="43" y="40"/>
                      <a:pt x="43" y="40"/>
                      <a:pt x="42" y="39"/>
                    </a:cubicBezTo>
                    <a:cubicBezTo>
                      <a:pt x="41" y="38"/>
                      <a:pt x="41" y="38"/>
                      <a:pt x="40" y="37"/>
                    </a:cubicBezTo>
                    <a:cubicBezTo>
                      <a:pt x="44" y="33"/>
                      <a:pt x="44" y="33"/>
                      <a:pt x="44" y="33"/>
                    </a:cubicBezTo>
                    <a:cubicBezTo>
                      <a:pt x="45" y="34"/>
                      <a:pt x="45" y="34"/>
                      <a:pt x="46" y="35"/>
                    </a:cubicBezTo>
                    <a:cubicBezTo>
                      <a:pt x="47" y="36"/>
                      <a:pt x="48" y="37"/>
                      <a:pt x="49" y="38"/>
                    </a:cubicBezTo>
                    <a:lnTo>
                      <a:pt x="44" y="41"/>
                    </a:lnTo>
                    <a:close/>
                    <a:moveTo>
                      <a:pt x="26" y="39"/>
                    </a:moveTo>
                    <a:cubicBezTo>
                      <a:pt x="25" y="33"/>
                      <a:pt x="25" y="33"/>
                      <a:pt x="25" y="33"/>
                    </a:cubicBezTo>
                    <a:cubicBezTo>
                      <a:pt x="31" y="32"/>
                      <a:pt x="31" y="32"/>
                      <a:pt x="31" y="32"/>
                    </a:cubicBezTo>
                    <a:cubicBezTo>
                      <a:pt x="32" y="38"/>
                      <a:pt x="32" y="38"/>
                      <a:pt x="32" y="38"/>
                    </a:cubicBezTo>
                    <a:lnTo>
                      <a:pt x="26" y="39"/>
                    </a:lnTo>
                    <a:close/>
                    <a:moveTo>
                      <a:pt x="178" y="31"/>
                    </a:moveTo>
                    <a:cubicBezTo>
                      <a:pt x="175" y="26"/>
                      <a:pt x="175" y="26"/>
                      <a:pt x="175" y="26"/>
                    </a:cubicBezTo>
                    <a:cubicBezTo>
                      <a:pt x="176" y="25"/>
                      <a:pt x="177" y="24"/>
                      <a:pt x="177" y="23"/>
                    </a:cubicBezTo>
                    <a:cubicBezTo>
                      <a:pt x="183" y="25"/>
                      <a:pt x="183" y="25"/>
                      <a:pt x="183" y="25"/>
                    </a:cubicBezTo>
                    <a:cubicBezTo>
                      <a:pt x="182" y="27"/>
                      <a:pt x="180" y="29"/>
                      <a:pt x="178" y="31"/>
                    </a:cubicBezTo>
                    <a:close/>
                    <a:moveTo>
                      <a:pt x="183" y="14"/>
                    </a:moveTo>
                    <a:cubicBezTo>
                      <a:pt x="178" y="11"/>
                      <a:pt x="178" y="11"/>
                      <a:pt x="178" y="11"/>
                    </a:cubicBezTo>
                    <a:cubicBezTo>
                      <a:pt x="179" y="9"/>
                      <a:pt x="181" y="7"/>
                      <a:pt x="185" y="7"/>
                    </a:cubicBezTo>
                    <a:cubicBezTo>
                      <a:pt x="185" y="13"/>
                      <a:pt x="185" y="13"/>
                      <a:pt x="185" y="13"/>
                    </a:cubicBezTo>
                    <a:cubicBezTo>
                      <a:pt x="184" y="13"/>
                      <a:pt x="183" y="14"/>
                      <a:pt x="183" y="14"/>
                    </a:cubicBezTo>
                    <a:close/>
                    <a:moveTo>
                      <a:pt x="197" y="9"/>
                    </a:moveTo>
                    <a:cubicBezTo>
                      <a:pt x="193" y="5"/>
                      <a:pt x="193" y="5"/>
                      <a:pt x="193" y="5"/>
                    </a:cubicBezTo>
                    <a:cubicBezTo>
                      <a:pt x="195" y="3"/>
                      <a:pt x="197" y="2"/>
                      <a:pt x="199" y="1"/>
                    </a:cubicBezTo>
                    <a:cubicBezTo>
                      <a:pt x="201" y="6"/>
                      <a:pt x="201" y="6"/>
                      <a:pt x="201" y="6"/>
                    </a:cubicBezTo>
                    <a:cubicBezTo>
                      <a:pt x="200" y="7"/>
                      <a:pt x="198" y="8"/>
                      <a:pt x="197" y="9"/>
                    </a:cubicBezTo>
                    <a:close/>
                    <a:moveTo>
                      <a:pt x="217" y="6"/>
                    </a:moveTo>
                    <a:cubicBezTo>
                      <a:pt x="212" y="6"/>
                      <a:pt x="212" y="6"/>
                      <a:pt x="212" y="6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217" y="0"/>
                      <a:pt x="217" y="0"/>
                      <a:pt x="217" y="0"/>
                    </a:cubicBezTo>
                    <a:lnTo>
                      <a:pt x="217" y="6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8" name="îşḷîḑê"/>
              <p:cNvSpPr/>
              <p:nvPr/>
            </p:nvSpPr>
            <p:spPr bwMode="auto">
              <a:xfrm>
                <a:off x="7773988" y="2738438"/>
                <a:ext cx="146050" cy="203200"/>
              </a:xfrm>
              <a:custGeom>
                <a:avLst/>
                <a:gdLst>
                  <a:gd name="T0" fmla="*/ 31 w 68"/>
                  <a:gd name="T1" fmla="*/ 92 h 95"/>
                  <a:gd name="T2" fmla="*/ 35 w 68"/>
                  <a:gd name="T3" fmla="*/ 88 h 95"/>
                  <a:gd name="T4" fmla="*/ 36 w 68"/>
                  <a:gd name="T5" fmla="*/ 89 h 95"/>
                  <a:gd name="T6" fmla="*/ 34 w 68"/>
                  <a:gd name="T7" fmla="*/ 90 h 95"/>
                  <a:gd name="T8" fmla="*/ 35 w 68"/>
                  <a:gd name="T9" fmla="*/ 95 h 95"/>
                  <a:gd name="T10" fmla="*/ 44 w 68"/>
                  <a:gd name="T11" fmla="*/ 90 h 95"/>
                  <a:gd name="T12" fmla="*/ 50 w 68"/>
                  <a:gd name="T13" fmla="*/ 85 h 95"/>
                  <a:gd name="T14" fmla="*/ 49 w 68"/>
                  <a:gd name="T15" fmla="*/ 91 h 95"/>
                  <a:gd name="T16" fmla="*/ 60 w 68"/>
                  <a:gd name="T17" fmla="*/ 82 h 95"/>
                  <a:gd name="T18" fmla="*/ 68 w 68"/>
                  <a:gd name="T19" fmla="*/ 84 h 95"/>
                  <a:gd name="T20" fmla="*/ 22 w 68"/>
                  <a:gd name="T21" fmla="*/ 84 h 95"/>
                  <a:gd name="T22" fmla="*/ 26 w 68"/>
                  <a:gd name="T23" fmla="*/ 77 h 95"/>
                  <a:gd name="T24" fmla="*/ 29 w 68"/>
                  <a:gd name="T25" fmla="*/ 82 h 95"/>
                  <a:gd name="T26" fmla="*/ 29 w 68"/>
                  <a:gd name="T27" fmla="*/ 82 h 95"/>
                  <a:gd name="T28" fmla="*/ 9 w 68"/>
                  <a:gd name="T29" fmla="*/ 81 h 95"/>
                  <a:gd name="T30" fmla="*/ 4 w 68"/>
                  <a:gd name="T31" fmla="*/ 75 h 95"/>
                  <a:gd name="T32" fmla="*/ 10 w 68"/>
                  <a:gd name="T33" fmla="*/ 74 h 95"/>
                  <a:gd name="T34" fmla="*/ 9 w 68"/>
                  <a:gd name="T35" fmla="*/ 81 h 95"/>
                  <a:gd name="T36" fmla="*/ 1 w 68"/>
                  <a:gd name="T37" fmla="*/ 63 h 95"/>
                  <a:gd name="T38" fmla="*/ 3 w 68"/>
                  <a:gd name="T39" fmla="*/ 57 h 95"/>
                  <a:gd name="T40" fmla="*/ 6 w 68"/>
                  <a:gd name="T41" fmla="*/ 62 h 95"/>
                  <a:gd name="T42" fmla="*/ 1 w 68"/>
                  <a:gd name="T43" fmla="*/ 63 h 95"/>
                  <a:gd name="T44" fmla="*/ 9 w 68"/>
                  <a:gd name="T45" fmla="*/ 48 h 95"/>
                  <a:gd name="T46" fmla="*/ 16 w 68"/>
                  <a:gd name="T47" fmla="*/ 53 h 95"/>
                  <a:gd name="T48" fmla="*/ 12 w 68"/>
                  <a:gd name="T49" fmla="*/ 41 h 95"/>
                  <a:gd name="T50" fmla="*/ 16 w 68"/>
                  <a:gd name="T51" fmla="*/ 34 h 95"/>
                  <a:gd name="T52" fmla="*/ 12 w 68"/>
                  <a:gd name="T53" fmla="*/ 41 h 95"/>
                  <a:gd name="T54" fmla="*/ 8 w 68"/>
                  <a:gd name="T55" fmla="*/ 22 h 95"/>
                  <a:gd name="T56" fmla="*/ 13 w 68"/>
                  <a:gd name="T57" fmla="*/ 17 h 95"/>
                  <a:gd name="T58" fmla="*/ 14 w 68"/>
                  <a:gd name="T59" fmla="*/ 22 h 95"/>
                  <a:gd name="T60" fmla="*/ 5 w 68"/>
                  <a:gd name="T61" fmla="*/ 6 h 95"/>
                  <a:gd name="T62" fmla="*/ 5 w 68"/>
                  <a:gd name="T63" fmla="*/ 0 h 95"/>
                  <a:gd name="T64" fmla="*/ 11 w 68"/>
                  <a:gd name="T65" fmla="*/ 5 h 95"/>
                  <a:gd name="T66" fmla="*/ 5 w 68"/>
                  <a:gd name="T67" fmla="*/ 6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8" h="95">
                    <a:moveTo>
                      <a:pt x="35" y="95"/>
                    </a:moveTo>
                    <a:cubicBezTo>
                      <a:pt x="34" y="95"/>
                      <a:pt x="32" y="94"/>
                      <a:pt x="31" y="92"/>
                    </a:cubicBezTo>
                    <a:cubicBezTo>
                      <a:pt x="31" y="92"/>
                      <a:pt x="30" y="91"/>
                      <a:pt x="30" y="91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6" y="88"/>
                      <a:pt x="36" y="89"/>
                      <a:pt x="36" y="89"/>
                    </a:cubicBezTo>
                    <a:cubicBezTo>
                      <a:pt x="36" y="89"/>
                      <a:pt x="36" y="89"/>
                      <a:pt x="36" y="89"/>
                    </a:cubicBezTo>
                    <a:cubicBezTo>
                      <a:pt x="36" y="89"/>
                      <a:pt x="36" y="89"/>
                      <a:pt x="35" y="89"/>
                    </a:cubicBezTo>
                    <a:cubicBezTo>
                      <a:pt x="34" y="89"/>
                      <a:pt x="34" y="89"/>
                      <a:pt x="34" y="90"/>
                    </a:cubicBezTo>
                    <a:cubicBezTo>
                      <a:pt x="39" y="92"/>
                      <a:pt x="39" y="92"/>
                      <a:pt x="39" y="92"/>
                    </a:cubicBezTo>
                    <a:cubicBezTo>
                      <a:pt x="38" y="94"/>
                      <a:pt x="36" y="95"/>
                      <a:pt x="35" y="95"/>
                    </a:cubicBezTo>
                    <a:close/>
                    <a:moveTo>
                      <a:pt x="49" y="91"/>
                    </a:moveTo>
                    <a:cubicBezTo>
                      <a:pt x="48" y="91"/>
                      <a:pt x="46" y="91"/>
                      <a:pt x="44" y="90"/>
                    </a:cubicBezTo>
                    <a:cubicBezTo>
                      <a:pt x="46" y="85"/>
                      <a:pt x="46" y="85"/>
                      <a:pt x="46" y="85"/>
                    </a:cubicBezTo>
                    <a:cubicBezTo>
                      <a:pt x="47" y="85"/>
                      <a:pt x="49" y="85"/>
                      <a:pt x="50" y="85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50" y="91"/>
                      <a:pt x="50" y="91"/>
                      <a:pt x="49" y="91"/>
                    </a:cubicBezTo>
                    <a:close/>
                    <a:moveTo>
                      <a:pt x="63" y="87"/>
                    </a:moveTo>
                    <a:cubicBezTo>
                      <a:pt x="60" y="82"/>
                      <a:pt x="60" y="82"/>
                      <a:pt x="60" y="82"/>
                    </a:cubicBezTo>
                    <a:cubicBezTo>
                      <a:pt x="63" y="80"/>
                      <a:pt x="66" y="79"/>
                      <a:pt x="66" y="79"/>
                    </a:cubicBezTo>
                    <a:cubicBezTo>
                      <a:pt x="68" y="84"/>
                      <a:pt x="68" y="84"/>
                      <a:pt x="68" y="84"/>
                    </a:cubicBezTo>
                    <a:cubicBezTo>
                      <a:pt x="68" y="84"/>
                      <a:pt x="66" y="86"/>
                      <a:pt x="63" y="87"/>
                    </a:cubicBezTo>
                    <a:close/>
                    <a:moveTo>
                      <a:pt x="22" y="84"/>
                    </a:moveTo>
                    <a:cubicBezTo>
                      <a:pt x="22" y="78"/>
                      <a:pt x="22" y="78"/>
                      <a:pt x="22" y="78"/>
                    </a:cubicBezTo>
                    <a:cubicBezTo>
                      <a:pt x="24" y="78"/>
                      <a:pt x="25" y="77"/>
                      <a:pt x="26" y="77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29" y="82"/>
                      <a:pt x="29" y="82"/>
                      <a:pt x="29" y="82"/>
                    </a:cubicBezTo>
                    <a:cubicBezTo>
                      <a:pt x="28" y="79"/>
                      <a:pt x="28" y="79"/>
                      <a:pt x="28" y="79"/>
                    </a:cubicBezTo>
                    <a:cubicBezTo>
                      <a:pt x="29" y="82"/>
                      <a:pt x="29" y="82"/>
                      <a:pt x="29" y="82"/>
                    </a:cubicBezTo>
                    <a:cubicBezTo>
                      <a:pt x="28" y="82"/>
                      <a:pt x="26" y="84"/>
                      <a:pt x="22" y="84"/>
                    </a:cubicBezTo>
                    <a:close/>
                    <a:moveTo>
                      <a:pt x="9" y="81"/>
                    </a:moveTo>
                    <a:cubicBezTo>
                      <a:pt x="7" y="80"/>
                      <a:pt x="6" y="78"/>
                      <a:pt x="5" y="76"/>
                    </a:cubicBezTo>
                    <a:cubicBezTo>
                      <a:pt x="4" y="75"/>
                      <a:pt x="4" y="75"/>
                      <a:pt x="4" y="75"/>
                    </a:cubicBezTo>
                    <a:cubicBezTo>
                      <a:pt x="10" y="73"/>
                      <a:pt x="10" y="73"/>
                      <a:pt x="10" y="73"/>
                    </a:cubicBezTo>
                    <a:cubicBezTo>
                      <a:pt x="10" y="74"/>
                      <a:pt x="10" y="74"/>
                      <a:pt x="10" y="74"/>
                    </a:cubicBezTo>
                    <a:cubicBezTo>
                      <a:pt x="11" y="75"/>
                      <a:pt x="11" y="75"/>
                      <a:pt x="12" y="76"/>
                    </a:cubicBezTo>
                    <a:lnTo>
                      <a:pt x="9" y="81"/>
                    </a:lnTo>
                    <a:close/>
                    <a:moveTo>
                      <a:pt x="1" y="63"/>
                    </a:moveTo>
                    <a:cubicBezTo>
                      <a:pt x="1" y="63"/>
                      <a:pt x="1" y="63"/>
                      <a:pt x="1" y="63"/>
                    </a:cubicBezTo>
                    <a:cubicBezTo>
                      <a:pt x="0" y="61"/>
                      <a:pt x="0" y="59"/>
                      <a:pt x="0" y="58"/>
                    </a:cubicBezTo>
                    <a:cubicBezTo>
                      <a:pt x="3" y="57"/>
                      <a:pt x="3" y="57"/>
                      <a:pt x="3" y="57"/>
                    </a:cubicBezTo>
                    <a:cubicBezTo>
                      <a:pt x="6" y="57"/>
                      <a:pt x="6" y="57"/>
                      <a:pt x="6" y="57"/>
                    </a:cubicBezTo>
                    <a:cubicBezTo>
                      <a:pt x="6" y="59"/>
                      <a:pt x="6" y="60"/>
                      <a:pt x="6" y="62"/>
                    </a:cubicBezTo>
                    <a:cubicBezTo>
                      <a:pt x="6" y="63"/>
                      <a:pt x="6" y="63"/>
                      <a:pt x="6" y="63"/>
                    </a:cubicBezTo>
                    <a:lnTo>
                      <a:pt x="1" y="63"/>
                    </a:lnTo>
                    <a:close/>
                    <a:moveTo>
                      <a:pt x="9" y="54"/>
                    </a:moveTo>
                    <a:cubicBezTo>
                      <a:pt x="9" y="48"/>
                      <a:pt x="9" y="48"/>
                      <a:pt x="9" y="48"/>
                    </a:cubicBezTo>
                    <a:cubicBezTo>
                      <a:pt x="12" y="47"/>
                      <a:pt x="13" y="47"/>
                      <a:pt x="14" y="47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15" y="53"/>
                      <a:pt x="13" y="53"/>
                      <a:pt x="9" y="54"/>
                    </a:cubicBezTo>
                    <a:close/>
                    <a:moveTo>
                      <a:pt x="12" y="41"/>
                    </a:moveTo>
                    <a:cubicBezTo>
                      <a:pt x="11" y="39"/>
                      <a:pt x="10" y="37"/>
                      <a:pt x="10" y="35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6" y="35"/>
                      <a:pt x="16" y="37"/>
                      <a:pt x="17" y="39"/>
                    </a:cubicBezTo>
                    <a:lnTo>
                      <a:pt x="12" y="41"/>
                    </a:lnTo>
                    <a:close/>
                    <a:moveTo>
                      <a:pt x="9" y="24"/>
                    </a:moveTo>
                    <a:cubicBezTo>
                      <a:pt x="9" y="23"/>
                      <a:pt x="8" y="22"/>
                      <a:pt x="8" y="22"/>
                    </a:cubicBezTo>
                    <a:cubicBezTo>
                      <a:pt x="8" y="20"/>
                      <a:pt x="7" y="19"/>
                      <a:pt x="7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8"/>
                      <a:pt x="13" y="19"/>
                      <a:pt x="14" y="20"/>
                    </a:cubicBezTo>
                    <a:cubicBezTo>
                      <a:pt x="14" y="21"/>
                      <a:pt x="14" y="21"/>
                      <a:pt x="14" y="22"/>
                    </a:cubicBezTo>
                    <a:lnTo>
                      <a:pt x="9" y="24"/>
                    </a:lnTo>
                    <a:close/>
                    <a:moveTo>
                      <a:pt x="5" y="6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5" y="1"/>
                      <a:pt x="5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2"/>
                      <a:pt x="11" y="3"/>
                      <a:pt x="11" y="5"/>
                    </a:cubicBezTo>
                    <a:cubicBezTo>
                      <a:pt x="11" y="6"/>
                      <a:pt x="11" y="6"/>
                      <a:pt x="11" y="6"/>
                    </a:cubicBezTo>
                    <a:lnTo>
                      <a:pt x="5" y="6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9" name="íṡļiḋé"/>
              <p:cNvSpPr/>
              <p:nvPr/>
            </p:nvSpPr>
            <p:spPr bwMode="auto">
              <a:xfrm>
                <a:off x="7880350" y="2611438"/>
                <a:ext cx="104775" cy="179388"/>
              </a:xfrm>
              <a:custGeom>
                <a:avLst/>
                <a:gdLst>
                  <a:gd name="T0" fmla="*/ 42 w 49"/>
                  <a:gd name="T1" fmla="*/ 79 h 84"/>
                  <a:gd name="T2" fmla="*/ 49 w 49"/>
                  <a:gd name="T3" fmla="*/ 84 h 84"/>
                  <a:gd name="T4" fmla="*/ 35 w 49"/>
                  <a:gd name="T5" fmla="*/ 74 h 84"/>
                  <a:gd name="T6" fmla="*/ 29 w 49"/>
                  <a:gd name="T7" fmla="*/ 72 h 84"/>
                  <a:gd name="T8" fmla="*/ 32 w 49"/>
                  <a:gd name="T9" fmla="*/ 68 h 84"/>
                  <a:gd name="T10" fmla="*/ 35 w 49"/>
                  <a:gd name="T11" fmla="*/ 74 h 84"/>
                  <a:gd name="T12" fmla="*/ 16 w 49"/>
                  <a:gd name="T13" fmla="*/ 63 h 84"/>
                  <a:gd name="T14" fmla="*/ 20 w 49"/>
                  <a:gd name="T15" fmla="*/ 59 h 84"/>
                  <a:gd name="T16" fmla="*/ 19 w 49"/>
                  <a:gd name="T17" fmla="*/ 57 h 84"/>
                  <a:gd name="T18" fmla="*/ 20 w 49"/>
                  <a:gd name="T19" fmla="*/ 65 h 84"/>
                  <a:gd name="T20" fmla="*/ 28 w 49"/>
                  <a:gd name="T21" fmla="*/ 58 h 84"/>
                  <a:gd name="T22" fmla="*/ 29 w 49"/>
                  <a:gd name="T23" fmla="*/ 57 h 84"/>
                  <a:gd name="T24" fmla="*/ 31 w 49"/>
                  <a:gd name="T25" fmla="*/ 52 h 84"/>
                  <a:gd name="T26" fmla="*/ 34 w 49"/>
                  <a:gd name="T27" fmla="*/ 60 h 84"/>
                  <a:gd name="T28" fmla="*/ 30 w 49"/>
                  <a:gd name="T29" fmla="*/ 57 h 84"/>
                  <a:gd name="T30" fmla="*/ 12 w 49"/>
                  <a:gd name="T31" fmla="*/ 52 h 84"/>
                  <a:gd name="T32" fmla="*/ 9 w 49"/>
                  <a:gd name="T33" fmla="*/ 50 h 84"/>
                  <a:gd name="T34" fmla="*/ 13 w 49"/>
                  <a:gd name="T35" fmla="*/ 46 h 84"/>
                  <a:gd name="T36" fmla="*/ 12 w 49"/>
                  <a:gd name="T37" fmla="*/ 52 h 84"/>
                  <a:gd name="T38" fmla="*/ 1 w 49"/>
                  <a:gd name="T39" fmla="*/ 36 h 84"/>
                  <a:gd name="T40" fmla="*/ 5 w 49"/>
                  <a:gd name="T41" fmla="*/ 31 h 84"/>
                  <a:gd name="T42" fmla="*/ 8 w 49"/>
                  <a:gd name="T43" fmla="*/ 37 h 84"/>
                  <a:gd name="T44" fmla="*/ 10 w 49"/>
                  <a:gd name="T45" fmla="*/ 27 h 84"/>
                  <a:gd name="T46" fmla="*/ 6 w 49"/>
                  <a:gd name="T47" fmla="*/ 27 h 84"/>
                  <a:gd name="T48" fmla="*/ 8 w 49"/>
                  <a:gd name="T49" fmla="*/ 21 h 84"/>
                  <a:gd name="T50" fmla="*/ 12 w 49"/>
                  <a:gd name="T51" fmla="*/ 27 h 84"/>
                  <a:gd name="T52" fmla="*/ 13 w 49"/>
                  <a:gd name="T53" fmla="*/ 16 h 84"/>
                  <a:gd name="T54" fmla="*/ 13 w 49"/>
                  <a:gd name="T55" fmla="*/ 12 h 84"/>
                  <a:gd name="T56" fmla="*/ 13 w 49"/>
                  <a:gd name="T57" fmla="*/ 10 h 84"/>
                  <a:gd name="T58" fmla="*/ 19 w 49"/>
                  <a:gd name="T59" fmla="*/ 11 h 84"/>
                  <a:gd name="T60" fmla="*/ 19 w 49"/>
                  <a:gd name="T61" fmla="*/ 14 h 84"/>
                  <a:gd name="T62" fmla="*/ 13 w 49"/>
                  <a:gd name="T63" fmla="*/ 16 h 84"/>
                  <a:gd name="T64" fmla="*/ 3 w 49"/>
                  <a:gd name="T65" fmla="*/ 6 h 84"/>
                  <a:gd name="T66" fmla="*/ 1 w 49"/>
                  <a:gd name="T67" fmla="*/ 0 h 84"/>
                  <a:gd name="T68" fmla="*/ 7 w 49"/>
                  <a:gd name="T69" fmla="*/ 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9" h="84">
                    <a:moveTo>
                      <a:pt x="43" y="84"/>
                    </a:moveTo>
                    <a:cubicBezTo>
                      <a:pt x="43" y="84"/>
                      <a:pt x="43" y="82"/>
                      <a:pt x="42" y="79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9" y="80"/>
                      <a:pt x="49" y="84"/>
                      <a:pt x="49" y="84"/>
                    </a:cubicBezTo>
                    <a:lnTo>
                      <a:pt x="43" y="84"/>
                    </a:lnTo>
                    <a:close/>
                    <a:moveTo>
                      <a:pt x="35" y="74"/>
                    </a:moveTo>
                    <a:cubicBezTo>
                      <a:pt x="33" y="74"/>
                      <a:pt x="32" y="74"/>
                      <a:pt x="32" y="74"/>
                    </a:cubicBezTo>
                    <a:cubicBezTo>
                      <a:pt x="31" y="74"/>
                      <a:pt x="30" y="73"/>
                      <a:pt x="29" y="72"/>
                    </a:cubicBezTo>
                    <a:cubicBezTo>
                      <a:pt x="32" y="68"/>
                      <a:pt x="32" y="68"/>
                      <a:pt x="32" y="68"/>
                    </a:cubicBezTo>
                    <a:cubicBezTo>
                      <a:pt x="32" y="68"/>
                      <a:pt x="32" y="68"/>
                      <a:pt x="32" y="68"/>
                    </a:cubicBezTo>
                    <a:cubicBezTo>
                      <a:pt x="33" y="68"/>
                      <a:pt x="36" y="68"/>
                      <a:pt x="37" y="69"/>
                    </a:cubicBezTo>
                    <a:lnTo>
                      <a:pt x="35" y="74"/>
                    </a:lnTo>
                    <a:close/>
                    <a:moveTo>
                      <a:pt x="20" y="65"/>
                    </a:moveTo>
                    <a:cubicBezTo>
                      <a:pt x="19" y="65"/>
                      <a:pt x="17" y="65"/>
                      <a:pt x="16" y="63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21" y="60"/>
                      <a:pt x="21" y="59"/>
                      <a:pt x="20" y="59"/>
                    </a:cubicBezTo>
                    <a:cubicBezTo>
                      <a:pt x="19" y="59"/>
                      <a:pt x="18" y="59"/>
                      <a:pt x="18" y="60"/>
                    </a:cubicBezTo>
                    <a:cubicBezTo>
                      <a:pt x="18" y="60"/>
                      <a:pt x="18" y="59"/>
                      <a:pt x="19" y="57"/>
                    </a:cubicBezTo>
                    <a:cubicBezTo>
                      <a:pt x="25" y="59"/>
                      <a:pt x="25" y="59"/>
                      <a:pt x="25" y="59"/>
                    </a:cubicBezTo>
                    <a:cubicBezTo>
                      <a:pt x="24" y="62"/>
                      <a:pt x="22" y="65"/>
                      <a:pt x="20" y="65"/>
                    </a:cubicBezTo>
                    <a:close/>
                    <a:moveTo>
                      <a:pt x="34" y="60"/>
                    </a:moveTo>
                    <a:cubicBezTo>
                      <a:pt x="28" y="58"/>
                      <a:pt x="28" y="58"/>
                      <a:pt x="28" y="58"/>
                    </a:cubicBezTo>
                    <a:cubicBezTo>
                      <a:pt x="29" y="57"/>
                      <a:pt x="29" y="56"/>
                      <a:pt x="29" y="56"/>
                    </a:cubicBezTo>
                    <a:cubicBezTo>
                      <a:pt x="29" y="56"/>
                      <a:pt x="29" y="57"/>
                      <a:pt x="29" y="57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3" y="52"/>
                      <a:pt x="35" y="54"/>
                      <a:pt x="35" y="56"/>
                    </a:cubicBezTo>
                    <a:cubicBezTo>
                      <a:pt x="35" y="57"/>
                      <a:pt x="34" y="59"/>
                      <a:pt x="34" y="60"/>
                    </a:cubicBezTo>
                    <a:close/>
                    <a:moveTo>
                      <a:pt x="30" y="57"/>
                    </a:moveTo>
                    <a:cubicBezTo>
                      <a:pt x="30" y="57"/>
                      <a:pt x="30" y="57"/>
                      <a:pt x="30" y="57"/>
                    </a:cubicBezTo>
                    <a:cubicBezTo>
                      <a:pt x="30" y="57"/>
                      <a:pt x="30" y="57"/>
                      <a:pt x="30" y="57"/>
                    </a:cubicBezTo>
                    <a:close/>
                    <a:moveTo>
                      <a:pt x="12" y="52"/>
                    </a:moveTo>
                    <a:cubicBezTo>
                      <a:pt x="12" y="52"/>
                      <a:pt x="11" y="51"/>
                      <a:pt x="11" y="51"/>
                    </a:cubicBezTo>
                    <a:cubicBezTo>
                      <a:pt x="10" y="51"/>
                      <a:pt x="9" y="50"/>
                      <a:pt x="9" y="50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2" y="45"/>
                      <a:pt x="13" y="45"/>
                      <a:pt x="13" y="46"/>
                    </a:cubicBezTo>
                    <a:cubicBezTo>
                      <a:pt x="15" y="47"/>
                      <a:pt x="17" y="48"/>
                      <a:pt x="17" y="50"/>
                    </a:cubicBezTo>
                    <a:lnTo>
                      <a:pt x="12" y="52"/>
                    </a:lnTo>
                    <a:close/>
                    <a:moveTo>
                      <a:pt x="2" y="39"/>
                    </a:moveTo>
                    <a:cubicBezTo>
                      <a:pt x="2" y="38"/>
                      <a:pt x="1" y="37"/>
                      <a:pt x="1" y="36"/>
                    </a:cubicBezTo>
                    <a:cubicBezTo>
                      <a:pt x="0" y="35"/>
                      <a:pt x="0" y="34"/>
                      <a:pt x="0" y="34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5" y="32"/>
                      <a:pt x="6" y="32"/>
                      <a:pt x="6" y="33"/>
                    </a:cubicBezTo>
                    <a:cubicBezTo>
                      <a:pt x="7" y="34"/>
                      <a:pt x="7" y="35"/>
                      <a:pt x="8" y="37"/>
                    </a:cubicBezTo>
                    <a:lnTo>
                      <a:pt x="2" y="39"/>
                    </a:lnTo>
                    <a:close/>
                    <a:moveTo>
                      <a:pt x="10" y="27"/>
                    </a:moveTo>
                    <a:cubicBezTo>
                      <a:pt x="9" y="27"/>
                      <a:pt x="8" y="27"/>
                      <a:pt x="7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9" y="21"/>
                      <a:pt x="10" y="21"/>
                      <a:pt x="12" y="21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1" y="27"/>
                      <a:pt x="10" y="27"/>
                      <a:pt x="10" y="27"/>
                    </a:cubicBezTo>
                    <a:close/>
                    <a:moveTo>
                      <a:pt x="13" y="16"/>
                    </a:moveTo>
                    <a:cubicBezTo>
                      <a:pt x="13" y="15"/>
                      <a:pt x="13" y="14"/>
                      <a:pt x="13" y="14"/>
                    </a:cubicBezTo>
                    <a:cubicBezTo>
                      <a:pt x="13" y="13"/>
                      <a:pt x="13" y="13"/>
                      <a:pt x="13" y="12"/>
                    </a:cubicBezTo>
                    <a:cubicBezTo>
                      <a:pt x="13" y="12"/>
                      <a:pt x="13" y="12"/>
                      <a:pt x="13" y="11"/>
                    </a:cubicBezTo>
                    <a:cubicBezTo>
                      <a:pt x="13" y="11"/>
                      <a:pt x="13" y="10"/>
                      <a:pt x="13" y="10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9"/>
                      <a:pt x="19" y="10"/>
                      <a:pt x="19" y="11"/>
                    </a:cubicBezTo>
                    <a:cubicBezTo>
                      <a:pt x="19" y="12"/>
                      <a:pt x="19" y="12"/>
                      <a:pt x="19" y="13"/>
                    </a:cubicBezTo>
                    <a:cubicBezTo>
                      <a:pt x="19" y="13"/>
                      <a:pt x="19" y="13"/>
                      <a:pt x="19" y="14"/>
                    </a:cubicBezTo>
                    <a:cubicBezTo>
                      <a:pt x="19" y="14"/>
                      <a:pt x="19" y="14"/>
                      <a:pt x="19" y="14"/>
                    </a:cubicBezTo>
                    <a:lnTo>
                      <a:pt x="13" y="16"/>
                    </a:lnTo>
                    <a:close/>
                    <a:moveTo>
                      <a:pt x="7" y="7"/>
                    </a:moveTo>
                    <a:cubicBezTo>
                      <a:pt x="6" y="7"/>
                      <a:pt x="4" y="6"/>
                      <a:pt x="3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6" y="1"/>
                      <a:pt x="7" y="1"/>
                    </a:cubicBezTo>
                    <a:lnTo>
                      <a:pt x="7" y="7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50" name="îŝlïďe"/>
              <p:cNvSpPr/>
              <p:nvPr/>
            </p:nvSpPr>
            <p:spPr bwMode="auto">
              <a:xfrm>
                <a:off x="7586663" y="2452688"/>
                <a:ext cx="280988" cy="325438"/>
              </a:xfrm>
              <a:custGeom>
                <a:avLst/>
                <a:gdLst>
                  <a:gd name="T0" fmla="*/ 62 w 131"/>
                  <a:gd name="T1" fmla="*/ 144 h 152"/>
                  <a:gd name="T2" fmla="*/ 24 w 131"/>
                  <a:gd name="T3" fmla="*/ 148 h 152"/>
                  <a:gd name="T4" fmla="*/ 24 w 131"/>
                  <a:gd name="T5" fmla="*/ 148 h 152"/>
                  <a:gd name="T6" fmla="*/ 69 w 131"/>
                  <a:gd name="T7" fmla="*/ 138 h 152"/>
                  <a:gd name="T8" fmla="*/ 72 w 131"/>
                  <a:gd name="T9" fmla="*/ 143 h 152"/>
                  <a:gd name="T10" fmla="*/ 71 w 131"/>
                  <a:gd name="T11" fmla="*/ 143 h 152"/>
                  <a:gd name="T12" fmla="*/ 37 w 131"/>
                  <a:gd name="T13" fmla="*/ 135 h 152"/>
                  <a:gd name="T14" fmla="*/ 9 w 131"/>
                  <a:gd name="T15" fmla="*/ 141 h 152"/>
                  <a:gd name="T16" fmla="*/ 9 w 131"/>
                  <a:gd name="T17" fmla="*/ 141 h 152"/>
                  <a:gd name="T18" fmla="*/ 51 w 131"/>
                  <a:gd name="T19" fmla="*/ 134 h 152"/>
                  <a:gd name="T20" fmla="*/ 78 w 131"/>
                  <a:gd name="T21" fmla="*/ 131 h 152"/>
                  <a:gd name="T22" fmla="*/ 85 w 131"/>
                  <a:gd name="T23" fmla="*/ 136 h 152"/>
                  <a:gd name="T24" fmla="*/ 113 w 131"/>
                  <a:gd name="T25" fmla="*/ 134 h 152"/>
                  <a:gd name="T26" fmla="*/ 113 w 131"/>
                  <a:gd name="T27" fmla="*/ 134 h 152"/>
                  <a:gd name="T28" fmla="*/ 96 w 131"/>
                  <a:gd name="T29" fmla="*/ 123 h 152"/>
                  <a:gd name="T30" fmla="*/ 98 w 131"/>
                  <a:gd name="T31" fmla="*/ 132 h 152"/>
                  <a:gd name="T32" fmla="*/ 6 w 131"/>
                  <a:gd name="T33" fmla="*/ 116 h 152"/>
                  <a:gd name="T34" fmla="*/ 117 w 131"/>
                  <a:gd name="T35" fmla="*/ 119 h 152"/>
                  <a:gd name="T36" fmla="*/ 117 w 131"/>
                  <a:gd name="T37" fmla="*/ 119 h 152"/>
                  <a:gd name="T38" fmla="*/ 89 w 131"/>
                  <a:gd name="T39" fmla="*/ 109 h 152"/>
                  <a:gd name="T40" fmla="*/ 95 w 131"/>
                  <a:gd name="T41" fmla="*/ 114 h 152"/>
                  <a:gd name="T42" fmla="*/ 0 w 131"/>
                  <a:gd name="T43" fmla="*/ 100 h 152"/>
                  <a:gd name="T44" fmla="*/ 6 w 131"/>
                  <a:gd name="T45" fmla="*/ 105 h 152"/>
                  <a:gd name="T46" fmla="*/ 115 w 131"/>
                  <a:gd name="T47" fmla="*/ 94 h 152"/>
                  <a:gd name="T48" fmla="*/ 115 w 131"/>
                  <a:gd name="T49" fmla="*/ 101 h 152"/>
                  <a:gd name="T50" fmla="*/ 93 w 131"/>
                  <a:gd name="T51" fmla="*/ 92 h 152"/>
                  <a:gd name="T52" fmla="*/ 87 w 131"/>
                  <a:gd name="T53" fmla="*/ 99 h 152"/>
                  <a:gd name="T54" fmla="*/ 108 w 131"/>
                  <a:gd name="T55" fmla="*/ 87 h 152"/>
                  <a:gd name="T56" fmla="*/ 12 w 131"/>
                  <a:gd name="T57" fmla="*/ 93 h 152"/>
                  <a:gd name="T58" fmla="*/ 12 w 131"/>
                  <a:gd name="T59" fmla="*/ 93 h 152"/>
                  <a:gd name="T60" fmla="*/ 122 w 131"/>
                  <a:gd name="T61" fmla="*/ 81 h 152"/>
                  <a:gd name="T62" fmla="*/ 127 w 131"/>
                  <a:gd name="T63" fmla="*/ 83 h 152"/>
                  <a:gd name="T64" fmla="*/ 123 w 131"/>
                  <a:gd name="T65" fmla="*/ 87 h 152"/>
                  <a:gd name="T66" fmla="*/ 33 w 131"/>
                  <a:gd name="T67" fmla="*/ 81 h 152"/>
                  <a:gd name="T68" fmla="*/ 124 w 131"/>
                  <a:gd name="T69" fmla="*/ 64 h 152"/>
                  <a:gd name="T70" fmla="*/ 25 w 131"/>
                  <a:gd name="T71" fmla="*/ 65 h 152"/>
                  <a:gd name="T72" fmla="*/ 123 w 131"/>
                  <a:gd name="T73" fmla="*/ 57 h 152"/>
                  <a:gd name="T74" fmla="*/ 123 w 131"/>
                  <a:gd name="T75" fmla="*/ 55 h 152"/>
                  <a:gd name="T76" fmla="*/ 24 w 131"/>
                  <a:gd name="T77" fmla="*/ 47 h 152"/>
                  <a:gd name="T78" fmla="*/ 27 w 131"/>
                  <a:gd name="T79" fmla="*/ 53 h 152"/>
                  <a:gd name="T80" fmla="*/ 40 w 131"/>
                  <a:gd name="T81" fmla="*/ 40 h 152"/>
                  <a:gd name="T82" fmla="*/ 123 w 131"/>
                  <a:gd name="T83" fmla="*/ 42 h 152"/>
                  <a:gd name="T84" fmla="*/ 121 w 131"/>
                  <a:gd name="T85" fmla="*/ 39 h 152"/>
                  <a:gd name="T86" fmla="*/ 124 w 131"/>
                  <a:gd name="T87" fmla="*/ 30 h 152"/>
                  <a:gd name="T88" fmla="*/ 121 w 131"/>
                  <a:gd name="T89" fmla="*/ 39 h 152"/>
                  <a:gd name="T90" fmla="*/ 103 w 131"/>
                  <a:gd name="T91" fmla="*/ 30 h 152"/>
                  <a:gd name="T92" fmla="*/ 50 w 131"/>
                  <a:gd name="T93" fmla="*/ 33 h 152"/>
                  <a:gd name="T94" fmla="*/ 51 w 131"/>
                  <a:gd name="T95" fmla="*/ 32 h 152"/>
                  <a:gd name="T96" fmla="*/ 90 w 131"/>
                  <a:gd name="T97" fmla="*/ 27 h 152"/>
                  <a:gd name="T98" fmla="*/ 91 w 131"/>
                  <a:gd name="T99" fmla="*/ 32 h 152"/>
                  <a:gd name="T100" fmla="*/ 60 w 131"/>
                  <a:gd name="T101" fmla="*/ 21 h 152"/>
                  <a:gd name="T102" fmla="*/ 82 w 131"/>
                  <a:gd name="T103" fmla="*/ 21 h 152"/>
                  <a:gd name="T104" fmla="*/ 82 w 131"/>
                  <a:gd name="T105" fmla="*/ 21 h 152"/>
                  <a:gd name="T106" fmla="*/ 63 w 131"/>
                  <a:gd name="T107" fmla="*/ 13 h 152"/>
                  <a:gd name="T108" fmla="*/ 74 w 131"/>
                  <a:gd name="T109" fmla="*/ 0 h 152"/>
                  <a:gd name="T110" fmla="*/ 74 w 131"/>
                  <a:gd name="T111" fmla="*/ 6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1" h="152">
                    <a:moveTo>
                      <a:pt x="65" y="152"/>
                    </a:moveTo>
                    <a:cubicBezTo>
                      <a:pt x="64" y="152"/>
                      <a:pt x="63" y="151"/>
                      <a:pt x="62" y="151"/>
                    </a:cubicBezTo>
                    <a:cubicBezTo>
                      <a:pt x="61" y="150"/>
                      <a:pt x="61" y="150"/>
                      <a:pt x="60" y="149"/>
                    </a:cubicBezTo>
                    <a:cubicBezTo>
                      <a:pt x="62" y="144"/>
                      <a:pt x="62" y="144"/>
                      <a:pt x="62" y="144"/>
                    </a:cubicBezTo>
                    <a:cubicBezTo>
                      <a:pt x="63" y="144"/>
                      <a:pt x="64" y="145"/>
                      <a:pt x="65" y="145"/>
                    </a:cubicBezTo>
                    <a:cubicBezTo>
                      <a:pt x="66" y="146"/>
                      <a:pt x="66" y="146"/>
                      <a:pt x="67" y="147"/>
                    </a:cubicBezTo>
                    <a:lnTo>
                      <a:pt x="65" y="152"/>
                    </a:lnTo>
                    <a:close/>
                    <a:moveTo>
                      <a:pt x="24" y="148"/>
                    </a:moveTo>
                    <a:cubicBezTo>
                      <a:pt x="23" y="148"/>
                      <a:pt x="21" y="147"/>
                      <a:pt x="18" y="145"/>
                    </a:cubicBezTo>
                    <a:cubicBezTo>
                      <a:pt x="22" y="140"/>
                      <a:pt x="22" y="140"/>
                      <a:pt x="22" y="140"/>
                    </a:cubicBezTo>
                    <a:cubicBezTo>
                      <a:pt x="23" y="142"/>
                      <a:pt x="25" y="142"/>
                      <a:pt x="26" y="143"/>
                    </a:cubicBezTo>
                    <a:lnTo>
                      <a:pt x="24" y="148"/>
                    </a:lnTo>
                    <a:close/>
                    <a:moveTo>
                      <a:pt x="67" y="146"/>
                    </a:moveTo>
                    <a:cubicBezTo>
                      <a:pt x="66" y="145"/>
                      <a:pt x="65" y="144"/>
                      <a:pt x="65" y="142"/>
                    </a:cubicBezTo>
                    <a:cubicBezTo>
                      <a:pt x="65" y="141"/>
                      <a:pt x="66" y="139"/>
                      <a:pt x="67" y="139"/>
                    </a:cubicBezTo>
                    <a:cubicBezTo>
                      <a:pt x="68" y="138"/>
                      <a:pt x="69" y="138"/>
                      <a:pt x="69" y="138"/>
                    </a:cubicBezTo>
                    <a:cubicBezTo>
                      <a:pt x="70" y="138"/>
                      <a:pt x="70" y="138"/>
                      <a:pt x="70" y="138"/>
                    </a:cubicBezTo>
                    <a:cubicBezTo>
                      <a:pt x="71" y="142"/>
                      <a:pt x="71" y="142"/>
                      <a:pt x="71" y="142"/>
                    </a:cubicBezTo>
                    <a:cubicBezTo>
                      <a:pt x="71" y="142"/>
                      <a:pt x="72" y="142"/>
                      <a:pt x="72" y="143"/>
                    </a:cubicBezTo>
                    <a:cubicBezTo>
                      <a:pt x="72" y="143"/>
                      <a:pt x="72" y="143"/>
                      <a:pt x="72" y="143"/>
                    </a:cubicBezTo>
                    <a:cubicBezTo>
                      <a:pt x="72" y="143"/>
                      <a:pt x="72" y="143"/>
                      <a:pt x="72" y="143"/>
                    </a:cubicBezTo>
                    <a:cubicBezTo>
                      <a:pt x="71" y="143"/>
                      <a:pt x="71" y="144"/>
                      <a:pt x="71" y="144"/>
                    </a:cubicBezTo>
                    <a:cubicBezTo>
                      <a:pt x="71" y="144"/>
                      <a:pt x="70" y="144"/>
                      <a:pt x="70" y="144"/>
                    </a:cubicBezTo>
                    <a:cubicBezTo>
                      <a:pt x="70" y="144"/>
                      <a:pt x="70" y="144"/>
                      <a:pt x="71" y="143"/>
                    </a:cubicBezTo>
                    <a:lnTo>
                      <a:pt x="67" y="146"/>
                    </a:lnTo>
                    <a:close/>
                    <a:moveTo>
                      <a:pt x="35" y="141"/>
                    </a:moveTo>
                    <a:cubicBezTo>
                      <a:pt x="32" y="136"/>
                      <a:pt x="32" y="136"/>
                      <a:pt x="32" y="136"/>
                    </a:cubicBezTo>
                    <a:cubicBezTo>
                      <a:pt x="34" y="136"/>
                      <a:pt x="35" y="135"/>
                      <a:pt x="37" y="135"/>
                    </a:cubicBezTo>
                    <a:cubicBezTo>
                      <a:pt x="37" y="135"/>
                      <a:pt x="38" y="135"/>
                      <a:pt x="39" y="135"/>
                    </a:cubicBezTo>
                    <a:cubicBezTo>
                      <a:pt x="40" y="141"/>
                      <a:pt x="40" y="141"/>
                      <a:pt x="40" y="141"/>
                    </a:cubicBezTo>
                    <a:cubicBezTo>
                      <a:pt x="37" y="141"/>
                      <a:pt x="36" y="141"/>
                      <a:pt x="35" y="141"/>
                    </a:cubicBezTo>
                    <a:close/>
                    <a:moveTo>
                      <a:pt x="9" y="141"/>
                    </a:moveTo>
                    <a:cubicBezTo>
                      <a:pt x="6" y="140"/>
                      <a:pt x="4" y="138"/>
                      <a:pt x="4" y="134"/>
                    </a:cubicBezTo>
                    <a:cubicBezTo>
                      <a:pt x="10" y="133"/>
                      <a:pt x="10" y="133"/>
                      <a:pt x="10" y="133"/>
                    </a:cubicBezTo>
                    <a:cubicBezTo>
                      <a:pt x="10" y="133"/>
                      <a:pt x="10" y="135"/>
                      <a:pt x="10" y="135"/>
                    </a:cubicBezTo>
                    <a:lnTo>
                      <a:pt x="9" y="141"/>
                    </a:lnTo>
                    <a:close/>
                    <a:moveTo>
                      <a:pt x="56" y="140"/>
                    </a:moveTo>
                    <a:cubicBezTo>
                      <a:pt x="56" y="140"/>
                      <a:pt x="55" y="140"/>
                      <a:pt x="53" y="140"/>
                    </a:cubicBezTo>
                    <a:cubicBezTo>
                      <a:pt x="52" y="140"/>
                      <a:pt x="52" y="140"/>
                      <a:pt x="51" y="140"/>
                    </a:cubicBezTo>
                    <a:cubicBezTo>
                      <a:pt x="51" y="134"/>
                      <a:pt x="51" y="134"/>
                      <a:pt x="51" y="134"/>
                    </a:cubicBezTo>
                    <a:cubicBezTo>
                      <a:pt x="55" y="134"/>
                      <a:pt x="57" y="134"/>
                      <a:pt x="58" y="135"/>
                    </a:cubicBezTo>
                    <a:lnTo>
                      <a:pt x="56" y="140"/>
                    </a:lnTo>
                    <a:close/>
                    <a:moveTo>
                      <a:pt x="81" y="136"/>
                    </a:moveTo>
                    <a:cubicBezTo>
                      <a:pt x="78" y="131"/>
                      <a:pt x="78" y="131"/>
                      <a:pt x="78" y="131"/>
                    </a:cubicBezTo>
                    <a:cubicBezTo>
                      <a:pt x="80" y="130"/>
                      <a:pt x="81" y="129"/>
                      <a:pt x="82" y="129"/>
                    </a:cubicBezTo>
                    <a:cubicBezTo>
                      <a:pt x="83" y="129"/>
                      <a:pt x="84" y="130"/>
                      <a:pt x="85" y="130"/>
                    </a:cubicBezTo>
                    <a:cubicBezTo>
                      <a:pt x="86" y="130"/>
                      <a:pt x="86" y="130"/>
                      <a:pt x="86" y="130"/>
                    </a:cubicBezTo>
                    <a:cubicBezTo>
                      <a:pt x="85" y="136"/>
                      <a:pt x="85" y="136"/>
                      <a:pt x="85" y="136"/>
                    </a:cubicBezTo>
                    <a:cubicBezTo>
                      <a:pt x="84" y="135"/>
                      <a:pt x="84" y="135"/>
                      <a:pt x="84" y="135"/>
                    </a:cubicBezTo>
                    <a:cubicBezTo>
                      <a:pt x="83" y="135"/>
                      <a:pt x="83" y="135"/>
                      <a:pt x="82" y="135"/>
                    </a:cubicBezTo>
                    <a:cubicBezTo>
                      <a:pt x="82" y="135"/>
                      <a:pt x="82" y="135"/>
                      <a:pt x="81" y="136"/>
                    </a:cubicBezTo>
                    <a:close/>
                    <a:moveTo>
                      <a:pt x="113" y="134"/>
                    </a:moveTo>
                    <a:cubicBezTo>
                      <a:pt x="112" y="128"/>
                      <a:pt x="112" y="128"/>
                      <a:pt x="112" y="128"/>
                    </a:cubicBezTo>
                    <a:cubicBezTo>
                      <a:pt x="113" y="128"/>
                      <a:pt x="115" y="127"/>
                      <a:pt x="116" y="127"/>
                    </a:cubicBezTo>
                    <a:cubicBezTo>
                      <a:pt x="119" y="132"/>
                      <a:pt x="119" y="132"/>
                      <a:pt x="119" y="132"/>
                    </a:cubicBezTo>
                    <a:cubicBezTo>
                      <a:pt x="117" y="133"/>
                      <a:pt x="114" y="134"/>
                      <a:pt x="113" y="134"/>
                    </a:cubicBezTo>
                    <a:close/>
                    <a:moveTo>
                      <a:pt x="98" y="132"/>
                    </a:moveTo>
                    <a:cubicBezTo>
                      <a:pt x="94" y="128"/>
                      <a:pt x="94" y="128"/>
                      <a:pt x="94" y="128"/>
                    </a:cubicBezTo>
                    <a:cubicBezTo>
                      <a:pt x="95" y="127"/>
                      <a:pt x="95" y="126"/>
                      <a:pt x="96" y="125"/>
                    </a:cubicBezTo>
                    <a:cubicBezTo>
                      <a:pt x="96" y="124"/>
                      <a:pt x="96" y="124"/>
                      <a:pt x="96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2" y="124"/>
                      <a:pt x="102" y="125"/>
                      <a:pt x="103" y="125"/>
                    </a:cubicBezTo>
                    <a:cubicBezTo>
                      <a:pt x="102" y="126"/>
                      <a:pt x="102" y="126"/>
                      <a:pt x="102" y="126"/>
                    </a:cubicBezTo>
                    <a:cubicBezTo>
                      <a:pt x="102" y="127"/>
                      <a:pt x="101" y="129"/>
                      <a:pt x="98" y="132"/>
                    </a:cubicBezTo>
                    <a:close/>
                    <a:moveTo>
                      <a:pt x="0" y="123"/>
                    </a:moveTo>
                    <a:cubicBezTo>
                      <a:pt x="0" y="122"/>
                      <a:pt x="0" y="122"/>
                      <a:pt x="0" y="122"/>
                    </a:cubicBezTo>
                    <a:cubicBezTo>
                      <a:pt x="0" y="120"/>
                      <a:pt x="0" y="119"/>
                      <a:pt x="0" y="117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18"/>
                      <a:pt x="6" y="120"/>
                      <a:pt x="6" y="121"/>
                    </a:cubicBezTo>
                    <a:cubicBezTo>
                      <a:pt x="6" y="122"/>
                      <a:pt x="6" y="122"/>
                      <a:pt x="6" y="122"/>
                    </a:cubicBezTo>
                    <a:lnTo>
                      <a:pt x="0" y="123"/>
                    </a:lnTo>
                    <a:close/>
                    <a:moveTo>
                      <a:pt x="117" y="119"/>
                    </a:moveTo>
                    <a:cubicBezTo>
                      <a:pt x="117" y="117"/>
                      <a:pt x="117" y="115"/>
                      <a:pt x="116" y="113"/>
                    </a:cubicBezTo>
                    <a:cubicBezTo>
                      <a:pt x="122" y="112"/>
                      <a:pt x="122" y="112"/>
                      <a:pt x="122" y="112"/>
                    </a:cubicBezTo>
                    <a:cubicBezTo>
                      <a:pt x="122" y="114"/>
                      <a:pt x="123" y="116"/>
                      <a:pt x="123" y="118"/>
                    </a:cubicBezTo>
                    <a:lnTo>
                      <a:pt x="117" y="119"/>
                    </a:lnTo>
                    <a:close/>
                    <a:moveTo>
                      <a:pt x="89" y="115"/>
                    </a:moveTo>
                    <a:cubicBezTo>
                      <a:pt x="89" y="114"/>
                      <a:pt x="89" y="114"/>
                      <a:pt x="89" y="113"/>
                    </a:cubicBezTo>
                    <a:cubicBezTo>
                      <a:pt x="89" y="112"/>
                      <a:pt x="89" y="111"/>
                      <a:pt x="89" y="110"/>
                    </a:cubicBezTo>
                    <a:cubicBezTo>
                      <a:pt x="89" y="109"/>
                      <a:pt x="89" y="109"/>
                      <a:pt x="89" y="109"/>
                    </a:cubicBezTo>
                    <a:cubicBezTo>
                      <a:pt x="95" y="109"/>
                      <a:pt x="95" y="109"/>
                      <a:pt x="95" y="109"/>
                    </a:cubicBezTo>
                    <a:cubicBezTo>
                      <a:pt x="95" y="110"/>
                      <a:pt x="95" y="110"/>
                      <a:pt x="95" y="110"/>
                    </a:cubicBezTo>
                    <a:cubicBezTo>
                      <a:pt x="95" y="111"/>
                      <a:pt x="95" y="112"/>
                      <a:pt x="95" y="113"/>
                    </a:cubicBezTo>
                    <a:cubicBezTo>
                      <a:pt x="95" y="113"/>
                      <a:pt x="95" y="114"/>
                      <a:pt x="95" y="114"/>
                    </a:cubicBezTo>
                    <a:lnTo>
                      <a:pt x="89" y="115"/>
                    </a:lnTo>
                    <a:close/>
                    <a:moveTo>
                      <a:pt x="6" y="105"/>
                    </a:move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03"/>
                      <a:pt x="0" y="102"/>
                      <a:pt x="0" y="100"/>
                    </a:cubicBezTo>
                    <a:cubicBezTo>
                      <a:pt x="0" y="100"/>
                      <a:pt x="0" y="99"/>
                      <a:pt x="0" y="99"/>
                    </a:cubicBezTo>
                    <a:cubicBezTo>
                      <a:pt x="6" y="99"/>
                      <a:pt x="6" y="99"/>
                      <a:pt x="6" y="99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6" y="102"/>
                      <a:pt x="6" y="103"/>
                      <a:pt x="6" y="105"/>
                    </a:cubicBezTo>
                    <a:close/>
                    <a:moveTo>
                      <a:pt x="115" y="101"/>
                    </a:moveTo>
                    <a:cubicBezTo>
                      <a:pt x="115" y="100"/>
                      <a:pt x="115" y="98"/>
                      <a:pt x="114" y="97"/>
                    </a:cubicBezTo>
                    <a:cubicBezTo>
                      <a:pt x="114" y="97"/>
                      <a:pt x="114" y="97"/>
                      <a:pt x="114" y="97"/>
                    </a:cubicBezTo>
                    <a:cubicBezTo>
                      <a:pt x="114" y="96"/>
                      <a:pt x="114" y="95"/>
                      <a:pt x="115" y="94"/>
                    </a:cubicBezTo>
                    <a:cubicBezTo>
                      <a:pt x="120" y="96"/>
                      <a:pt x="120" y="96"/>
                      <a:pt x="120" y="96"/>
                    </a:cubicBezTo>
                    <a:cubicBezTo>
                      <a:pt x="120" y="96"/>
                      <a:pt x="120" y="97"/>
                      <a:pt x="120" y="97"/>
                    </a:cubicBezTo>
                    <a:cubicBezTo>
                      <a:pt x="120" y="97"/>
                      <a:pt x="120" y="99"/>
                      <a:pt x="121" y="101"/>
                    </a:cubicBezTo>
                    <a:lnTo>
                      <a:pt x="115" y="101"/>
                    </a:lnTo>
                    <a:close/>
                    <a:moveTo>
                      <a:pt x="87" y="99"/>
                    </a:moveTo>
                    <a:cubicBezTo>
                      <a:pt x="87" y="98"/>
                      <a:pt x="87" y="97"/>
                      <a:pt x="87" y="96"/>
                    </a:cubicBezTo>
                    <a:cubicBezTo>
                      <a:pt x="87" y="95"/>
                      <a:pt x="88" y="92"/>
                      <a:pt x="91" y="92"/>
                    </a:cubicBezTo>
                    <a:cubicBezTo>
                      <a:pt x="92" y="92"/>
                      <a:pt x="92" y="92"/>
                      <a:pt x="93" y="92"/>
                    </a:cubicBezTo>
                    <a:cubicBezTo>
                      <a:pt x="94" y="98"/>
                      <a:pt x="94" y="98"/>
                      <a:pt x="94" y="98"/>
                    </a:cubicBezTo>
                    <a:cubicBezTo>
                      <a:pt x="93" y="98"/>
                      <a:pt x="92" y="98"/>
                      <a:pt x="91" y="98"/>
                    </a:cubicBezTo>
                    <a:cubicBezTo>
                      <a:pt x="91" y="98"/>
                      <a:pt x="92" y="98"/>
                      <a:pt x="92" y="97"/>
                    </a:cubicBezTo>
                    <a:lnTo>
                      <a:pt x="87" y="99"/>
                    </a:lnTo>
                    <a:close/>
                    <a:moveTo>
                      <a:pt x="106" y="95"/>
                    </a:moveTo>
                    <a:cubicBezTo>
                      <a:pt x="104" y="90"/>
                      <a:pt x="104" y="90"/>
                      <a:pt x="104" y="90"/>
                    </a:cubicBezTo>
                    <a:cubicBezTo>
                      <a:pt x="104" y="90"/>
                      <a:pt x="105" y="89"/>
                      <a:pt x="105" y="89"/>
                    </a:cubicBezTo>
                    <a:cubicBezTo>
                      <a:pt x="106" y="89"/>
                      <a:pt x="107" y="88"/>
                      <a:pt x="108" y="87"/>
                    </a:cubicBezTo>
                    <a:cubicBezTo>
                      <a:pt x="112" y="91"/>
                      <a:pt x="112" y="91"/>
                      <a:pt x="112" y="91"/>
                    </a:cubicBezTo>
                    <a:cubicBezTo>
                      <a:pt x="111" y="92"/>
                      <a:pt x="110" y="93"/>
                      <a:pt x="108" y="94"/>
                    </a:cubicBezTo>
                    <a:cubicBezTo>
                      <a:pt x="108" y="94"/>
                      <a:pt x="107" y="95"/>
                      <a:pt x="106" y="95"/>
                    </a:cubicBezTo>
                    <a:close/>
                    <a:moveTo>
                      <a:pt x="12" y="93"/>
                    </a:moveTo>
                    <a:cubicBezTo>
                      <a:pt x="9" y="88"/>
                      <a:pt x="9" y="88"/>
                      <a:pt x="9" y="88"/>
                    </a:cubicBezTo>
                    <a:cubicBezTo>
                      <a:pt x="11" y="87"/>
                      <a:pt x="13" y="86"/>
                      <a:pt x="16" y="86"/>
                    </a:cubicBezTo>
                    <a:cubicBezTo>
                      <a:pt x="17" y="91"/>
                      <a:pt x="17" y="91"/>
                      <a:pt x="17" y="91"/>
                    </a:cubicBezTo>
                    <a:cubicBezTo>
                      <a:pt x="15" y="92"/>
                      <a:pt x="13" y="92"/>
                      <a:pt x="12" y="93"/>
                    </a:cubicBezTo>
                    <a:close/>
                    <a:moveTo>
                      <a:pt x="123" y="87"/>
                    </a:moveTo>
                    <a:cubicBezTo>
                      <a:pt x="123" y="87"/>
                      <a:pt x="121" y="87"/>
                      <a:pt x="119" y="86"/>
                    </a:cubicBezTo>
                    <a:cubicBezTo>
                      <a:pt x="119" y="81"/>
                      <a:pt x="119" y="81"/>
                      <a:pt x="119" y="81"/>
                    </a:cubicBezTo>
                    <a:cubicBezTo>
                      <a:pt x="120" y="81"/>
                      <a:pt x="121" y="81"/>
                      <a:pt x="122" y="81"/>
                    </a:cubicBezTo>
                    <a:cubicBezTo>
                      <a:pt x="122" y="81"/>
                      <a:pt x="122" y="80"/>
                      <a:pt x="122" y="80"/>
                    </a:cubicBezTo>
                    <a:cubicBezTo>
                      <a:pt x="124" y="78"/>
                      <a:pt x="124" y="78"/>
                      <a:pt x="124" y="78"/>
                    </a:cubicBezTo>
                    <a:cubicBezTo>
                      <a:pt x="129" y="82"/>
                      <a:pt x="129" y="82"/>
                      <a:pt x="129" y="82"/>
                    </a:cubicBezTo>
                    <a:cubicBezTo>
                      <a:pt x="127" y="83"/>
                      <a:pt x="127" y="83"/>
                      <a:pt x="127" y="83"/>
                    </a:cubicBezTo>
                    <a:cubicBezTo>
                      <a:pt x="127" y="84"/>
                      <a:pt x="126" y="85"/>
                      <a:pt x="125" y="86"/>
                    </a:cubicBezTo>
                    <a:cubicBezTo>
                      <a:pt x="125" y="86"/>
                      <a:pt x="125" y="86"/>
                      <a:pt x="125" y="86"/>
                    </a:cubicBezTo>
                    <a:cubicBezTo>
                      <a:pt x="126" y="87"/>
                      <a:pt x="126" y="87"/>
                      <a:pt x="126" y="87"/>
                    </a:cubicBezTo>
                    <a:lnTo>
                      <a:pt x="123" y="87"/>
                    </a:lnTo>
                    <a:close/>
                    <a:moveTo>
                      <a:pt x="29" y="87"/>
                    </a:moveTo>
                    <a:cubicBezTo>
                      <a:pt x="25" y="82"/>
                      <a:pt x="25" y="82"/>
                      <a:pt x="25" y="82"/>
                    </a:cubicBezTo>
                    <a:cubicBezTo>
                      <a:pt x="26" y="81"/>
                      <a:pt x="27" y="80"/>
                      <a:pt x="28" y="79"/>
                    </a:cubicBezTo>
                    <a:cubicBezTo>
                      <a:pt x="33" y="81"/>
                      <a:pt x="33" y="81"/>
                      <a:pt x="33" y="81"/>
                    </a:cubicBezTo>
                    <a:cubicBezTo>
                      <a:pt x="32" y="83"/>
                      <a:pt x="31" y="85"/>
                      <a:pt x="29" y="87"/>
                    </a:cubicBezTo>
                    <a:close/>
                    <a:moveTo>
                      <a:pt x="124" y="72"/>
                    </a:moveTo>
                    <a:cubicBezTo>
                      <a:pt x="120" y="68"/>
                      <a:pt x="120" y="68"/>
                      <a:pt x="120" y="68"/>
                    </a:cubicBezTo>
                    <a:cubicBezTo>
                      <a:pt x="124" y="64"/>
                      <a:pt x="124" y="64"/>
                      <a:pt x="124" y="64"/>
                    </a:cubicBezTo>
                    <a:cubicBezTo>
                      <a:pt x="128" y="68"/>
                      <a:pt x="128" y="68"/>
                      <a:pt x="128" y="68"/>
                    </a:cubicBezTo>
                    <a:lnTo>
                      <a:pt x="124" y="72"/>
                    </a:lnTo>
                    <a:close/>
                    <a:moveTo>
                      <a:pt x="27" y="69"/>
                    </a:moveTo>
                    <a:cubicBezTo>
                      <a:pt x="27" y="68"/>
                      <a:pt x="26" y="66"/>
                      <a:pt x="25" y="65"/>
                    </a:cubicBezTo>
                    <a:cubicBezTo>
                      <a:pt x="29" y="61"/>
                      <a:pt x="29" y="61"/>
                      <a:pt x="29" y="61"/>
                    </a:cubicBezTo>
                    <a:cubicBezTo>
                      <a:pt x="31" y="63"/>
                      <a:pt x="32" y="65"/>
                      <a:pt x="33" y="67"/>
                    </a:cubicBezTo>
                    <a:lnTo>
                      <a:pt x="27" y="69"/>
                    </a:lnTo>
                    <a:close/>
                    <a:moveTo>
                      <a:pt x="123" y="57"/>
                    </a:moveTo>
                    <a:cubicBezTo>
                      <a:pt x="117" y="56"/>
                      <a:pt x="117" y="56"/>
                      <a:pt x="117" y="56"/>
                    </a:cubicBezTo>
                    <a:cubicBezTo>
                      <a:pt x="117" y="55"/>
                      <a:pt x="117" y="55"/>
                      <a:pt x="116" y="54"/>
                    </a:cubicBezTo>
                    <a:cubicBezTo>
                      <a:pt x="119" y="49"/>
                      <a:pt x="119" y="49"/>
                      <a:pt x="119" y="49"/>
                    </a:cubicBezTo>
                    <a:cubicBezTo>
                      <a:pt x="122" y="51"/>
                      <a:pt x="123" y="53"/>
                      <a:pt x="123" y="55"/>
                    </a:cubicBezTo>
                    <a:cubicBezTo>
                      <a:pt x="123" y="56"/>
                      <a:pt x="123" y="56"/>
                      <a:pt x="123" y="57"/>
                    </a:cubicBezTo>
                    <a:close/>
                    <a:moveTo>
                      <a:pt x="27" y="53"/>
                    </a:moveTo>
                    <a:cubicBezTo>
                      <a:pt x="21" y="52"/>
                      <a:pt x="21" y="52"/>
                      <a:pt x="21" y="52"/>
                    </a:cubicBezTo>
                    <a:cubicBezTo>
                      <a:pt x="22" y="50"/>
                      <a:pt x="23" y="48"/>
                      <a:pt x="24" y="47"/>
                    </a:cubicBezTo>
                    <a:cubicBezTo>
                      <a:pt x="25" y="46"/>
                      <a:pt x="25" y="46"/>
                      <a:pt x="26" y="45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8" y="50"/>
                      <a:pt x="28" y="51"/>
                    </a:cubicBezTo>
                    <a:cubicBezTo>
                      <a:pt x="28" y="51"/>
                      <a:pt x="27" y="52"/>
                      <a:pt x="27" y="53"/>
                    </a:cubicBezTo>
                    <a:close/>
                    <a:moveTo>
                      <a:pt x="39" y="49"/>
                    </a:moveTo>
                    <a:cubicBezTo>
                      <a:pt x="38" y="43"/>
                      <a:pt x="38" y="43"/>
                      <a:pt x="38" y="43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38" y="43"/>
                      <a:pt x="39" y="43"/>
                      <a:pt x="40" y="40"/>
                    </a:cubicBezTo>
                    <a:cubicBezTo>
                      <a:pt x="45" y="43"/>
                      <a:pt x="45" y="43"/>
                      <a:pt x="45" y="43"/>
                    </a:cubicBezTo>
                    <a:cubicBezTo>
                      <a:pt x="43" y="46"/>
                      <a:pt x="41" y="48"/>
                      <a:pt x="39" y="49"/>
                    </a:cubicBezTo>
                    <a:close/>
                    <a:moveTo>
                      <a:pt x="127" y="46"/>
                    </a:moveTo>
                    <a:cubicBezTo>
                      <a:pt x="123" y="42"/>
                      <a:pt x="123" y="42"/>
                      <a:pt x="123" y="42"/>
                    </a:cubicBezTo>
                    <a:cubicBezTo>
                      <a:pt x="124" y="40"/>
                      <a:pt x="125" y="39"/>
                      <a:pt x="126" y="38"/>
                    </a:cubicBezTo>
                    <a:cubicBezTo>
                      <a:pt x="131" y="40"/>
                      <a:pt x="131" y="40"/>
                      <a:pt x="131" y="40"/>
                    </a:cubicBezTo>
                    <a:cubicBezTo>
                      <a:pt x="130" y="42"/>
                      <a:pt x="129" y="45"/>
                      <a:pt x="127" y="46"/>
                    </a:cubicBezTo>
                    <a:close/>
                    <a:moveTo>
                      <a:pt x="121" y="39"/>
                    </a:moveTo>
                    <a:cubicBezTo>
                      <a:pt x="121" y="33"/>
                      <a:pt x="121" y="33"/>
                      <a:pt x="121" y="33"/>
                    </a:cubicBezTo>
                    <a:cubicBezTo>
                      <a:pt x="120" y="33"/>
                      <a:pt x="120" y="33"/>
                      <a:pt x="120" y="33"/>
                    </a:cubicBezTo>
                    <a:cubicBezTo>
                      <a:pt x="121" y="33"/>
                      <a:pt x="121" y="32"/>
                      <a:pt x="122" y="32"/>
                    </a:cubicBezTo>
                    <a:cubicBezTo>
                      <a:pt x="122" y="31"/>
                      <a:pt x="123" y="31"/>
                      <a:pt x="124" y="30"/>
                    </a:cubicBezTo>
                    <a:cubicBezTo>
                      <a:pt x="127" y="35"/>
                      <a:pt x="127" y="35"/>
                      <a:pt x="127" y="35"/>
                    </a:cubicBezTo>
                    <a:cubicBezTo>
                      <a:pt x="126" y="35"/>
                      <a:pt x="126" y="36"/>
                      <a:pt x="126" y="36"/>
                    </a:cubicBezTo>
                    <a:cubicBezTo>
                      <a:pt x="125" y="37"/>
                      <a:pt x="124" y="38"/>
                      <a:pt x="122" y="38"/>
                    </a:cubicBezTo>
                    <a:cubicBezTo>
                      <a:pt x="122" y="39"/>
                      <a:pt x="121" y="39"/>
                      <a:pt x="121" y="39"/>
                    </a:cubicBezTo>
                    <a:close/>
                    <a:moveTo>
                      <a:pt x="109" y="36"/>
                    </a:moveTo>
                    <a:cubicBezTo>
                      <a:pt x="108" y="36"/>
                      <a:pt x="107" y="36"/>
                      <a:pt x="106" y="36"/>
                    </a:cubicBezTo>
                    <a:cubicBezTo>
                      <a:pt x="105" y="36"/>
                      <a:pt x="105" y="36"/>
                      <a:pt x="104" y="36"/>
                    </a:cubicBezTo>
                    <a:cubicBezTo>
                      <a:pt x="103" y="30"/>
                      <a:pt x="103" y="30"/>
                      <a:pt x="103" y="30"/>
                    </a:cubicBezTo>
                    <a:cubicBezTo>
                      <a:pt x="104" y="30"/>
                      <a:pt x="105" y="30"/>
                      <a:pt x="106" y="30"/>
                    </a:cubicBezTo>
                    <a:cubicBezTo>
                      <a:pt x="107" y="30"/>
                      <a:pt x="109" y="30"/>
                      <a:pt x="110" y="30"/>
                    </a:cubicBezTo>
                    <a:lnTo>
                      <a:pt x="109" y="36"/>
                    </a:lnTo>
                    <a:close/>
                    <a:moveTo>
                      <a:pt x="50" y="33"/>
                    </a:moveTo>
                    <a:cubicBezTo>
                      <a:pt x="45" y="29"/>
                      <a:pt x="45" y="29"/>
                      <a:pt x="45" y="29"/>
                    </a:cubicBezTo>
                    <a:cubicBezTo>
                      <a:pt x="47" y="27"/>
                      <a:pt x="50" y="26"/>
                      <a:pt x="53" y="27"/>
                    </a:cubicBezTo>
                    <a:cubicBezTo>
                      <a:pt x="52" y="33"/>
                      <a:pt x="52" y="33"/>
                      <a:pt x="52" y="33"/>
                    </a:cubicBezTo>
                    <a:cubicBezTo>
                      <a:pt x="52" y="32"/>
                      <a:pt x="52" y="32"/>
                      <a:pt x="51" y="32"/>
                    </a:cubicBezTo>
                    <a:cubicBezTo>
                      <a:pt x="50" y="32"/>
                      <a:pt x="50" y="33"/>
                      <a:pt x="50" y="33"/>
                    </a:cubicBezTo>
                    <a:close/>
                    <a:moveTo>
                      <a:pt x="91" y="32"/>
                    </a:moveTo>
                    <a:cubicBezTo>
                      <a:pt x="91" y="31"/>
                      <a:pt x="91" y="30"/>
                      <a:pt x="91" y="28"/>
                    </a:cubicBezTo>
                    <a:cubicBezTo>
                      <a:pt x="91" y="28"/>
                      <a:pt x="91" y="28"/>
                      <a:pt x="90" y="27"/>
                    </a:cubicBezTo>
                    <a:cubicBezTo>
                      <a:pt x="95" y="24"/>
                      <a:pt x="95" y="24"/>
                      <a:pt x="95" y="24"/>
                    </a:cubicBezTo>
                    <a:cubicBezTo>
                      <a:pt x="96" y="25"/>
                      <a:pt x="97" y="27"/>
                      <a:pt x="97" y="28"/>
                    </a:cubicBezTo>
                    <a:cubicBezTo>
                      <a:pt x="97" y="29"/>
                      <a:pt x="97" y="29"/>
                      <a:pt x="97" y="30"/>
                    </a:cubicBezTo>
                    <a:lnTo>
                      <a:pt x="91" y="32"/>
                    </a:lnTo>
                    <a:close/>
                    <a:moveTo>
                      <a:pt x="59" y="28"/>
                    </a:moveTo>
                    <a:cubicBezTo>
                      <a:pt x="59" y="28"/>
                      <a:pt x="58" y="28"/>
                      <a:pt x="58" y="27"/>
                    </a:cubicBezTo>
                    <a:cubicBezTo>
                      <a:pt x="57" y="26"/>
                      <a:pt x="56" y="25"/>
                      <a:pt x="55" y="24"/>
                    </a:cubicBezTo>
                    <a:cubicBezTo>
                      <a:pt x="60" y="21"/>
                      <a:pt x="60" y="21"/>
                      <a:pt x="60" y="21"/>
                    </a:cubicBezTo>
                    <a:cubicBezTo>
                      <a:pt x="60" y="22"/>
                      <a:pt x="61" y="22"/>
                      <a:pt x="61" y="22"/>
                    </a:cubicBezTo>
                    <a:cubicBezTo>
                      <a:pt x="63" y="23"/>
                      <a:pt x="64" y="25"/>
                      <a:pt x="64" y="26"/>
                    </a:cubicBezTo>
                    <a:lnTo>
                      <a:pt x="59" y="28"/>
                    </a:lnTo>
                    <a:close/>
                    <a:moveTo>
                      <a:pt x="82" y="21"/>
                    </a:moveTo>
                    <a:cubicBezTo>
                      <a:pt x="81" y="20"/>
                      <a:pt x="79" y="19"/>
                      <a:pt x="77" y="16"/>
                    </a:cubicBezTo>
                    <a:cubicBezTo>
                      <a:pt x="81" y="13"/>
                      <a:pt x="81" y="13"/>
                      <a:pt x="81" y="13"/>
                    </a:cubicBezTo>
                    <a:cubicBezTo>
                      <a:pt x="83" y="14"/>
                      <a:pt x="84" y="15"/>
                      <a:pt x="85" y="16"/>
                    </a:cubicBezTo>
                    <a:lnTo>
                      <a:pt x="82" y="21"/>
                    </a:lnTo>
                    <a:close/>
                    <a:moveTo>
                      <a:pt x="59" y="14"/>
                    </a:moveTo>
                    <a:cubicBezTo>
                      <a:pt x="55" y="10"/>
                      <a:pt x="55" y="10"/>
                      <a:pt x="55" y="10"/>
                    </a:cubicBezTo>
                    <a:cubicBezTo>
                      <a:pt x="57" y="8"/>
                      <a:pt x="59" y="8"/>
                      <a:pt x="62" y="7"/>
                    </a:cubicBezTo>
                    <a:cubicBezTo>
                      <a:pt x="63" y="13"/>
                      <a:pt x="63" y="13"/>
                      <a:pt x="63" y="13"/>
                    </a:cubicBezTo>
                    <a:cubicBezTo>
                      <a:pt x="61" y="13"/>
                      <a:pt x="59" y="14"/>
                      <a:pt x="59" y="14"/>
                    </a:cubicBezTo>
                    <a:close/>
                    <a:moveTo>
                      <a:pt x="74" y="6"/>
                    </a:moveTo>
                    <a:cubicBezTo>
                      <a:pt x="68" y="5"/>
                      <a:pt x="68" y="5"/>
                      <a:pt x="68" y="5"/>
                    </a:cubicBezTo>
                    <a:cubicBezTo>
                      <a:pt x="69" y="2"/>
                      <a:pt x="71" y="0"/>
                      <a:pt x="74" y="0"/>
                    </a:cubicBezTo>
                    <a:cubicBezTo>
                      <a:pt x="75" y="0"/>
                      <a:pt x="76" y="0"/>
                      <a:pt x="76" y="1"/>
                    </a:cubicBezTo>
                    <a:cubicBezTo>
                      <a:pt x="77" y="1"/>
                      <a:pt x="77" y="1"/>
                      <a:pt x="78" y="2"/>
                    </a:cubicBezTo>
                    <a:cubicBezTo>
                      <a:pt x="73" y="6"/>
                      <a:pt x="73" y="6"/>
                      <a:pt x="73" y="6"/>
                    </a:cubicBezTo>
                    <a:cubicBezTo>
                      <a:pt x="73" y="6"/>
                      <a:pt x="74" y="6"/>
                      <a:pt x="74" y="6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51" name="ïśḷiḑe"/>
              <p:cNvSpPr/>
              <p:nvPr/>
            </p:nvSpPr>
            <p:spPr bwMode="auto">
              <a:xfrm>
                <a:off x="9691688" y="5302250"/>
                <a:ext cx="125413" cy="23813"/>
              </a:xfrm>
              <a:custGeom>
                <a:avLst/>
                <a:gdLst>
                  <a:gd name="T0" fmla="*/ 22 w 59"/>
                  <a:gd name="T1" fmla="*/ 11 h 11"/>
                  <a:gd name="T2" fmla="*/ 20 w 59"/>
                  <a:gd name="T3" fmla="*/ 11 h 11"/>
                  <a:gd name="T4" fmla="*/ 20 w 59"/>
                  <a:gd name="T5" fmla="*/ 5 h 11"/>
                  <a:gd name="T6" fmla="*/ 23 w 59"/>
                  <a:gd name="T7" fmla="*/ 5 h 11"/>
                  <a:gd name="T8" fmla="*/ 26 w 59"/>
                  <a:gd name="T9" fmla="*/ 5 h 11"/>
                  <a:gd name="T10" fmla="*/ 26 w 59"/>
                  <a:gd name="T11" fmla="*/ 11 h 11"/>
                  <a:gd name="T12" fmla="*/ 22 w 59"/>
                  <a:gd name="T13" fmla="*/ 11 h 11"/>
                  <a:gd name="T14" fmla="*/ 8 w 59"/>
                  <a:gd name="T15" fmla="*/ 10 h 11"/>
                  <a:gd name="T16" fmla="*/ 0 w 59"/>
                  <a:gd name="T17" fmla="*/ 7 h 11"/>
                  <a:gd name="T18" fmla="*/ 6 w 59"/>
                  <a:gd name="T19" fmla="*/ 5 h 11"/>
                  <a:gd name="T20" fmla="*/ 5 w 59"/>
                  <a:gd name="T21" fmla="*/ 4 h 11"/>
                  <a:gd name="T22" fmla="*/ 9 w 59"/>
                  <a:gd name="T23" fmla="*/ 4 h 11"/>
                  <a:gd name="T24" fmla="*/ 8 w 59"/>
                  <a:gd name="T25" fmla="*/ 10 h 11"/>
                  <a:gd name="T26" fmla="*/ 38 w 59"/>
                  <a:gd name="T27" fmla="*/ 10 h 11"/>
                  <a:gd name="T28" fmla="*/ 38 w 59"/>
                  <a:gd name="T29" fmla="*/ 4 h 11"/>
                  <a:gd name="T30" fmla="*/ 43 w 59"/>
                  <a:gd name="T31" fmla="*/ 3 h 11"/>
                  <a:gd name="T32" fmla="*/ 44 w 59"/>
                  <a:gd name="T33" fmla="*/ 9 h 11"/>
                  <a:gd name="T34" fmla="*/ 38 w 59"/>
                  <a:gd name="T35" fmla="*/ 10 h 11"/>
                  <a:gd name="T36" fmla="*/ 56 w 59"/>
                  <a:gd name="T37" fmla="*/ 6 h 11"/>
                  <a:gd name="T38" fmla="*/ 54 w 59"/>
                  <a:gd name="T39" fmla="*/ 1 h 11"/>
                  <a:gd name="T40" fmla="*/ 57 w 59"/>
                  <a:gd name="T41" fmla="*/ 0 h 11"/>
                  <a:gd name="T42" fmla="*/ 59 w 59"/>
                  <a:gd name="T43" fmla="*/ 5 h 11"/>
                  <a:gd name="T44" fmla="*/ 56 w 59"/>
                  <a:gd name="T4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9" h="11">
                    <a:moveTo>
                      <a:pt x="22" y="11"/>
                    </a:moveTo>
                    <a:cubicBezTo>
                      <a:pt x="22" y="11"/>
                      <a:pt x="21" y="11"/>
                      <a:pt x="20" y="11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2" y="5"/>
                      <a:pt x="23" y="5"/>
                    </a:cubicBezTo>
                    <a:cubicBezTo>
                      <a:pt x="24" y="5"/>
                      <a:pt x="25" y="5"/>
                      <a:pt x="26" y="5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5" y="11"/>
                      <a:pt x="24" y="11"/>
                      <a:pt x="22" y="11"/>
                    </a:cubicBezTo>
                    <a:close/>
                    <a:moveTo>
                      <a:pt x="8" y="10"/>
                    </a:moveTo>
                    <a:cubicBezTo>
                      <a:pt x="3" y="9"/>
                      <a:pt x="1" y="9"/>
                      <a:pt x="0" y="7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9" y="4"/>
                    </a:cubicBezTo>
                    <a:lnTo>
                      <a:pt x="8" y="10"/>
                    </a:lnTo>
                    <a:close/>
                    <a:moveTo>
                      <a:pt x="38" y="10"/>
                    </a:moveTo>
                    <a:cubicBezTo>
                      <a:pt x="38" y="4"/>
                      <a:pt x="38" y="4"/>
                      <a:pt x="38" y="4"/>
                    </a:cubicBezTo>
                    <a:cubicBezTo>
                      <a:pt x="39" y="4"/>
                      <a:pt x="41" y="4"/>
                      <a:pt x="43" y="3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42" y="10"/>
                      <a:pt x="40" y="10"/>
                      <a:pt x="38" y="10"/>
                    </a:cubicBezTo>
                    <a:close/>
                    <a:moveTo>
                      <a:pt x="56" y="6"/>
                    </a:moveTo>
                    <a:cubicBezTo>
                      <a:pt x="54" y="1"/>
                      <a:pt x="54" y="1"/>
                      <a:pt x="54" y="1"/>
                    </a:cubicBezTo>
                    <a:cubicBezTo>
                      <a:pt x="55" y="0"/>
                      <a:pt x="56" y="0"/>
                      <a:pt x="57" y="0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8" y="5"/>
                      <a:pt x="57" y="6"/>
                      <a:pt x="56" y="6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52" name="iṩḻiḓé"/>
              <p:cNvSpPr/>
              <p:nvPr/>
            </p:nvSpPr>
            <p:spPr bwMode="auto">
              <a:xfrm>
                <a:off x="6731000" y="6467475"/>
                <a:ext cx="200025" cy="42863"/>
              </a:xfrm>
              <a:custGeom>
                <a:avLst/>
                <a:gdLst>
                  <a:gd name="T0" fmla="*/ 0 w 93"/>
                  <a:gd name="T1" fmla="*/ 20 h 20"/>
                  <a:gd name="T2" fmla="*/ 0 w 93"/>
                  <a:gd name="T3" fmla="*/ 14 h 20"/>
                  <a:gd name="T4" fmla="*/ 6 w 93"/>
                  <a:gd name="T5" fmla="*/ 14 h 20"/>
                  <a:gd name="T6" fmla="*/ 6 w 93"/>
                  <a:gd name="T7" fmla="*/ 20 h 20"/>
                  <a:gd name="T8" fmla="*/ 0 w 93"/>
                  <a:gd name="T9" fmla="*/ 20 h 20"/>
                  <a:gd name="T10" fmla="*/ 18 w 93"/>
                  <a:gd name="T11" fmla="*/ 19 h 20"/>
                  <a:gd name="T12" fmla="*/ 17 w 93"/>
                  <a:gd name="T13" fmla="*/ 13 h 20"/>
                  <a:gd name="T14" fmla="*/ 23 w 93"/>
                  <a:gd name="T15" fmla="*/ 12 h 20"/>
                  <a:gd name="T16" fmla="*/ 24 w 93"/>
                  <a:gd name="T17" fmla="*/ 18 h 20"/>
                  <a:gd name="T18" fmla="*/ 18 w 93"/>
                  <a:gd name="T19" fmla="*/ 19 h 20"/>
                  <a:gd name="T20" fmla="*/ 35 w 93"/>
                  <a:gd name="T21" fmla="*/ 17 h 20"/>
                  <a:gd name="T22" fmla="*/ 35 w 93"/>
                  <a:gd name="T23" fmla="*/ 11 h 20"/>
                  <a:gd name="T24" fmla="*/ 40 w 93"/>
                  <a:gd name="T25" fmla="*/ 10 h 20"/>
                  <a:gd name="T26" fmla="*/ 41 w 93"/>
                  <a:gd name="T27" fmla="*/ 16 h 20"/>
                  <a:gd name="T28" fmla="*/ 35 w 93"/>
                  <a:gd name="T29" fmla="*/ 17 h 20"/>
                  <a:gd name="T30" fmla="*/ 53 w 93"/>
                  <a:gd name="T31" fmla="*/ 14 h 20"/>
                  <a:gd name="T32" fmla="*/ 52 w 93"/>
                  <a:gd name="T33" fmla="*/ 8 h 20"/>
                  <a:gd name="T34" fmla="*/ 58 w 93"/>
                  <a:gd name="T35" fmla="*/ 7 h 20"/>
                  <a:gd name="T36" fmla="*/ 59 w 93"/>
                  <a:gd name="T37" fmla="*/ 13 h 20"/>
                  <a:gd name="T38" fmla="*/ 53 w 93"/>
                  <a:gd name="T39" fmla="*/ 14 h 20"/>
                  <a:gd name="T40" fmla="*/ 70 w 93"/>
                  <a:gd name="T41" fmla="*/ 11 h 20"/>
                  <a:gd name="T42" fmla="*/ 69 w 93"/>
                  <a:gd name="T43" fmla="*/ 5 h 20"/>
                  <a:gd name="T44" fmla="*/ 75 w 93"/>
                  <a:gd name="T45" fmla="*/ 4 h 20"/>
                  <a:gd name="T46" fmla="*/ 76 w 93"/>
                  <a:gd name="T47" fmla="*/ 10 h 20"/>
                  <a:gd name="T48" fmla="*/ 70 w 93"/>
                  <a:gd name="T49" fmla="*/ 11 h 20"/>
                  <a:gd name="T50" fmla="*/ 87 w 93"/>
                  <a:gd name="T51" fmla="*/ 7 h 20"/>
                  <a:gd name="T52" fmla="*/ 86 w 93"/>
                  <a:gd name="T53" fmla="*/ 1 h 20"/>
                  <a:gd name="T54" fmla="*/ 92 w 93"/>
                  <a:gd name="T55" fmla="*/ 0 h 20"/>
                  <a:gd name="T56" fmla="*/ 93 w 93"/>
                  <a:gd name="T57" fmla="*/ 6 h 20"/>
                  <a:gd name="T58" fmla="*/ 87 w 93"/>
                  <a:gd name="T59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3" h="20">
                    <a:moveTo>
                      <a:pt x="0" y="2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2" y="14"/>
                      <a:pt x="6" y="14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2" y="20"/>
                      <a:pt x="0" y="20"/>
                      <a:pt x="0" y="20"/>
                    </a:cubicBezTo>
                    <a:close/>
                    <a:moveTo>
                      <a:pt x="18" y="19"/>
                    </a:moveTo>
                    <a:cubicBezTo>
                      <a:pt x="17" y="13"/>
                      <a:pt x="17" y="13"/>
                      <a:pt x="17" y="13"/>
                    </a:cubicBezTo>
                    <a:cubicBezTo>
                      <a:pt x="19" y="13"/>
                      <a:pt x="21" y="13"/>
                      <a:pt x="23" y="12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2" y="18"/>
                      <a:pt x="20" y="19"/>
                      <a:pt x="18" y="19"/>
                    </a:cubicBezTo>
                    <a:close/>
                    <a:moveTo>
                      <a:pt x="35" y="17"/>
                    </a:moveTo>
                    <a:cubicBezTo>
                      <a:pt x="35" y="11"/>
                      <a:pt x="35" y="11"/>
                      <a:pt x="35" y="11"/>
                    </a:cubicBezTo>
                    <a:cubicBezTo>
                      <a:pt x="36" y="11"/>
                      <a:pt x="38" y="10"/>
                      <a:pt x="40" y="10"/>
                    </a:cubicBezTo>
                    <a:cubicBezTo>
                      <a:pt x="41" y="16"/>
                      <a:pt x="41" y="16"/>
                      <a:pt x="41" y="16"/>
                    </a:cubicBezTo>
                    <a:cubicBezTo>
                      <a:pt x="39" y="16"/>
                      <a:pt x="37" y="17"/>
                      <a:pt x="35" y="17"/>
                    </a:cubicBezTo>
                    <a:close/>
                    <a:moveTo>
                      <a:pt x="53" y="14"/>
                    </a:moveTo>
                    <a:cubicBezTo>
                      <a:pt x="52" y="8"/>
                      <a:pt x="52" y="8"/>
                      <a:pt x="52" y="8"/>
                    </a:cubicBezTo>
                    <a:cubicBezTo>
                      <a:pt x="54" y="8"/>
                      <a:pt x="56" y="8"/>
                      <a:pt x="58" y="7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57" y="14"/>
                      <a:pt x="55" y="14"/>
                      <a:pt x="53" y="14"/>
                    </a:cubicBezTo>
                    <a:close/>
                    <a:moveTo>
                      <a:pt x="70" y="11"/>
                    </a:moveTo>
                    <a:cubicBezTo>
                      <a:pt x="69" y="5"/>
                      <a:pt x="69" y="5"/>
                      <a:pt x="69" y="5"/>
                    </a:cubicBezTo>
                    <a:cubicBezTo>
                      <a:pt x="71" y="5"/>
                      <a:pt x="73" y="5"/>
                      <a:pt x="75" y="4"/>
                    </a:cubicBezTo>
                    <a:cubicBezTo>
                      <a:pt x="76" y="10"/>
                      <a:pt x="76" y="10"/>
                      <a:pt x="76" y="10"/>
                    </a:cubicBezTo>
                    <a:cubicBezTo>
                      <a:pt x="74" y="10"/>
                      <a:pt x="72" y="11"/>
                      <a:pt x="70" y="11"/>
                    </a:cubicBezTo>
                    <a:close/>
                    <a:moveTo>
                      <a:pt x="87" y="7"/>
                    </a:moveTo>
                    <a:cubicBezTo>
                      <a:pt x="86" y="1"/>
                      <a:pt x="86" y="1"/>
                      <a:pt x="86" y="1"/>
                    </a:cubicBezTo>
                    <a:cubicBezTo>
                      <a:pt x="88" y="1"/>
                      <a:pt x="90" y="0"/>
                      <a:pt x="92" y="0"/>
                    </a:cubicBezTo>
                    <a:cubicBezTo>
                      <a:pt x="93" y="6"/>
                      <a:pt x="93" y="6"/>
                      <a:pt x="93" y="6"/>
                    </a:cubicBezTo>
                    <a:cubicBezTo>
                      <a:pt x="91" y="6"/>
                      <a:pt x="89" y="7"/>
                      <a:pt x="87" y="7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53" name="iṥḻïḓè"/>
              <p:cNvSpPr/>
              <p:nvPr/>
            </p:nvSpPr>
            <p:spPr bwMode="auto">
              <a:xfrm>
                <a:off x="4979988" y="4100513"/>
                <a:ext cx="60325" cy="120650"/>
              </a:xfrm>
              <a:custGeom>
                <a:avLst/>
                <a:gdLst>
                  <a:gd name="T0" fmla="*/ 22 w 28"/>
                  <a:gd name="T1" fmla="*/ 56 h 56"/>
                  <a:gd name="T2" fmla="*/ 21 w 28"/>
                  <a:gd name="T3" fmla="*/ 51 h 56"/>
                  <a:gd name="T4" fmla="*/ 26 w 28"/>
                  <a:gd name="T5" fmla="*/ 49 h 56"/>
                  <a:gd name="T6" fmla="*/ 28 w 28"/>
                  <a:gd name="T7" fmla="*/ 55 h 56"/>
                  <a:gd name="T8" fmla="*/ 22 w 28"/>
                  <a:gd name="T9" fmla="*/ 56 h 56"/>
                  <a:gd name="T10" fmla="*/ 17 w 28"/>
                  <a:gd name="T11" fmla="*/ 40 h 56"/>
                  <a:gd name="T12" fmla="*/ 15 w 28"/>
                  <a:gd name="T13" fmla="*/ 35 h 56"/>
                  <a:gd name="T14" fmla="*/ 21 w 28"/>
                  <a:gd name="T15" fmla="*/ 32 h 56"/>
                  <a:gd name="T16" fmla="*/ 23 w 28"/>
                  <a:gd name="T17" fmla="*/ 38 h 56"/>
                  <a:gd name="T18" fmla="*/ 17 w 28"/>
                  <a:gd name="T19" fmla="*/ 40 h 56"/>
                  <a:gd name="T20" fmla="*/ 11 w 28"/>
                  <a:gd name="T21" fmla="*/ 24 h 56"/>
                  <a:gd name="T22" fmla="*/ 8 w 28"/>
                  <a:gd name="T23" fmla="*/ 19 h 56"/>
                  <a:gd name="T24" fmla="*/ 13 w 28"/>
                  <a:gd name="T25" fmla="*/ 16 h 56"/>
                  <a:gd name="T26" fmla="*/ 16 w 28"/>
                  <a:gd name="T27" fmla="*/ 21 h 56"/>
                  <a:gd name="T28" fmla="*/ 11 w 28"/>
                  <a:gd name="T29" fmla="*/ 24 h 56"/>
                  <a:gd name="T30" fmla="*/ 3 w 28"/>
                  <a:gd name="T31" fmla="*/ 8 h 56"/>
                  <a:gd name="T32" fmla="*/ 0 w 28"/>
                  <a:gd name="T33" fmla="*/ 3 h 56"/>
                  <a:gd name="T34" fmla="*/ 5 w 28"/>
                  <a:gd name="T35" fmla="*/ 0 h 56"/>
                  <a:gd name="T36" fmla="*/ 8 w 28"/>
                  <a:gd name="T37" fmla="*/ 6 h 56"/>
                  <a:gd name="T38" fmla="*/ 3 w 28"/>
                  <a:gd name="T39" fmla="*/ 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" h="56">
                    <a:moveTo>
                      <a:pt x="22" y="56"/>
                    </a:moveTo>
                    <a:cubicBezTo>
                      <a:pt x="22" y="55"/>
                      <a:pt x="21" y="53"/>
                      <a:pt x="21" y="51"/>
                    </a:cubicBezTo>
                    <a:cubicBezTo>
                      <a:pt x="26" y="49"/>
                      <a:pt x="26" y="49"/>
                      <a:pt x="26" y="49"/>
                    </a:cubicBezTo>
                    <a:cubicBezTo>
                      <a:pt x="27" y="51"/>
                      <a:pt x="27" y="53"/>
                      <a:pt x="28" y="55"/>
                    </a:cubicBezTo>
                    <a:lnTo>
                      <a:pt x="22" y="56"/>
                    </a:lnTo>
                    <a:close/>
                    <a:moveTo>
                      <a:pt x="17" y="40"/>
                    </a:moveTo>
                    <a:cubicBezTo>
                      <a:pt x="16" y="38"/>
                      <a:pt x="16" y="36"/>
                      <a:pt x="15" y="35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1" y="34"/>
                      <a:pt x="22" y="36"/>
                      <a:pt x="23" y="38"/>
                    </a:cubicBezTo>
                    <a:lnTo>
                      <a:pt x="17" y="40"/>
                    </a:lnTo>
                    <a:close/>
                    <a:moveTo>
                      <a:pt x="11" y="24"/>
                    </a:moveTo>
                    <a:cubicBezTo>
                      <a:pt x="10" y="22"/>
                      <a:pt x="9" y="20"/>
                      <a:pt x="8" y="19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4" y="18"/>
                      <a:pt x="15" y="20"/>
                      <a:pt x="16" y="21"/>
                    </a:cubicBezTo>
                    <a:lnTo>
                      <a:pt x="11" y="24"/>
                    </a:lnTo>
                    <a:close/>
                    <a:moveTo>
                      <a:pt x="3" y="8"/>
                    </a:moveTo>
                    <a:cubicBezTo>
                      <a:pt x="1" y="5"/>
                      <a:pt x="0" y="4"/>
                      <a:pt x="0" y="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6" y="2"/>
                      <a:pt x="8" y="6"/>
                    </a:cubicBezTo>
                    <a:lnTo>
                      <a:pt x="3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54" name="iSḻíďê"/>
              <p:cNvSpPr/>
              <p:nvPr/>
            </p:nvSpPr>
            <p:spPr bwMode="auto">
              <a:xfrm>
                <a:off x="6918325" y="2940050"/>
                <a:ext cx="55563" cy="106363"/>
              </a:xfrm>
              <a:custGeom>
                <a:avLst/>
                <a:gdLst>
                  <a:gd name="T0" fmla="*/ 3 w 26"/>
                  <a:gd name="T1" fmla="*/ 50 h 50"/>
                  <a:gd name="T2" fmla="*/ 0 w 26"/>
                  <a:gd name="T3" fmla="*/ 45 h 50"/>
                  <a:gd name="T4" fmla="*/ 0 w 26"/>
                  <a:gd name="T5" fmla="*/ 44 h 50"/>
                  <a:gd name="T6" fmla="*/ 4 w 26"/>
                  <a:gd name="T7" fmla="*/ 49 h 50"/>
                  <a:gd name="T8" fmla="*/ 3 w 26"/>
                  <a:gd name="T9" fmla="*/ 50 h 50"/>
                  <a:gd name="T10" fmla="*/ 13 w 26"/>
                  <a:gd name="T11" fmla="*/ 40 h 50"/>
                  <a:gd name="T12" fmla="*/ 8 w 26"/>
                  <a:gd name="T13" fmla="*/ 37 h 50"/>
                  <a:gd name="T14" fmla="*/ 12 w 26"/>
                  <a:gd name="T15" fmla="*/ 32 h 50"/>
                  <a:gd name="T16" fmla="*/ 16 w 26"/>
                  <a:gd name="T17" fmla="*/ 35 h 50"/>
                  <a:gd name="T18" fmla="*/ 13 w 26"/>
                  <a:gd name="T19" fmla="*/ 40 h 50"/>
                  <a:gd name="T20" fmla="*/ 22 w 26"/>
                  <a:gd name="T21" fmla="*/ 24 h 50"/>
                  <a:gd name="T22" fmla="*/ 16 w 26"/>
                  <a:gd name="T23" fmla="*/ 22 h 50"/>
                  <a:gd name="T24" fmla="*/ 18 w 26"/>
                  <a:gd name="T25" fmla="*/ 17 h 50"/>
                  <a:gd name="T26" fmla="*/ 24 w 26"/>
                  <a:gd name="T27" fmla="*/ 18 h 50"/>
                  <a:gd name="T28" fmla="*/ 22 w 26"/>
                  <a:gd name="T29" fmla="*/ 24 h 50"/>
                  <a:gd name="T30" fmla="*/ 26 w 26"/>
                  <a:gd name="T31" fmla="*/ 6 h 50"/>
                  <a:gd name="T32" fmla="*/ 20 w 26"/>
                  <a:gd name="T33" fmla="*/ 6 h 50"/>
                  <a:gd name="T34" fmla="*/ 20 w 26"/>
                  <a:gd name="T35" fmla="*/ 5 h 50"/>
                  <a:gd name="T36" fmla="*/ 20 w 26"/>
                  <a:gd name="T37" fmla="*/ 1 h 50"/>
                  <a:gd name="T38" fmla="*/ 25 w 26"/>
                  <a:gd name="T39" fmla="*/ 0 h 50"/>
                  <a:gd name="T40" fmla="*/ 26 w 26"/>
                  <a:gd name="T41" fmla="*/ 5 h 50"/>
                  <a:gd name="T42" fmla="*/ 26 w 26"/>
                  <a:gd name="T43" fmla="*/ 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" h="50">
                    <a:moveTo>
                      <a:pt x="3" y="50"/>
                    </a:moveTo>
                    <a:cubicBezTo>
                      <a:pt x="0" y="45"/>
                      <a:pt x="0" y="45"/>
                      <a:pt x="0" y="45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4" y="49"/>
                      <a:pt x="4" y="49"/>
                      <a:pt x="4" y="49"/>
                    </a:cubicBezTo>
                    <a:lnTo>
                      <a:pt x="3" y="50"/>
                    </a:lnTo>
                    <a:close/>
                    <a:moveTo>
                      <a:pt x="13" y="40"/>
                    </a:moveTo>
                    <a:cubicBezTo>
                      <a:pt x="8" y="37"/>
                      <a:pt x="8" y="37"/>
                      <a:pt x="8" y="37"/>
                    </a:cubicBezTo>
                    <a:cubicBezTo>
                      <a:pt x="9" y="35"/>
                      <a:pt x="11" y="34"/>
                      <a:pt x="12" y="32"/>
                    </a:cubicBezTo>
                    <a:cubicBezTo>
                      <a:pt x="16" y="35"/>
                      <a:pt x="16" y="35"/>
                      <a:pt x="16" y="35"/>
                    </a:cubicBezTo>
                    <a:cubicBezTo>
                      <a:pt x="15" y="37"/>
                      <a:pt x="14" y="39"/>
                      <a:pt x="13" y="40"/>
                    </a:cubicBezTo>
                    <a:close/>
                    <a:moveTo>
                      <a:pt x="22" y="24"/>
                    </a:move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20"/>
                      <a:pt x="18" y="19"/>
                      <a:pt x="18" y="17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3" y="20"/>
                      <a:pt x="23" y="22"/>
                      <a:pt x="22" y="24"/>
                    </a:cubicBezTo>
                    <a:close/>
                    <a:moveTo>
                      <a:pt x="26" y="6"/>
                    </a:moveTo>
                    <a:cubicBezTo>
                      <a:pt x="20" y="6"/>
                      <a:pt x="20" y="6"/>
                      <a:pt x="20" y="6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3"/>
                      <a:pt x="20" y="2"/>
                      <a:pt x="20" y="1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6" y="2"/>
                      <a:pt x="26" y="3"/>
                      <a:pt x="26" y="5"/>
                    </a:cubicBezTo>
                    <a:lnTo>
                      <a:pt x="26" y="6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55" name="îşļïḍè"/>
              <p:cNvSpPr/>
              <p:nvPr/>
            </p:nvSpPr>
            <p:spPr bwMode="auto">
              <a:xfrm>
                <a:off x="6845300" y="3368675"/>
                <a:ext cx="22225" cy="125413"/>
              </a:xfrm>
              <a:custGeom>
                <a:avLst/>
                <a:gdLst>
                  <a:gd name="T0" fmla="*/ 6 w 14"/>
                  <a:gd name="T1" fmla="*/ 79 h 79"/>
                  <a:gd name="T2" fmla="*/ 5 w 14"/>
                  <a:gd name="T3" fmla="*/ 71 h 79"/>
                  <a:gd name="T4" fmla="*/ 13 w 14"/>
                  <a:gd name="T5" fmla="*/ 71 h 79"/>
                  <a:gd name="T6" fmla="*/ 14 w 14"/>
                  <a:gd name="T7" fmla="*/ 78 h 79"/>
                  <a:gd name="T8" fmla="*/ 6 w 14"/>
                  <a:gd name="T9" fmla="*/ 79 h 79"/>
                  <a:gd name="T10" fmla="*/ 4 w 14"/>
                  <a:gd name="T11" fmla="*/ 55 h 79"/>
                  <a:gd name="T12" fmla="*/ 4 w 14"/>
                  <a:gd name="T13" fmla="*/ 48 h 79"/>
                  <a:gd name="T14" fmla="*/ 12 w 14"/>
                  <a:gd name="T15" fmla="*/ 47 h 79"/>
                  <a:gd name="T16" fmla="*/ 12 w 14"/>
                  <a:gd name="T17" fmla="*/ 55 h 79"/>
                  <a:gd name="T18" fmla="*/ 4 w 14"/>
                  <a:gd name="T19" fmla="*/ 55 h 79"/>
                  <a:gd name="T20" fmla="*/ 2 w 14"/>
                  <a:gd name="T21" fmla="*/ 32 h 79"/>
                  <a:gd name="T22" fmla="*/ 1 w 14"/>
                  <a:gd name="T23" fmla="*/ 24 h 79"/>
                  <a:gd name="T24" fmla="*/ 9 w 14"/>
                  <a:gd name="T25" fmla="*/ 24 h 79"/>
                  <a:gd name="T26" fmla="*/ 9 w 14"/>
                  <a:gd name="T27" fmla="*/ 32 h 79"/>
                  <a:gd name="T28" fmla="*/ 2 w 14"/>
                  <a:gd name="T29" fmla="*/ 32 h 79"/>
                  <a:gd name="T30" fmla="*/ 0 w 14"/>
                  <a:gd name="T31" fmla="*/ 9 h 79"/>
                  <a:gd name="T32" fmla="*/ 0 w 14"/>
                  <a:gd name="T33" fmla="*/ 1 h 79"/>
                  <a:gd name="T34" fmla="*/ 6 w 14"/>
                  <a:gd name="T35" fmla="*/ 0 h 79"/>
                  <a:gd name="T36" fmla="*/ 8 w 14"/>
                  <a:gd name="T37" fmla="*/ 8 h 79"/>
                  <a:gd name="T38" fmla="*/ 0 w 14"/>
                  <a:gd name="T39" fmla="*/ 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79">
                    <a:moveTo>
                      <a:pt x="6" y="79"/>
                    </a:moveTo>
                    <a:lnTo>
                      <a:pt x="5" y="71"/>
                    </a:lnTo>
                    <a:lnTo>
                      <a:pt x="13" y="71"/>
                    </a:lnTo>
                    <a:lnTo>
                      <a:pt x="14" y="78"/>
                    </a:lnTo>
                    <a:lnTo>
                      <a:pt x="6" y="79"/>
                    </a:lnTo>
                    <a:close/>
                    <a:moveTo>
                      <a:pt x="4" y="55"/>
                    </a:moveTo>
                    <a:lnTo>
                      <a:pt x="4" y="48"/>
                    </a:lnTo>
                    <a:lnTo>
                      <a:pt x="12" y="47"/>
                    </a:lnTo>
                    <a:lnTo>
                      <a:pt x="12" y="55"/>
                    </a:lnTo>
                    <a:lnTo>
                      <a:pt x="4" y="55"/>
                    </a:lnTo>
                    <a:close/>
                    <a:moveTo>
                      <a:pt x="2" y="32"/>
                    </a:moveTo>
                    <a:lnTo>
                      <a:pt x="1" y="24"/>
                    </a:lnTo>
                    <a:lnTo>
                      <a:pt x="9" y="24"/>
                    </a:lnTo>
                    <a:lnTo>
                      <a:pt x="9" y="32"/>
                    </a:lnTo>
                    <a:lnTo>
                      <a:pt x="2" y="32"/>
                    </a:lnTo>
                    <a:close/>
                    <a:moveTo>
                      <a:pt x="0" y="9"/>
                    </a:moveTo>
                    <a:lnTo>
                      <a:pt x="0" y="1"/>
                    </a:lnTo>
                    <a:lnTo>
                      <a:pt x="6" y="0"/>
                    </a:lnTo>
                    <a:lnTo>
                      <a:pt x="8" y="8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56" name="iṡḻïḋe"/>
              <p:cNvSpPr/>
              <p:nvPr/>
            </p:nvSpPr>
            <p:spPr bwMode="auto">
              <a:xfrm>
                <a:off x="5564188" y="4983163"/>
                <a:ext cx="115888" cy="103188"/>
              </a:xfrm>
              <a:custGeom>
                <a:avLst/>
                <a:gdLst>
                  <a:gd name="T0" fmla="*/ 0 w 54"/>
                  <a:gd name="T1" fmla="*/ 48 h 48"/>
                  <a:gd name="T2" fmla="*/ 0 w 54"/>
                  <a:gd name="T3" fmla="*/ 48 h 48"/>
                  <a:gd name="T4" fmla="*/ 2 w 54"/>
                  <a:gd name="T5" fmla="*/ 41 h 48"/>
                  <a:gd name="T6" fmla="*/ 7 w 54"/>
                  <a:gd name="T7" fmla="*/ 43 h 48"/>
                  <a:gd name="T8" fmla="*/ 6 w 54"/>
                  <a:gd name="T9" fmla="*/ 48 h 48"/>
                  <a:gd name="T10" fmla="*/ 0 w 54"/>
                  <a:gd name="T11" fmla="*/ 48 h 48"/>
                  <a:gd name="T12" fmla="*/ 14 w 54"/>
                  <a:gd name="T13" fmla="*/ 36 h 48"/>
                  <a:gd name="T14" fmla="*/ 11 w 54"/>
                  <a:gd name="T15" fmla="*/ 31 h 48"/>
                  <a:gd name="T16" fmla="*/ 16 w 54"/>
                  <a:gd name="T17" fmla="*/ 29 h 48"/>
                  <a:gd name="T18" fmla="*/ 18 w 54"/>
                  <a:gd name="T19" fmla="*/ 34 h 48"/>
                  <a:gd name="T20" fmla="*/ 14 w 54"/>
                  <a:gd name="T21" fmla="*/ 36 h 48"/>
                  <a:gd name="T22" fmla="*/ 29 w 54"/>
                  <a:gd name="T23" fmla="*/ 31 h 48"/>
                  <a:gd name="T24" fmla="*/ 27 w 54"/>
                  <a:gd name="T25" fmla="*/ 25 h 48"/>
                  <a:gd name="T26" fmla="*/ 32 w 54"/>
                  <a:gd name="T27" fmla="*/ 23 h 48"/>
                  <a:gd name="T28" fmla="*/ 35 w 54"/>
                  <a:gd name="T29" fmla="*/ 27 h 48"/>
                  <a:gd name="T30" fmla="*/ 29 w 54"/>
                  <a:gd name="T31" fmla="*/ 31 h 48"/>
                  <a:gd name="T32" fmla="*/ 43 w 54"/>
                  <a:gd name="T33" fmla="*/ 18 h 48"/>
                  <a:gd name="T34" fmla="*/ 38 w 54"/>
                  <a:gd name="T35" fmla="*/ 14 h 48"/>
                  <a:gd name="T36" fmla="*/ 42 w 54"/>
                  <a:gd name="T37" fmla="*/ 9 h 48"/>
                  <a:gd name="T38" fmla="*/ 46 w 54"/>
                  <a:gd name="T39" fmla="*/ 13 h 48"/>
                  <a:gd name="T40" fmla="*/ 43 w 54"/>
                  <a:gd name="T41" fmla="*/ 18 h 48"/>
                  <a:gd name="T42" fmla="*/ 54 w 54"/>
                  <a:gd name="T43" fmla="*/ 4 h 48"/>
                  <a:gd name="T44" fmla="*/ 50 w 54"/>
                  <a:gd name="T45" fmla="*/ 0 h 48"/>
                  <a:gd name="T46" fmla="*/ 50 w 54"/>
                  <a:gd name="T47" fmla="*/ 0 h 48"/>
                  <a:gd name="T48" fmla="*/ 54 w 54"/>
                  <a:gd name="T49" fmla="*/ 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4" h="48">
                    <a:moveTo>
                      <a:pt x="0" y="48"/>
                    </a:moveTo>
                    <a:cubicBezTo>
                      <a:pt x="0" y="48"/>
                      <a:pt x="0" y="48"/>
                      <a:pt x="0" y="48"/>
                    </a:cubicBezTo>
                    <a:cubicBezTo>
                      <a:pt x="0" y="47"/>
                      <a:pt x="0" y="44"/>
                      <a:pt x="2" y="41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6" y="45"/>
                      <a:pt x="6" y="47"/>
                      <a:pt x="6" y="48"/>
                    </a:cubicBezTo>
                    <a:lnTo>
                      <a:pt x="0" y="48"/>
                    </a:lnTo>
                    <a:close/>
                    <a:moveTo>
                      <a:pt x="14" y="36"/>
                    </a:moveTo>
                    <a:cubicBezTo>
                      <a:pt x="11" y="31"/>
                      <a:pt x="11" y="31"/>
                      <a:pt x="11" y="31"/>
                    </a:cubicBezTo>
                    <a:cubicBezTo>
                      <a:pt x="12" y="30"/>
                      <a:pt x="14" y="29"/>
                      <a:pt x="16" y="29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6" y="35"/>
                      <a:pt x="15" y="36"/>
                      <a:pt x="14" y="36"/>
                    </a:cubicBezTo>
                    <a:close/>
                    <a:moveTo>
                      <a:pt x="29" y="31"/>
                    </a:moveTo>
                    <a:cubicBezTo>
                      <a:pt x="27" y="25"/>
                      <a:pt x="27" y="25"/>
                      <a:pt x="27" y="25"/>
                    </a:cubicBezTo>
                    <a:cubicBezTo>
                      <a:pt x="29" y="24"/>
                      <a:pt x="31" y="24"/>
                      <a:pt x="32" y="23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3" y="29"/>
                      <a:pt x="31" y="30"/>
                      <a:pt x="29" y="31"/>
                    </a:cubicBezTo>
                    <a:close/>
                    <a:moveTo>
                      <a:pt x="43" y="18"/>
                    </a:moveTo>
                    <a:cubicBezTo>
                      <a:pt x="38" y="14"/>
                      <a:pt x="38" y="14"/>
                      <a:pt x="38" y="14"/>
                    </a:cubicBezTo>
                    <a:cubicBezTo>
                      <a:pt x="40" y="12"/>
                      <a:pt x="41" y="11"/>
                      <a:pt x="42" y="9"/>
                    </a:cubicBezTo>
                    <a:cubicBezTo>
                      <a:pt x="46" y="13"/>
                      <a:pt x="46" y="13"/>
                      <a:pt x="46" y="13"/>
                    </a:cubicBezTo>
                    <a:cubicBezTo>
                      <a:pt x="45" y="14"/>
                      <a:pt x="44" y="16"/>
                      <a:pt x="43" y="18"/>
                    </a:cubicBezTo>
                    <a:close/>
                    <a:moveTo>
                      <a:pt x="54" y="4"/>
                    </a:moveTo>
                    <a:cubicBezTo>
                      <a:pt x="50" y="0"/>
                      <a:pt x="50" y="0"/>
                      <a:pt x="50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4" y="4"/>
                      <a:pt x="54" y="4"/>
                      <a:pt x="54" y="4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57" name="ïṡľîḍe"/>
              <p:cNvSpPr/>
              <p:nvPr/>
            </p:nvSpPr>
            <p:spPr bwMode="auto">
              <a:xfrm>
                <a:off x="4946650" y="4362450"/>
                <a:ext cx="26988" cy="161925"/>
              </a:xfrm>
              <a:custGeom>
                <a:avLst/>
                <a:gdLst>
                  <a:gd name="T0" fmla="*/ 12 w 13"/>
                  <a:gd name="T1" fmla="*/ 76 h 76"/>
                  <a:gd name="T2" fmla="*/ 6 w 13"/>
                  <a:gd name="T3" fmla="*/ 75 h 76"/>
                  <a:gd name="T4" fmla="*/ 7 w 13"/>
                  <a:gd name="T5" fmla="*/ 70 h 76"/>
                  <a:gd name="T6" fmla="*/ 13 w 13"/>
                  <a:gd name="T7" fmla="*/ 70 h 76"/>
                  <a:gd name="T8" fmla="*/ 12 w 13"/>
                  <a:gd name="T9" fmla="*/ 76 h 76"/>
                  <a:gd name="T10" fmla="*/ 7 w 13"/>
                  <a:gd name="T11" fmla="*/ 58 h 76"/>
                  <a:gd name="T12" fmla="*/ 6 w 13"/>
                  <a:gd name="T13" fmla="*/ 53 h 76"/>
                  <a:gd name="T14" fmla="*/ 12 w 13"/>
                  <a:gd name="T15" fmla="*/ 52 h 76"/>
                  <a:gd name="T16" fmla="*/ 13 w 13"/>
                  <a:gd name="T17" fmla="*/ 58 h 76"/>
                  <a:gd name="T18" fmla="*/ 7 w 13"/>
                  <a:gd name="T19" fmla="*/ 58 h 76"/>
                  <a:gd name="T20" fmla="*/ 5 w 13"/>
                  <a:gd name="T21" fmla="*/ 41 h 76"/>
                  <a:gd name="T22" fmla="*/ 5 w 13"/>
                  <a:gd name="T23" fmla="*/ 35 h 76"/>
                  <a:gd name="T24" fmla="*/ 11 w 13"/>
                  <a:gd name="T25" fmla="*/ 35 h 76"/>
                  <a:gd name="T26" fmla="*/ 11 w 13"/>
                  <a:gd name="T27" fmla="*/ 40 h 76"/>
                  <a:gd name="T28" fmla="*/ 5 w 13"/>
                  <a:gd name="T29" fmla="*/ 41 h 76"/>
                  <a:gd name="T30" fmla="*/ 3 w 13"/>
                  <a:gd name="T31" fmla="*/ 24 h 76"/>
                  <a:gd name="T32" fmla="*/ 3 w 13"/>
                  <a:gd name="T33" fmla="*/ 18 h 76"/>
                  <a:gd name="T34" fmla="*/ 8 w 13"/>
                  <a:gd name="T35" fmla="*/ 17 h 76"/>
                  <a:gd name="T36" fmla="*/ 9 w 13"/>
                  <a:gd name="T37" fmla="*/ 23 h 76"/>
                  <a:gd name="T38" fmla="*/ 3 w 13"/>
                  <a:gd name="T39" fmla="*/ 24 h 76"/>
                  <a:gd name="T40" fmla="*/ 1 w 13"/>
                  <a:gd name="T41" fmla="*/ 6 h 76"/>
                  <a:gd name="T42" fmla="*/ 0 w 13"/>
                  <a:gd name="T43" fmla="*/ 1 h 76"/>
                  <a:gd name="T44" fmla="*/ 6 w 13"/>
                  <a:gd name="T45" fmla="*/ 0 h 76"/>
                  <a:gd name="T46" fmla="*/ 7 w 13"/>
                  <a:gd name="T47" fmla="*/ 5 h 76"/>
                  <a:gd name="T48" fmla="*/ 1 w 13"/>
                  <a:gd name="T49" fmla="*/ 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" h="76">
                    <a:moveTo>
                      <a:pt x="12" y="76"/>
                    </a:moveTo>
                    <a:cubicBezTo>
                      <a:pt x="6" y="75"/>
                      <a:pt x="6" y="75"/>
                      <a:pt x="6" y="75"/>
                    </a:cubicBezTo>
                    <a:cubicBezTo>
                      <a:pt x="7" y="74"/>
                      <a:pt x="7" y="72"/>
                      <a:pt x="7" y="70"/>
                    </a:cubicBezTo>
                    <a:cubicBezTo>
                      <a:pt x="13" y="70"/>
                      <a:pt x="13" y="70"/>
                      <a:pt x="13" y="70"/>
                    </a:cubicBezTo>
                    <a:cubicBezTo>
                      <a:pt x="13" y="72"/>
                      <a:pt x="12" y="74"/>
                      <a:pt x="12" y="76"/>
                    </a:cubicBezTo>
                    <a:close/>
                    <a:moveTo>
                      <a:pt x="7" y="58"/>
                    </a:moveTo>
                    <a:cubicBezTo>
                      <a:pt x="7" y="57"/>
                      <a:pt x="7" y="55"/>
                      <a:pt x="6" y="53"/>
                    </a:cubicBezTo>
                    <a:cubicBezTo>
                      <a:pt x="12" y="52"/>
                      <a:pt x="12" y="52"/>
                      <a:pt x="12" y="52"/>
                    </a:cubicBezTo>
                    <a:cubicBezTo>
                      <a:pt x="12" y="54"/>
                      <a:pt x="13" y="56"/>
                      <a:pt x="13" y="58"/>
                    </a:cubicBezTo>
                    <a:lnTo>
                      <a:pt x="7" y="58"/>
                    </a:lnTo>
                    <a:close/>
                    <a:moveTo>
                      <a:pt x="5" y="41"/>
                    </a:moveTo>
                    <a:cubicBezTo>
                      <a:pt x="5" y="39"/>
                      <a:pt x="5" y="37"/>
                      <a:pt x="5" y="35"/>
                    </a:cubicBezTo>
                    <a:cubicBezTo>
                      <a:pt x="11" y="35"/>
                      <a:pt x="11" y="35"/>
                      <a:pt x="11" y="35"/>
                    </a:cubicBezTo>
                    <a:cubicBezTo>
                      <a:pt x="11" y="37"/>
                      <a:pt x="11" y="39"/>
                      <a:pt x="11" y="40"/>
                    </a:cubicBezTo>
                    <a:lnTo>
                      <a:pt x="5" y="41"/>
                    </a:lnTo>
                    <a:close/>
                    <a:moveTo>
                      <a:pt x="3" y="24"/>
                    </a:moveTo>
                    <a:cubicBezTo>
                      <a:pt x="3" y="22"/>
                      <a:pt x="3" y="20"/>
                      <a:pt x="3" y="18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9" y="19"/>
                      <a:pt x="9" y="21"/>
                      <a:pt x="9" y="23"/>
                    </a:cubicBezTo>
                    <a:lnTo>
                      <a:pt x="3" y="24"/>
                    </a:lnTo>
                    <a:close/>
                    <a:moveTo>
                      <a:pt x="1" y="6"/>
                    </a:moveTo>
                    <a:cubicBezTo>
                      <a:pt x="0" y="3"/>
                      <a:pt x="0" y="1"/>
                      <a:pt x="0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2"/>
                      <a:pt x="7" y="5"/>
                    </a:cubicBezTo>
                    <a:lnTo>
                      <a:pt x="1" y="6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58" name="ïṩļiďé"/>
              <p:cNvSpPr/>
              <p:nvPr/>
            </p:nvSpPr>
            <p:spPr bwMode="auto">
              <a:xfrm>
                <a:off x="4784725" y="3665538"/>
                <a:ext cx="727075" cy="379413"/>
              </a:xfrm>
              <a:custGeom>
                <a:avLst/>
                <a:gdLst>
                  <a:gd name="T0" fmla="*/ 248 w 339"/>
                  <a:gd name="T1" fmla="*/ 173 h 177"/>
                  <a:gd name="T2" fmla="*/ 250 w 339"/>
                  <a:gd name="T3" fmla="*/ 164 h 177"/>
                  <a:gd name="T4" fmla="*/ 269 w 339"/>
                  <a:gd name="T5" fmla="*/ 167 h 177"/>
                  <a:gd name="T6" fmla="*/ 276 w 339"/>
                  <a:gd name="T7" fmla="*/ 170 h 177"/>
                  <a:gd name="T8" fmla="*/ 256 w 339"/>
                  <a:gd name="T9" fmla="*/ 164 h 177"/>
                  <a:gd name="T10" fmla="*/ 281 w 339"/>
                  <a:gd name="T11" fmla="*/ 163 h 177"/>
                  <a:gd name="T12" fmla="*/ 211 w 339"/>
                  <a:gd name="T13" fmla="*/ 167 h 177"/>
                  <a:gd name="T14" fmla="*/ 211 w 339"/>
                  <a:gd name="T15" fmla="*/ 161 h 177"/>
                  <a:gd name="T16" fmla="*/ 227 w 339"/>
                  <a:gd name="T17" fmla="*/ 159 h 177"/>
                  <a:gd name="T18" fmla="*/ 227 w 339"/>
                  <a:gd name="T19" fmla="*/ 165 h 177"/>
                  <a:gd name="T20" fmla="*/ 220 w 339"/>
                  <a:gd name="T21" fmla="*/ 153 h 177"/>
                  <a:gd name="T22" fmla="*/ 204 w 339"/>
                  <a:gd name="T23" fmla="*/ 154 h 177"/>
                  <a:gd name="T24" fmla="*/ 210 w 339"/>
                  <a:gd name="T25" fmla="*/ 152 h 177"/>
                  <a:gd name="T26" fmla="*/ 292 w 339"/>
                  <a:gd name="T27" fmla="*/ 150 h 177"/>
                  <a:gd name="T28" fmla="*/ 176 w 339"/>
                  <a:gd name="T29" fmla="*/ 143 h 177"/>
                  <a:gd name="T30" fmla="*/ 185 w 339"/>
                  <a:gd name="T31" fmla="*/ 146 h 177"/>
                  <a:gd name="T32" fmla="*/ 187 w 339"/>
                  <a:gd name="T33" fmla="*/ 141 h 177"/>
                  <a:gd name="T34" fmla="*/ 291 w 339"/>
                  <a:gd name="T35" fmla="*/ 139 h 177"/>
                  <a:gd name="T36" fmla="*/ 161 w 339"/>
                  <a:gd name="T37" fmla="*/ 136 h 177"/>
                  <a:gd name="T38" fmla="*/ 201 w 339"/>
                  <a:gd name="T39" fmla="*/ 131 h 177"/>
                  <a:gd name="T40" fmla="*/ 286 w 339"/>
                  <a:gd name="T41" fmla="*/ 138 h 177"/>
                  <a:gd name="T42" fmla="*/ 147 w 339"/>
                  <a:gd name="T43" fmla="*/ 138 h 177"/>
                  <a:gd name="T44" fmla="*/ 192 w 339"/>
                  <a:gd name="T45" fmla="*/ 128 h 177"/>
                  <a:gd name="T46" fmla="*/ 303 w 339"/>
                  <a:gd name="T47" fmla="*/ 122 h 177"/>
                  <a:gd name="T48" fmla="*/ 302 w 339"/>
                  <a:gd name="T49" fmla="*/ 128 h 177"/>
                  <a:gd name="T50" fmla="*/ 287 w 339"/>
                  <a:gd name="T51" fmla="*/ 121 h 177"/>
                  <a:gd name="T52" fmla="*/ 313 w 339"/>
                  <a:gd name="T53" fmla="*/ 126 h 177"/>
                  <a:gd name="T54" fmla="*/ 325 w 339"/>
                  <a:gd name="T55" fmla="*/ 126 h 177"/>
                  <a:gd name="T56" fmla="*/ 325 w 339"/>
                  <a:gd name="T57" fmla="*/ 126 h 177"/>
                  <a:gd name="T58" fmla="*/ 140 w 339"/>
                  <a:gd name="T59" fmla="*/ 119 h 177"/>
                  <a:gd name="T60" fmla="*/ 291 w 339"/>
                  <a:gd name="T61" fmla="*/ 111 h 177"/>
                  <a:gd name="T62" fmla="*/ 120 w 339"/>
                  <a:gd name="T63" fmla="*/ 115 h 177"/>
                  <a:gd name="T64" fmla="*/ 5 w 339"/>
                  <a:gd name="T65" fmla="*/ 115 h 177"/>
                  <a:gd name="T66" fmla="*/ 320 w 339"/>
                  <a:gd name="T67" fmla="*/ 114 h 177"/>
                  <a:gd name="T68" fmla="*/ 320 w 339"/>
                  <a:gd name="T69" fmla="*/ 114 h 177"/>
                  <a:gd name="T70" fmla="*/ 15 w 339"/>
                  <a:gd name="T71" fmla="*/ 108 h 177"/>
                  <a:gd name="T72" fmla="*/ 334 w 339"/>
                  <a:gd name="T73" fmla="*/ 95 h 177"/>
                  <a:gd name="T74" fmla="*/ 114 w 339"/>
                  <a:gd name="T75" fmla="*/ 99 h 177"/>
                  <a:gd name="T76" fmla="*/ 21 w 339"/>
                  <a:gd name="T77" fmla="*/ 93 h 177"/>
                  <a:gd name="T78" fmla="*/ 28 w 339"/>
                  <a:gd name="T79" fmla="*/ 77 h 177"/>
                  <a:gd name="T80" fmla="*/ 32 w 339"/>
                  <a:gd name="T81" fmla="*/ 82 h 177"/>
                  <a:gd name="T82" fmla="*/ 106 w 339"/>
                  <a:gd name="T83" fmla="*/ 79 h 177"/>
                  <a:gd name="T84" fmla="*/ 112 w 339"/>
                  <a:gd name="T85" fmla="*/ 83 h 177"/>
                  <a:gd name="T86" fmla="*/ 28 w 339"/>
                  <a:gd name="T87" fmla="*/ 66 h 177"/>
                  <a:gd name="T88" fmla="*/ 100 w 339"/>
                  <a:gd name="T89" fmla="*/ 62 h 177"/>
                  <a:gd name="T90" fmla="*/ 19 w 339"/>
                  <a:gd name="T91" fmla="*/ 60 h 177"/>
                  <a:gd name="T92" fmla="*/ 95 w 339"/>
                  <a:gd name="T93" fmla="*/ 52 h 177"/>
                  <a:gd name="T94" fmla="*/ 101 w 339"/>
                  <a:gd name="T95" fmla="*/ 51 h 177"/>
                  <a:gd name="T96" fmla="*/ 19 w 339"/>
                  <a:gd name="T97" fmla="*/ 41 h 177"/>
                  <a:gd name="T98" fmla="*/ 23 w 339"/>
                  <a:gd name="T99" fmla="*/ 48 h 177"/>
                  <a:gd name="T100" fmla="*/ 101 w 339"/>
                  <a:gd name="T101" fmla="*/ 32 h 177"/>
                  <a:gd name="T102" fmla="*/ 27 w 339"/>
                  <a:gd name="T103" fmla="*/ 26 h 177"/>
                  <a:gd name="T104" fmla="*/ 40 w 339"/>
                  <a:gd name="T105" fmla="*/ 25 h 177"/>
                  <a:gd name="T106" fmla="*/ 47 w 339"/>
                  <a:gd name="T107" fmla="*/ 24 h 177"/>
                  <a:gd name="T108" fmla="*/ 95 w 339"/>
                  <a:gd name="T109" fmla="*/ 16 h 177"/>
                  <a:gd name="T110" fmla="*/ 74 w 339"/>
                  <a:gd name="T111" fmla="*/ 12 h 177"/>
                  <a:gd name="T112" fmla="*/ 47 w 339"/>
                  <a:gd name="T113" fmla="*/ 7 h 177"/>
                  <a:gd name="T114" fmla="*/ 62 w 339"/>
                  <a:gd name="T115" fmla="*/ 6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39" h="177">
                    <a:moveTo>
                      <a:pt x="238" y="177"/>
                    </a:moveTo>
                    <a:cubicBezTo>
                      <a:pt x="236" y="175"/>
                      <a:pt x="235" y="174"/>
                      <a:pt x="234" y="171"/>
                    </a:cubicBezTo>
                    <a:cubicBezTo>
                      <a:pt x="239" y="168"/>
                      <a:pt x="239" y="168"/>
                      <a:pt x="239" y="168"/>
                    </a:cubicBezTo>
                    <a:cubicBezTo>
                      <a:pt x="240" y="171"/>
                      <a:pt x="241" y="172"/>
                      <a:pt x="242" y="172"/>
                    </a:cubicBezTo>
                    <a:lnTo>
                      <a:pt x="238" y="177"/>
                    </a:lnTo>
                    <a:close/>
                    <a:moveTo>
                      <a:pt x="248" y="173"/>
                    </a:moveTo>
                    <a:cubicBezTo>
                      <a:pt x="247" y="167"/>
                      <a:pt x="247" y="167"/>
                      <a:pt x="247" y="167"/>
                    </a:cubicBezTo>
                    <a:cubicBezTo>
                      <a:pt x="246" y="168"/>
                      <a:pt x="246" y="168"/>
                      <a:pt x="246" y="169"/>
                    </a:cubicBezTo>
                    <a:cubicBezTo>
                      <a:pt x="246" y="169"/>
                      <a:pt x="246" y="170"/>
                      <a:pt x="246" y="170"/>
                    </a:cubicBezTo>
                    <a:cubicBezTo>
                      <a:pt x="246" y="169"/>
                      <a:pt x="246" y="169"/>
                      <a:pt x="245" y="169"/>
                    </a:cubicBezTo>
                    <a:cubicBezTo>
                      <a:pt x="245" y="168"/>
                      <a:pt x="245" y="168"/>
                      <a:pt x="245" y="168"/>
                    </a:cubicBezTo>
                    <a:cubicBezTo>
                      <a:pt x="250" y="164"/>
                      <a:pt x="250" y="164"/>
                      <a:pt x="250" y="164"/>
                    </a:cubicBezTo>
                    <a:cubicBezTo>
                      <a:pt x="250" y="165"/>
                      <a:pt x="250" y="165"/>
                      <a:pt x="250" y="165"/>
                    </a:cubicBezTo>
                    <a:cubicBezTo>
                      <a:pt x="251" y="166"/>
                      <a:pt x="252" y="167"/>
                      <a:pt x="252" y="169"/>
                    </a:cubicBezTo>
                    <a:cubicBezTo>
                      <a:pt x="252" y="170"/>
                      <a:pt x="251" y="171"/>
                      <a:pt x="250" y="172"/>
                    </a:cubicBezTo>
                    <a:cubicBezTo>
                      <a:pt x="250" y="173"/>
                      <a:pt x="249" y="173"/>
                      <a:pt x="248" y="173"/>
                    </a:cubicBezTo>
                    <a:close/>
                    <a:moveTo>
                      <a:pt x="272" y="172"/>
                    </a:moveTo>
                    <a:cubicBezTo>
                      <a:pt x="269" y="167"/>
                      <a:pt x="269" y="167"/>
                      <a:pt x="269" y="167"/>
                    </a:cubicBezTo>
                    <a:cubicBezTo>
                      <a:pt x="270" y="166"/>
                      <a:pt x="271" y="166"/>
                      <a:pt x="271" y="165"/>
                    </a:cubicBezTo>
                    <a:cubicBezTo>
                      <a:pt x="272" y="165"/>
                      <a:pt x="274" y="164"/>
                      <a:pt x="276" y="164"/>
                    </a:cubicBezTo>
                    <a:cubicBezTo>
                      <a:pt x="276" y="167"/>
                      <a:pt x="276" y="167"/>
                      <a:pt x="276" y="167"/>
                    </a:cubicBezTo>
                    <a:cubicBezTo>
                      <a:pt x="276" y="168"/>
                      <a:pt x="276" y="168"/>
                      <a:pt x="276" y="168"/>
                    </a:cubicBezTo>
                    <a:cubicBezTo>
                      <a:pt x="276" y="168"/>
                      <a:pt x="276" y="168"/>
                      <a:pt x="276" y="168"/>
                    </a:cubicBezTo>
                    <a:cubicBezTo>
                      <a:pt x="276" y="170"/>
                      <a:pt x="276" y="170"/>
                      <a:pt x="276" y="170"/>
                    </a:cubicBezTo>
                    <a:cubicBezTo>
                      <a:pt x="274" y="171"/>
                      <a:pt x="274" y="171"/>
                      <a:pt x="274" y="171"/>
                    </a:cubicBezTo>
                    <a:cubicBezTo>
                      <a:pt x="274" y="171"/>
                      <a:pt x="273" y="171"/>
                      <a:pt x="272" y="172"/>
                    </a:cubicBezTo>
                    <a:close/>
                    <a:moveTo>
                      <a:pt x="259" y="170"/>
                    </a:moveTo>
                    <a:cubicBezTo>
                      <a:pt x="258" y="170"/>
                      <a:pt x="257" y="170"/>
                      <a:pt x="255" y="169"/>
                    </a:cubicBezTo>
                    <a:cubicBezTo>
                      <a:pt x="255" y="166"/>
                      <a:pt x="255" y="166"/>
                      <a:pt x="255" y="166"/>
                    </a:cubicBezTo>
                    <a:cubicBezTo>
                      <a:pt x="256" y="164"/>
                      <a:pt x="256" y="164"/>
                      <a:pt x="256" y="164"/>
                    </a:cubicBezTo>
                    <a:cubicBezTo>
                      <a:pt x="255" y="166"/>
                      <a:pt x="255" y="166"/>
                      <a:pt x="255" y="166"/>
                    </a:cubicBezTo>
                    <a:cubicBezTo>
                      <a:pt x="256" y="164"/>
                      <a:pt x="256" y="164"/>
                      <a:pt x="256" y="164"/>
                    </a:cubicBezTo>
                    <a:cubicBezTo>
                      <a:pt x="259" y="164"/>
                      <a:pt x="261" y="164"/>
                      <a:pt x="263" y="166"/>
                    </a:cubicBezTo>
                    <a:lnTo>
                      <a:pt x="259" y="170"/>
                    </a:lnTo>
                    <a:close/>
                    <a:moveTo>
                      <a:pt x="285" y="167"/>
                    </a:moveTo>
                    <a:cubicBezTo>
                      <a:pt x="281" y="163"/>
                      <a:pt x="281" y="163"/>
                      <a:pt x="281" y="163"/>
                    </a:cubicBezTo>
                    <a:cubicBezTo>
                      <a:pt x="282" y="162"/>
                      <a:pt x="283" y="161"/>
                      <a:pt x="284" y="159"/>
                    </a:cubicBezTo>
                    <a:cubicBezTo>
                      <a:pt x="285" y="159"/>
                      <a:pt x="285" y="159"/>
                      <a:pt x="285" y="159"/>
                    </a:cubicBezTo>
                    <a:cubicBezTo>
                      <a:pt x="289" y="163"/>
                      <a:pt x="289" y="163"/>
                      <a:pt x="289" y="163"/>
                    </a:cubicBezTo>
                    <a:cubicBezTo>
                      <a:pt x="289" y="163"/>
                      <a:pt x="289" y="163"/>
                      <a:pt x="289" y="163"/>
                    </a:cubicBezTo>
                    <a:cubicBezTo>
                      <a:pt x="287" y="165"/>
                      <a:pt x="286" y="166"/>
                      <a:pt x="285" y="167"/>
                    </a:cubicBezTo>
                    <a:close/>
                    <a:moveTo>
                      <a:pt x="211" y="167"/>
                    </a:moveTo>
                    <a:cubicBezTo>
                      <a:pt x="211" y="167"/>
                      <a:pt x="211" y="167"/>
                      <a:pt x="211" y="167"/>
                    </a:cubicBezTo>
                    <a:cubicBezTo>
                      <a:pt x="210" y="167"/>
                      <a:pt x="210" y="167"/>
                      <a:pt x="209" y="167"/>
                    </a:cubicBezTo>
                    <a:cubicBezTo>
                      <a:pt x="209" y="167"/>
                      <a:pt x="208" y="167"/>
                      <a:pt x="208" y="167"/>
                    </a:cubicBezTo>
                    <a:cubicBezTo>
                      <a:pt x="209" y="161"/>
                      <a:pt x="209" y="161"/>
                      <a:pt x="209" y="161"/>
                    </a:cubicBezTo>
                    <a:cubicBezTo>
                      <a:pt x="209" y="161"/>
                      <a:pt x="210" y="161"/>
                      <a:pt x="210" y="161"/>
                    </a:cubicBezTo>
                    <a:cubicBezTo>
                      <a:pt x="210" y="161"/>
                      <a:pt x="211" y="161"/>
                      <a:pt x="211" y="161"/>
                    </a:cubicBezTo>
                    <a:cubicBezTo>
                      <a:pt x="216" y="164"/>
                      <a:pt x="216" y="164"/>
                      <a:pt x="216" y="164"/>
                    </a:cubicBezTo>
                    <a:cubicBezTo>
                      <a:pt x="215" y="166"/>
                      <a:pt x="213" y="167"/>
                      <a:pt x="211" y="167"/>
                    </a:cubicBezTo>
                    <a:close/>
                    <a:moveTo>
                      <a:pt x="227" y="165"/>
                    </a:moveTo>
                    <a:cubicBezTo>
                      <a:pt x="226" y="165"/>
                      <a:pt x="225" y="165"/>
                      <a:pt x="224" y="164"/>
                    </a:cubicBezTo>
                    <a:cubicBezTo>
                      <a:pt x="228" y="159"/>
                      <a:pt x="228" y="159"/>
                      <a:pt x="228" y="159"/>
                    </a:cubicBezTo>
                    <a:cubicBezTo>
                      <a:pt x="227" y="159"/>
                      <a:pt x="227" y="159"/>
                      <a:pt x="227" y="159"/>
                    </a:cubicBezTo>
                    <a:cubicBezTo>
                      <a:pt x="227" y="159"/>
                      <a:pt x="228" y="158"/>
                      <a:pt x="228" y="158"/>
                    </a:cubicBezTo>
                    <a:cubicBezTo>
                      <a:pt x="230" y="155"/>
                      <a:pt x="230" y="155"/>
                      <a:pt x="230" y="155"/>
                    </a:cubicBezTo>
                    <a:cubicBezTo>
                      <a:pt x="233" y="157"/>
                      <a:pt x="233" y="157"/>
                      <a:pt x="233" y="157"/>
                    </a:cubicBezTo>
                    <a:cubicBezTo>
                      <a:pt x="231" y="160"/>
                      <a:pt x="231" y="160"/>
                      <a:pt x="231" y="160"/>
                    </a:cubicBezTo>
                    <a:cubicBezTo>
                      <a:pt x="233" y="161"/>
                      <a:pt x="233" y="161"/>
                      <a:pt x="233" y="161"/>
                    </a:cubicBezTo>
                    <a:cubicBezTo>
                      <a:pt x="232" y="162"/>
                      <a:pt x="230" y="165"/>
                      <a:pt x="227" y="165"/>
                    </a:cubicBezTo>
                    <a:close/>
                    <a:moveTo>
                      <a:pt x="223" y="160"/>
                    </a:moveTo>
                    <a:cubicBezTo>
                      <a:pt x="222" y="160"/>
                      <a:pt x="221" y="159"/>
                      <a:pt x="219" y="159"/>
                    </a:cubicBezTo>
                    <a:cubicBezTo>
                      <a:pt x="219" y="159"/>
                      <a:pt x="218" y="158"/>
                      <a:pt x="218" y="158"/>
                    </a:cubicBezTo>
                    <a:cubicBezTo>
                      <a:pt x="217" y="158"/>
                      <a:pt x="217" y="158"/>
                      <a:pt x="217" y="158"/>
                    </a:cubicBezTo>
                    <a:cubicBezTo>
                      <a:pt x="220" y="153"/>
                      <a:pt x="220" y="153"/>
                      <a:pt x="220" y="153"/>
                    </a:cubicBezTo>
                    <a:cubicBezTo>
                      <a:pt x="220" y="153"/>
                      <a:pt x="220" y="153"/>
                      <a:pt x="220" y="153"/>
                    </a:cubicBezTo>
                    <a:cubicBezTo>
                      <a:pt x="221" y="153"/>
                      <a:pt x="221" y="153"/>
                      <a:pt x="222" y="154"/>
                    </a:cubicBezTo>
                    <a:cubicBezTo>
                      <a:pt x="222" y="154"/>
                      <a:pt x="223" y="154"/>
                      <a:pt x="223" y="154"/>
                    </a:cubicBezTo>
                    <a:cubicBezTo>
                      <a:pt x="225" y="160"/>
                      <a:pt x="225" y="160"/>
                      <a:pt x="225" y="160"/>
                    </a:cubicBezTo>
                    <a:cubicBezTo>
                      <a:pt x="224" y="160"/>
                      <a:pt x="224" y="160"/>
                      <a:pt x="223" y="160"/>
                    </a:cubicBezTo>
                    <a:close/>
                    <a:moveTo>
                      <a:pt x="210" y="155"/>
                    </a:moveTo>
                    <a:cubicBezTo>
                      <a:pt x="204" y="154"/>
                      <a:pt x="204" y="154"/>
                      <a:pt x="204" y="154"/>
                    </a:cubicBezTo>
                    <a:cubicBezTo>
                      <a:pt x="204" y="153"/>
                      <a:pt x="204" y="153"/>
                      <a:pt x="204" y="152"/>
                    </a:cubicBezTo>
                    <a:cubicBezTo>
                      <a:pt x="204" y="151"/>
                      <a:pt x="205" y="150"/>
                      <a:pt x="205" y="149"/>
                    </a:cubicBezTo>
                    <a:cubicBezTo>
                      <a:pt x="204" y="149"/>
                      <a:pt x="204" y="149"/>
                      <a:pt x="204" y="149"/>
                    </a:cubicBezTo>
                    <a:cubicBezTo>
                      <a:pt x="210" y="148"/>
                      <a:pt x="210" y="148"/>
                      <a:pt x="210" y="148"/>
                    </a:cubicBezTo>
                    <a:cubicBezTo>
                      <a:pt x="210" y="149"/>
                      <a:pt x="210" y="149"/>
                      <a:pt x="210" y="149"/>
                    </a:cubicBezTo>
                    <a:cubicBezTo>
                      <a:pt x="210" y="150"/>
                      <a:pt x="210" y="151"/>
                      <a:pt x="210" y="152"/>
                    </a:cubicBezTo>
                    <a:cubicBezTo>
                      <a:pt x="210" y="153"/>
                      <a:pt x="210" y="154"/>
                      <a:pt x="210" y="155"/>
                    </a:cubicBezTo>
                    <a:close/>
                    <a:moveTo>
                      <a:pt x="286" y="151"/>
                    </a:moveTo>
                    <a:cubicBezTo>
                      <a:pt x="286" y="151"/>
                      <a:pt x="286" y="150"/>
                      <a:pt x="286" y="150"/>
                    </a:cubicBezTo>
                    <a:cubicBezTo>
                      <a:pt x="285" y="150"/>
                      <a:pt x="285" y="150"/>
                      <a:pt x="284" y="150"/>
                    </a:cubicBezTo>
                    <a:cubicBezTo>
                      <a:pt x="285" y="144"/>
                      <a:pt x="285" y="144"/>
                      <a:pt x="285" y="144"/>
                    </a:cubicBezTo>
                    <a:cubicBezTo>
                      <a:pt x="289" y="145"/>
                      <a:pt x="291" y="146"/>
                      <a:pt x="292" y="150"/>
                    </a:cubicBezTo>
                    <a:lnTo>
                      <a:pt x="286" y="151"/>
                    </a:lnTo>
                    <a:close/>
                    <a:moveTo>
                      <a:pt x="172" y="149"/>
                    </a:moveTo>
                    <a:cubicBezTo>
                      <a:pt x="172" y="143"/>
                      <a:pt x="172" y="143"/>
                      <a:pt x="172" y="143"/>
                    </a:cubicBezTo>
                    <a:cubicBezTo>
                      <a:pt x="173" y="143"/>
                      <a:pt x="173" y="143"/>
                      <a:pt x="174" y="143"/>
                    </a:cubicBezTo>
                    <a:cubicBezTo>
                      <a:pt x="174" y="143"/>
                      <a:pt x="175" y="143"/>
                      <a:pt x="175" y="143"/>
                    </a:cubicBezTo>
                    <a:cubicBezTo>
                      <a:pt x="176" y="143"/>
                      <a:pt x="176" y="143"/>
                      <a:pt x="176" y="143"/>
                    </a:cubicBezTo>
                    <a:cubicBezTo>
                      <a:pt x="178" y="143"/>
                      <a:pt x="180" y="144"/>
                      <a:pt x="180" y="147"/>
                    </a:cubicBezTo>
                    <a:cubicBezTo>
                      <a:pt x="174" y="147"/>
                      <a:pt x="174" y="147"/>
                      <a:pt x="174" y="147"/>
                    </a:cubicBezTo>
                    <a:cubicBezTo>
                      <a:pt x="174" y="148"/>
                      <a:pt x="175" y="148"/>
                      <a:pt x="176" y="148"/>
                    </a:cubicBezTo>
                    <a:cubicBezTo>
                      <a:pt x="175" y="148"/>
                      <a:pt x="175" y="148"/>
                      <a:pt x="175" y="149"/>
                    </a:cubicBezTo>
                    <a:cubicBezTo>
                      <a:pt x="174" y="149"/>
                      <a:pt x="173" y="149"/>
                      <a:pt x="172" y="149"/>
                    </a:cubicBezTo>
                    <a:close/>
                    <a:moveTo>
                      <a:pt x="185" y="146"/>
                    </a:moveTo>
                    <a:cubicBezTo>
                      <a:pt x="180" y="144"/>
                      <a:pt x="180" y="144"/>
                      <a:pt x="180" y="144"/>
                    </a:cubicBezTo>
                    <a:cubicBezTo>
                      <a:pt x="181" y="142"/>
                      <a:pt x="181" y="141"/>
                      <a:pt x="181" y="140"/>
                    </a:cubicBezTo>
                    <a:cubicBezTo>
                      <a:pt x="181" y="140"/>
                      <a:pt x="181" y="140"/>
                      <a:pt x="181" y="140"/>
                    </a:cubicBezTo>
                    <a:cubicBezTo>
                      <a:pt x="187" y="139"/>
                      <a:pt x="187" y="139"/>
                      <a:pt x="187" y="139"/>
                    </a:cubicBezTo>
                    <a:cubicBezTo>
                      <a:pt x="187" y="140"/>
                      <a:pt x="187" y="140"/>
                      <a:pt x="187" y="140"/>
                    </a:cubicBezTo>
                    <a:cubicBezTo>
                      <a:pt x="187" y="141"/>
                      <a:pt x="187" y="141"/>
                      <a:pt x="187" y="141"/>
                    </a:cubicBezTo>
                    <a:cubicBezTo>
                      <a:pt x="187" y="142"/>
                      <a:pt x="186" y="144"/>
                      <a:pt x="185" y="146"/>
                    </a:cubicBezTo>
                    <a:close/>
                    <a:moveTo>
                      <a:pt x="289" y="142"/>
                    </a:moveTo>
                    <a:cubicBezTo>
                      <a:pt x="286" y="138"/>
                      <a:pt x="286" y="138"/>
                      <a:pt x="286" y="138"/>
                    </a:cubicBezTo>
                    <a:cubicBezTo>
                      <a:pt x="288" y="133"/>
                      <a:pt x="288" y="133"/>
                      <a:pt x="288" y="133"/>
                    </a:cubicBezTo>
                    <a:cubicBezTo>
                      <a:pt x="289" y="133"/>
                      <a:pt x="292" y="134"/>
                      <a:pt x="292" y="137"/>
                    </a:cubicBezTo>
                    <a:cubicBezTo>
                      <a:pt x="292" y="138"/>
                      <a:pt x="292" y="138"/>
                      <a:pt x="291" y="139"/>
                    </a:cubicBezTo>
                    <a:cubicBezTo>
                      <a:pt x="291" y="140"/>
                      <a:pt x="290" y="142"/>
                      <a:pt x="289" y="142"/>
                    </a:cubicBezTo>
                    <a:close/>
                    <a:moveTo>
                      <a:pt x="162" y="142"/>
                    </a:moveTo>
                    <a:cubicBezTo>
                      <a:pt x="161" y="142"/>
                      <a:pt x="160" y="141"/>
                      <a:pt x="160" y="141"/>
                    </a:cubicBezTo>
                    <a:cubicBezTo>
                      <a:pt x="158" y="141"/>
                      <a:pt x="157" y="140"/>
                      <a:pt x="156" y="139"/>
                    </a:cubicBezTo>
                    <a:cubicBezTo>
                      <a:pt x="160" y="135"/>
                      <a:pt x="160" y="135"/>
                      <a:pt x="160" y="135"/>
                    </a:cubicBezTo>
                    <a:cubicBezTo>
                      <a:pt x="160" y="135"/>
                      <a:pt x="160" y="136"/>
                      <a:pt x="161" y="136"/>
                    </a:cubicBezTo>
                    <a:cubicBezTo>
                      <a:pt x="161" y="136"/>
                      <a:pt x="162" y="136"/>
                      <a:pt x="164" y="137"/>
                    </a:cubicBezTo>
                    <a:lnTo>
                      <a:pt x="162" y="142"/>
                    </a:lnTo>
                    <a:close/>
                    <a:moveTo>
                      <a:pt x="200" y="140"/>
                    </a:moveTo>
                    <a:cubicBezTo>
                      <a:pt x="199" y="139"/>
                      <a:pt x="199" y="137"/>
                      <a:pt x="198" y="136"/>
                    </a:cubicBezTo>
                    <a:cubicBezTo>
                      <a:pt x="197" y="136"/>
                      <a:pt x="197" y="136"/>
                      <a:pt x="197" y="136"/>
                    </a:cubicBezTo>
                    <a:cubicBezTo>
                      <a:pt x="201" y="131"/>
                      <a:pt x="201" y="131"/>
                      <a:pt x="201" y="131"/>
                    </a:cubicBezTo>
                    <a:cubicBezTo>
                      <a:pt x="201" y="132"/>
                      <a:pt x="202" y="132"/>
                      <a:pt x="202" y="132"/>
                    </a:cubicBezTo>
                    <a:cubicBezTo>
                      <a:pt x="203" y="134"/>
                      <a:pt x="204" y="135"/>
                      <a:pt x="205" y="137"/>
                    </a:cubicBezTo>
                    <a:lnTo>
                      <a:pt x="200" y="140"/>
                    </a:lnTo>
                    <a:close/>
                    <a:moveTo>
                      <a:pt x="286" y="138"/>
                    </a:moveTo>
                    <a:cubicBezTo>
                      <a:pt x="286" y="138"/>
                      <a:pt x="286" y="138"/>
                      <a:pt x="286" y="138"/>
                    </a:cubicBezTo>
                    <a:cubicBezTo>
                      <a:pt x="286" y="138"/>
                      <a:pt x="286" y="138"/>
                      <a:pt x="286" y="138"/>
                    </a:cubicBezTo>
                    <a:cubicBezTo>
                      <a:pt x="286" y="138"/>
                      <a:pt x="286" y="138"/>
                      <a:pt x="286" y="138"/>
                    </a:cubicBezTo>
                    <a:close/>
                    <a:moveTo>
                      <a:pt x="147" y="138"/>
                    </a:moveTo>
                    <a:cubicBezTo>
                      <a:pt x="143" y="138"/>
                      <a:pt x="141" y="136"/>
                      <a:pt x="140" y="133"/>
                    </a:cubicBezTo>
                    <a:cubicBezTo>
                      <a:pt x="145" y="130"/>
                      <a:pt x="145" y="130"/>
                      <a:pt x="145" y="130"/>
                    </a:cubicBezTo>
                    <a:cubicBezTo>
                      <a:pt x="146" y="132"/>
                      <a:pt x="146" y="132"/>
                      <a:pt x="147" y="132"/>
                    </a:cubicBezTo>
                    <a:lnTo>
                      <a:pt x="147" y="138"/>
                    </a:lnTo>
                    <a:close/>
                    <a:moveTo>
                      <a:pt x="190" y="133"/>
                    </a:moveTo>
                    <a:cubicBezTo>
                      <a:pt x="186" y="129"/>
                      <a:pt x="186" y="129"/>
                      <a:pt x="186" y="129"/>
                    </a:cubicBezTo>
                    <a:cubicBezTo>
                      <a:pt x="186" y="129"/>
                      <a:pt x="186" y="128"/>
                      <a:pt x="186" y="128"/>
                    </a:cubicBezTo>
                    <a:cubicBezTo>
                      <a:pt x="186" y="126"/>
                      <a:pt x="188" y="124"/>
                      <a:pt x="190" y="124"/>
                    </a:cubicBezTo>
                    <a:cubicBezTo>
                      <a:pt x="192" y="129"/>
                      <a:pt x="192" y="129"/>
                      <a:pt x="192" y="129"/>
                    </a:cubicBezTo>
                    <a:cubicBezTo>
                      <a:pt x="192" y="129"/>
                      <a:pt x="192" y="129"/>
                      <a:pt x="192" y="128"/>
                    </a:cubicBezTo>
                    <a:cubicBezTo>
                      <a:pt x="192" y="130"/>
                      <a:pt x="191" y="132"/>
                      <a:pt x="190" y="133"/>
                    </a:cubicBezTo>
                    <a:close/>
                    <a:moveTo>
                      <a:pt x="302" y="128"/>
                    </a:moveTo>
                    <a:cubicBezTo>
                      <a:pt x="301" y="128"/>
                      <a:pt x="301" y="128"/>
                      <a:pt x="301" y="128"/>
                    </a:cubicBezTo>
                    <a:cubicBezTo>
                      <a:pt x="300" y="128"/>
                      <a:pt x="299" y="126"/>
                      <a:pt x="298" y="126"/>
                    </a:cubicBezTo>
                    <a:cubicBezTo>
                      <a:pt x="304" y="123"/>
                      <a:pt x="304" y="123"/>
                      <a:pt x="304" y="123"/>
                    </a:cubicBezTo>
                    <a:cubicBezTo>
                      <a:pt x="303" y="123"/>
                      <a:pt x="303" y="122"/>
                      <a:pt x="303" y="122"/>
                    </a:cubicBezTo>
                    <a:cubicBezTo>
                      <a:pt x="301" y="122"/>
                      <a:pt x="300" y="123"/>
                      <a:pt x="300" y="124"/>
                    </a:cubicBezTo>
                    <a:cubicBezTo>
                      <a:pt x="300" y="123"/>
                      <a:pt x="300" y="123"/>
                      <a:pt x="300" y="122"/>
                    </a:cubicBezTo>
                    <a:cubicBezTo>
                      <a:pt x="300" y="122"/>
                      <a:pt x="300" y="121"/>
                      <a:pt x="300" y="121"/>
                    </a:cubicBezTo>
                    <a:cubicBezTo>
                      <a:pt x="306" y="122"/>
                      <a:pt x="306" y="122"/>
                      <a:pt x="306" y="122"/>
                    </a:cubicBezTo>
                    <a:cubicBezTo>
                      <a:pt x="306" y="122"/>
                      <a:pt x="306" y="122"/>
                      <a:pt x="306" y="123"/>
                    </a:cubicBezTo>
                    <a:cubicBezTo>
                      <a:pt x="306" y="124"/>
                      <a:pt x="306" y="128"/>
                      <a:pt x="302" y="128"/>
                    </a:cubicBezTo>
                    <a:close/>
                    <a:moveTo>
                      <a:pt x="284" y="128"/>
                    </a:moveTo>
                    <a:cubicBezTo>
                      <a:pt x="284" y="127"/>
                      <a:pt x="283" y="126"/>
                      <a:pt x="283" y="126"/>
                    </a:cubicBezTo>
                    <a:cubicBezTo>
                      <a:pt x="282" y="125"/>
                      <a:pt x="282" y="125"/>
                      <a:pt x="282" y="125"/>
                    </a:cubicBezTo>
                    <a:cubicBezTo>
                      <a:pt x="282" y="124"/>
                      <a:pt x="281" y="124"/>
                      <a:pt x="281" y="123"/>
                    </a:cubicBezTo>
                    <a:cubicBezTo>
                      <a:pt x="286" y="121"/>
                      <a:pt x="286" y="121"/>
                      <a:pt x="286" y="121"/>
                    </a:cubicBezTo>
                    <a:cubicBezTo>
                      <a:pt x="286" y="121"/>
                      <a:pt x="286" y="121"/>
                      <a:pt x="287" y="121"/>
                    </a:cubicBezTo>
                    <a:cubicBezTo>
                      <a:pt x="287" y="122"/>
                      <a:pt x="287" y="122"/>
                      <a:pt x="287" y="122"/>
                    </a:cubicBezTo>
                    <a:cubicBezTo>
                      <a:pt x="289" y="123"/>
                      <a:pt x="290" y="125"/>
                      <a:pt x="290" y="126"/>
                    </a:cubicBezTo>
                    <a:cubicBezTo>
                      <a:pt x="284" y="127"/>
                      <a:pt x="284" y="127"/>
                      <a:pt x="284" y="127"/>
                    </a:cubicBezTo>
                    <a:cubicBezTo>
                      <a:pt x="284" y="127"/>
                      <a:pt x="284" y="128"/>
                      <a:pt x="284" y="128"/>
                    </a:cubicBezTo>
                    <a:close/>
                    <a:moveTo>
                      <a:pt x="314" y="127"/>
                    </a:moveTo>
                    <a:cubicBezTo>
                      <a:pt x="313" y="126"/>
                      <a:pt x="313" y="126"/>
                      <a:pt x="313" y="126"/>
                    </a:cubicBezTo>
                    <a:cubicBezTo>
                      <a:pt x="312" y="125"/>
                      <a:pt x="311" y="124"/>
                      <a:pt x="310" y="123"/>
                    </a:cubicBezTo>
                    <a:cubicBezTo>
                      <a:pt x="314" y="119"/>
                      <a:pt x="314" y="119"/>
                      <a:pt x="314" y="119"/>
                    </a:cubicBezTo>
                    <a:cubicBezTo>
                      <a:pt x="315" y="120"/>
                      <a:pt x="316" y="121"/>
                      <a:pt x="317" y="122"/>
                    </a:cubicBezTo>
                    <a:cubicBezTo>
                      <a:pt x="318" y="123"/>
                      <a:pt x="318" y="123"/>
                      <a:pt x="318" y="123"/>
                    </a:cubicBezTo>
                    <a:lnTo>
                      <a:pt x="314" y="127"/>
                    </a:lnTo>
                    <a:close/>
                    <a:moveTo>
                      <a:pt x="325" y="126"/>
                    </a:moveTo>
                    <a:cubicBezTo>
                      <a:pt x="321" y="122"/>
                      <a:pt x="321" y="122"/>
                      <a:pt x="321" y="122"/>
                    </a:cubicBezTo>
                    <a:cubicBezTo>
                      <a:pt x="322" y="120"/>
                      <a:pt x="324" y="119"/>
                      <a:pt x="325" y="118"/>
                    </a:cubicBezTo>
                    <a:cubicBezTo>
                      <a:pt x="330" y="122"/>
                      <a:pt x="330" y="122"/>
                      <a:pt x="330" y="122"/>
                    </a:cubicBezTo>
                    <a:cubicBezTo>
                      <a:pt x="329" y="123"/>
                      <a:pt x="329" y="123"/>
                      <a:pt x="329" y="123"/>
                    </a:cubicBezTo>
                    <a:cubicBezTo>
                      <a:pt x="328" y="123"/>
                      <a:pt x="328" y="123"/>
                      <a:pt x="328" y="123"/>
                    </a:cubicBezTo>
                    <a:cubicBezTo>
                      <a:pt x="328" y="124"/>
                      <a:pt x="326" y="125"/>
                      <a:pt x="325" y="126"/>
                    </a:cubicBezTo>
                    <a:close/>
                    <a:moveTo>
                      <a:pt x="136" y="123"/>
                    </a:moveTo>
                    <a:cubicBezTo>
                      <a:pt x="134" y="122"/>
                      <a:pt x="133" y="121"/>
                      <a:pt x="132" y="120"/>
                    </a:cubicBezTo>
                    <a:cubicBezTo>
                      <a:pt x="131" y="120"/>
                      <a:pt x="131" y="120"/>
                      <a:pt x="131" y="120"/>
                    </a:cubicBezTo>
                    <a:cubicBezTo>
                      <a:pt x="134" y="115"/>
                      <a:pt x="134" y="115"/>
                      <a:pt x="134" y="115"/>
                    </a:cubicBezTo>
                    <a:cubicBezTo>
                      <a:pt x="135" y="115"/>
                      <a:pt x="135" y="115"/>
                      <a:pt x="135" y="115"/>
                    </a:cubicBezTo>
                    <a:cubicBezTo>
                      <a:pt x="136" y="116"/>
                      <a:pt x="138" y="117"/>
                      <a:pt x="140" y="119"/>
                    </a:cubicBezTo>
                    <a:lnTo>
                      <a:pt x="136" y="123"/>
                    </a:lnTo>
                    <a:close/>
                    <a:moveTo>
                      <a:pt x="296" y="118"/>
                    </a:moveTo>
                    <a:cubicBezTo>
                      <a:pt x="295" y="118"/>
                      <a:pt x="295" y="118"/>
                      <a:pt x="295" y="118"/>
                    </a:cubicBezTo>
                    <a:cubicBezTo>
                      <a:pt x="294" y="118"/>
                      <a:pt x="292" y="118"/>
                      <a:pt x="291" y="117"/>
                    </a:cubicBezTo>
                    <a:cubicBezTo>
                      <a:pt x="291" y="117"/>
                      <a:pt x="290" y="117"/>
                      <a:pt x="290" y="117"/>
                    </a:cubicBezTo>
                    <a:cubicBezTo>
                      <a:pt x="291" y="111"/>
                      <a:pt x="291" y="111"/>
                      <a:pt x="291" y="111"/>
                    </a:cubicBezTo>
                    <a:cubicBezTo>
                      <a:pt x="292" y="111"/>
                      <a:pt x="292" y="111"/>
                      <a:pt x="293" y="112"/>
                    </a:cubicBezTo>
                    <a:cubicBezTo>
                      <a:pt x="294" y="112"/>
                      <a:pt x="295" y="112"/>
                      <a:pt x="296" y="112"/>
                    </a:cubicBezTo>
                    <a:cubicBezTo>
                      <a:pt x="297" y="112"/>
                      <a:pt x="297" y="112"/>
                      <a:pt x="297" y="112"/>
                    </a:cubicBezTo>
                    <a:lnTo>
                      <a:pt x="296" y="118"/>
                    </a:lnTo>
                    <a:close/>
                    <a:moveTo>
                      <a:pt x="121" y="115"/>
                    </a:moveTo>
                    <a:cubicBezTo>
                      <a:pt x="121" y="115"/>
                      <a:pt x="121" y="115"/>
                      <a:pt x="120" y="115"/>
                    </a:cubicBezTo>
                    <a:cubicBezTo>
                      <a:pt x="119" y="114"/>
                      <a:pt x="117" y="113"/>
                      <a:pt x="116" y="112"/>
                    </a:cubicBezTo>
                    <a:cubicBezTo>
                      <a:pt x="119" y="108"/>
                      <a:pt x="119" y="108"/>
                      <a:pt x="119" y="108"/>
                    </a:cubicBezTo>
                    <a:cubicBezTo>
                      <a:pt x="120" y="108"/>
                      <a:pt x="121" y="109"/>
                      <a:pt x="123" y="110"/>
                    </a:cubicBezTo>
                    <a:cubicBezTo>
                      <a:pt x="123" y="110"/>
                      <a:pt x="123" y="110"/>
                      <a:pt x="123" y="110"/>
                    </a:cubicBezTo>
                    <a:lnTo>
                      <a:pt x="121" y="115"/>
                    </a:lnTo>
                    <a:close/>
                    <a:moveTo>
                      <a:pt x="5" y="115"/>
                    </a:moveTo>
                    <a:cubicBezTo>
                      <a:pt x="0" y="112"/>
                      <a:pt x="0" y="112"/>
                      <a:pt x="0" y="112"/>
                    </a:cubicBezTo>
                    <a:cubicBezTo>
                      <a:pt x="2" y="109"/>
                      <a:pt x="4" y="107"/>
                      <a:pt x="6" y="107"/>
                    </a:cubicBezTo>
                    <a:cubicBezTo>
                      <a:pt x="6" y="107"/>
                      <a:pt x="6" y="107"/>
                      <a:pt x="6" y="107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7" y="113"/>
                      <a:pt x="6" y="113"/>
                      <a:pt x="5" y="115"/>
                    </a:cubicBezTo>
                    <a:close/>
                    <a:moveTo>
                      <a:pt x="320" y="114"/>
                    </a:moveTo>
                    <a:cubicBezTo>
                      <a:pt x="320" y="113"/>
                      <a:pt x="320" y="113"/>
                      <a:pt x="320" y="112"/>
                    </a:cubicBezTo>
                    <a:cubicBezTo>
                      <a:pt x="320" y="111"/>
                      <a:pt x="320" y="111"/>
                      <a:pt x="320" y="111"/>
                    </a:cubicBezTo>
                    <a:cubicBezTo>
                      <a:pt x="320" y="109"/>
                      <a:pt x="321" y="107"/>
                      <a:pt x="321" y="106"/>
                    </a:cubicBezTo>
                    <a:cubicBezTo>
                      <a:pt x="327" y="108"/>
                      <a:pt x="327" y="108"/>
                      <a:pt x="327" y="108"/>
                    </a:cubicBezTo>
                    <a:cubicBezTo>
                      <a:pt x="326" y="109"/>
                      <a:pt x="326" y="110"/>
                      <a:pt x="326" y="112"/>
                    </a:cubicBezTo>
                    <a:lnTo>
                      <a:pt x="320" y="114"/>
                    </a:lnTo>
                    <a:close/>
                    <a:moveTo>
                      <a:pt x="12" y="109"/>
                    </a:moveTo>
                    <a:cubicBezTo>
                      <a:pt x="12" y="108"/>
                      <a:pt x="11" y="107"/>
                      <a:pt x="11" y="106"/>
                    </a:cubicBezTo>
                    <a:cubicBezTo>
                      <a:pt x="11" y="105"/>
                      <a:pt x="12" y="103"/>
                      <a:pt x="15" y="103"/>
                    </a:cubicBezTo>
                    <a:cubicBezTo>
                      <a:pt x="16" y="103"/>
                      <a:pt x="16" y="102"/>
                      <a:pt x="16" y="102"/>
                    </a:cubicBezTo>
                    <a:cubicBezTo>
                      <a:pt x="20" y="107"/>
                      <a:pt x="20" y="107"/>
                      <a:pt x="20" y="107"/>
                    </a:cubicBezTo>
                    <a:cubicBezTo>
                      <a:pt x="19" y="108"/>
                      <a:pt x="17" y="108"/>
                      <a:pt x="15" y="108"/>
                    </a:cubicBezTo>
                    <a:cubicBezTo>
                      <a:pt x="16" y="108"/>
                      <a:pt x="17" y="108"/>
                      <a:pt x="17" y="106"/>
                    </a:cubicBezTo>
                    <a:cubicBezTo>
                      <a:pt x="17" y="106"/>
                      <a:pt x="17" y="105"/>
                      <a:pt x="17" y="105"/>
                    </a:cubicBezTo>
                    <a:lnTo>
                      <a:pt x="12" y="109"/>
                    </a:lnTo>
                    <a:close/>
                    <a:moveTo>
                      <a:pt x="336" y="103"/>
                    </a:moveTo>
                    <a:cubicBezTo>
                      <a:pt x="331" y="99"/>
                      <a:pt x="331" y="99"/>
                      <a:pt x="331" y="99"/>
                    </a:cubicBezTo>
                    <a:cubicBezTo>
                      <a:pt x="332" y="98"/>
                      <a:pt x="334" y="96"/>
                      <a:pt x="334" y="95"/>
                    </a:cubicBezTo>
                    <a:cubicBezTo>
                      <a:pt x="339" y="98"/>
                      <a:pt x="339" y="98"/>
                      <a:pt x="339" y="98"/>
                    </a:cubicBezTo>
                    <a:cubicBezTo>
                      <a:pt x="339" y="99"/>
                      <a:pt x="337" y="101"/>
                      <a:pt x="336" y="103"/>
                    </a:cubicBezTo>
                    <a:close/>
                    <a:moveTo>
                      <a:pt x="109" y="101"/>
                    </a:moveTo>
                    <a:cubicBezTo>
                      <a:pt x="108" y="99"/>
                      <a:pt x="108" y="97"/>
                      <a:pt x="108" y="95"/>
                    </a:cubicBezTo>
                    <a:cubicBezTo>
                      <a:pt x="113" y="94"/>
                      <a:pt x="113" y="94"/>
                      <a:pt x="113" y="94"/>
                    </a:cubicBezTo>
                    <a:cubicBezTo>
                      <a:pt x="114" y="96"/>
                      <a:pt x="114" y="97"/>
                      <a:pt x="114" y="99"/>
                    </a:cubicBezTo>
                    <a:lnTo>
                      <a:pt x="109" y="101"/>
                    </a:lnTo>
                    <a:close/>
                    <a:moveTo>
                      <a:pt x="18" y="95"/>
                    </a:moveTo>
                    <a:cubicBezTo>
                      <a:pt x="13" y="93"/>
                      <a:pt x="13" y="93"/>
                      <a:pt x="13" y="93"/>
                    </a:cubicBezTo>
                    <a:cubicBezTo>
                      <a:pt x="14" y="91"/>
                      <a:pt x="15" y="90"/>
                      <a:pt x="18" y="89"/>
                    </a:cubicBezTo>
                    <a:cubicBezTo>
                      <a:pt x="19" y="88"/>
                      <a:pt x="19" y="88"/>
                      <a:pt x="19" y="88"/>
                    </a:cubicBezTo>
                    <a:cubicBezTo>
                      <a:pt x="21" y="93"/>
                      <a:pt x="21" y="93"/>
                      <a:pt x="21" y="93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19" y="94"/>
                      <a:pt x="18" y="95"/>
                      <a:pt x="18" y="95"/>
                    </a:cubicBezTo>
                    <a:close/>
                    <a:moveTo>
                      <a:pt x="31" y="84"/>
                    </a:moveTo>
                    <a:cubicBezTo>
                      <a:pt x="26" y="82"/>
                      <a:pt x="26" y="82"/>
                      <a:pt x="26" y="82"/>
                    </a:cubicBezTo>
                    <a:cubicBezTo>
                      <a:pt x="26" y="81"/>
                      <a:pt x="26" y="81"/>
                      <a:pt x="26" y="80"/>
                    </a:cubicBezTo>
                    <a:cubicBezTo>
                      <a:pt x="26" y="79"/>
                      <a:pt x="27" y="78"/>
                      <a:pt x="28" y="77"/>
                    </a:cubicBezTo>
                    <a:cubicBezTo>
                      <a:pt x="28" y="76"/>
                      <a:pt x="29" y="76"/>
                      <a:pt x="29" y="75"/>
                    </a:cubicBezTo>
                    <a:cubicBezTo>
                      <a:pt x="32" y="80"/>
                      <a:pt x="32" y="80"/>
                      <a:pt x="32" y="80"/>
                    </a:cubicBezTo>
                    <a:cubicBezTo>
                      <a:pt x="33" y="80"/>
                      <a:pt x="33" y="80"/>
                      <a:pt x="33" y="79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2" y="81"/>
                      <a:pt x="32" y="81"/>
                      <a:pt x="32" y="81"/>
                    </a:cubicBezTo>
                    <a:cubicBezTo>
                      <a:pt x="32" y="81"/>
                      <a:pt x="32" y="82"/>
                      <a:pt x="32" y="82"/>
                    </a:cubicBezTo>
                    <a:cubicBezTo>
                      <a:pt x="31" y="83"/>
                      <a:pt x="31" y="83"/>
                      <a:pt x="31" y="84"/>
                    </a:cubicBezTo>
                    <a:close/>
                    <a:moveTo>
                      <a:pt x="109" y="83"/>
                    </a:moveTo>
                    <a:cubicBezTo>
                      <a:pt x="106" y="83"/>
                      <a:pt x="106" y="83"/>
                      <a:pt x="106" y="83"/>
                    </a:cubicBezTo>
                    <a:cubicBezTo>
                      <a:pt x="106" y="82"/>
                      <a:pt x="106" y="82"/>
                      <a:pt x="106" y="82"/>
                    </a:cubicBezTo>
                    <a:cubicBezTo>
                      <a:pt x="106" y="81"/>
                      <a:pt x="106" y="81"/>
                      <a:pt x="106" y="80"/>
                    </a:cubicBezTo>
                    <a:cubicBezTo>
                      <a:pt x="106" y="80"/>
                      <a:pt x="106" y="80"/>
                      <a:pt x="106" y="79"/>
                    </a:cubicBezTo>
                    <a:cubicBezTo>
                      <a:pt x="106" y="79"/>
                      <a:pt x="106" y="78"/>
                      <a:pt x="106" y="78"/>
                    </a:cubicBezTo>
                    <a:cubicBezTo>
                      <a:pt x="111" y="76"/>
                      <a:pt x="111" y="76"/>
                      <a:pt x="111" y="76"/>
                    </a:cubicBezTo>
                    <a:cubicBezTo>
                      <a:pt x="111" y="77"/>
                      <a:pt x="112" y="78"/>
                      <a:pt x="112" y="79"/>
                    </a:cubicBezTo>
                    <a:cubicBezTo>
                      <a:pt x="112" y="80"/>
                      <a:pt x="112" y="80"/>
                      <a:pt x="112" y="81"/>
                    </a:cubicBezTo>
                    <a:cubicBezTo>
                      <a:pt x="112" y="81"/>
                      <a:pt x="112" y="81"/>
                      <a:pt x="112" y="82"/>
                    </a:cubicBezTo>
                    <a:cubicBezTo>
                      <a:pt x="112" y="83"/>
                      <a:pt x="112" y="83"/>
                      <a:pt x="112" y="83"/>
                    </a:cubicBezTo>
                    <a:lnTo>
                      <a:pt x="109" y="83"/>
                    </a:lnTo>
                    <a:close/>
                    <a:moveTo>
                      <a:pt x="29" y="74"/>
                    </a:moveTo>
                    <a:cubicBezTo>
                      <a:pt x="28" y="73"/>
                      <a:pt x="28" y="73"/>
                      <a:pt x="28" y="73"/>
                    </a:cubicBezTo>
                    <a:cubicBezTo>
                      <a:pt x="27" y="72"/>
                      <a:pt x="27" y="72"/>
                      <a:pt x="26" y="72"/>
                    </a:cubicBezTo>
                    <a:cubicBezTo>
                      <a:pt x="26" y="72"/>
                      <a:pt x="25" y="72"/>
                      <a:pt x="24" y="71"/>
                    </a:cubicBezTo>
                    <a:cubicBezTo>
                      <a:pt x="28" y="66"/>
                      <a:pt x="28" y="66"/>
                      <a:pt x="28" y="66"/>
                    </a:cubicBezTo>
                    <a:cubicBezTo>
                      <a:pt x="29" y="67"/>
                      <a:pt x="30" y="67"/>
                      <a:pt x="32" y="69"/>
                    </a:cubicBezTo>
                    <a:cubicBezTo>
                      <a:pt x="33" y="70"/>
                      <a:pt x="33" y="70"/>
                      <a:pt x="33" y="70"/>
                    </a:cubicBezTo>
                    <a:lnTo>
                      <a:pt x="29" y="74"/>
                    </a:lnTo>
                    <a:close/>
                    <a:moveTo>
                      <a:pt x="103" y="67"/>
                    </a:moveTo>
                    <a:cubicBezTo>
                      <a:pt x="103" y="67"/>
                      <a:pt x="102" y="67"/>
                      <a:pt x="102" y="66"/>
                    </a:cubicBezTo>
                    <a:cubicBezTo>
                      <a:pt x="102" y="65"/>
                      <a:pt x="101" y="64"/>
                      <a:pt x="100" y="62"/>
                    </a:cubicBezTo>
                    <a:cubicBezTo>
                      <a:pt x="106" y="61"/>
                      <a:pt x="106" y="61"/>
                      <a:pt x="106" y="61"/>
                    </a:cubicBezTo>
                    <a:cubicBezTo>
                      <a:pt x="106" y="62"/>
                      <a:pt x="107" y="63"/>
                      <a:pt x="107" y="63"/>
                    </a:cubicBezTo>
                    <a:cubicBezTo>
                      <a:pt x="108" y="64"/>
                      <a:pt x="108" y="65"/>
                      <a:pt x="108" y="66"/>
                    </a:cubicBezTo>
                    <a:lnTo>
                      <a:pt x="103" y="67"/>
                    </a:lnTo>
                    <a:close/>
                    <a:moveTo>
                      <a:pt x="20" y="61"/>
                    </a:moveTo>
                    <a:cubicBezTo>
                      <a:pt x="20" y="61"/>
                      <a:pt x="20" y="60"/>
                      <a:pt x="19" y="60"/>
                    </a:cubicBezTo>
                    <a:cubicBezTo>
                      <a:pt x="17" y="60"/>
                      <a:pt x="16" y="59"/>
                      <a:pt x="15" y="58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9" y="54"/>
                      <a:pt x="19" y="54"/>
                      <a:pt x="21" y="55"/>
                    </a:cubicBezTo>
                    <a:cubicBezTo>
                      <a:pt x="22" y="55"/>
                      <a:pt x="23" y="56"/>
                      <a:pt x="24" y="56"/>
                    </a:cubicBezTo>
                    <a:lnTo>
                      <a:pt x="20" y="61"/>
                    </a:lnTo>
                    <a:close/>
                    <a:moveTo>
                      <a:pt x="95" y="52"/>
                    </a:moveTo>
                    <a:cubicBezTo>
                      <a:pt x="95" y="51"/>
                      <a:pt x="95" y="51"/>
                      <a:pt x="95" y="50"/>
                    </a:cubicBezTo>
                    <a:cubicBezTo>
                      <a:pt x="95" y="48"/>
                      <a:pt x="96" y="46"/>
                      <a:pt x="96" y="45"/>
                    </a:cubicBezTo>
                    <a:cubicBezTo>
                      <a:pt x="102" y="47"/>
                      <a:pt x="102" y="47"/>
                      <a:pt x="102" y="47"/>
                    </a:cubicBezTo>
                    <a:cubicBezTo>
                      <a:pt x="102" y="47"/>
                      <a:pt x="102" y="47"/>
                      <a:pt x="102" y="47"/>
                    </a:cubicBezTo>
                    <a:cubicBezTo>
                      <a:pt x="101" y="48"/>
                      <a:pt x="101" y="49"/>
                      <a:pt x="101" y="50"/>
                    </a:cubicBezTo>
                    <a:cubicBezTo>
                      <a:pt x="101" y="50"/>
                      <a:pt x="101" y="51"/>
                      <a:pt x="101" y="51"/>
                    </a:cubicBezTo>
                    <a:lnTo>
                      <a:pt x="95" y="52"/>
                    </a:lnTo>
                    <a:close/>
                    <a:moveTo>
                      <a:pt x="23" y="48"/>
                    </a:moveTo>
                    <a:cubicBezTo>
                      <a:pt x="18" y="45"/>
                      <a:pt x="18" y="45"/>
                      <a:pt x="18" y="45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9" y="43"/>
                      <a:pt x="19" y="43"/>
                      <a:pt x="19" y="43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25" y="42"/>
                      <a:pt x="25" y="42"/>
                      <a:pt x="25" y="42"/>
                    </a:cubicBezTo>
                    <a:cubicBezTo>
                      <a:pt x="25" y="43"/>
                      <a:pt x="25" y="44"/>
                      <a:pt x="25" y="44"/>
                    </a:cubicBezTo>
                    <a:cubicBezTo>
                      <a:pt x="25" y="45"/>
                      <a:pt x="25" y="45"/>
                      <a:pt x="25" y="45"/>
                    </a:cubicBezTo>
                    <a:cubicBezTo>
                      <a:pt x="25" y="46"/>
                      <a:pt x="25" y="46"/>
                      <a:pt x="25" y="46"/>
                    </a:cubicBezTo>
                    <a:cubicBezTo>
                      <a:pt x="24" y="46"/>
                      <a:pt x="24" y="47"/>
                      <a:pt x="23" y="48"/>
                    </a:cubicBezTo>
                    <a:close/>
                    <a:moveTo>
                      <a:pt x="94" y="35"/>
                    </a:moveTo>
                    <a:cubicBezTo>
                      <a:pt x="94" y="34"/>
                      <a:pt x="94" y="33"/>
                      <a:pt x="95" y="32"/>
                    </a:cubicBezTo>
                    <a:cubicBezTo>
                      <a:pt x="95" y="31"/>
                      <a:pt x="95" y="30"/>
                      <a:pt x="95" y="30"/>
                    </a:cubicBezTo>
                    <a:cubicBezTo>
                      <a:pt x="96" y="29"/>
                      <a:pt x="96" y="29"/>
                      <a:pt x="96" y="28"/>
                    </a:cubicBezTo>
                    <a:cubicBezTo>
                      <a:pt x="102" y="30"/>
                      <a:pt x="102" y="30"/>
                      <a:pt x="102" y="30"/>
                    </a:cubicBezTo>
                    <a:cubicBezTo>
                      <a:pt x="101" y="31"/>
                      <a:pt x="101" y="31"/>
                      <a:pt x="101" y="32"/>
                    </a:cubicBezTo>
                    <a:cubicBezTo>
                      <a:pt x="101" y="32"/>
                      <a:pt x="100" y="33"/>
                      <a:pt x="100" y="34"/>
                    </a:cubicBezTo>
                    <a:cubicBezTo>
                      <a:pt x="100" y="34"/>
                      <a:pt x="100" y="34"/>
                      <a:pt x="100" y="34"/>
                    </a:cubicBezTo>
                    <a:lnTo>
                      <a:pt x="94" y="35"/>
                    </a:lnTo>
                    <a:close/>
                    <a:moveTo>
                      <a:pt x="26" y="32"/>
                    </a:moveTo>
                    <a:cubicBezTo>
                      <a:pt x="22" y="28"/>
                      <a:pt x="22" y="28"/>
                      <a:pt x="22" y="28"/>
                    </a:cubicBezTo>
                    <a:cubicBezTo>
                      <a:pt x="23" y="27"/>
                      <a:pt x="25" y="26"/>
                      <a:pt x="27" y="26"/>
                    </a:cubicBezTo>
                    <a:cubicBezTo>
                      <a:pt x="28" y="26"/>
                      <a:pt x="29" y="26"/>
                      <a:pt x="30" y="26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9" y="32"/>
                      <a:pt x="28" y="32"/>
                      <a:pt x="27" y="32"/>
                    </a:cubicBezTo>
                    <a:cubicBezTo>
                      <a:pt x="26" y="32"/>
                      <a:pt x="26" y="32"/>
                      <a:pt x="26" y="32"/>
                    </a:cubicBezTo>
                    <a:close/>
                    <a:moveTo>
                      <a:pt x="42" y="31"/>
                    </a:moveTo>
                    <a:cubicBezTo>
                      <a:pt x="40" y="25"/>
                      <a:pt x="40" y="25"/>
                      <a:pt x="40" y="25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0" y="25"/>
                      <a:pt x="41" y="24"/>
                      <a:pt x="41" y="2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7" y="24"/>
                      <a:pt x="47" y="24"/>
                      <a:pt x="47" y="24"/>
                    </a:cubicBezTo>
                    <a:cubicBezTo>
                      <a:pt x="47" y="24"/>
                      <a:pt x="47" y="24"/>
                      <a:pt x="47" y="24"/>
                    </a:cubicBezTo>
                    <a:cubicBezTo>
                      <a:pt x="46" y="26"/>
                      <a:pt x="46" y="30"/>
                      <a:pt x="42" y="31"/>
                    </a:cubicBezTo>
                    <a:close/>
                    <a:moveTo>
                      <a:pt x="93" y="22"/>
                    </a:moveTo>
                    <a:cubicBezTo>
                      <a:pt x="92" y="22"/>
                      <a:pt x="91" y="22"/>
                      <a:pt x="90" y="22"/>
                    </a:cubicBezTo>
                    <a:cubicBezTo>
                      <a:pt x="90" y="16"/>
                      <a:pt x="90" y="16"/>
                      <a:pt x="90" y="16"/>
                    </a:cubicBezTo>
                    <a:cubicBezTo>
                      <a:pt x="91" y="16"/>
                      <a:pt x="92" y="16"/>
                      <a:pt x="93" y="16"/>
                    </a:cubicBezTo>
                    <a:cubicBezTo>
                      <a:pt x="94" y="16"/>
                      <a:pt x="95" y="16"/>
                      <a:pt x="95" y="16"/>
                    </a:cubicBezTo>
                    <a:cubicBezTo>
                      <a:pt x="97" y="22"/>
                      <a:pt x="97" y="22"/>
                      <a:pt x="97" y="22"/>
                    </a:cubicBezTo>
                    <a:cubicBezTo>
                      <a:pt x="96" y="22"/>
                      <a:pt x="94" y="22"/>
                      <a:pt x="93" y="22"/>
                    </a:cubicBezTo>
                    <a:close/>
                    <a:moveTo>
                      <a:pt x="78" y="20"/>
                    </a:moveTo>
                    <a:cubicBezTo>
                      <a:pt x="75" y="19"/>
                      <a:pt x="73" y="18"/>
                      <a:pt x="72" y="17"/>
                    </a:cubicBezTo>
                    <a:cubicBezTo>
                      <a:pt x="73" y="15"/>
                      <a:pt x="73" y="15"/>
                      <a:pt x="73" y="15"/>
                    </a:cubicBezTo>
                    <a:cubicBezTo>
                      <a:pt x="74" y="12"/>
                      <a:pt x="74" y="12"/>
                      <a:pt x="74" y="12"/>
                    </a:cubicBezTo>
                    <a:cubicBezTo>
                      <a:pt x="75" y="12"/>
                      <a:pt x="75" y="12"/>
                      <a:pt x="75" y="12"/>
                    </a:cubicBezTo>
                    <a:cubicBezTo>
                      <a:pt x="75" y="13"/>
                      <a:pt x="76" y="13"/>
                      <a:pt x="79" y="14"/>
                    </a:cubicBezTo>
                    <a:lnTo>
                      <a:pt x="78" y="20"/>
                    </a:lnTo>
                    <a:close/>
                    <a:moveTo>
                      <a:pt x="50" y="13"/>
                    </a:moveTo>
                    <a:cubicBezTo>
                      <a:pt x="44" y="11"/>
                      <a:pt x="44" y="11"/>
                      <a:pt x="44" y="11"/>
                    </a:cubicBezTo>
                    <a:cubicBezTo>
                      <a:pt x="45" y="9"/>
                      <a:pt x="46" y="8"/>
                      <a:pt x="47" y="7"/>
                    </a:cubicBezTo>
                    <a:cubicBezTo>
                      <a:pt x="48" y="6"/>
                      <a:pt x="49" y="5"/>
                      <a:pt x="50" y="5"/>
                    </a:cubicBezTo>
                    <a:cubicBezTo>
                      <a:pt x="52" y="11"/>
                      <a:pt x="52" y="11"/>
                      <a:pt x="52" y="11"/>
                    </a:cubicBezTo>
                    <a:cubicBezTo>
                      <a:pt x="51" y="11"/>
                      <a:pt x="51" y="11"/>
                      <a:pt x="51" y="11"/>
                    </a:cubicBezTo>
                    <a:cubicBezTo>
                      <a:pt x="50" y="12"/>
                      <a:pt x="50" y="12"/>
                      <a:pt x="50" y="13"/>
                    </a:cubicBezTo>
                    <a:close/>
                    <a:moveTo>
                      <a:pt x="63" y="8"/>
                    </a:moveTo>
                    <a:cubicBezTo>
                      <a:pt x="62" y="7"/>
                      <a:pt x="62" y="6"/>
                      <a:pt x="62" y="6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2" y="0"/>
                      <a:pt x="63" y="0"/>
                      <a:pt x="64" y="1"/>
                    </a:cubicBezTo>
                    <a:cubicBezTo>
                      <a:pt x="66" y="1"/>
                      <a:pt x="66" y="3"/>
                      <a:pt x="68" y="5"/>
                    </a:cubicBezTo>
                    <a:lnTo>
                      <a:pt x="63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59" name="îṧḻïḓê"/>
              <p:cNvSpPr/>
              <p:nvPr/>
            </p:nvSpPr>
            <p:spPr bwMode="auto">
              <a:xfrm>
                <a:off x="5510213" y="3438525"/>
                <a:ext cx="163513" cy="320675"/>
              </a:xfrm>
              <a:custGeom>
                <a:avLst/>
                <a:gdLst>
                  <a:gd name="T0" fmla="*/ 4 w 76"/>
                  <a:gd name="T1" fmla="*/ 145 h 150"/>
                  <a:gd name="T2" fmla="*/ 12 w 76"/>
                  <a:gd name="T3" fmla="*/ 145 h 150"/>
                  <a:gd name="T4" fmla="*/ 18 w 76"/>
                  <a:gd name="T5" fmla="*/ 137 h 150"/>
                  <a:gd name="T6" fmla="*/ 19 w 76"/>
                  <a:gd name="T7" fmla="*/ 131 h 150"/>
                  <a:gd name="T8" fmla="*/ 20 w 76"/>
                  <a:gd name="T9" fmla="*/ 131 h 150"/>
                  <a:gd name="T10" fmla="*/ 21 w 76"/>
                  <a:gd name="T11" fmla="*/ 137 h 150"/>
                  <a:gd name="T12" fmla="*/ 18 w 76"/>
                  <a:gd name="T13" fmla="*/ 137 h 150"/>
                  <a:gd name="T14" fmla="*/ 29 w 76"/>
                  <a:gd name="T15" fmla="*/ 131 h 150"/>
                  <a:gd name="T16" fmla="*/ 28 w 76"/>
                  <a:gd name="T17" fmla="*/ 127 h 150"/>
                  <a:gd name="T18" fmla="*/ 27 w 76"/>
                  <a:gd name="T19" fmla="*/ 124 h 150"/>
                  <a:gd name="T20" fmla="*/ 33 w 76"/>
                  <a:gd name="T21" fmla="*/ 124 h 150"/>
                  <a:gd name="T22" fmla="*/ 30 w 76"/>
                  <a:gd name="T23" fmla="*/ 131 h 150"/>
                  <a:gd name="T24" fmla="*/ 17 w 76"/>
                  <a:gd name="T25" fmla="*/ 115 h 150"/>
                  <a:gd name="T26" fmla="*/ 25 w 76"/>
                  <a:gd name="T27" fmla="*/ 111 h 150"/>
                  <a:gd name="T28" fmla="*/ 6 w 76"/>
                  <a:gd name="T29" fmla="*/ 111 h 150"/>
                  <a:gd name="T30" fmla="*/ 4 w 76"/>
                  <a:gd name="T31" fmla="*/ 103 h 150"/>
                  <a:gd name="T32" fmla="*/ 6 w 76"/>
                  <a:gd name="T33" fmla="*/ 111 h 150"/>
                  <a:gd name="T34" fmla="*/ 0 w 76"/>
                  <a:gd name="T35" fmla="*/ 93 h 150"/>
                  <a:gd name="T36" fmla="*/ 8 w 76"/>
                  <a:gd name="T37" fmla="*/ 91 h 150"/>
                  <a:gd name="T38" fmla="*/ 11 w 76"/>
                  <a:gd name="T39" fmla="*/ 81 h 150"/>
                  <a:gd name="T40" fmla="*/ 8 w 76"/>
                  <a:gd name="T41" fmla="*/ 77 h 150"/>
                  <a:gd name="T42" fmla="*/ 12 w 76"/>
                  <a:gd name="T43" fmla="*/ 74 h 150"/>
                  <a:gd name="T44" fmla="*/ 11 w 76"/>
                  <a:gd name="T45" fmla="*/ 81 h 150"/>
                  <a:gd name="T46" fmla="*/ 22 w 76"/>
                  <a:gd name="T47" fmla="*/ 66 h 150"/>
                  <a:gd name="T48" fmla="*/ 27 w 76"/>
                  <a:gd name="T49" fmla="*/ 64 h 150"/>
                  <a:gd name="T50" fmla="*/ 28 w 76"/>
                  <a:gd name="T51" fmla="*/ 70 h 150"/>
                  <a:gd name="T52" fmla="*/ 40 w 76"/>
                  <a:gd name="T53" fmla="*/ 61 h 150"/>
                  <a:gd name="T54" fmla="*/ 35 w 76"/>
                  <a:gd name="T55" fmla="*/ 57 h 150"/>
                  <a:gd name="T56" fmla="*/ 43 w 76"/>
                  <a:gd name="T57" fmla="*/ 57 h 150"/>
                  <a:gd name="T58" fmla="*/ 42 w 76"/>
                  <a:gd name="T59" fmla="*/ 49 h 150"/>
                  <a:gd name="T60" fmla="*/ 39 w 76"/>
                  <a:gd name="T61" fmla="*/ 46 h 150"/>
                  <a:gd name="T62" fmla="*/ 42 w 76"/>
                  <a:gd name="T63" fmla="*/ 41 h 150"/>
                  <a:gd name="T64" fmla="*/ 45 w 76"/>
                  <a:gd name="T65" fmla="*/ 43 h 150"/>
                  <a:gd name="T66" fmla="*/ 42 w 76"/>
                  <a:gd name="T67" fmla="*/ 49 h 150"/>
                  <a:gd name="T68" fmla="*/ 36 w 76"/>
                  <a:gd name="T69" fmla="*/ 31 h 150"/>
                  <a:gd name="T70" fmla="*/ 44 w 76"/>
                  <a:gd name="T71" fmla="*/ 32 h 150"/>
                  <a:gd name="T72" fmla="*/ 56 w 76"/>
                  <a:gd name="T73" fmla="*/ 26 h 150"/>
                  <a:gd name="T74" fmla="*/ 53 w 76"/>
                  <a:gd name="T75" fmla="*/ 20 h 150"/>
                  <a:gd name="T76" fmla="*/ 58 w 76"/>
                  <a:gd name="T77" fmla="*/ 22 h 150"/>
                  <a:gd name="T78" fmla="*/ 69 w 76"/>
                  <a:gd name="T79" fmla="*/ 24 h 150"/>
                  <a:gd name="T80" fmla="*/ 69 w 76"/>
                  <a:gd name="T81" fmla="*/ 18 h 150"/>
                  <a:gd name="T82" fmla="*/ 76 w 76"/>
                  <a:gd name="T83" fmla="*/ 18 h 150"/>
                  <a:gd name="T84" fmla="*/ 69 w 76"/>
                  <a:gd name="T85" fmla="*/ 24 h 150"/>
                  <a:gd name="T86" fmla="*/ 67 w 76"/>
                  <a:gd name="T87" fmla="*/ 4 h 150"/>
                  <a:gd name="T88" fmla="*/ 67 w 76"/>
                  <a:gd name="T89" fmla="*/ 0 h 150"/>
                  <a:gd name="T90" fmla="*/ 73 w 76"/>
                  <a:gd name="T91" fmla="*/ 2 h 150"/>
                  <a:gd name="T92" fmla="*/ 73 w 76"/>
                  <a:gd name="T93" fmla="*/ 6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76" h="150">
                    <a:moveTo>
                      <a:pt x="7" y="150"/>
                    </a:moveTo>
                    <a:cubicBezTo>
                      <a:pt x="4" y="145"/>
                      <a:pt x="4" y="145"/>
                      <a:pt x="4" y="145"/>
                    </a:cubicBezTo>
                    <a:cubicBezTo>
                      <a:pt x="5" y="144"/>
                      <a:pt x="6" y="143"/>
                      <a:pt x="7" y="141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0" y="147"/>
                      <a:pt x="9" y="148"/>
                      <a:pt x="7" y="150"/>
                    </a:cubicBezTo>
                    <a:close/>
                    <a:moveTo>
                      <a:pt x="18" y="137"/>
                    </a:moveTo>
                    <a:cubicBezTo>
                      <a:pt x="16" y="131"/>
                      <a:pt x="16" y="131"/>
                      <a:pt x="16" y="131"/>
                    </a:cubicBezTo>
                    <a:cubicBezTo>
                      <a:pt x="17" y="131"/>
                      <a:pt x="19" y="131"/>
                      <a:pt x="19" y="131"/>
                    </a:cubicBezTo>
                    <a:cubicBezTo>
                      <a:pt x="21" y="131"/>
                      <a:pt x="21" y="131"/>
                      <a:pt x="21" y="131"/>
                    </a:cubicBezTo>
                    <a:cubicBezTo>
                      <a:pt x="21" y="131"/>
                      <a:pt x="21" y="131"/>
                      <a:pt x="20" y="131"/>
                    </a:cubicBezTo>
                    <a:cubicBezTo>
                      <a:pt x="24" y="136"/>
                      <a:pt x="24" y="136"/>
                      <a:pt x="24" y="136"/>
                    </a:cubicBezTo>
                    <a:cubicBezTo>
                      <a:pt x="23" y="136"/>
                      <a:pt x="22" y="137"/>
                      <a:pt x="21" y="137"/>
                    </a:cubicBezTo>
                    <a:cubicBezTo>
                      <a:pt x="19" y="137"/>
                      <a:pt x="19" y="137"/>
                      <a:pt x="19" y="137"/>
                    </a:cubicBezTo>
                    <a:cubicBezTo>
                      <a:pt x="19" y="137"/>
                      <a:pt x="18" y="137"/>
                      <a:pt x="18" y="137"/>
                    </a:cubicBezTo>
                    <a:close/>
                    <a:moveTo>
                      <a:pt x="30" y="131"/>
                    </a:moveTo>
                    <a:cubicBezTo>
                      <a:pt x="30" y="131"/>
                      <a:pt x="29" y="131"/>
                      <a:pt x="29" y="131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8" y="126"/>
                      <a:pt x="28" y="127"/>
                    </a:cubicBezTo>
                    <a:cubicBezTo>
                      <a:pt x="28" y="127"/>
                      <a:pt x="28" y="126"/>
                      <a:pt x="27" y="126"/>
                    </a:cubicBezTo>
                    <a:cubicBezTo>
                      <a:pt x="27" y="124"/>
                      <a:pt x="27" y="124"/>
                      <a:pt x="27" y="124"/>
                    </a:cubicBezTo>
                    <a:cubicBezTo>
                      <a:pt x="32" y="122"/>
                      <a:pt x="32" y="122"/>
                      <a:pt x="32" y="122"/>
                    </a:cubicBezTo>
                    <a:cubicBezTo>
                      <a:pt x="33" y="124"/>
                      <a:pt x="33" y="124"/>
                      <a:pt x="33" y="124"/>
                    </a:cubicBezTo>
                    <a:cubicBezTo>
                      <a:pt x="33" y="125"/>
                      <a:pt x="34" y="126"/>
                      <a:pt x="34" y="127"/>
                    </a:cubicBezTo>
                    <a:cubicBezTo>
                      <a:pt x="34" y="129"/>
                      <a:pt x="32" y="131"/>
                      <a:pt x="30" y="131"/>
                    </a:cubicBezTo>
                    <a:close/>
                    <a:moveTo>
                      <a:pt x="22" y="116"/>
                    </a:moveTo>
                    <a:cubicBezTo>
                      <a:pt x="21" y="116"/>
                      <a:pt x="19" y="115"/>
                      <a:pt x="17" y="115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21" y="110"/>
                      <a:pt x="23" y="110"/>
                      <a:pt x="25" y="111"/>
                    </a:cubicBezTo>
                    <a:lnTo>
                      <a:pt x="22" y="116"/>
                    </a:lnTo>
                    <a:close/>
                    <a:moveTo>
                      <a:pt x="6" y="111"/>
                    </a:moveTo>
                    <a:cubicBezTo>
                      <a:pt x="3" y="110"/>
                      <a:pt x="1" y="109"/>
                      <a:pt x="0" y="107"/>
                    </a:cubicBezTo>
                    <a:cubicBezTo>
                      <a:pt x="4" y="103"/>
                      <a:pt x="4" y="103"/>
                      <a:pt x="4" y="103"/>
                    </a:cubicBezTo>
                    <a:cubicBezTo>
                      <a:pt x="5" y="104"/>
                      <a:pt x="6" y="105"/>
                      <a:pt x="8" y="106"/>
                    </a:cubicBezTo>
                    <a:lnTo>
                      <a:pt x="6" y="111"/>
                    </a:lnTo>
                    <a:close/>
                    <a:moveTo>
                      <a:pt x="5" y="96"/>
                    </a:moveTo>
                    <a:cubicBezTo>
                      <a:pt x="0" y="93"/>
                      <a:pt x="0" y="93"/>
                      <a:pt x="0" y="93"/>
                    </a:cubicBezTo>
                    <a:cubicBezTo>
                      <a:pt x="1" y="91"/>
                      <a:pt x="2" y="89"/>
                      <a:pt x="3" y="88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7" y="92"/>
                      <a:pt x="6" y="94"/>
                      <a:pt x="5" y="96"/>
                    </a:cubicBezTo>
                    <a:close/>
                    <a:moveTo>
                      <a:pt x="11" y="81"/>
                    </a:moveTo>
                    <a:cubicBezTo>
                      <a:pt x="11" y="81"/>
                      <a:pt x="11" y="81"/>
                      <a:pt x="12" y="81"/>
                    </a:cubicBezTo>
                    <a:cubicBezTo>
                      <a:pt x="8" y="77"/>
                      <a:pt x="8" y="77"/>
                      <a:pt x="8" y="77"/>
                    </a:cubicBezTo>
                    <a:cubicBezTo>
                      <a:pt x="9" y="76"/>
                      <a:pt x="10" y="76"/>
                      <a:pt x="11" y="76"/>
                    </a:cubicBezTo>
                    <a:cubicBezTo>
                      <a:pt x="11" y="75"/>
                      <a:pt x="11" y="75"/>
                      <a:pt x="12" y="74"/>
                    </a:cubicBezTo>
                    <a:cubicBezTo>
                      <a:pt x="17" y="77"/>
                      <a:pt x="17" y="77"/>
                      <a:pt x="17" y="77"/>
                    </a:cubicBezTo>
                    <a:cubicBezTo>
                      <a:pt x="16" y="79"/>
                      <a:pt x="14" y="81"/>
                      <a:pt x="11" y="81"/>
                    </a:cubicBezTo>
                    <a:close/>
                    <a:moveTo>
                      <a:pt x="24" y="71"/>
                    </a:moveTo>
                    <a:cubicBezTo>
                      <a:pt x="22" y="66"/>
                      <a:pt x="22" y="66"/>
                      <a:pt x="22" y="66"/>
                    </a:cubicBezTo>
                    <a:cubicBezTo>
                      <a:pt x="23" y="65"/>
                      <a:pt x="25" y="65"/>
                      <a:pt x="26" y="64"/>
                    </a:cubicBezTo>
                    <a:cubicBezTo>
                      <a:pt x="26" y="64"/>
                      <a:pt x="27" y="64"/>
                      <a:pt x="27" y="64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29" y="69"/>
                      <a:pt x="28" y="70"/>
                      <a:pt x="28" y="70"/>
                    </a:cubicBezTo>
                    <a:cubicBezTo>
                      <a:pt x="27" y="70"/>
                      <a:pt x="25" y="71"/>
                      <a:pt x="24" y="71"/>
                    </a:cubicBezTo>
                    <a:close/>
                    <a:moveTo>
                      <a:pt x="40" y="61"/>
                    </a:moveTo>
                    <a:cubicBezTo>
                      <a:pt x="37" y="59"/>
                      <a:pt x="37" y="59"/>
                      <a:pt x="37" y="59"/>
                    </a:cubicBezTo>
                    <a:cubicBezTo>
                      <a:pt x="35" y="57"/>
                      <a:pt x="35" y="57"/>
                      <a:pt x="35" y="57"/>
                    </a:cubicBezTo>
                    <a:cubicBezTo>
                      <a:pt x="37" y="55"/>
                      <a:pt x="38" y="54"/>
                      <a:pt x="40" y="53"/>
                    </a:cubicBezTo>
                    <a:cubicBezTo>
                      <a:pt x="43" y="57"/>
                      <a:pt x="43" y="57"/>
                      <a:pt x="43" y="57"/>
                    </a:cubicBezTo>
                    <a:cubicBezTo>
                      <a:pt x="42" y="58"/>
                      <a:pt x="41" y="59"/>
                      <a:pt x="40" y="61"/>
                    </a:cubicBezTo>
                    <a:close/>
                    <a:moveTo>
                      <a:pt x="42" y="49"/>
                    </a:moveTo>
                    <a:cubicBezTo>
                      <a:pt x="42" y="48"/>
                      <a:pt x="41" y="48"/>
                      <a:pt x="41" y="47"/>
                    </a:cubicBezTo>
                    <a:cubicBezTo>
                      <a:pt x="40" y="47"/>
                      <a:pt x="40" y="46"/>
                      <a:pt x="39" y="46"/>
                    </a:cubicBezTo>
                    <a:cubicBezTo>
                      <a:pt x="39" y="45"/>
                      <a:pt x="39" y="45"/>
                      <a:pt x="38" y="45"/>
                    </a:cubicBezTo>
                    <a:cubicBezTo>
                      <a:pt x="42" y="41"/>
                      <a:pt x="42" y="41"/>
                      <a:pt x="42" y="41"/>
                    </a:cubicBezTo>
                    <a:cubicBezTo>
                      <a:pt x="43" y="41"/>
                      <a:pt x="43" y="41"/>
                      <a:pt x="44" y="42"/>
                    </a:cubicBezTo>
                    <a:cubicBezTo>
                      <a:pt x="44" y="42"/>
                      <a:pt x="44" y="43"/>
                      <a:pt x="45" y="43"/>
                    </a:cubicBezTo>
                    <a:cubicBezTo>
                      <a:pt x="45" y="44"/>
                      <a:pt x="46" y="45"/>
                      <a:pt x="47" y="45"/>
                    </a:cubicBezTo>
                    <a:lnTo>
                      <a:pt x="42" y="49"/>
                    </a:lnTo>
                    <a:close/>
                    <a:moveTo>
                      <a:pt x="42" y="32"/>
                    </a:moveTo>
                    <a:cubicBezTo>
                      <a:pt x="36" y="31"/>
                      <a:pt x="36" y="31"/>
                      <a:pt x="36" y="31"/>
                    </a:cubicBezTo>
                    <a:cubicBezTo>
                      <a:pt x="36" y="29"/>
                      <a:pt x="38" y="26"/>
                      <a:pt x="44" y="26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2" y="32"/>
                      <a:pt x="42" y="32"/>
                      <a:pt x="42" y="32"/>
                    </a:cubicBezTo>
                    <a:close/>
                    <a:moveTo>
                      <a:pt x="56" y="26"/>
                    </a:move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2"/>
                      <a:pt x="53" y="21"/>
                      <a:pt x="53" y="20"/>
                    </a:cubicBezTo>
                    <a:cubicBezTo>
                      <a:pt x="54" y="18"/>
                      <a:pt x="55" y="17"/>
                      <a:pt x="56" y="17"/>
                    </a:cubicBezTo>
                    <a:cubicBezTo>
                      <a:pt x="58" y="22"/>
                      <a:pt x="58" y="22"/>
                      <a:pt x="58" y="22"/>
                    </a:cubicBezTo>
                    <a:cubicBezTo>
                      <a:pt x="58" y="24"/>
                      <a:pt x="57" y="25"/>
                      <a:pt x="56" y="26"/>
                    </a:cubicBezTo>
                    <a:close/>
                    <a:moveTo>
                      <a:pt x="69" y="24"/>
                    </a:moveTo>
                    <a:cubicBezTo>
                      <a:pt x="69" y="18"/>
                      <a:pt x="69" y="18"/>
                      <a:pt x="69" y="18"/>
                    </a:cubicBezTo>
                    <a:cubicBezTo>
                      <a:pt x="69" y="18"/>
                      <a:pt x="69" y="18"/>
                      <a:pt x="69" y="18"/>
                    </a:cubicBezTo>
                    <a:cubicBezTo>
                      <a:pt x="70" y="18"/>
                      <a:pt x="70" y="18"/>
                      <a:pt x="70" y="17"/>
                    </a:cubicBezTo>
                    <a:cubicBezTo>
                      <a:pt x="76" y="18"/>
                      <a:pt x="76" y="18"/>
                      <a:pt x="76" y="18"/>
                    </a:cubicBezTo>
                    <a:cubicBezTo>
                      <a:pt x="75" y="21"/>
                      <a:pt x="74" y="23"/>
                      <a:pt x="71" y="24"/>
                    </a:cubicBezTo>
                    <a:cubicBezTo>
                      <a:pt x="70" y="24"/>
                      <a:pt x="70" y="24"/>
                      <a:pt x="69" y="24"/>
                    </a:cubicBezTo>
                    <a:close/>
                    <a:moveTo>
                      <a:pt x="68" y="7"/>
                    </a:moveTo>
                    <a:cubicBezTo>
                      <a:pt x="67" y="6"/>
                      <a:pt x="67" y="5"/>
                      <a:pt x="67" y="4"/>
                    </a:cubicBezTo>
                    <a:cubicBezTo>
                      <a:pt x="67" y="3"/>
                      <a:pt x="67" y="3"/>
                      <a:pt x="67" y="2"/>
                    </a:cubicBezTo>
                    <a:cubicBezTo>
                      <a:pt x="67" y="1"/>
                      <a:pt x="67" y="1"/>
                      <a:pt x="67" y="0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3" y="2"/>
                      <a:pt x="73" y="3"/>
                      <a:pt x="73" y="3"/>
                    </a:cubicBezTo>
                    <a:cubicBezTo>
                      <a:pt x="73" y="4"/>
                      <a:pt x="73" y="5"/>
                      <a:pt x="73" y="6"/>
                    </a:cubicBezTo>
                    <a:lnTo>
                      <a:pt x="68" y="7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60" name="íṡlïḑé"/>
              <p:cNvSpPr/>
              <p:nvPr/>
            </p:nvSpPr>
            <p:spPr bwMode="auto">
              <a:xfrm>
                <a:off x="4213225" y="2633663"/>
                <a:ext cx="1485900" cy="723900"/>
              </a:xfrm>
              <a:custGeom>
                <a:avLst/>
                <a:gdLst>
                  <a:gd name="T0" fmla="*/ 678 w 693"/>
                  <a:gd name="T1" fmla="*/ 320 h 338"/>
                  <a:gd name="T2" fmla="*/ 670 w 693"/>
                  <a:gd name="T3" fmla="*/ 308 h 338"/>
                  <a:gd name="T4" fmla="*/ 673 w 693"/>
                  <a:gd name="T5" fmla="*/ 298 h 338"/>
                  <a:gd name="T6" fmla="*/ 662 w 693"/>
                  <a:gd name="T7" fmla="*/ 271 h 338"/>
                  <a:gd name="T8" fmla="*/ 672 w 693"/>
                  <a:gd name="T9" fmla="*/ 261 h 338"/>
                  <a:gd name="T10" fmla="*/ 678 w 693"/>
                  <a:gd name="T11" fmla="*/ 262 h 338"/>
                  <a:gd name="T12" fmla="*/ 663 w 693"/>
                  <a:gd name="T13" fmla="*/ 253 h 338"/>
                  <a:gd name="T14" fmla="*/ 640 w 693"/>
                  <a:gd name="T15" fmla="*/ 226 h 338"/>
                  <a:gd name="T16" fmla="*/ 634 w 693"/>
                  <a:gd name="T17" fmla="*/ 209 h 338"/>
                  <a:gd name="T18" fmla="*/ 623 w 693"/>
                  <a:gd name="T19" fmla="*/ 207 h 338"/>
                  <a:gd name="T20" fmla="*/ 615 w 693"/>
                  <a:gd name="T21" fmla="*/ 199 h 338"/>
                  <a:gd name="T22" fmla="*/ 585 w 693"/>
                  <a:gd name="T23" fmla="*/ 195 h 338"/>
                  <a:gd name="T24" fmla="*/ 597 w 693"/>
                  <a:gd name="T25" fmla="*/ 194 h 338"/>
                  <a:gd name="T26" fmla="*/ 574 w 693"/>
                  <a:gd name="T27" fmla="*/ 182 h 338"/>
                  <a:gd name="T28" fmla="*/ 564 w 693"/>
                  <a:gd name="T29" fmla="*/ 172 h 338"/>
                  <a:gd name="T30" fmla="*/ 561 w 693"/>
                  <a:gd name="T31" fmla="*/ 162 h 338"/>
                  <a:gd name="T32" fmla="*/ 548 w 693"/>
                  <a:gd name="T33" fmla="*/ 153 h 338"/>
                  <a:gd name="T34" fmla="*/ 524 w 693"/>
                  <a:gd name="T35" fmla="*/ 144 h 338"/>
                  <a:gd name="T36" fmla="*/ 507 w 693"/>
                  <a:gd name="T37" fmla="*/ 139 h 338"/>
                  <a:gd name="T38" fmla="*/ 491 w 693"/>
                  <a:gd name="T39" fmla="*/ 129 h 338"/>
                  <a:gd name="T40" fmla="*/ 518 w 693"/>
                  <a:gd name="T41" fmla="*/ 134 h 338"/>
                  <a:gd name="T42" fmla="*/ 511 w 693"/>
                  <a:gd name="T43" fmla="*/ 129 h 338"/>
                  <a:gd name="T44" fmla="*/ 228 w 693"/>
                  <a:gd name="T45" fmla="*/ 121 h 338"/>
                  <a:gd name="T46" fmla="*/ 271 w 693"/>
                  <a:gd name="T47" fmla="*/ 120 h 338"/>
                  <a:gd name="T48" fmla="*/ 257 w 693"/>
                  <a:gd name="T49" fmla="*/ 120 h 338"/>
                  <a:gd name="T50" fmla="*/ 476 w 693"/>
                  <a:gd name="T51" fmla="*/ 122 h 338"/>
                  <a:gd name="T52" fmla="*/ 188 w 693"/>
                  <a:gd name="T53" fmla="*/ 108 h 338"/>
                  <a:gd name="T54" fmla="*/ 470 w 693"/>
                  <a:gd name="T55" fmla="*/ 103 h 338"/>
                  <a:gd name="T56" fmla="*/ 275 w 693"/>
                  <a:gd name="T57" fmla="*/ 107 h 338"/>
                  <a:gd name="T58" fmla="*/ 207 w 693"/>
                  <a:gd name="T59" fmla="*/ 107 h 338"/>
                  <a:gd name="T60" fmla="*/ 176 w 693"/>
                  <a:gd name="T61" fmla="*/ 102 h 338"/>
                  <a:gd name="T62" fmla="*/ 282 w 693"/>
                  <a:gd name="T63" fmla="*/ 98 h 338"/>
                  <a:gd name="T64" fmla="*/ 143 w 693"/>
                  <a:gd name="T65" fmla="*/ 94 h 338"/>
                  <a:gd name="T66" fmla="*/ 167 w 693"/>
                  <a:gd name="T67" fmla="*/ 89 h 338"/>
                  <a:gd name="T68" fmla="*/ 304 w 693"/>
                  <a:gd name="T69" fmla="*/ 87 h 338"/>
                  <a:gd name="T70" fmla="*/ 134 w 693"/>
                  <a:gd name="T71" fmla="*/ 87 h 338"/>
                  <a:gd name="T72" fmla="*/ 388 w 693"/>
                  <a:gd name="T73" fmla="*/ 82 h 338"/>
                  <a:gd name="T74" fmla="*/ 447 w 693"/>
                  <a:gd name="T75" fmla="*/ 79 h 338"/>
                  <a:gd name="T76" fmla="*/ 305 w 693"/>
                  <a:gd name="T77" fmla="*/ 72 h 338"/>
                  <a:gd name="T78" fmla="*/ 125 w 693"/>
                  <a:gd name="T79" fmla="*/ 73 h 338"/>
                  <a:gd name="T80" fmla="*/ 361 w 693"/>
                  <a:gd name="T81" fmla="*/ 65 h 338"/>
                  <a:gd name="T82" fmla="*/ 436 w 693"/>
                  <a:gd name="T83" fmla="*/ 63 h 338"/>
                  <a:gd name="T84" fmla="*/ 399 w 693"/>
                  <a:gd name="T85" fmla="*/ 66 h 338"/>
                  <a:gd name="T86" fmla="*/ 350 w 693"/>
                  <a:gd name="T87" fmla="*/ 53 h 338"/>
                  <a:gd name="T88" fmla="*/ 308 w 693"/>
                  <a:gd name="T89" fmla="*/ 61 h 338"/>
                  <a:gd name="T90" fmla="*/ 128 w 693"/>
                  <a:gd name="T91" fmla="*/ 53 h 338"/>
                  <a:gd name="T92" fmla="*/ 109 w 693"/>
                  <a:gd name="T93" fmla="*/ 57 h 338"/>
                  <a:gd name="T94" fmla="*/ 337 w 693"/>
                  <a:gd name="T95" fmla="*/ 50 h 338"/>
                  <a:gd name="T96" fmla="*/ 88 w 693"/>
                  <a:gd name="T97" fmla="*/ 41 h 338"/>
                  <a:gd name="T98" fmla="*/ 307 w 693"/>
                  <a:gd name="T99" fmla="*/ 38 h 338"/>
                  <a:gd name="T100" fmla="*/ 323 w 693"/>
                  <a:gd name="T101" fmla="*/ 39 h 338"/>
                  <a:gd name="T102" fmla="*/ 85 w 693"/>
                  <a:gd name="T103" fmla="*/ 37 h 338"/>
                  <a:gd name="T104" fmla="*/ 52 w 693"/>
                  <a:gd name="T105" fmla="*/ 32 h 338"/>
                  <a:gd name="T106" fmla="*/ 53 w 693"/>
                  <a:gd name="T107" fmla="*/ 32 h 338"/>
                  <a:gd name="T108" fmla="*/ 47 w 693"/>
                  <a:gd name="T109" fmla="*/ 14 h 338"/>
                  <a:gd name="T110" fmla="*/ 24 w 693"/>
                  <a:gd name="T111" fmla="*/ 8 h 338"/>
                  <a:gd name="T112" fmla="*/ 5 w 693"/>
                  <a:gd name="T113" fmla="*/ 8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93" h="338">
                    <a:moveTo>
                      <a:pt x="689" y="338"/>
                    </a:moveTo>
                    <a:cubicBezTo>
                      <a:pt x="688" y="338"/>
                      <a:pt x="688" y="338"/>
                      <a:pt x="688" y="338"/>
                    </a:cubicBezTo>
                    <a:cubicBezTo>
                      <a:pt x="687" y="336"/>
                      <a:pt x="686" y="335"/>
                      <a:pt x="685" y="333"/>
                    </a:cubicBezTo>
                    <a:cubicBezTo>
                      <a:pt x="690" y="330"/>
                      <a:pt x="690" y="330"/>
                      <a:pt x="690" y="330"/>
                    </a:cubicBezTo>
                    <a:cubicBezTo>
                      <a:pt x="690" y="331"/>
                      <a:pt x="691" y="332"/>
                      <a:pt x="693" y="334"/>
                    </a:cubicBezTo>
                    <a:cubicBezTo>
                      <a:pt x="693" y="334"/>
                      <a:pt x="693" y="334"/>
                      <a:pt x="693" y="334"/>
                    </a:cubicBezTo>
                    <a:lnTo>
                      <a:pt x="689" y="338"/>
                    </a:lnTo>
                    <a:close/>
                    <a:moveTo>
                      <a:pt x="680" y="323"/>
                    </a:moveTo>
                    <a:cubicBezTo>
                      <a:pt x="679" y="322"/>
                      <a:pt x="678" y="321"/>
                      <a:pt x="678" y="320"/>
                    </a:cubicBezTo>
                    <a:cubicBezTo>
                      <a:pt x="678" y="318"/>
                      <a:pt x="679" y="317"/>
                      <a:pt x="679" y="316"/>
                    </a:cubicBezTo>
                    <a:cubicBezTo>
                      <a:pt x="685" y="316"/>
                      <a:pt x="685" y="316"/>
                      <a:pt x="685" y="316"/>
                    </a:cubicBezTo>
                    <a:cubicBezTo>
                      <a:pt x="685" y="316"/>
                      <a:pt x="685" y="316"/>
                      <a:pt x="685" y="316"/>
                    </a:cubicBezTo>
                    <a:cubicBezTo>
                      <a:pt x="684" y="318"/>
                      <a:pt x="684" y="319"/>
                      <a:pt x="684" y="320"/>
                    </a:cubicBezTo>
                    <a:cubicBezTo>
                      <a:pt x="684" y="320"/>
                      <a:pt x="684" y="320"/>
                      <a:pt x="684" y="320"/>
                    </a:cubicBezTo>
                    <a:lnTo>
                      <a:pt x="680" y="323"/>
                    </a:lnTo>
                    <a:close/>
                    <a:moveTo>
                      <a:pt x="675" y="309"/>
                    </a:moveTo>
                    <a:cubicBezTo>
                      <a:pt x="675" y="309"/>
                      <a:pt x="674" y="309"/>
                      <a:pt x="672" y="309"/>
                    </a:cubicBezTo>
                    <a:cubicBezTo>
                      <a:pt x="671" y="308"/>
                      <a:pt x="671" y="308"/>
                      <a:pt x="670" y="308"/>
                    </a:cubicBezTo>
                    <a:cubicBezTo>
                      <a:pt x="673" y="303"/>
                      <a:pt x="673" y="303"/>
                      <a:pt x="673" y="303"/>
                    </a:cubicBezTo>
                    <a:cubicBezTo>
                      <a:pt x="673" y="303"/>
                      <a:pt x="673" y="303"/>
                      <a:pt x="673" y="303"/>
                    </a:cubicBezTo>
                    <a:cubicBezTo>
                      <a:pt x="675" y="303"/>
                      <a:pt x="677" y="304"/>
                      <a:pt x="678" y="305"/>
                    </a:cubicBezTo>
                    <a:lnTo>
                      <a:pt x="675" y="309"/>
                    </a:lnTo>
                    <a:close/>
                    <a:moveTo>
                      <a:pt x="673" y="298"/>
                    </a:moveTo>
                    <a:cubicBezTo>
                      <a:pt x="670" y="293"/>
                      <a:pt x="670" y="293"/>
                      <a:pt x="670" y="293"/>
                    </a:cubicBezTo>
                    <a:cubicBezTo>
                      <a:pt x="672" y="292"/>
                      <a:pt x="674" y="291"/>
                      <a:pt x="676" y="290"/>
                    </a:cubicBezTo>
                    <a:cubicBezTo>
                      <a:pt x="678" y="295"/>
                      <a:pt x="678" y="295"/>
                      <a:pt x="678" y="295"/>
                    </a:cubicBezTo>
                    <a:cubicBezTo>
                      <a:pt x="676" y="296"/>
                      <a:pt x="674" y="297"/>
                      <a:pt x="673" y="298"/>
                    </a:cubicBezTo>
                    <a:close/>
                    <a:moveTo>
                      <a:pt x="673" y="286"/>
                    </a:moveTo>
                    <a:cubicBezTo>
                      <a:pt x="672" y="285"/>
                      <a:pt x="670" y="284"/>
                      <a:pt x="669" y="283"/>
                    </a:cubicBezTo>
                    <a:cubicBezTo>
                      <a:pt x="669" y="283"/>
                      <a:pt x="669" y="282"/>
                      <a:pt x="669" y="282"/>
                    </a:cubicBezTo>
                    <a:cubicBezTo>
                      <a:pt x="673" y="278"/>
                      <a:pt x="673" y="278"/>
                      <a:pt x="673" y="278"/>
                    </a:cubicBezTo>
                    <a:cubicBezTo>
                      <a:pt x="673" y="278"/>
                      <a:pt x="673" y="279"/>
                      <a:pt x="674" y="279"/>
                    </a:cubicBezTo>
                    <a:cubicBezTo>
                      <a:pt x="675" y="280"/>
                      <a:pt x="676" y="281"/>
                      <a:pt x="677" y="282"/>
                    </a:cubicBezTo>
                    <a:lnTo>
                      <a:pt x="673" y="286"/>
                    </a:lnTo>
                    <a:close/>
                    <a:moveTo>
                      <a:pt x="667" y="273"/>
                    </a:moveTo>
                    <a:cubicBezTo>
                      <a:pt x="662" y="271"/>
                      <a:pt x="662" y="271"/>
                      <a:pt x="662" y="271"/>
                    </a:cubicBezTo>
                    <a:cubicBezTo>
                      <a:pt x="662" y="270"/>
                      <a:pt x="662" y="269"/>
                      <a:pt x="663" y="269"/>
                    </a:cubicBezTo>
                    <a:cubicBezTo>
                      <a:pt x="663" y="268"/>
                      <a:pt x="663" y="268"/>
                      <a:pt x="663" y="267"/>
                    </a:cubicBezTo>
                    <a:cubicBezTo>
                      <a:pt x="663" y="266"/>
                      <a:pt x="663" y="266"/>
                      <a:pt x="663" y="266"/>
                    </a:cubicBezTo>
                    <a:cubicBezTo>
                      <a:pt x="669" y="267"/>
                      <a:pt x="669" y="267"/>
                      <a:pt x="669" y="267"/>
                    </a:cubicBezTo>
                    <a:cubicBezTo>
                      <a:pt x="669" y="267"/>
                      <a:pt x="669" y="267"/>
                      <a:pt x="669" y="267"/>
                    </a:cubicBezTo>
                    <a:cubicBezTo>
                      <a:pt x="668" y="268"/>
                      <a:pt x="668" y="269"/>
                      <a:pt x="668" y="270"/>
                    </a:cubicBezTo>
                    <a:cubicBezTo>
                      <a:pt x="668" y="271"/>
                      <a:pt x="667" y="272"/>
                      <a:pt x="667" y="273"/>
                    </a:cubicBezTo>
                    <a:close/>
                    <a:moveTo>
                      <a:pt x="675" y="266"/>
                    </a:moveTo>
                    <a:cubicBezTo>
                      <a:pt x="672" y="261"/>
                      <a:pt x="672" y="261"/>
                      <a:pt x="672" y="261"/>
                    </a:cubicBezTo>
                    <a:cubicBezTo>
                      <a:pt x="672" y="261"/>
                      <a:pt x="672" y="262"/>
                      <a:pt x="672" y="262"/>
                    </a:cubicBezTo>
                    <a:cubicBezTo>
                      <a:pt x="672" y="262"/>
                      <a:pt x="672" y="261"/>
                      <a:pt x="672" y="261"/>
                    </a:cubicBezTo>
                    <a:cubicBezTo>
                      <a:pt x="672" y="261"/>
                      <a:pt x="672" y="261"/>
                      <a:pt x="672" y="261"/>
                    </a:cubicBezTo>
                    <a:cubicBezTo>
                      <a:pt x="672" y="261"/>
                      <a:pt x="672" y="261"/>
                      <a:pt x="672" y="261"/>
                    </a:cubicBezTo>
                    <a:cubicBezTo>
                      <a:pt x="672" y="260"/>
                      <a:pt x="672" y="260"/>
                      <a:pt x="672" y="260"/>
                    </a:cubicBezTo>
                    <a:cubicBezTo>
                      <a:pt x="672" y="260"/>
                      <a:pt x="672" y="260"/>
                      <a:pt x="672" y="260"/>
                    </a:cubicBezTo>
                    <a:cubicBezTo>
                      <a:pt x="677" y="257"/>
                      <a:pt x="677" y="257"/>
                      <a:pt x="677" y="257"/>
                    </a:cubicBezTo>
                    <a:cubicBezTo>
                      <a:pt x="678" y="258"/>
                      <a:pt x="678" y="259"/>
                      <a:pt x="678" y="260"/>
                    </a:cubicBezTo>
                    <a:cubicBezTo>
                      <a:pt x="678" y="261"/>
                      <a:pt x="678" y="262"/>
                      <a:pt x="678" y="262"/>
                    </a:cubicBezTo>
                    <a:cubicBezTo>
                      <a:pt x="677" y="263"/>
                      <a:pt x="677" y="263"/>
                      <a:pt x="677" y="263"/>
                    </a:cubicBezTo>
                    <a:cubicBezTo>
                      <a:pt x="677" y="264"/>
                      <a:pt x="676" y="265"/>
                      <a:pt x="675" y="266"/>
                    </a:cubicBezTo>
                    <a:close/>
                    <a:moveTo>
                      <a:pt x="663" y="253"/>
                    </a:moveTo>
                    <a:cubicBezTo>
                      <a:pt x="661" y="252"/>
                      <a:pt x="661" y="250"/>
                      <a:pt x="660" y="247"/>
                    </a:cubicBezTo>
                    <a:cubicBezTo>
                      <a:pt x="660" y="247"/>
                      <a:pt x="660" y="247"/>
                      <a:pt x="660" y="247"/>
                    </a:cubicBezTo>
                    <a:cubicBezTo>
                      <a:pt x="666" y="245"/>
                      <a:pt x="666" y="245"/>
                      <a:pt x="666" y="245"/>
                    </a:cubicBezTo>
                    <a:cubicBezTo>
                      <a:pt x="666" y="246"/>
                      <a:pt x="666" y="246"/>
                      <a:pt x="666" y="247"/>
                    </a:cubicBezTo>
                    <a:cubicBezTo>
                      <a:pt x="666" y="248"/>
                      <a:pt x="667" y="249"/>
                      <a:pt x="667" y="249"/>
                    </a:cubicBezTo>
                    <a:lnTo>
                      <a:pt x="663" y="253"/>
                    </a:lnTo>
                    <a:close/>
                    <a:moveTo>
                      <a:pt x="652" y="242"/>
                    </a:moveTo>
                    <a:cubicBezTo>
                      <a:pt x="652" y="241"/>
                      <a:pt x="652" y="241"/>
                      <a:pt x="652" y="241"/>
                    </a:cubicBezTo>
                    <a:cubicBezTo>
                      <a:pt x="650" y="240"/>
                      <a:pt x="649" y="239"/>
                      <a:pt x="647" y="238"/>
                    </a:cubicBezTo>
                    <a:cubicBezTo>
                      <a:pt x="651" y="234"/>
                      <a:pt x="651" y="234"/>
                      <a:pt x="651" y="234"/>
                    </a:cubicBezTo>
                    <a:cubicBezTo>
                      <a:pt x="652" y="234"/>
                      <a:pt x="653" y="235"/>
                      <a:pt x="655" y="236"/>
                    </a:cubicBezTo>
                    <a:cubicBezTo>
                      <a:pt x="656" y="237"/>
                      <a:pt x="656" y="237"/>
                      <a:pt x="656" y="237"/>
                    </a:cubicBezTo>
                    <a:lnTo>
                      <a:pt x="652" y="242"/>
                    </a:lnTo>
                    <a:close/>
                    <a:moveTo>
                      <a:pt x="645" y="229"/>
                    </a:moveTo>
                    <a:cubicBezTo>
                      <a:pt x="640" y="226"/>
                      <a:pt x="640" y="226"/>
                      <a:pt x="640" y="226"/>
                    </a:cubicBezTo>
                    <a:cubicBezTo>
                      <a:pt x="640" y="225"/>
                      <a:pt x="641" y="225"/>
                      <a:pt x="641" y="224"/>
                    </a:cubicBezTo>
                    <a:cubicBezTo>
                      <a:pt x="642" y="223"/>
                      <a:pt x="642" y="223"/>
                      <a:pt x="642" y="223"/>
                    </a:cubicBezTo>
                    <a:cubicBezTo>
                      <a:pt x="648" y="222"/>
                      <a:pt x="648" y="222"/>
                      <a:pt x="648" y="222"/>
                    </a:cubicBezTo>
                    <a:cubicBezTo>
                      <a:pt x="648" y="222"/>
                      <a:pt x="648" y="222"/>
                      <a:pt x="648" y="223"/>
                    </a:cubicBezTo>
                    <a:cubicBezTo>
                      <a:pt x="648" y="224"/>
                      <a:pt x="647" y="226"/>
                      <a:pt x="646" y="227"/>
                    </a:cubicBezTo>
                    <a:cubicBezTo>
                      <a:pt x="646" y="228"/>
                      <a:pt x="645" y="228"/>
                      <a:pt x="645" y="229"/>
                    </a:cubicBezTo>
                    <a:close/>
                    <a:moveTo>
                      <a:pt x="636" y="214"/>
                    </a:moveTo>
                    <a:cubicBezTo>
                      <a:pt x="635" y="213"/>
                      <a:pt x="634" y="211"/>
                      <a:pt x="634" y="209"/>
                    </a:cubicBezTo>
                    <a:cubicBezTo>
                      <a:pt x="634" y="209"/>
                      <a:pt x="634" y="209"/>
                      <a:pt x="634" y="209"/>
                    </a:cubicBezTo>
                    <a:cubicBezTo>
                      <a:pt x="639" y="205"/>
                      <a:pt x="639" y="205"/>
                      <a:pt x="639" y="205"/>
                    </a:cubicBezTo>
                    <a:cubicBezTo>
                      <a:pt x="639" y="206"/>
                      <a:pt x="640" y="207"/>
                      <a:pt x="640" y="209"/>
                    </a:cubicBezTo>
                    <a:cubicBezTo>
                      <a:pt x="640" y="209"/>
                      <a:pt x="640" y="210"/>
                      <a:pt x="641" y="211"/>
                    </a:cubicBezTo>
                    <a:lnTo>
                      <a:pt x="636" y="214"/>
                    </a:lnTo>
                    <a:close/>
                    <a:moveTo>
                      <a:pt x="622" y="213"/>
                    </a:moveTo>
                    <a:cubicBezTo>
                      <a:pt x="621" y="213"/>
                      <a:pt x="619" y="213"/>
                      <a:pt x="619" y="210"/>
                    </a:cubicBezTo>
                    <a:cubicBezTo>
                      <a:pt x="623" y="208"/>
                      <a:pt x="623" y="208"/>
                      <a:pt x="623" y="208"/>
                    </a:cubicBezTo>
                    <a:cubicBezTo>
                      <a:pt x="623" y="208"/>
                      <a:pt x="622" y="208"/>
                      <a:pt x="622" y="208"/>
                    </a:cubicBezTo>
                    <a:cubicBezTo>
                      <a:pt x="622" y="208"/>
                      <a:pt x="622" y="207"/>
                      <a:pt x="623" y="207"/>
                    </a:cubicBezTo>
                    <a:cubicBezTo>
                      <a:pt x="623" y="207"/>
                      <a:pt x="624" y="207"/>
                      <a:pt x="624" y="206"/>
                    </a:cubicBezTo>
                    <a:cubicBezTo>
                      <a:pt x="627" y="212"/>
                      <a:pt x="627" y="212"/>
                      <a:pt x="627" y="212"/>
                    </a:cubicBezTo>
                    <a:cubicBezTo>
                      <a:pt x="626" y="212"/>
                      <a:pt x="626" y="212"/>
                      <a:pt x="626" y="212"/>
                    </a:cubicBezTo>
                    <a:cubicBezTo>
                      <a:pt x="624" y="213"/>
                      <a:pt x="623" y="213"/>
                      <a:pt x="622" y="213"/>
                    </a:cubicBezTo>
                    <a:close/>
                    <a:moveTo>
                      <a:pt x="611" y="203"/>
                    </a:moveTo>
                    <a:cubicBezTo>
                      <a:pt x="610" y="202"/>
                      <a:pt x="610" y="202"/>
                      <a:pt x="610" y="202"/>
                    </a:cubicBezTo>
                    <a:cubicBezTo>
                      <a:pt x="610" y="201"/>
                      <a:pt x="608" y="200"/>
                      <a:pt x="607" y="198"/>
                    </a:cubicBezTo>
                    <a:cubicBezTo>
                      <a:pt x="613" y="195"/>
                      <a:pt x="613" y="195"/>
                      <a:pt x="613" y="195"/>
                    </a:cubicBezTo>
                    <a:cubicBezTo>
                      <a:pt x="613" y="197"/>
                      <a:pt x="614" y="198"/>
                      <a:pt x="615" y="199"/>
                    </a:cubicBezTo>
                    <a:cubicBezTo>
                      <a:pt x="616" y="200"/>
                      <a:pt x="616" y="200"/>
                      <a:pt x="616" y="200"/>
                    </a:cubicBezTo>
                    <a:lnTo>
                      <a:pt x="611" y="203"/>
                    </a:lnTo>
                    <a:close/>
                    <a:moveTo>
                      <a:pt x="585" y="195"/>
                    </a:moveTo>
                    <a:cubicBezTo>
                      <a:pt x="583" y="193"/>
                      <a:pt x="583" y="193"/>
                      <a:pt x="583" y="193"/>
                    </a:cubicBezTo>
                    <a:cubicBezTo>
                      <a:pt x="582" y="192"/>
                      <a:pt x="582" y="192"/>
                      <a:pt x="581" y="191"/>
                    </a:cubicBezTo>
                    <a:cubicBezTo>
                      <a:pt x="584" y="186"/>
                      <a:pt x="584" y="186"/>
                      <a:pt x="584" y="186"/>
                    </a:cubicBezTo>
                    <a:cubicBezTo>
                      <a:pt x="585" y="187"/>
                      <a:pt x="586" y="188"/>
                      <a:pt x="588" y="189"/>
                    </a:cubicBezTo>
                    <a:cubicBezTo>
                      <a:pt x="589" y="191"/>
                      <a:pt x="589" y="191"/>
                      <a:pt x="589" y="191"/>
                    </a:cubicBezTo>
                    <a:lnTo>
                      <a:pt x="585" y="195"/>
                    </a:lnTo>
                    <a:close/>
                    <a:moveTo>
                      <a:pt x="597" y="194"/>
                    </a:moveTo>
                    <a:cubicBezTo>
                      <a:pt x="594" y="189"/>
                      <a:pt x="594" y="189"/>
                      <a:pt x="594" y="189"/>
                    </a:cubicBezTo>
                    <a:cubicBezTo>
                      <a:pt x="596" y="187"/>
                      <a:pt x="598" y="187"/>
                      <a:pt x="600" y="187"/>
                    </a:cubicBezTo>
                    <a:cubicBezTo>
                      <a:pt x="600" y="187"/>
                      <a:pt x="600" y="187"/>
                      <a:pt x="600" y="187"/>
                    </a:cubicBezTo>
                    <a:cubicBezTo>
                      <a:pt x="601" y="187"/>
                      <a:pt x="601" y="187"/>
                      <a:pt x="601" y="187"/>
                    </a:cubicBezTo>
                    <a:cubicBezTo>
                      <a:pt x="601" y="193"/>
                      <a:pt x="601" y="193"/>
                      <a:pt x="601" y="193"/>
                    </a:cubicBezTo>
                    <a:cubicBezTo>
                      <a:pt x="600" y="190"/>
                      <a:pt x="600" y="190"/>
                      <a:pt x="600" y="190"/>
                    </a:cubicBezTo>
                    <a:cubicBezTo>
                      <a:pt x="600" y="193"/>
                      <a:pt x="600" y="193"/>
                      <a:pt x="600" y="193"/>
                    </a:cubicBezTo>
                    <a:cubicBezTo>
                      <a:pt x="599" y="193"/>
                      <a:pt x="598" y="193"/>
                      <a:pt x="597" y="194"/>
                    </a:cubicBezTo>
                    <a:close/>
                    <a:moveTo>
                      <a:pt x="574" y="182"/>
                    </a:moveTo>
                    <a:cubicBezTo>
                      <a:pt x="574" y="182"/>
                      <a:pt x="574" y="182"/>
                      <a:pt x="574" y="182"/>
                    </a:cubicBezTo>
                    <a:cubicBezTo>
                      <a:pt x="573" y="181"/>
                      <a:pt x="573" y="181"/>
                      <a:pt x="573" y="181"/>
                    </a:cubicBezTo>
                    <a:cubicBezTo>
                      <a:pt x="572" y="181"/>
                      <a:pt x="571" y="181"/>
                      <a:pt x="569" y="181"/>
                    </a:cubicBezTo>
                    <a:cubicBezTo>
                      <a:pt x="572" y="175"/>
                      <a:pt x="572" y="175"/>
                      <a:pt x="572" y="175"/>
                    </a:cubicBezTo>
                    <a:cubicBezTo>
                      <a:pt x="572" y="175"/>
                      <a:pt x="573" y="176"/>
                      <a:pt x="574" y="176"/>
                    </a:cubicBezTo>
                    <a:cubicBezTo>
                      <a:pt x="575" y="176"/>
                      <a:pt x="575" y="176"/>
                      <a:pt x="575" y="176"/>
                    </a:cubicBezTo>
                    <a:cubicBezTo>
                      <a:pt x="576" y="176"/>
                      <a:pt x="577" y="177"/>
                      <a:pt x="578" y="178"/>
                    </a:cubicBezTo>
                    <a:lnTo>
                      <a:pt x="574" y="182"/>
                    </a:lnTo>
                    <a:close/>
                    <a:moveTo>
                      <a:pt x="559" y="175"/>
                    </a:moveTo>
                    <a:cubicBezTo>
                      <a:pt x="558" y="174"/>
                      <a:pt x="558" y="173"/>
                      <a:pt x="558" y="172"/>
                    </a:cubicBezTo>
                    <a:cubicBezTo>
                      <a:pt x="558" y="170"/>
                      <a:pt x="559" y="168"/>
                      <a:pt x="560" y="167"/>
                    </a:cubicBezTo>
                    <a:cubicBezTo>
                      <a:pt x="560" y="167"/>
                      <a:pt x="560" y="167"/>
                      <a:pt x="560" y="166"/>
                    </a:cubicBezTo>
                    <a:cubicBezTo>
                      <a:pt x="565" y="169"/>
                      <a:pt x="565" y="169"/>
                      <a:pt x="565" y="169"/>
                    </a:cubicBezTo>
                    <a:cubicBezTo>
                      <a:pt x="565" y="169"/>
                      <a:pt x="565" y="169"/>
                      <a:pt x="565" y="169"/>
                    </a:cubicBezTo>
                    <a:cubicBezTo>
                      <a:pt x="565" y="169"/>
                      <a:pt x="565" y="169"/>
                      <a:pt x="565" y="169"/>
                    </a:cubicBezTo>
                    <a:cubicBezTo>
                      <a:pt x="565" y="169"/>
                      <a:pt x="565" y="170"/>
                      <a:pt x="565" y="170"/>
                    </a:cubicBezTo>
                    <a:cubicBezTo>
                      <a:pt x="564" y="171"/>
                      <a:pt x="564" y="172"/>
                      <a:pt x="564" y="172"/>
                    </a:cubicBezTo>
                    <a:cubicBezTo>
                      <a:pt x="564" y="171"/>
                      <a:pt x="563" y="171"/>
                      <a:pt x="563" y="170"/>
                    </a:cubicBezTo>
                    <a:lnTo>
                      <a:pt x="559" y="175"/>
                    </a:lnTo>
                    <a:close/>
                    <a:moveTo>
                      <a:pt x="561" y="163"/>
                    </a:moveTo>
                    <a:cubicBezTo>
                      <a:pt x="557" y="163"/>
                      <a:pt x="556" y="160"/>
                      <a:pt x="555" y="157"/>
                    </a:cubicBezTo>
                    <a:cubicBezTo>
                      <a:pt x="560" y="155"/>
                      <a:pt x="560" y="155"/>
                      <a:pt x="560" y="155"/>
                    </a:cubicBezTo>
                    <a:cubicBezTo>
                      <a:pt x="560" y="155"/>
                      <a:pt x="561" y="157"/>
                      <a:pt x="561" y="157"/>
                    </a:cubicBezTo>
                    <a:cubicBezTo>
                      <a:pt x="561" y="157"/>
                      <a:pt x="561" y="157"/>
                      <a:pt x="561" y="157"/>
                    </a:cubicBezTo>
                    <a:cubicBezTo>
                      <a:pt x="562" y="162"/>
                      <a:pt x="562" y="162"/>
                      <a:pt x="562" y="162"/>
                    </a:cubicBezTo>
                    <a:cubicBezTo>
                      <a:pt x="561" y="162"/>
                      <a:pt x="561" y="162"/>
                      <a:pt x="561" y="162"/>
                    </a:cubicBezTo>
                    <a:lnTo>
                      <a:pt x="561" y="163"/>
                    </a:lnTo>
                    <a:close/>
                    <a:moveTo>
                      <a:pt x="548" y="153"/>
                    </a:moveTo>
                    <a:cubicBezTo>
                      <a:pt x="547" y="153"/>
                      <a:pt x="546" y="153"/>
                      <a:pt x="545" y="153"/>
                    </a:cubicBezTo>
                    <a:cubicBezTo>
                      <a:pt x="544" y="153"/>
                      <a:pt x="542" y="153"/>
                      <a:pt x="541" y="152"/>
                    </a:cubicBezTo>
                    <a:cubicBezTo>
                      <a:pt x="544" y="147"/>
                      <a:pt x="544" y="147"/>
                      <a:pt x="544" y="147"/>
                    </a:cubicBezTo>
                    <a:cubicBezTo>
                      <a:pt x="545" y="147"/>
                      <a:pt x="545" y="147"/>
                      <a:pt x="546" y="147"/>
                    </a:cubicBezTo>
                    <a:cubicBezTo>
                      <a:pt x="546" y="148"/>
                      <a:pt x="547" y="148"/>
                      <a:pt x="548" y="148"/>
                    </a:cubicBezTo>
                    <a:cubicBezTo>
                      <a:pt x="548" y="148"/>
                      <a:pt x="548" y="148"/>
                      <a:pt x="548" y="148"/>
                    </a:cubicBezTo>
                    <a:lnTo>
                      <a:pt x="548" y="153"/>
                    </a:lnTo>
                    <a:close/>
                    <a:moveTo>
                      <a:pt x="517" y="147"/>
                    </a:moveTo>
                    <a:cubicBezTo>
                      <a:pt x="512" y="146"/>
                      <a:pt x="512" y="146"/>
                      <a:pt x="512" y="146"/>
                    </a:cubicBezTo>
                    <a:cubicBezTo>
                      <a:pt x="512" y="146"/>
                      <a:pt x="512" y="145"/>
                      <a:pt x="512" y="144"/>
                    </a:cubicBezTo>
                    <a:cubicBezTo>
                      <a:pt x="512" y="143"/>
                      <a:pt x="512" y="142"/>
                      <a:pt x="511" y="141"/>
                    </a:cubicBezTo>
                    <a:cubicBezTo>
                      <a:pt x="517" y="140"/>
                      <a:pt x="517" y="140"/>
                      <a:pt x="517" y="140"/>
                    </a:cubicBezTo>
                    <a:cubicBezTo>
                      <a:pt x="517" y="142"/>
                      <a:pt x="518" y="143"/>
                      <a:pt x="518" y="144"/>
                    </a:cubicBezTo>
                    <a:cubicBezTo>
                      <a:pt x="518" y="145"/>
                      <a:pt x="517" y="146"/>
                      <a:pt x="517" y="147"/>
                    </a:cubicBezTo>
                    <a:close/>
                    <a:moveTo>
                      <a:pt x="532" y="147"/>
                    </a:moveTo>
                    <a:cubicBezTo>
                      <a:pt x="531" y="147"/>
                      <a:pt x="526" y="146"/>
                      <a:pt x="524" y="144"/>
                    </a:cubicBezTo>
                    <a:cubicBezTo>
                      <a:pt x="529" y="140"/>
                      <a:pt x="529" y="140"/>
                      <a:pt x="529" y="140"/>
                    </a:cubicBezTo>
                    <a:cubicBezTo>
                      <a:pt x="529" y="140"/>
                      <a:pt x="529" y="140"/>
                      <a:pt x="529" y="140"/>
                    </a:cubicBezTo>
                    <a:cubicBezTo>
                      <a:pt x="529" y="140"/>
                      <a:pt x="530" y="141"/>
                      <a:pt x="532" y="141"/>
                    </a:cubicBezTo>
                    <a:lnTo>
                      <a:pt x="532" y="147"/>
                    </a:lnTo>
                    <a:close/>
                    <a:moveTo>
                      <a:pt x="504" y="144"/>
                    </a:moveTo>
                    <a:cubicBezTo>
                      <a:pt x="503" y="143"/>
                      <a:pt x="501" y="142"/>
                      <a:pt x="499" y="141"/>
                    </a:cubicBezTo>
                    <a:cubicBezTo>
                      <a:pt x="503" y="136"/>
                      <a:pt x="503" y="136"/>
                      <a:pt x="503" y="136"/>
                    </a:cubicBezTo>
                    <a:cubicBezTo>
                      <a:pt x="503" y="136"/>
                      <a:pt x="503" y="136"/>
                      <a:pt x="503" y="137"/>
                    </a:cubicBezTo>
                    <a:cubicBezTo>
                      <a:pt x="504" y="137"/>
                      <a:pt x="506" y="138"/>
                      <a:pt x="507" y="139"/>
                    </a:cubicBezTo>
                    <a:lnTo>
                      <a:pt x="504" y="144"/>
                    </a:lnTo>
                    <a:close/>
                    <a:moveTo>
                      <a:pt x="489" y="135"/>
                    </a:moveTo>
                    <a:cubicBezTo>
                      <a:pt x="488" y="134"/>
                      <a:pt x="488" y="134"/>
                      <a:pt x="487" y="133"/>
                    </a:cubicBezTo>
                    <a:cubicBezTo>
                      <a:pt x="486" y="132"/>
                      <a:pt x="485" y="132"/>
                      <a:pt x="485" y="131"/>
                    </a:cubicBezTo>
                    <a:cubicBezTo>
                      <a:pt x="486" y="129"/>
                      <a:pt x="486" y="129"/>
                      <a:pt x="486" y="129"/>
                    </a:cubicBezTo>
                    <a:cubicBezTo>
                      <a:pt x="488" y="126"/>
                      <a:pt x="488" y="126"/>
                      <a:pt x="488" y="126"/>
                    </a:cubicBezTo>
                    <a:cubicBezTo>
                      <a:pt x="486" y="129"/>
                      <a:pt x="486" y="129"/>
                      <a:pt x="486" y="129"/>
                    </a:cubicBezTo>
                    <a:cubicBezTo>
                      <a:pt x="488" y="127"/>
                      <a:pt x="488" y="127"/>
                      <a:pt x="488" y="127"/>
                    </a:cubicBezTo>
                    <a:cubicBezTo>
                      <a:pt x="489" y="127"/>
                      <a:pt x="490" y="128"/>
                      <a:pt x="491" y="129"/>
                    </a:cubicBezTo>
                    <a:cubicBezTo>
                      <a:pt x="492" y="130"/>
                      <a:pt x="492" y="130"/>
                      <a:pt x="492" y="130"/>
                    </a:cubicBezTo>
                    <a:lnTo>
                      <a:pt x="489" y="135"/>
                    </a:lnTo>
                    <a:close/>
                    <a:moveTo>
                      <a:pt x="518" y="134"/>
                    </a:moveTo>
                    <a:cubicBezTo>
                      <a:pt x="517" y="132"/>
                      <a:pt x="516" y="130"/>
                      <a:pt x="516" y="129"/>
                    </a:cubicBezTo>
                    <a:cubicBezTo>
                      <a:pt x="516" y="129"/>
                      <a:pt x="516" y="129"/>
                      <a:pt x="516" y="129"/>
                    </a:cubicBezTo>
                    <a:cubicBezTo>
                      <a:pt x="521" y="126"/>
                      <a:pt x="521" y="126"/>
                      <a:pt x="521" y="126"/>
                    </a:cubicBezTo>
                    <a:cubicBezTo>
                      <a:pt x="521" y="127"/>
                      <a:pt x="521" y="127"/>
                      <a:pt x="521" y="128"/>
                    </a:cubicBezTo>
                    <a:cubicBezTo>
                      <a:pt x="522" y="128"/>
                      <a:pt x="522" y="130"/>
                      <a:pt x="523" y="131"/>
                    </a:cubicBezTo>
                    <a:lnTo>
                      <a:pt x="518" y="134"/>
                    </a:lnTo>
                    <a:close/>
                    <a:moveTo>
                      <a:pt x="506" y="132"/>
                    </a:moveTo>
                    <a:cubicBezTo>
                      <a:pt x="506" y="132"/>
                      <a:pt x="506" y="132"/>
                      <a:pt x="506" y="132"/>
                    </a:cubicBezTo>
                    <a:cubicBezTo>
                      <a:pt x="506" y="131"/>
                      <a:pt x="505" y="130"/>
                      <a:pt x="505" y="129"/>
                    </a:cubicBezTo>
                    <a:cubicBezTo>
                      <a:pt x="505" y="129"/>
                      <a:pt x="505" y="129"/>
                      <a:pt x="505" y="129"/>
                    </a:cubicBezTo>
                    <a:cubicBezTo>
                      <a:pt x="505" y="128"/>
                      <a:pt x="505" y="128"/>
                      <a:pt x="505" y="128"/>
                    </a:cubicBezTo>
                    <a:cubicBezTo>
                      <a:pt x="505" y="126"/>
                      <a:pt x="506" y="124"/>
                      <a:pt x="507" y="123"/>
                    </a:cubicBezTo>
                    <a:cubicBezTo>
                      <a:pt x="511" y="128"/>
                      <a:pt x="511" y="128"/>
                      <a:pt x="511" y="128"/>
                    </a:cubicBezTo>
                    <a:cubicBezTo>
                      <a:pt x="511" y="128"/>
                      <a:pt x="511" y="128"/>
                      <a:pt x="511" y="128"/>
                    </a:cubicBezTo>
                    <a:cubicBezTo>
                      <a:pt x="511" y="128"/>
                      <a:pt x="511" y="128"/>
                      <a:pt x="511" y="129"/>
                    </a:cubicBezTo>
                    <a:lnTo>
                      <a:pt x="506" y="132"/>
                    </a:lnTo>
                    <a:close/>
                    <a:moveTo>
                      <a:pt x="245" y="129"/>
                    </a:moveTo>
                    <a:cubicBezTo>
                      <a:pt x="245" y="123"/>
                      <a:pt x="245" y="123"/>
                      <a:pt x="245" y="123"/>
                    </a:cubicBezTo>
                    <a:cubicBezTo>
                      <a:pt x="245" y="123"/>
                      <a:pt x="245" y="123"/>
                      <a:pt x="245" y="123"/>
                    </a:cubicBezTo>
                    <a:cubicBezTo>
                      <a:pt x="248" y="123"/>
                      <a:pt x="248" y="122"/>
                      <a:pt x="248" y="122"/>
                    </a:cubicBezTo>
                    <a:cubicBezTo>
                      <a:pt x="252" y="126"/>
                      <a:pt x="252" y="126"/>
                      <a:pt x="252" y="126"/>
                    </a:cubicBezTo>
                    <a:cubicBezTo>
                      <a:pt x="251" y="128"/>
                      <a:pt x="249" y="129"/>
                      <a:pt x="245" y="129"/>
                    </a:cubicBezTo>
                    <a:close/>
                    <a:moveTo>
                      <a:pt x="233" y="124"/>
                    </a:moveTo>
                    <a:cubicBezTo>
                      <a:pt x="232" y="124"/>
                      <a:pt x="230" y="123"/>
                      <a:pt x="228" y="121"/>
                    </a:cubicBezTo>
                    <a:cubicBezTo>
                      <a:pt x="227" y="120"/>
                      <a:pt x="227" y="120"/>
                      <a:pt x="227" y="120"/>
                    </a:cubicBezTo>
                    <a:cubicBezTo>
                      <a:pt x="231" y="116"/>
                      <a:pt x="231" y="116"/>
                      <a:pt x="231" y="116"/>
                    </a:cubicBezTo>
                    <a:cubicBezTo>
                      <a:pt x="232" y="116"/>
                      <a:pt x="232" y="116"/>
                      <a:pt x="232" y="117"/>
                    </a:cubicBezTo>
                    <a:cubicBezTo>
                      <a:pt x="234" y="118"/>
                      <a:pt x="234" y="118"/>
                      <a:pt x="235" y="118"/>
                    </a:cubicBezTo>
                    <a:lnTo>
                      <a:pt x="233" y="124"/>
                    </a:lnTo>
                    <a:close/>
                    <a:moveTo>
                      <a:pt x="277" y="123"/>
                    </a:moveTo>
                    <a:cubicBezTo>
                      <a:pt x="271" y="122"/>
                      <a:pt x="271" y="122"/>
                      <a:pt x="271" y="122"/>
                    </a:cubicBezTo>
                    <a:cubicBezTo>
                      <a:pt x="271" y="122"/>
                      <a:pt x="271" y="122"/>
                      <a:pt x="271" y="122"/>
                    </a:cubicBezTo>
                    <a:cubicBezTo>
                      <a:pt x="271" y="122"/>
                      <a:pt x="271" y="121"/>
                      <a:pt x="271" y="120"/>
                    </a:cubicBezTo>
                    <a:cubicBezTo>
                      <a:pt x="271" y="119"/>
                      <a:pt x="270" y="119"/>
                      <a:pt x="270" y="118"/>
                    </a:cubicBezTo>
                    <a:cubicBezTo>
                      <a:pt x="270" y="117"/>
                      <a:pt x="270" y="117"/>
                      <a:pt x="271" y="116"/>
                    </a:cubicBezTo>
                    <a:cubicBezTo>
                      <a:pt x="276" y="118"/>
                      <a:pt x="276" y="118"/>
                      <a:pt x="276" y="118"/>
                    </a:cubicBezTo>
                    <a:cubicBezTo>
                      <a:pt x="276" y="118"/>
                      <a:pt x="276" y="119"/>
                      <a:pt x="276" y="119"/>
                    </a:cubicBezTo>
                    <a:cubicBezTo>
                      <a:pt x="277" y="120"/>
                      <a:pt x="277" y="121"/>
                      <a:pt x="277" y="122"/>
                    </a:cubicBezTo>
                    <a:cubicBezTo>
                      <a:pt x="277" y="123"/>
                      <a:pt x="277" y="123"/>
                      <a:pt x="277" y="123"/>
                    </a:cubicBezTo>
                    <a:close/>
                    <a:moveTo>
                      <a:pt x="262" y="122"/>
                    </a:moveTo>
                    <a:cubicBezTo>
                      <a:pt x="261" y="122"/>
                      <a:pt x="261" y="122"/>
                      <a:pt x="261" y="122"/>
                    </a:cubicBezTo>
                    <a:cubicBezTo>
                      <a:pt x="259" y="121"/>
                      <a:pt x="258" y="121"/>
                      <a:pt x="257" y="120"/>
                    </a:cubicBezTo>
                    <a:cubicBezTo>
                      <a:pt x="259" y="115"/>
                      <a:pt x="259" y="115"/>
                      <a:pt x="259" y="115"/>
                    </a:cubicBezTo>
                    <a:cubicBezTo>
                      <a:pt x="260" y="115"/>
                      <a:pt x="261" y="116"/>
                      <a:pt x="263" y="116"/>
                    </a:cubicBezTo>
                    <a:cubicBezTo>
                      <a:pt x="265" y="117"/>
                      <a:pt x="265" y="117"/>
                      <a:pt x="265" y="117"/>
                    </a:cubicBezTo>
                    <a:lnTo>
                      <a:pt x="262" y="122"/>
                    </a:lnTo>
                    <a:close/>
                    <a:moveTo>
                      <a:pt x="476" y="122"/>
                    </a:moveTo>
                    <a:cubicBezTo>
                      <a:pt x="475" y="120"/>
                      <a:pt x="474" y="118"/>
                      <a:pt x="473" y="117"/>
                    </a:cubicBezTo>
                    <a:cubicBezTo>
                      <a:pt x="478" y="114"/>
                      <a:pt x="478" y="114"/>
                      <a:pt x="478" y="114"/>
                    </a:cubicBezTo>
                    <a:cubicBezTo>
                      <a:pt x="479" y="115"/>
                      <a:pt x="480" y="116"/>
                      <a:pt x="481" y="118"/>
                    </a:cubicBezTo>
                    <a:lnTo>
                      <a:pt x="476" y="122"/>
                    </a:lnTo>
                    <a:close/>
                    <a:moveTo>
                      <a:pt x="220" y="110"/>
                    </a:moveTo>
                    <a:cubicBezTo>
                      <a:pt x="220" y="109"/>
                      <a:pt x="220" y="109"/>
                      <a:pt x="219" y="108"/>
                    </a:cubicBezTo>
                    <a:cubicBezTo>
                      <a:pt x="218" y="108"/>
                      <a:pt x="218" y="107"/>
                      <a:pt x="217" y="107"/>
                    </a:cubicBezTo>
                    <a:cubicBezTo>
                      <a:pt x="221" y="103"/>
                      <a:pt x="221" y="103"/>
                      <a:pt x="221" y="103"/>
                    </a:cubicBezTo>
                    <a:cubicBezTo>
                      <a:pt x="221" y="103"/>
                      <a:pt x="222" y="103"/>
                      <a:pt x="222" y="104"/>
                    </a:cubicBezTo>
                    <a:cubicBezTo>
                      <a:pt x="223" y="105"/>
                      <a:pt x="225" y="106"/>
                      <a:pt x="226" y="107"/>
                    </a:cubicBezTo>
                    <a:lnTo>
                      <a:pt x="220" y="110"/>
                    </a:lnTo>
                    <a:close/>
                    <a:moveTo>
                      <a:pt x="193" y="109"/>
                    </a:moveTo>
                    <a:cubicBezTo>
                      <a:pt x="192" y="109"/>
                      <a:pt x="191" y="108"/>
                      <a:pt x="188" y="108"/>
                    </a:cubicBezTo>
                    <a:cubicBezTo>
                      <a:pt x="188" y="102"/>
                      <a:pt x="188" y="102"/>
                      <a:pt x="188" y="102"/>
                    </a:cubicBezTo>
                    <a:cubicBezTo>
                      <a:pt x="188" y="102"/>
                      <a:pt x="188" y="102"/>
                      <a:pt x="188" y="102"/>
                    </a:cubicBezTo>
                    <a:cubicBezTo>
                      <a:pt x="191" y="102"/>
                      <a:pt x="193" y="103"/>
                      <a:pt x="195" y="103"/>
                    </a:cubicBezTo>
                    <a:lnTo>
                      <a:pt x="193" y="109"/>
                    </a:lnTo>
                    <a:close/>
                    <a:moveTo>
                      <a:pt x="466" y="108"/>
                    </a:moveTo>
                    <a:cubicBezTo>
                      <a:pt x="466" y="107"/>
                      <a:pt x="466" y="107"/>
                      <a:pt x="466" y="107"/>
                    </a:cubicBezTo>
                    <a:cubicBezTo>
                      <a:pt x="465" y="106"/>
                      <a:pt x="464" y="105"/>
                      <a:pt x="462" y="103"/>
                    </a:cubicBezTo>
                    <a:cubicBezTo>
                      <a:pt x="467" y="99"/>
                      <a:pt x="467" y="99"/>
                      <a:pt x="467" y="99"/>
                    </a:cubicBezTo>
                    <a:cubicBezTo>
                      <a:pt x="468" y="101"/>
                      <a:pt x="469" y="102"/>
                      <a:pt x="470" y="103"/>
                    </a:cubicBezTo>
                    <a:cubicBezTo>
                      <a:pt x="471" y="104"/>
                      <a:pt x="471" y="104"/>
                      <a:pt x="471" y="104"/>
                    </a:cubicBezTo>
                    <a:lnTo>
                      <a:pt x="466" y="108"/>
                    </a:lnTo>
                    <a:close/>
                    <a:moveTo>
                      <a:pt x="275" y="107"/>
                    </a:moveTo>
                    <a:cubicBezTo>
                      <a:pt x="275" y="106"/>
                      <a:pt x="275" y="105"/>
                      <a:pt x="275" y="104"/>
                    </a:cubicBezTo>
                    <a:cubicBezTo>
                      <a:pt x="274" y="103"/>
                      <a:pt x="274" y="102"/>
                      <a:pt x="274" y="101"/>
                    </a:cubicBezTo>
                    <a:cubicBezTo>
                      <a:pt x="280" y="101"/>
                      <a:pt x="280" y="101"/>
                      <a:pt x="280" y="101"/>
                    </a:cubicBezTo>
                    <a:cubicBezTo>
                      <a:pt x="280" y="101"/>
                      <a:pt x="280" y="101"/>
                      <a:pt x="280" y="102"/>
                    </a:cubicBezTo>
                    <a:cubicBezTo>
                      <a:pt x="281" y="104"/>
                      <a:pt x="281" y="105"/>
                      <a:pt x="281" y="106"/>
                    </a:cubicBezTo>
                    <a:lnTo>
                      <a:pt x="275" y="107"/>
                    </a:lnTo>
                    <a:close/>
                    <a:moveTo>
                      <a:pt x="207" y="107"/>
                    </a:moveTo>
                    <a:cubicBezTo>
                      <a:pt x="203" y="102"/>
                      <a:pt x="203" y="102"/>
                      <a:pt x="203" y="102"/>
                    </a:cubicBezTo>
                    <a:cubicBezTo>
                      <a:pt x="203" y="102"/>
                      <a:pt x="204" y="101"/>
                      <a:pt x="205" y="101"/>
                    </a:cubicBezTo>
                    <a:cubicBezTo>
                      <a:pt x="205" y="100"/>
                      <a:pt x="205" y="100"/>
                      <a:pt x="205" y="100"/>
                    </a:cubicBezTo>
                    <a:cubicBezTo>
                      <a:pt x="206" y="100"/>
                      <a:pt x="207" y="99"/>
                      <a:pt x="208" y="99"/>
                    </a:cubicBezTo>
                    <a:cubicBezTo>
                      <a:pt x="211" y="104"/>
                      <a:pt x="211" y="104"/>
                      <a:pt x="211" y="104"/>
                    </a:cubicBezTo>
                    <a:cubicBezTo>
                      <a:pt x="210" y="104"/>
                      <a:pt x="210" y="104"/>
                      <a:pt x="209" y="105"/>
                    </a:cubicBezTo>
                    <a:cubicBezTo>
                      <a:pt x="209" y="105"/>
                      <a:pt x="209" y="105"/>
                      <a:pt x="209" y="105"/>
                    </a:cubicBezTo>
                    <a:cubicBezTo>
                      <a:pt x="208" y="106"/>
                      <a:pt x="207" y="106"/>
                      <a:pt x="207" y="107"/>
                    </a:cubicBezTo>
                    <a:close/>
                    <a:moveTo>
                      <a:pt x="176" y="102"/>
                    </a:moveTo>
                    <a:cubicBezTo>
                      <a:pt x="176" y="101"/>
                      <a:pt x="176" y="100"/>
                      <a:pt x="175" y="98"/>
                    </a:cubicBezTo>
                    <a:cubicBezTo>
                      <a:pt x="175" y="98"/>
                      <a:pt x="175" y="98"/>
                      <a:pt x="175" y="98"/>
                    </a:cubicBezTo>
                    <a:cubicBezTo>
                      <a:pt x="175" y="98"/>
                      <a:pt x="175" y="97"/>
                      <a:pt x="175" y="97"/>
                    </a:cubicBezTo>
                    <a:cubicBezTo>
                      <a:pt x="179" y="93"/>
                      <a:pt x="179" y="93"/>
                      <a:pt x="179" y="93"/>
                    </a:cubicBezTo>
                    <a:cubicBezTo>
                      <a:pt x="180" y="94"/>
                      <a:pt x="181" y="96"/>
                      <a:pt x="181" y="97"/>
                    </a:cubicBezTo>
                    <a:cubicBezTo>
                      <a:pt x="181" y="97"/>
                      <a:pt x="181" y="97"/>
                      <a:pt x="181" y="97"/>
                    </a:cubicBezTo>
                    <a:cubicBezTo>
                      <a:pt x="181" y="98"/>
                      <a:pt x="181" y="99"/>
                      <a:pt x="182" y="100"/>
                    </a:cubicBezTo>
                    <a:lnTo>
                      <a:pt x="176" y="102"/>
                    </a:lnTo>
                    <a:close/>
                    <a:moveTo>
                      <a:pt x="297" y="99"/>
                    </a:moveTo>
                    <a:cubicBezTo>
                      <a:pt x="294" y="99"/>
                      <a:pt x="292" y="98"/>
                      <a:pt x="291" y="96"/>
                    </a:cubicBezTo>
                    <a:cubicBezTo>
                      <a:pt x="290" y="95"/>
                      <a:pt x="290" y="95"/>
                      <a:pt x="290" y="95"/>
                    </a:cubicBezTo>
                    <a:cubicBezTo>
                      <a:pt x="295" y="92"/>
                      <a:pt x="295" y="92"/>
                      <a:pt x="295" y="92"/>
                    </a:cubicBezTo>
                    <a:cubicBezTo>
                      <a:pt x="295" y="93"/>
                      <a:pt x="295" y="93"/>
                      <a:pt x="295" y="93"/>
                    </a:cubicBezTo>
                    <a:cubicBezTo>
                      <a:pt x="296" y="93"/>
                      <a:pt x="297" y="93"/>
                      <a:pt x="297" y="93"/>
                    </a:cubicBezTo>
                    <a:lnTo>
                      <a:pt x="297" y="99"/>
                    </a:lnTo>
                    <a:close/>
                    <a:moveTo>
                      <a:pt x="282" y="98"/>
                    </a:moveTo>
                    <a:cubicBezTo>
                      <a:pt x="282" y="98"/>
                      <a:pt x="282" y="98"/>
                      <a:pt x="282" y="98"/>
                    </a:cubicBezTo>
                    <a:cubicBezTo>
                      <a:pt x="280" y="96"/>
                      <a:pt x="280" y="94"/>
                      <a:pt x="280" y="93"/>
                    </a:cubicBezTo>
                    <a:cubicBezTo>
                      <a:pt x="280" y="92"/>
                      <a:pt x="280" y="90"/>
                      <a:pt x="281" y="89"/>
                    </a:cubicBezTo>
                    <a:cubicBezTo>
                      <a:pt x="286" y="93"/>
                      <a:pt x="286" y="93"/>
                      <a:pt x="286" y="93"/>
                    </a:cubicBezTo>
                    <a:cubicBezTo>
                      <a:pt x="286" y="93"/>
                      <a:pt x="286" y="93"/>
                      <a:pt x="286" y="94"/>
                    </a:cubicBezTo>
                    <a:cubicBezTo>
                      <a:pt x="287" y="95"/>
                      <a:pt x="287" y="95"/>
                      <a:pt x="287" y="95"/>
                    </a:cubicBezTo>
                    <a:lnTo>
                      <a:pt x="282" y="98"/>
                    </a:lnTo>
                    <a:close/>
                    <a:moveTo>
                      <a:pt x="148" y="95"/>
                    </a:moveTo>
                    <a:cubicBezTo>
                      <a:pt x="146" y="94"/>
                      <a:pt x="146" y="94"/>
                      <a:pt x="146" y="94"/>
                    </a:cubicBezTo>
                    <a:cubicBezTo>
                      <a:pt x="145" y="94"/>
                      <a:pt x="144" y="94"/>
                      <a:pt x="143" y="94"/>
                    </a:cubicBezTo>
                    <a:cubicBezTo>
                      <a:pt x="143" y="88"/>
                      <a:pt x="143" y="88"/>
                      <a:pt x="143" y="88"/>
                    </a:cubicBezTo>
                    <a:cubicBezTo>
                      <a:pt x="145" y="88"/>
                      <a:pt x="147" y="88"/>
                      <a:pt x="148" y="88"/>
                    </a:cubicBezTo>
                    <a:cubicBezTo>
                      <a:pt x="150" y="89"/>
                      <a:pt x="150" y="89"/>
                      <a:pt x="150" y="89"/>
                    </a:cubicBezTo>
                    <a:lnTo>
                      <a:pt x="148" y="95"/>
                    </a:lnTo>
                    <a:close/>
                    <a:moveTo>
                      <a:pt x="165" y="94"/>
                    </a:moveTo>
                    <a:cubicBezTo>
                      <a:pt x="163" y="94"/>
                      <a:pt x="162" y="93"/>
                      <a:pt x="161" y="93"/>
                    </a:cubicBezTo>
                    <a:cubicBezTo>
                      <a:pt x="160" y="87"/>
                      <a:pt x="160" y="87"/>
                      <a:pt x="160" y="87"/>
                    </a:cubicBezTo>
                    <a:cubicBezTo>
                      <a:pt x="161" y="87"/>
                      <a:pt x="161" y="87"/>
                      <a:pt x="161" y="87"/>
                    </a:cubicBezTo>
                    <a:cubicBezTo>
                      <a:pt x="163" y="87"/>
                      <a:pt x="165" y="88"/>
                      <a:pt x="167" y="89"/>
                    </a:cubicBezTo>
                    <a:lnTo>
                      <a:pt x="165" y="94"/>
                    </a:lnTo>
                    <a:close/>
                    <a:moveTo>
                      <a:pt x="455" y="94"/>
                    </a:moveTo>
                    <a:cubicBezTo>
                      <a:pt x="454" y="92"/>
                      <a:pt x="453" y="91"/>
                      <a:pt x="452" y="90"/>
                    </a:cubicBezTo>
                    <a:cubicBezTo>
                      <a:pt x="455" y="86"/>
                      <a:pt x="455" y="86"/>
                      <a:pt x="455" y="86"/>
                    </a:cubicBezTo>
                    <a:cubicBezTo>
                      <a:pt x="457" y="87"/>
                      <a:pt x="458" y="88"/>
                      <a:pt x="460" y="90"/>
                    </a:cubicBezTo>
                    <a:lnTo>
                      <a:pt x="455" y="94"/>
                    </a:lnTo>
                    <a:close/>
                    <a:moveTo>
                      <a:pt x="309" y="92"/>
                    </a:moveTo>
                    <a:cubicBezTo>
                      <a:pt x="304" y="90"/>
                      <a:pt x="304" y="90"/>
                      <a:pt x="304" y="90"/>
                    </a:cubicBezTo>
                    <a:cubicBezTo>
                      <a:pt x="304" y="89"/>
                      <a:pt x="304" y="88"/>
                      <a:pt x="304" y="87"/>
                    </a:cubicBezTo>
                    <a:cubicBezTo>
                      <a:pt x="304" y="87"/>
                      <a:pt x="305" y="88"/>
                      <a:pt x="305" y="88"/>
                    </a:cubicBezTo>
                    <a:cubicBezTo>
                      <a:pt x="308" y="83"/>
                      <a:pt x="308" y="83"/>
                      <a:pt x="308" y="83"/>
                    </a:cubicBezTo>
                    <a:cubicBezTo>
                      <a:pt x="309" y="84"/>
                      <a:pt x="310" y="85"/>
                      <a:pt x="310" y="87"/>
                    </a:cubicBezTo>
                    <a:cubicBezTo>
                      <a:pt x="310" y="89"/>
                      <a:pt x="310" y="91"/>
                      <a:pt x="309" y="92"/>
                    </a:cubicBezTo>
                    <a:close/>
                    <a:moveTo>
                      <a:pt x="130" y="91"/>
                    </a:moveTo>
                    <a:cubicBezTo>
                      <a:pt x="129" y="90"/>
                      <a:pt x="129" y="89"/>
                      <a:pt x="129" y="88"/>
                    </a:cubicBezTo>
                    <a:cubicBezTo>
                      <a:pt x="128" y="87"/>
                      <a:pt x="128" y="86"/>
                      <a:pt x="128" y="85"/>
                    </a:cubicBezTo>
                    <a:cubicBezTo>
                      <a:pt x="133" y="83"/>
                      <a:pt x="133" y="83"/>
                      <a:pt x="133" y="83"/>
                    </a:cubicBezTo>
                    <a:cubicBezTo>
                      <a:pt x="134" y="85"/>
                      <a:pt x="134" y="86"/>
                      <a:pt x="134" y="87"/>
                    </a:cubicBezTo>
                    <a:cubicBezTo>
                      <a:pt x="134" y="88"/>
                      <a:pt x="134" y="88"/>
                      <a:pt x="135" y="88"/>
                    </a:cubicBezTo>
                    <a:lnTo>
                      <a:pt x="130" y="91"/>
                    </a:lnTo>
                    <a:close/>
                    <a:moveTo>
                      <a:pt x="375" y="84"/>
                    </a:moveTo>
                    <a:cubicBezTo>
                      <a:pt x="374" y="83"/>
                      <a:pt x="374" y="82"/>
                      <a:pt x="374" y="81"/>
                    </a:cubicBezTo>
                    <a:cubicBezTo>
                      <a:pt x="374" y="81"/>
                      <a:pt x="374" y="81"/>
                      <a:pt x="372" y="80"/>
                    </a:cubicBezTo>
                    <a:cubicBezTo>
                      <a:pt x="376" y="75"/>
                      <a:pt x="376" y="75"/>
                      <a:pt x="376" y="75"/>
                    </a:cubicBezTo>
                    <a:cubicBezTo>
                      <a:pt x="377" y="76"/>
                      <a:pt x="379" y="77"/>
                      <a:pt x="380" y="80"/>
                    </a:cubicBezTo>
                    <a:lnTo>
                      <a:pt x="375" y="84"/>
                    </a:lnTo>
                    <a:close/>
                    <a:moveTo>
                      <a:pt x="388" y="82"/>
                    </a:moveTo>
                    <a:cubicBezTo>
                      <a:pt x="385" y="77"/>
                      <a:pt x="385" y="77"/>
                      <a:pt x="385" y="77"/>
                    </a:cubicBezTo>
                    <a:cubicBezTo>
                      <a:pt x="386" y="76"/>
                      <a:pt x="386" y="76"/>
                      <a:pt x="386" y="76"/>
                    </a:cubicBezTo>
                    <a:cubicBezTo>
                      <a:pt x="388" y="76"/>
                      <a:pt x="388" y="75"/>
                      <a:pt x="389" y="74"/>
                    </a:cubicBezTo>
                    <a:cubicBezTo>
                      <a:pt x="394" y="78"/>
                      <a:pt x="394" y="78"/>
                      <a:pt x="394" y="78"/>
                    </a:cubicBezTo>
                    <a:cubicBezTo>
                      <a:pt x="392" y="80"/>
                      <a:pt x="391" y="81"/>
                      <a:pt x="389" y="82"/>
                    </a:cubicBezTo>
                    <a:lnTo>
                      <a:pt x="388" y="82"/>
                    </a:lnTo>
                    <a:close/>
                    <a:moveTo>
                      <a:pt x="451" y="82"/>
                    </a:moveTo>
                    <a:cubicBezTo>
                      <a:pt x="448" y="77"/>
                      <a:pt x="448" y="77"/>
                      <a:pt x="448" y="77"/>
                    </a:cubicBezTo>
                    <a:cubicBezTo>
                      <a:pt x="448" y="78"/>
                      <a:pt x="447" y="78"/>
                      <a:pt x="447" y="79"/>
                    </a:cubicBezTo>
                    <a:cubicBezTo>
                      <a:pt x="447" y="79"/>
                      <a:pt x="447" y="79"/>
                      <a:pt x="447" y="79"/>
                    </a:cubicBezTo>
                    <a:cubicBezTo>
                      <a:pt x="447" y="79"/>
                      <a:pt x="447" y="78"/>
                      <a:pt x="446" y="77"/>
                    </a:cubicBezTo>
                    <a:cubicBezTo>
                      <a:pt x="450" y="73"/>
                      <a:pt x="450" y="73"/>
                      <a:pt x="450" y="73"/>
                    </a:cubicBezTo>
                    <a:cubicBezTo>
                      <a:pt x="451" y="74"/>
                      <a:pt x="453" y="76"/>
                      <a:pt x="453" y="79"/>
                    </a:cubicBezTo>
                    <a:cubicBezTo>
                      <a:pt x="453" y="80"/>
                      <a:pt x="453" y="81"/>
                      <a:pt x="451" y="82"/>
                    </a:cubicBezTo>
                    <a:close/>
                    <a:moveTo>
                      <a:pt x="299" y="78"/>
                    </a:moveTo>
                    <a:cubicBezTo>
                      <a:pt x="299" y="76"/>
                      <a:pt x="299" y="74"/>
                      <a:pt x="299" y="72"/>
                    </a:cubicBezTo>
                    <a:cubicBezTo>
                      <a:pt x="299" y="72"/>
                      <a:pt x="299" y="72"/>
                      <a:pt x="299" y="72"/>
                    </a:cubicBezTo>
                    <a:cubicBezTo>
                      <a:pt x="305" y="72"/>
                      <a:pt x="305" y="72"/>
                      <a:pt x="305" y="72"/>
                    </a:cubicBezTo>
                    <a:cubicBezTo>
                      <a:pt x="305" y="72"/>
                      <a:pt x="305" y="72"/>
                      <a:pt x="305" y="72"/>
                    </a:cubicBezTo>
                    <a:cubicBezTo>
                      <a:pt x="305" y="74"/>
                      <a:pt x="305" y="76"/>
                      <a:pt x="305" y="78"/>
                    </a:cubicBezTo>
                    <a:lnTo>
                      <a:pt x="299" y="78"/>
                    </a:lnTo>
                    <a:close/>
                    <a:moveTo>
                      <a:pt x="410" y="75"/>
                    </a:moveTo>
                    <a:cubicBezTo>
                      <a:pt x="409" y="74"/>
                      <a:pt x="404" y="74"/>
                      <a:pt x="404" y="69"/>
                    </a:cubicBezTo>
                    <a:cubicBezTo>
                      <a:pt x="409" y="68"/>
                      <a:pt x="409" y="68"/>
                      <a:pt x="409" y="68"/>
                    </a:cubicBezTo>
                    <a:cubicBezTo>
                      <a:pt x="409" y="68"/>
                      <a:pt x="409" y="69"/>
                      <a:pt x="411" y="69"/>
                    </a:cubicBezTo>
                    <a:lnTo>
                      <a:pt x="410" y="75"/>
                    </a:lnTo>
                    <a:close/>
                    <a:moveTo>
                      <a:pt x="125" y="73"/>
                    </a:moveTo>
                    <a:cubicBezTo>
                      <a:pt x="125" y="71"/>
                      <a:pt x="125" y="69"/>
                      <a:pt x="124" y="67"/>
                    </a:cubicBezTo>
                    <a:cubicBezTo>
                      <a:pt x="130" y="67"/>
                      <a:pt x="130" y="67"/>
                      <a:pt x="130" y="67"/>
                    </a:cubicBezTo>
                    <a:cubicBezTo>
                      <a:pt x="130" y="69"/>
                      <a:pt x="131" y="71"/>
                      <a:pt x="131" y="72"/>
                    </a:cubicBezTo>
                    <a:lnTo>
                      <a:pt x="125" y="73"/>
                    </a:lnTo>
                    <a:close/>
                    <a:moveTo>
                      <a:pt x="363" y="73"/>
                    </a:moveTo>
                    <a:cubicBezTo>
                      <a:pt x="362" y="72"/>
                      <a:pt x="362" y="72"/>
                      <a:pt x="361" y="71"/>
                    </a:cubicBezTo>
                    <a:cubicBezTo>
                      <a:pt x="360" y="71"/>
                      <a:pt x="359" y="71"/>
                      <a:pt x="359" y="70"/>
                    </a:cubicBezTo>
                    <a:cubicBezTo>
                      <a:pt x="359" y="68"/>
                      <a:pt x="359" y="68"/>
                      <a:pt x="359" y="68"/>
                    </a:cubicBezTo>
                    <a:cubicBezTo>
                      <a:pt x="361" y="65"/>
                      <a:pt x="361" y="65"/>
                      <a:pt x="361" y="65"/>
                    </a:cubicBezTo>
                    <a:cubicBezTo>
                      <a:pt x="359" y="68"/>
                      <a:pt x="359" y="68"/>
                      <a:pt x="359" y="68"/>
                    </a:cubicBezTo>
                    <a:cubicBezTo>
                      <a:pt x="361" y="65"/>
                      <a:pt x="361" y="65"/>
                      <a:pt x="361" y="65"/>
                    </a:cubicBezTo>
                    <a:cubicBezTo>
                      <a:pt x="362" y="65"/>
                      <a:pt x="363" y="66"/>
                      <a:pt x="364" y="66"/>
                    </a:cubicBezTo>
                    <a:cubicBezTo>
                      <a:pt x="365" y="67"/>
                      <a:pt x="365" y="67"/>
                      <a:pt x="366" y="68"/>
                    </a:cubicBezTo>
                    <a:lnTo>
                      <a:pt x="363" y="73"/>
                    </a:lnTo>
                    <a:close/>
                    <a:moveTo>
                      <a:pt x="436" y="71"/>
                    </a:moveTo>
                    <a:cubicBezTo>
                      <a:pt x="435" y="70"/>
                      <a:pt x="434" y="69"/>
                      <a:pt x="432" y="67"/>
                    </a:cubicBezTo>
                    <a:cubicBezTo>
                      <a:pt x="432" y="67"/>
                      <a:pt x="432" y="67"/>
                      <a:pt x="432" y="67"/>
                    </a:cubicBezTo>
                    <a:cubicBezTo>
                      <a:pt x="436" y="63"/>
                      <a:pt x="436" y="63"/>
                      <a:pt x="436" y="63"/>
                    </a:cubicBezTo>
                    <a:cubicBezTo>
                      <a:pt x="436" y="63"/>
                      <a:pt x="436" y="63"/>
                      <a:pt x="436" y="63"/>
                    </a:cubicBezTo>
                    <a:cubicBezTo>
                      <a:pt x="438" y="65"/>
                      <a:pt x="439" y="66"/>
                      <a:pt x="440" y="66"/>
                    </a:cubicBezTo>
                    <a:lnTo>
                      <a:pt x="436" y="71"/>
                    </a:lnTo>
                    <a:close/>
                    <a:moveTo>
                      <a:pt x="423" y="70"/>
                    </a:moveTo>
                    <a:cubicBezTo>
                      <a:pt x="419" y="66"/>
                      <a:pt x="419" y="66"/>
                      <a:pt x="419" y="66"/>
                    </a:cubicBezTo>
                    <a:cubicBezTo>
                      <a:pt x="421" y="64"/>
                      <a:pt x="422" y="63"/>
                      <a:pt x="423" y="62"/>
                    </a:cubicBezTo>
                    <a:cubicBezTo>
                      <a:pt x="427" y="66"/>
                      <a:pt x="427" y="66"/>
                      <a:pt x="427" y="66"/>
                    </a:cubicBezTo>
                    <a:cubicBezTo>
                      <a:pt x="426" y="67"/>
                      <a:pt x="425" y="68"/>
                      <a:pt x="423" y="70"/>
                    </a:cubicBezTo>
                    <a:close/>
                    <a:moveTo>
                      <a:pt x="399" y="66"/>
                    </a:moveTo>
                    <a:cubicBezTo>
                      <a:pt x="393" y="65"/>
                      <a:pt x="393" y="65"/>
                      <a:pt x="393" y="65"/>
                    </a:cubicBezTo>
                    <a:cubicBezTo>
                      <a:pt x="393" y="64"/>
                      <a:pt x="393" y="63"/>
                      <a:pt x="393" y="62"/>
                    </a:cubicBezTo>
                    <a:cubicBezTo>
                      <a:pt x="393" y="60"/>
                      <a:pt x="395" y="58"/>
                      <a:pt x="399" y="59"/>
                    </a:cubicBezTo>
                    <a:cubicBezTo>
                      <a:pt x="398" y="64"/>
                      <a:pt x="398" y="64"/>
                      <a:pt x="398" y="64"/>
                    </a:cubicBezTo>
                    <a:cubicBezTo>
                      <a:pt x="398" y="64"/>
                      <a:pt x="399" y="63"/>
                      <a:pt x="399" y="63"/>
                    </a:cubicBezTo>
                    <a:cubicBezTo>
                      <a:pt x="399" y="63"/>
                      <a:pt x="399" y="64"/>
                      <a:pt x="399" y="66"/>
                    </a:cubicBezTo>
                    <a:close/>
                    <a:moveTo>
                      <a:pt x="349" y="62"/>
                    </a:moveTo>
                    <a:cubicBezTo>
                      <a:pt x="348" y="60"/>
                      <a:pt x="347" y="59"/>
                      <a:pt x="345" y="57"/>
                    </a:cubicBezTo>
                    <a:cubicBezTo>
                      <a:pt x="350" y="53"/>
                      <a:pt x="350" y="53"/>
                      <a:pt x="350" y="53"/>
                    </a:cubicBezTo>
                    <a:cubicBezTo>
                      <a:pt x="351" y="55"/>
                      <a:pt x="352" y="57"/>
                      <a:pt x="353" y="58"/>
                    </a:cubicBezTo>
                    <a:lnTo>
                      <a:pt x="349" y="62"/>
                    </a:lnTo>
                    <a:close/>
                    <a:moveTo>
                      <a:pt x="308" y="61"/>
                    </a:moveTo>
                    <a:cubicBezTo>
                      <a:pt x="302" y="61"/>
                      <a:pt x="302" y="61"/>
                      <a:pt x="302" y="61"/>
                    </a:cubicBezTo>
                    <a:cubicBezTo>
                      <a:pt x="302" y="60"/>
                      <a:pt x="302" y="59"/>
                      <a:pt x="302" y="58"/>
                    </a:cubicBezTo>
                    <a:cubicBezTo>
                      <a:pt x="302" y="57"/>
                      <a:pt x="302" y="56"/>
                      <a:pt x="302" y="55"/>
                    </a:cubicBezTo>
                    <a:cubicBezTo>
                      <a:pt x="308" y="56"/>
                      <a:pt x="308" y="56"/>
                      <a:pt x="308" y="56"/>
                    </a:cubicBezTo>
                    <a:cubicBezTo>
                      <a:pt x="308" y="56"/>
                      <a:pt x="308" y="57"/>
                      <a:pt x="308" y="58"/>
                    </a:cubicBezTo>
                    <a:cubicBezTo>
                      <a:pt x="308" y="59"/>
                      <a:pt x="308" y="60"/>
                      <a:pt x="308" y="61"/>
                    </a:cubicBezTo>
                    <a:close/>
                    <a:moveTo>
                      <a:pt x="126" y="58"/>
                    </a:moveTo>
                    <a:cubicBezTo>
                      <a:pt x="126" y="58"/>
                      <a:pt x="126" y="58"/>
                      <a:pt x="126" y="58"/>
                    </a:cubicBezTo>
                    <a:cubicBezTo>
                      <a:pt x="125" y="58"/>
                      <a:pt x="125" y="58"/>
                      <a:pt x="124" y="58"/>
                    </a:cubicBezTo>
                    <a:cubicBezTo>
                      <a:pt x="123" y="58"/>
                      <a:pt x="122" y="58"/>
                      <a:pt x="121" y="58"/>
                    </a:cubicBezTo>
                    <a:cubicBezTo>
                      <a:pt x="121" y="52"/>
                      <a:pt x="121" y="52"/>
                      <a:pt x="121" y="52"/>
                    </a:cubicBezTo>
                    <a:cubicBezTo>
                      <a:pt x="122" y="52"/>
                      <a:pt x="123" y="52"/>
                      <a:pt x="124" y="52"/>
                    </a:cubicBezTo>
                    <a:cubicBezTo>
                      <a:pt x="125" y="52"/>
                      <a:pt x="126" y="52"/>
                      <a:pt x="126" y="52"/>
                    </a:cubicBezTo>
                    <a:cubicBezTo>
                      <a:pt x="127" y="52"/>
                      <a:pt x="127" y="52"/>
                      <a:pt x="127" y="52"/>
                    </a:cubicBezTo>
                    <a:cubicBezTo>
                      <a:pt x="128" y="53"/>
                      <a:pt x="128" y="53"/>
                      <a:pt x="128" y="53"/>
                    </a:cubicBezTo>
                    <a:cubicBezTo>
                      <a:pt x="124" y="58"/>
                      <a:pt x="124" y="58"/>
                      <a:pt x="124" y="58"/>
                    </a:cubicBezTo>
                    <a:cubicBezTo>
                      <a:pt x="126" y="55"/>
                      <a:pt x="126" y="55"/>
                      <a:pt x="126" y="55"/>
                    </a:cubicBezTo>
                    <a:lnTo>
                      <a:pt x="126" y="58"/>
                    </a:lnTo>
                    <a:close/>
                    <a:moveTo>
                      <a:pt x="91" y="57"/>
                    </a:moveTo>
                    <a:cubicBezTo>
                      <a:pt x="89" y="57"/>
                      <a:pt x="86" y="56"/>
                      <a:pt x="84" y="54"/>
                    </a:cubicBezTo>
                    <a:cubicBezTo>
                      <a:pt x="88" y="50"/>
                      <a:pt x="88" y="50"/>
                      <a:pt x="88" y="50"/>
                    </a:cubicBezTo>
                    <a:cubicBezTo>
                      <a:pt x="89" y="50"/>
                      <a:pt x="90" y="51"/>
                      <a:pt x="91" y="51"/>
                    </a:cubicBezTo>
                    <a:lnTo>
                      <a:pt x="91" y="57"/>
                    </a:lnTo>
                    <a:close/>
                    <a:moveTo>
                      <a:pt x="109" y="57"/>
                    </a:moveTo>
                    <a:cubicBezTo>
                      <a:pt x="107" y="57"/>
                      <a:pt x="107" y="57"/>
                      <a:pt x="107" y="57"/>
                    </a:cubicBezTo>
                    <a:cubicBezTo>
                      <a:pt x="106" y="57"/>
                      <a:pt x="105" y="57"/>
                      <a:pt x="104" y="57"/>
                    </a:cubicBezTo>
                    <a:cubicBezTo>
                      <a:pt x="103" y="57"/>
                      <a:pt x="103" y="57"/>
                      <a:pt x="103" y="57"/>
                    </a:cubicBezTo>
                    <a:cubicBezTo>
                      <a:pt x="103" y="51"/>
                      <a:pt x="103" y="51"/>
                      <a:pt x="103" y="51"/>
                    </a:cubicBezTo>
                    <a:cubicBezTo>
                      <a:pt x="104" y="51"/>
                      <a:pt x="104" y="51"/>
                      <a:pt x="104" y="51"/>
                    </a:cubicBezTo>
                    <a:cubicBezTo>
                      <a:pt x="105" y="51"/>
                      <a:pt x="107" y="51"/>
                      <a:pt x="108" y="51"/>
                    </a:cubicBezTo>
                    <a:cubicBezTo>
                      <a:pt x="109" y="51"/>
                      <a:pt x="109" y="51"/>
                      <a:pt x="109" y="51"/>
                    </a:cubicBezTo>
                    <a:lnTo>
                      <a:pt x="109" y="57"/>
                    </a:lnTo>
                    <a:close/>
                    <a:moveTo>
                      <a:pt x="337" y="50"/>
                    </a:moveTo>
                    <a:cubicBezTo>
                      <a:pt x="335" y="48"/>
                      <a:pt x="334" y="47"/>
                      <a:pt x="333" y="46"/>
                    </a:cubicBezTo>
                    <a:cubicBezTo>
                      <a:pt x="336" y="42"/>
                      <a:pt x="336" y="42"/>
                      <a:pt x="336" y="42"/>
                    </a:cubicBezTo>
                    <a:cubicBezTo>
                      <a:pt x="337" y="42"/>
                      <a:pt x="339" y="44"/>
                      <a:pt x="341" y="45"/>
                    </a:cubicBezTo>
                    <a:lnTo>
                      <a:pt x="337" y="50"/>
                    </a:lnTo>
                    <a:close/>
                    <a:moveTo>
                      <a:pt x="91" y="47"/>
                    </a:moveTo>
                    <a:cubicBezTo>
                      <a:pt x="89" y="47"/>
                      <a:pt x="88" y="47"/>
                      <a:pt x="87" y="47"/>
                    </a:cubicBezTo>
                    <a:cubicBezTo>
                      <a:pt x="87" y="47"/>
                      <a:pt x="86" y="47"/>
                      <a:pt x="86" y="47"/>
                    </a:cubicBezTo>
                    <a:cubicBezTo>
                      <a:pt x="87" y="41"/>
                      <a:pt x="87" y="41"/>
                      <a:pt x="87" y="41"/>
                    </a:cubicBezTo>
                    <a:cubicBezTo>
                      <a:pt x="87" y="41"/>
                      <a:pt x="88" y="41"/>
                      <a:pt x="88" y="41"/>
                    </a:cubicBezTo>
                    <a:cubicBezTo>
                      <a:pt x="89" y="41"/>
                      <a:pt x="90" y="41"/>
                      <a:pt x="91" y="41"/>
                    </a:cubicBezTo>
                    <a:cubicBezTo>
                      <a:pt x="91" y="41"/>
                      <a:pt x="91" y="41"/>
                      <a:pt x="91" y="41"/>
                    </a:cubicBezTo>
                    <a:cubicBezTo>
                      <a:pt x="93" y="47"/>
                      <a:pt x="93" y="47"/>
                      <a:pt x="93" y="47"/>
                    </a:cubicBezTo>
                    <a:cubicBezTo>
                      <a:pt x="92" y="47"/>
                      <a:pt x="92" y="47"/>
                      <a:pt x="91" y="47"/>
                    </a:cubicBezTo>
                    <a:cubicBezTo>
                      <a:pt x="91" y="47"/>
                      <a:pt x="91" y="47"/>
                      <a:pt x="91" y="47"/>
                    </a:cubicBezTo>
                    <a:close/>
                    <a:moveTo>
                      <a:pt x="305" y="45"/>
                    </a:moveTo>
                    <a:cubicBezTo>
                      <a:pt x="305" y="44"/>
                      <a:pt x="305" y="44"/>
                      <a:pt x="305" y="44"/>
                    </a:cubicBezTo>
                    <a:cubicBezTo>
                      <a:pt x="304" y="42"/>
                      <a:pt x="304" y="40"/>
                      <a:pt x="304" y="39"/>
                    </a:cubicBezTo>
                    <a:cubicBezTo>
                      <a:pt x="307" y="38"/>
                      <a:pt x="307" y="38"/>
                      <a:pt x="307" y="38"/>
                    </a:cubicBezTo>
                    <a:cubicBezTo>
                      <a:pt x="310" y="39"/>
                      <a:pt x="310" y="39"/>
                      <a:pt x="310" y="39"/>
                    </a:cubicBezTo>
                    <a:cubicBezTo>
                      <a:pt x="310" y="39"/>
                      <a:pt x="310" y="41"/>
                      <a:pt x="310" y="43"/>
                    </a:cubicBezTo>
                    <a:cubicBezTo>
                      <a:pt x="311" y="44"/>
                      <a:pt x="311" y="44"/>
                      <a:pt x="311" y="44"/>
                    </a:cubicBezTo>
                    <a:lnTo>
                      <a:pt x="305" y="45"/>
                    </a:lnTo>
                    <a:close/>
                    <a:moveTo>
                      <a:pt x="323" y="42"/>
                    </a:moveTo>
                    <a:cubicBezTo>
                      <a:pt x="321" y="42"/>
                      <a:pt x="319" y="41"/>
                      <a:pt x="317" y="41"/>
                    </a:cubicBezTo>
                    <a:cubicBezTo>
                      <a:pt x="318" y="35"/>
                      <a:pt x="318" y="35"/>
                      <a:pt x="318" y="35"/>
                    </a:cubicBezTo>
                    <a:cubicBezTo>
                      <a:pt x="320" y="35"/>
                      <a:pt x="322" y="36"/>
                      <a:pt x="324" y="36"/>
                    </a:cubicBezTo>
                    <a:cubicBezTo>
                      <a:pt x="323" y="39"/>
                      <a:pt x="323" y="39"/>
                      <a:pt x="323" y="39"/>
                    </a:cubicBezTo>
                    <a:lnTo>
                      <a:pt x="323" y="42"/>
                    </a:lnTo>
                    <a:close/>
                    <a:moveTo>
                      <a:pt x="85" y="37"/>
                    </a:moveTo>
                    <a:cubicBezTo>
                      <a:pt x="84" y="37"/>
                      <a:pt x="84" y="36"/>
                      <a:pt x="84" y="36"/>
                    </a:cubicBezTo>
                    <a:cubicBezTo>
                      <a:pt x="84" y="36"/>
                      <a:pt x="83" y="36"/>
                      <a:pt x="83" y="36"/>
                    </a:cubicBezTo>
                    <a:cubicBezTo>
                      <a:pt x="83" y="36"/>
                      <a:pt x="82" y="36"/>
                      <a:pt x="82" y="36"/>
                    </a:cubicBezTo>
                    <a:cubicBezTo>
                      <a:pt x="82" y="30"/>
                      <a:pt x="82" y="30"/>
                      <a:pt x="82" y="30"/>
                    </a:cubicBezTo>
                    <a:cubicBezTo>
                      <a:pt x="83" y="31"/>
                      <a:pt x="83" y="31"/>
                      <a:pt x="83" y="31"/>
                    </a:cubicBezTo>
                    <a:cubicBezTo>
                      <a:pt x="85" y="31"/>
                      <a:pt x="87" y="31"/>
                      <a:pt x="89" y="34"/>
                    </a:cubicBezTo>
                    <a:lnTo>
                      <a:pt x="85" y="37"/>
                    </a:lnTo>
                    <a:close/>
                    <a:moveTo>
                      <a:pt x="70" y="35"/>
                    </a:moveTo>
                    <a:cubicBezTo>
                      <a:pt x="68" y="35"/>
                      <a:pt x="66" y="35"/>
                      <a:pt x="64" y="34"/>
                    </a:cubicBezTo>
                    <a:cubicBezTo>
                      <a:pt x="66" y="28"/>
                      <a:pt x="66" y="28"/>
                      <a:pt x="66" y="28"/>
                    </a:cubicBezTo>
                    <a:cubicBezTo>
                      <a:pt x="66" y="28"/>
                      <a:pt x="66" y="28"/>
                      <a:pt x="67" y="29"/>
                    </a:cubicBezTo>
                    <a:cubicBezTo>
                      <a:pt x="67" y="29"/>
                      <a:pt x="68" y="29"/>
                      <a:pt x="70" y="29"/>
                    </a:cubicBezTo>
                    <a:lnTo>
                      <a:pt x="70" y="35"/>
                    </a:lnTo>
                    <a:close/>
                    <a:moveTo>
                      <a:pt x="53" y="32"/>
                    </a:moveTo>
                    <a:cubicBezTo>
                      <a:pt x="52" y="32"/>
                      <a:pt x="52" y="32"/>
                      <a:pt x="52" y="32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48" y="32"/>
                      <a:pt x="46" y="29"/>
                      <a:pt x="46" y="26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6" y="26"/>
                      <a:pt x="46" y="26"/>
                      <a:pt x="47" y="25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52" y="24"/>
                      <a:pt x="52" y="24"/>
                      <a:pt x="52" y="24"/>
                    </a:cubicBezTo>
                    <a:cubicBezTo>
                      <a:pt x="52" y="25"/>
                      <a:pt x="52" y="25"/>
                      <a:pt x="52" y="25"/>
                    </a:cubicBezTo>
                    <a:cubicBezTo>
                      <a:pt x="52" y="26"/>
                      <a:pt x="52" y="26"/>
                      <a:pt x="52" y="26"/>
                    </a:cubicBezTo>
                    <a:cubicBezTo>
                      <a:pt x="53" y="26"/>
                      <a:pt x="53" y="26"/>
                      <a:pt x="53" y="26"/>
                    </a:cubicBezTo>
                    <a:lnTo>
                      <a:pt x="53" y="32"/>
                    </a:lnTo>
                    <a:close/>
                    <a:moveTo>
                      <a:pt x="49" y="16"/>
                    </a:moveTo>
                    <a:cubicBezTo>
                      <a:pt x="48" y="16"/>
                      <a:pt x="46" y="15"/>
                      <a:pt x="46" y="12"/>
                    </a:cubicBezTo>
                    <a:cubicBezTo>
                      <a:pt x="46" y="12"/>
                      <a:pt x="46" y="12"/>
                      <a:pt x="46" y="11"/>
                    </a:cubicBezTo>
                    <a:cubicBezTo>
                      <a:pt x="46" y="11"/>
                      <a:pt x="46" y="10"/>
                      <a:pt x="46" y="9"/>
                    </a:cubicBezTo>
                    <a:cubicBezTo>
                      <a:pt x="52" y="10"/>
                      <a:pt x="52" y="10"/>
                      <a:pt x="52" y="10"/>
                    </a:cubicBezTo>
                    <a:cubicBezTo>
                      <a:pt x="52" y="10"/>
                      <a:pt x="52" y="11"/>
                      <a:pt x="52" y="11"/>
                    </a:cubicBezTo>
                    <a:cubicBezTo>
                      <a:pt x="53" y="12"/>
                      <a:pt x="53" y="13"/>
                      <a:pt x="53" y="14"/>
                    </a:cubicBezTo>
                    <a:cubicBezTo>
                      <a:pt x="53" y="14"/>
                      <a:pt x="53" y="15"/>
                      <a:pt x="53" y="15"/>
                    </a:cubicBezTo>
                    <a:cubicBezTo>
                      <a:pt x="47" y="14"/>
                      <a:pt x="47" y="14"/>
                      <a:pt x="47" y="14"/>
                    </a:cubicBezTo>
                    <a:cubicBezTo>
                      <a:pt x="47" y="15"/>
                      <a:pt x="48" y="16"/>
                      <a:pt x="49" y="16"/>
                    </a:cubicBezTo>
                    <a:close/>
                    <a:moveTo>
                      <a:pt x="40" y="10"/>
                    </a:moveTo>
                    <a:cubicBezTo>
                      <a:pt x="38" y="10"/>
                      <a:pt x="37" y="10"/>
                      <a:pt x="35" y="9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8" y="4"/>
                      <a:pt x="39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42" y="10"/>
                      <a:pt x="41" y="10"/>
                      <a:pt x="40" y="10"/>
                    </a:cubicBezTo>
                    <a:close/>
                    <a:moveTo>
                      <a:pt x="24" y="8"/>
                    </a:moveTo>
                    <a:cubicBezTo>
                      <a:pt x="22" y="8"/>
                      <a:pt x="20" y="8"/>
                      <a:pt x="18" y="8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20" y="2"/>
                      <a:pt x="22" y="2"/>
                      <a:pt x="24" y="2"/>
                    </a:cubicBezTo>
                    <a:lnTo>
                      <a:pt x="24" y="8"/>
                    </a:lnTo>
                    <a:close/>
                    <a:moveTo>
                      <a:pt x="5" y="8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" y="2"/>
                      <a:pt x="3" y="0"/>
                      <a:pt x="7" y="0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6" y="6"/>
                      <a:pt x="5" y="8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61" name="íś1íḓè"/>
              <p:cNvSpPr/>
              <p:nvPr/>
            </p:nvSpPr>
            <p:spPr bwMode="auto">
              <a:xfrm>
                <a:off x="5680075" y="3351213"/>
                <a:ext cx="30163" cy="76200"/>
              </a:xfrm>
              <a:custGeom>
                <a:avLst/>
                <a:gdLst>
                  <a:gd name="T0" fmla="*/ 9 w 14"/>
                  <a:gd name="T1" fmla="*/ 36 h 36"/>
                  <a:gd name="T2" fmla="*/ 4 w 14"/>
                  <a:gd name="T3" fmla="*/ 34 h 36"/>
                  <a:gd name="T4" fmla="*/ 4 w 14"/>
                  <a:gd name="T5" fmla="*/ 32 h 36"/>
                  <a:gd name="T6" fmla="*/ 4 w 14"/>
                  <a:gd name="T7" fmla="*/ 29 h 36"/>
                  <a:gd name="T8" fmla="*/ 10 w 14"/>
                  <a:gd name="T9" fmla="*/ 30 h 36"/>
                  <a:gd name="T10" fmla="*/ 10 w 14"/>
                  <a:gd name="T11" fmla="*/ 32 h 36"/>
                  <a:gd name="T12" fmla="*/ 9 w 14"/>
                  <a:gd name="T13" fmla="*/ 36 h 36"/>
                  <a:gd name="T14" fmla="*/ 2 w 14"/>
                  <a:gd name="T15" fmla="*/ 23 h 36"/>
                  <a:gd name="T16" fmla="*/ 0 w 14"/>
                  <a:gd name="T17" fmla="*/ 19 h 36"/>
                  <a:gd name="T18" fmla="*/ 0 w 14"/>
                  <a:gd name="T19" fmla="*/ 18 h 36"/>
                  <a:gd name="T20" fmla="*/ 4 w 14"/>
                  <a:gd name="T21" fmla="*/ 14 h 36"/>
                  <a:gd name="T22" fmla="*/ 7 w 14"/>
                  <a:gd name="T23" fmla="*/ 19 h 36"/>
                  <a:gd name="T24" fmla="*/ 7 w 14"/>
                  <a:gd name="T25" fmla="*/ 19 h 36"/>
                  <a:gd name="T26" fmla="*/ 5 w 14"/>
                  <a:gd name="T27" fmla="*/ 20 h 36"/>
                  <a:gd name="T28" fmla="*/ 5 w 14"/>
                  <a:gd name="T29" fmla="*/ 18 h 36"/>
                  <a:gd name="T30" fmla="*/ 2 w 14"/>
                  <a:gd name="T31" fmla="*/ 23 h 36"/>
                  <a:gd name="T32" fmla="*/ 8 w 14"/>
                  <a:gd name="T33" fmla="*/ 7 h 36"/>
                  <a:gd name="T34" fmla="*/ 6 w 14"/>
                  <a:gd name="T35" fmla="*/ 4 h 36"/>
                  <a:gd name="T36" fmla="*/ 10 w 14"/>
                  <a:gd name="T37" fmla="*/ 0 h 36"/>
                  <a:gd name="T38" fmla="*/ 14 w 14"/>
                  <a:gd name="T39" fmla="*/ 6 h 36"/>
                  <a:gd name="T40" fmla="*/ 8 w 14"/>
                  <a:gd name="T41" fmla="*/ 7 h 36"/>
                  <a:gd name="T42" fmla="*/ 8 w 14"/>
                  <a:gd name="T43" fmla="*/ 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" h="36">
                    <a:moveTo>
                      <a:pt x="9" y="36"/>
                    </a:moveTo>
                    <a:cubicBezTo>
                      <a:pt x="4" y="34"/>
                      <a:pt x="4" y="34"/>
                      <a:pt x="4" y="34"/>
                    </a:cubicBezTo>
                    <a:cubicBezTo>
                      <a:pt x="4" y="33"/>
                      <a:pt x="4" y="33"/>
                      <a:pt x="4" y="32"/>
                    </a:cubicBezTo>
                    <a:cubicBezTo>
                      <a:pt x="4" y="31"/>
                      <a:pt x="4" y="30"/>
                      <a:pt x="4" y="29"/>
                    </a:cubicBezTo>
                    <a:cubicBezTo>
                      <a:pt x="10" y="30"/>
                      <a:pt x="10" y="30"/>
                      <a:pt x="10" y="30"/>
                    </a:cubicBezTo>
                    <a:cubicBezTo>
                      <a:pt x="10" y="31"/>
                      <a:pt x="10" y="31"/>
                      <a:pt x="10" y="32"/>
                    </a:cubicBezTo>
                    <a:cubicBezTo>
                      <a:pt x="10" y="33"/>
                      <a:pt x="10" y="35"/>
                      <a:pt x="9" y="36"/>
                    </a:cubicBezTo>
                    <a:close/>
                    <a:moveTo>
                      <a:pt x="2" y="23"/>
                    </a:moveTo>
                    <a:cubicBezTo>
                      <a:pt x="0" y="22"/>
                      <a:pt x="0" y="21"/>
                      <a:pt x="0" y="19"/>
                    </a:cubicBezTo>
                    <a:cubicBezTo>
                      <a:pt x="0" y="19"/>
                      <a:pt x="0" y="19"/>
                      <a:pt x="0" y="18"/>
                    </a:cubicBezTo>
                    <a:cubicBezTo>
                      <a:pt x="0" y="16"/>
                      <a:pt x="2" y="15"/>
                      <a:pt x="4" y="14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6" y="19"/>
                      <a:pt x="6" y="20"/>
                      <a:pt x="5" y="20"/>
                    </a:cubicBezTo>
                    <a:cubicBezTo>
                      <a:pt x="5" y="19"/>
                      <a:pt x="5" y="18"/>
                      <a:pt x="5" y="18"/>
                    </a:cubicBezTo>
                    <a:lnTo>
                      <a:pt x="2" y="23"/>
                    </a:lnTo>
                    <a:close/>
                    <a:moveTo>
                      <a:pt x="8" y="7"/>
                    </a:moveTo>
                    <a:cubicBezTo>
                      <a:pt x="8" y="7"/>
                      <a:pt x="8" y="6"/>
                      <a:pt x="6" y="4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2" y="3"/>
                      <a:pt x="14" y="5"/>
                      <a:pt x="14" y="6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8" y="7"/>
                      <a:pt x="8" y="7"/>
                      <a:pt x="8" y="7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62" name="îSlîdè"/>
              <p:cNvSpPr/>
              <p:nvPr/>
            </p:nvSpPr>
            <p:spPr bwMode="auto">
              <a:xfrm>
                <a:off x="3690938" y="2660650"/>
                <a:ext cx="450850" cy="520700"/>
              </a:xfrm>
              <a:custGeom>
                <a:avLst/>
                <a:gdLst>
                  <a:gd name="T0" fmla="*/ 89 w 210"/>
                  <a:gd name="T1" fmla="*/ 236 h 243"/>
                  <a:gd name="T2" fmla="*/ 86 w 210"/>
                  <a:gd name="T3" fmla="*/ 243 h 243"/>
                  <a:gd name="T4" fmla="*/ 100 w 210"/>
                  <a:gd name="T5" fmla="*/ 231 h 243"/>
                  <a:gd name="T6" fmla="*/ 103 w 210"/>
                  <a:gd name="T7" fmla="*/ 237 h 243"/>
                  <a:gd name="T8" fmla="*/ 79 w 210"/>
                  <a:gd name="T9" fmla="*/ 229 h 243"/>
                  <a:gd name="T10" fmla="*/ 57 w 210"/>
                  <a:gd name="T11" fmla="*/ 221 h 243"/>
                  <a:gd name="T12" fmla="*/ 61 w 210"/>
                  <a:gd name="T13" fmla="*/ 227 h 243"/>
                  <a:gd name="T14" fmla="*/ 3 w 210"/>
                  <a:gd name="T15" fmla="*/ 217 h 243"/>
                  <a:gd name="T16" fmla="*/ 18 w 210"/>
                  <a:gd name="T17" fmla="*/ 218 h 243"/>
                  <a:gd name="T18" fmla="*/ 26 w 210"/>
                  <a:gd name="T19" fmla="*/ 220 h 243"/>
                  <a:gd name="T20" fmla="*/ 20 w 210"/>
                  <a:gd name="T21" fmla="*/ 218 h 243"/>
                  <a:gd name="T22" fmla="*/ 41 w 210"/>
                  <a:gd name="T23" fmla="*/ 215 h 243"/>
                  <a:gd name="T24" fmla="*/ 104 w 210"/>
                  <a:gd name="T25" fmla="*/ 220 h 243"/>
                  <a:gd name="T26" fmla="*/ 104 w 210"/>
                  <a:gd name="T27" fmla="*/ 220 h 243"/>
                  <a:gd name="T28" fmla="*/ 33 w 210"/>
                  <a:gd name="T29" fmla="*/ 211 h 243"/>
                  <a:gd name="T30" fmla="*/ 37 w 210"/>
                  <a:gd name="T31" fmla="*/ 207 h 243"/>
                  <a:gd name="T32" fmla="*/ 102 w 210"/>
                  <a:gd name="T33" fmla="*/ 201 h 243"/>
                  <a:gd name="T34" fmla="*/ 108 w 210"/>
                  <a:gd name="T35" fmla="*/ 200 h 243"/>
                  <a:gd name="T36" fmla="*/ 92 w 210"/>
                  <a:gd name="T37" fmla="*/ 193 h 243"/>
                  <a:gd name="T38" fmla="*/ 98 w 210"/>
                  <a:gd name="T39" fmla="*/ 191 h 243"/>
                  <a:gd name="T40" fmla="*/ 86 w 210"/>
                  <a:gd name="T41" fmla="*/ 179 h 243"/>
                  <a:gd name="T42" fmla="*/ 95 w 210"/>
                  <a:gd name="T43" fmla="*/ 170 h 243"/>
                  <a:gd name="T44" fmla="*/ 100 w 210"/>
                  <a:gd name="T45" fmla="*/ 166 h 243"/>
                  <a:gd name="T46" fmla="*/ 109 w 210"/>
                  <a:gd name="T47" fmla="*/ 160 h 243"/>
                  <a:gd name="T48" fmla="*/ 111 w 210"/>
                  <a:gd name="T49" fmla="*/ 166 h 243"/>
                  <a:gd name="T50" fmla="*/ 126 w 210"/>
                  <a:gd name="T51" fmla="*/ 152 h 243"/>
                  <a:gd name="T52" fmla="*/ 132 w 210"/>
                  <a:gd name="T53" fmla="*/ 149 h 243"/>
                  <a:gd name="T54" fmla="*/ 132 w 210"/>
                  <a:gd name="T55" fmla="*/ 149 h 243"/>
                  <a:gd name="T56" fmla="*/ 125 w 210"/>
                  <a:gd name="T57" fmla="*/ 133 h 243"/>
                  <a:gd name="T58" fmla="*/ 131 w 210"/>
                  <a:gd name="T59" fmla="*/ 132 h 243"/>
                  <a:gd name="T60" fmla="*/ 122 w 210"/>
                  <a:gd name="T61" fmla="*/ 115 h 243"/>
                  <a:gd name="T62" fmla="*/ 122 w 210"/>
                  <a:gd name="T63" fmla="*/ 116 h 243"/>
                  <a:gd name="T64" fmla="*/ 112 w 210"/>
                  <a:gd name="T65" fmla="*/ 105 h 243"/>
                  <a:gd name="T66" fmla="*/ 117 w 210"/>
                  <a:gd name="T67" fmla="*/ 104 h 243"/>
                  <a:gd name="T68" fmla="*/ 100 w 210"/>
                  <a:gd name="T69" fmla="*/ 91 h 243"/>
                  <a:gd name="T70" fmla="*/ 102 w 210"/>
                  <a:gd name="T71" fmla="*/ 93 h 243"/>
                  <a:gd name="T72" fmla="*/ 90 w 210"/>
                  <a:gd name="T73" fmla="*/ 75 h 243"/>
                  <a:gd name="T74" fmla="*/ 99 w 210"/>
                  <a:gd name="T75" fmla="*/ 65 h 243"/>
                  <a:gd name="T76" fmla="*/ 99 w 210"/>
                  <a:gd name="T77" fmla="*/ 65 h 243"/>
                  <a:gd name="T78" fmla="*/ 104 w 210"/>
                  <a:gd name="T79" fmla="*/ 43 h 243"/>
                  <a:gd name="T80" fmla="*/ 86 w 210"/>
                  <a:gd name="T81" fmla="*/ 33 h 243"/>
                  <a:gd name="T82" fmla="*/ 87 w 210"/>
                  <a:gd name="T83" fmla="*/ 41 h 243"/>
                  <a:gd name="T84" fmla="*/ 103 w 210"/>
                  <a:gd name="T85" fmla="*/ 35 h 243"/>
                  <a:gd name="T86" fmla="*/ 77 w 210"/>
                  <a:gd name="T87" fmla="*/ 17 h 243"/>
                  <a:gd name="T88" fmla="*/ 77 w 210"/>
                  <a:gd name="T89" fmla="*/ 23 h 243"/>
                  <a:gd name="T90" fmla="*/ 90 w 210"/>
                  <a:gd name="T91" fmla="*/ 14 h 243"/>
                  <a:gd name="T92" fmla="*/ 106 w 210"/>
                  <a:gd name="T93" fmla="*/ 17 h 243"/>
                  <a:gd name="T94" fmla="*/ 111 w 210"/>
                  <a:gd name="T95" fmla="*/ 14 h 243"/>
                  <a:gd name="T96" fmla="*/ 136 w 210"/>
                  <a:gd name="T97" fmla="*/ 7 h 243"/>
                  <a:gd name="T98" fmla="*/ 141 w 210"/>
                  <a:gd name="T99" fmla="*/ 13 h 243"/>
                  <a:gd name="T100" fmla="*/ 160 w 210"/>
                  <a:gd name="T101" fmla="*/ 6 h 243"/>
                  <a:gd name="T102" fmla="*/ 171 w 210"/>
                  <a:gd name="T103" fmla="*/ 5 h 243"/>
                  <a:gd name="T104" fmla="*/ 124 w 210"/>
                  <a:gd name="T105" fmla="*/ 10 h 243"/>
                  <a:gd name="T106" fmla="*/ 127 w 210"/>
                  <a:gd name="T107" fmla="*/ 5 h 243"/>
                  <a:gd name="T108" fmla="*/ 208 w 210"/>
                  <a:gd name="T109" fmla="*/ 0 h 243"/>
                  <a:gd name="T110" fmla="*/ 190 w 210"/>
                  <a:gd name="T111" fmla="*/ 6 h 243"/>
                  <a:gd name="T112" fmla="*/ 188 w 210"/>
                  <a:gd name="T113" fmla="*/ 1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10" h="243">
                    <a:moveTo>
                      <a:pt x="86" y="243"/>
                    </a:moveTo>
                    <a:cubicBezTo>
                      <a:pt x="85" y="243"/>
                      <a:pt x="84" y="243"/>
                      <a:pt x="84" y="242"/>
                    </a:cubicBezTo>
                    <a:cubicBezTo>
                      <a:pt x="86" y="237"/>
                      <a:pt x="86" y="237"/>
                      <a:pt x="86" y="237"/>
                    </a:cubicBezTo>
                    <a:cubicBezTo>
                      <a:pt x="86" y="237"/>
                      <a:pt x="86" y="237"/>
                      <a:pt x="89" y="236"/>
                    </a:cubicBezTo>
                    <a:cubicBezTo>
                      <a:pt x="89" y="236"/>
                      <a:pt x="89" y="236"/>
                      <a:pt x="89" y="236"/>
                    </a:cubicBezTo>
                    <a:cubicBezTo>
                      <a:pt x="92" y="241"/>
                      <a:pt x="92" y="241"/>
                      <a:pt x="92" y="241"/>
                    </a:cubicBezTo>
                    <a:cubicBezTo>
                      <a:pt x="91" y="242"/>
                      <a:pt x="91" y="242"/>
                      <a:pt x="91" y="242"/>
                    </a:cubicBezTo>
                    <a:cubicBezTo>
                      <a:pt x="89" y="243"/>
                      <a:pt x="88" y="243"/>
                      <a:pt x="86" y="243"/>
                    </a:cubicBezTo>
                    <a:close/>
                    <a:moveTo>
                      <a:pt x="103" y="237"/>
                    </a:moveTo>
                    <a:cubicBezTo>
                      <a:pt x="100" y="232"/>
                      <a:pt x="100" y="232"/>
                      <a:pt x="100" y="232"/>
                    </a:cubicBezTo>
                    <a:cubicBezTo>
                      <a:pt x="100" y="232"/>
                      <a:pt x="100" y="232"/>
                      <a:pt x="100" y="232"/>
                    </a:cubicBezTo>
                    <a:cubicBezTo>
                      <a:pt x="100" y="232"/>
                      <a:pt x="100" y="231"/>
                      <a:pt x="100" y="231"/>
                    </a:cubicBezTo>
                    <a:cubicBezTo>
                      <a:pt x="106" y="229"/>
                      <a:pt x="106" y="229"/>
                      <a:pt x="106" y="229"/>
                    </a:cubicBezTo>
                    <a:cubicBezTo>
                      <a:pt x="106" y="230"/>
                      <a:pt x="106" y="231"/>
                      <a:pt x="106" y="232"/>
                    </a:cubicBezTo>
                    <a:cubicBezTo>
                      <a:pt x="106" y="235"/>
                      <a:pt x="105" y="237"/>
                      <a:pt x="104" y="237"/>
                    </a:cubicBezTo>
                    <a:cubicBezTo>
                      <a:pt x="103" y="237"/>
                      <a:pt x="103" y="237"/>
                      <a:pt x="103" y="237"/>
                    </a:cubicBezTo>
                    <a:close/>
                    <a:moveTo>
                      <a:pt x="75" y="233"/>
                    </a:moveTo>
                    <a:cubicBezTo>
                      <a:pt x="74" y="232"/>
                      <a:pt x="73" y="231"/>
                      <a:pt x="71" y="230"/>
                    </a:cubicBezTo>
                    <a:cubicBezTo>
                      <a:pt x="74" y="225"/>
                      <a:pt x="74" y="225"/>
                      <a:pt x="74" y="225"/>
                    </a:cubicBezTo>
                    <a:cubicBezTo>
                      <a:pt x="76" y="226"/>
                      <a:pt x="78" y="227"/>
                      <a:pt x="79" y="229"/>
                    </a:cubicBezTo>
                    <a:lnTo>
                      <a:pt x="75" y="233"/>
                    </a:lnTo>
                    <a:close/>
                    <a:moveTo>
                      <a:pt x="58" y="227"/>
                    </a:moveTo>
                    <a:cubicBezTo>
                      <a:pt x="57" y="227"/>
                      <a:pt x="56" y="227"/>
                      <a:pt x="55" y="227"/>
                    </a:cubicBezTo>
                    <a:cubicBezTo>
                      <a:pt x="57" y="221"/>
                      <a:pt x="57" y="221"/>
                      <a:pt x="57" y="221"/>
                    </a:cubicBezTo>
                    <a:cubicBezTo>
                      <a:pt x="58" y="221"/>
                      <a:pt x="59" y="221"/>
                      <a:pt x="60" y="221"/>
                    </a:cubicBezTo>
                    <a:cubicBezTo>
                      <a:pt x="62" y="221"/>
                      <a:pt x="62" y="221"/>
                      <a:pt x="62" y="221"/>
                    </a:cubicBezTo>
                    <a:cubicBezTo>
                      <a:pt x="62" y="227"/>
                      <a:pt x="62" y="227"/>
                      <a:pt x="62" y="227"/>
                    </a:cubicBezTo>
                    <a:cubicBezTo>
                      <a:pt x="61" y="227"/>
                      <a:pt x="61" y="227"/>
                      <a:pt x="61" y="227"/>
                    </a:cubicBezTo>
                    <a:cubicBezTo>
                      <a:pt x="60" y="227"/>
                      <a:pt x="59" y="227"/>
                      <a:pt x="58" y="227"/>
                    </a:cubicBezTo>
                    <a:close/>
                    <a:moveTo>
                      <a:pt x="6" y="224"/>
                    </a:moveTo>
                    <a:cubicBezTo>
                      <a:pt x="3" y="223"/>
                      <a:pt x="1" y="222"/>
                      <a:pt x="0" y="222"/>
                    </a:cubicBezTo>
                    <a:cubicBezTo>
                      <a:pt x="3" y="217"/>
                      <a:pt x="3" y="217"/>
                      <a:pt x="3" y="217"/>
                    </a:cubicBezTo>
                    <a:cubicBezTo>
                      <a:pt x="3" y="217"/>
                      <a:pt x="5" y="217"/>
                      <a:pt x="8" y="218"/>
                    </a:cubicBezTo>
                    <a:lnTo>
                      <a:pt x="6" y="224"/>
                    </a:lnTo>
                    <a:close/>
                    <a:moveTo>
                      <a:pt x="19" y="224"/>
                    </a:moveTo>
                    <a:cubicBezTo>
                      <a:pt x="18" y="218"/>
                      <a:pt x="18" y="218"/>
                      <a:pt x="18" y="218"/>
                    </a:cubicBezTo>
                    <a:cubicBezTo>
                      <a:pt x="19" y="218"/>
                      <a:pt x="20" y="218"/>
                      <a:pt x="20" y="217"/>
                    </a:cubicBezTo>
                    <a:cubicBezTo>
                      <a:pt x="20" y="217"/>
                      <a:pt x="21" y="217"/>
                      <a:pt x="21" y="217"/>
                    </a:cubicBezTo>
                    <a:cubicBezTo>
                      <a:pt x="26" y="219"/>
                      <a:pt x="26" y="219"/>
                      <a:pt x="26" y="219"/>
                    </a:cubicBezTo>
                    <a:cubicBezTo>
                      <a:pt x="26" y="220"/>
                      <a:pt x="26" y="220"/>
                      <a:pt x="26" y="220"/>
                    </a:cubicBezTo>
                    <a:cubicBezTo>
                      <a:pt x="25" y="222"/>
                      <a:pt x="23" y="223"/>
                      <a:pt x="19" y="224"/>
                    </a:cubicBezTo>
                    <a:close/>
                    <a:moveTo>
                      <a:pt x="20" y="218"/>
                    </a:moveTo>
                    <a:cubicBezTo>
                      <a:pt x="20" y="218"/>
                      <a:pt x="20" y="218"/>
                      <a:pt x="20" y="218"/>
                    </a:cubicBezTo>
                    <a:cubicBezTo>
                      <a:pt x="20" y="218"/>
                      <a:pt x="20" y="218"/>
                      <a:pt x="20" y="218"/>
                    </a:cubicBezTo>
                    <a:close/>
                    <a:moveTo>
                      <a:pt x="45" y="221"/>
                    </a:moveTo>
                    <a:cubicBezTo>
                      <a:pt x="44" y="221"/>
                      <a:pt x="44" y="221"/>
                      <a:pt x="43" y="221"/>
                    </a:cubicBezTo>
                    <a:cubicBezTo>
                      <a:pt x="42" y="221"/>
                      <a:pt x="41" y="221"/>
                      <a:pt x="40" y="221"/>
                    </a:cubicBezTo>
                    <a:cubicBezTo>
                      <a:pt x="41" y="215"/>
                      <a:pt x="41" y="215"/>
                      <a:pt x="41" y="215"/>
                    </a:cubicBezTo>
                    <a:cubicBezTo>
                      <a:pt x="41" y="215"/>
                      <a:pt x="42" y="215"/>
                      <a:pt x="43" y="215"/>
                    </a:cubicBezTo>
                    <a:cubicBezTo>
                      <a:pt x="44" y="215"/>
                      <a:pt x="45" y="215"/>
                      <a:pt x="47" y="216"/>
                    </a:cubicBezTo>
                    <a:lnTo>
                      <a:pt x="45" y="221"/>
                    </a:lnTo>
                    <a:close/>
                    <a:moveTo>
                      <a:pt x="104" y="220"/>
                    </a:moveTo>
                    <a:cubicBezTo>
                      <a:pt x="99" y="218"/>
                      <a:pt x="99" y="218"/>
                      <a:pt x="99" y="218"/>
                    </a:cubicBezTo>
                    <a:cubicBezTo>
                      <a:pt x="99" y="218"/>
                      <a:pt x="100" y="216"/>
                      <a:pt x="100" y="213"/>
                    </a:cubicBezTo>
                    <a:cubicBezTo>
                      <a:pt x="106" y="214"/>
                      <a:pt x="106" y="214"/>
                      <a:pt x="106" y="214"/>
                    </a:cubicBezTo>
                    <a:cubicBezTo>
                      <a:pt x="105" y="217"/>
                      <a:pt x="105" y="219"/>
                      <a:pt x="104" y="220"/>
                    </a:cubicBezTo>
                    <a:close/>
                    <a:moveTo>
                      <a:pt x="34" y="212"/>
                    </a:moveTo>
                    <a:cubicBezTo>
                      <a:pt x="34" y="211"/>
                      <a:pt x="34" y="211"/>
                      <a:pt x="34" y="211"/>
                    </a:cubicBezTo>
                    <a:cubicBezTo>
                      <a:pt x="33" y="211"/>
                      <a:pt x="33" y="211"/>
                      <a:pt x="33" y="211"/>
                    </a:cubicBezTo>
                    <a:cubicBezTo>
                      <a:pt x="33" y="211"/>
                      <a:pt x="33" y="211"/>
                      <a:pt x="33" y="211"/>
                    </a:cubicBezTo>
                    <a:cubicBezTo>
                      <a:pt x="28" y="209"/>
                      <a:pt x="28" y="209"/>
                      <a:pt x="28" y="209"/>
                    </a:cubicBezTo>
                    <a:cubicBezTo>
                      <a:pt x="29" y="208"/>
                      <a:pt x="30" y="205"/>
                      <a:pt x="33" y="205"/>
                    </a:cubicBezTo>
                    <a:cubicBezTo>
                      <a:pt x="34" y="205"/>
                      <a:pt x="35" y="205"/>
                      <a:pt x="36" y="206"/>
                    </a:cubicBezTo>
                    <a:cubicBezTo>
                      <a:pt x="37" y="206"/>
                      <a:pt x="37" y="206"/>
                      <a:pt x="37" y="207"/>
                    </a:cubicBezTo>
                    <a:lnTo>
                      <a:pt x="34" y="212"/>
                    </a:lnTo>
                    <a:close/>
                    <a:moveTo>
                      <a:pt x="108" y="203"/>
                    </a:moveTo>
                    <a:cubicBezTo>
                      <a:pt x="102" y="202"/>
                      <a:pt x="102" y="202"/>
                      <a:pt x="102" y="202"/>
                    </a:cubicBezTo>
                    <a:cubicBezTo>
                      <a:pt x="102" y="202"/>
                      <a:pt x="102" y="201"/>
                      <a:pt x="102" y="201"/>
                    </a:cubicBezTo>
                    <a:cubicBezTo>
                      <a:pt x="102" y="200"/>
                      <a:pt x="102" y="200"/>
                      <a:pt x="102" y="200"/>
                    </a:cubicBezTo>
                    <a:cubicBezTo>
                      <a:pt x="102" y="198"/>
                      <a:pt x="102" y="198"/>
                      <a:pt x="102" y="198"/>
                    </a:cubicBezTo>
                    <a:cubicBezTo>
                      <a:pt x="107" y="195"/>
                      <a:pt x="107" y="195"/>
                      <a:pt x="107" y="195"/>
                    </a:cubicBezTo>
                    <a:cubicBezTo>
                      <a:pt x="108" y="197"/>
                      <a:pt x="108" y="198"/>
                      <a:pt x="108" y="200"/>
                    </a:cubicBezTo>
                    <a:cubicBezTo>
                      <a:pt x="108" y="201"/>
                      <a:pt x="108" y="201"/>
                      <a:pt x="108" y="201"/>
                    </a:cubicBezTo>
                    <a:cubicBezTo>
                      <a:pt x="108" y="201"/>
                      <a:pt x="108" y="202"/>
                      <a:pt x="108" y="203"/>
                    </a:cubicBezTo>
                    <a:close/>
                    <a:moveTo>
                      <a:pt x="93" y="194"/>
                    </a:moveTo>
                    <a:cubicBezTo>
                      <a:pt x="92" y="193"/>
                      <a:pt x="92" y="193"/>
                      <a:pt x="92" y="193"/>
                    </a:cubicBezTo>
                    <a:cubicBezTo>
                      <a:pt x="91" y="193"/>
                      <a:pt x="90" y="193"/>
                      <a:pt x="90" y="193"/>
                    </a:cubicBezTo>
                    <a:cubicBezTo>
                      <a:pt x="91" y="187"/>
                      <a:pt x="91" y="187"/>
                      <a:pt x="91" y="187"/>
                    </a:cubicBezTo>
                    <a:cubicBezTo>
                      <a:pt x="91" y="187"/>
                      <a:pt x="92" y="187"/>
                      <a:pt x="92" y="187"/>
                    </a:cubicBezTo>
                    <a:cubicBezTo>
                      <a:pt x="96" y="188"/>
                      <a:pt x="97" y="190"/>
                      <a:pt x="98" y="191"/>
                    </a:cubicBezTo>
                    <a:lnTo>
                      <a:pt x="93" y="194"/>
                    </a:lnTo>
                    <a:close/>
                    <a:moveTo>
                      <a:pt x="91" y="182"/>
                    </a:moveTo>
                    <a:cubicBezTo>
                      <a:pt x="85" y="180"/>
                      <a:pt x="85" y="180"/>
                      <a:pt x="85" y="180"/>
                    </a:cubicBezTo>
                    <a:cubicBezTo>
                      <a:pt x="86" y="179"/>
                      <a:pt x="86" y="179"/>
                      <a:pt x="86" y="179"/>
                    </a:cubicBezTo>
                    <a:cubicBezTo>
                      <a:pt x="86" y="178"/>
                      <a:pt x="87" y="176"/>
                      <a:pt x="87" y="175"/>
                    </a:cubicBezTo>
                    <a:cubicBezTo>
                      <a:pt x="93" y="176"/>
                      <a:pt x="93" y="176"/>
                      <a:pt x="93" y="176"/>
                    </a:cubicBezTo>
                    <a:cubicBezTo>
                      <a:pt x="93" y="178"/>
                      <a:pt x="92" y="180"/>
                      <a:pt x="91" y="182"/>
                    </a:cubicBezTo>
                    <a:close/>
                    <a:moveTo>
                      <a:pt x="95" y="170"/>
                    </a:moveTo>
                    <a:cubicBezTo>
                      <a:pt x="93" y="164"/>
                      <a:pt x="93" y="164"/>
                      <a:pt x="93" y="164"/>
                    </a:cubicBezTo>
                    <a:cubicBezTo>
                      <a:pt x="94" y="164"/>
                      <a:pt x="95" y="163"/>
                      <a:pt x="95" y="163"/>
                    </a:cubicBezTo>
                    <a:cubicBezTo>
                      <a:pt x="96" y="162"/>
                      <a:pt x="96" y="162"/>
                      <a:pt x="97" y="161"/>
                    </a:cubicBezTo>
                    <a:cubicBezTo>
                      <a:pt x="100" y="166"/>
                      <a:pt x="100" y="166"/>
                      <a:pt x="100" y="166"/>
                    </a:cubicBezTo>
                    <a:cubicBezTo>
                      <a:pt x="100" y="166"/>
                      <a:pt x="100" y="166"/>
                      <a:pt x="100" y="167"/>
                    </a:cubicBezTo>
                    <a:cubicBezTo>
                      <a:pt x="99" y="167"/>
                      <a:pt x="98" y="169"/>
                      <a:pt x="95" y="170"/>
                    </a:cubicBezTo>
                    <a:close/>
                    <a:moveTo>
                      <a:pt x="111" y="166"/>
                    </a:moveTo>
                    <a:cubicBezTo>
                      <a:pt x="109" y="160"/>
                      <a:pt x="109" y="160"/>
                      <a:pt x="109" y="160"/>
                    </a:cubicBezTo>
                    <a:cubicBezTo>
                      <a:pt x="111" y="160"/>
                      <a:pt x="112" y="159"/>
                      <a:pt x="114" y="158"/>
                    </a:cubicBezTo>
                    <a:cubicBezTo>
                      <a:pt x="117" y="163"/>
                      <a:pt x="117" y="163"/>
                      <a:pt x="117" y="163"/>
                    </a:cubicBezTo>
                    <a:cubicBezTo>
                      <a:pt x="116" y="164"/>
                      <a:pt x="116" y="164"/>
                      <a:pt x="116" y="164"/>
                    </a:cubicBezTo>
                    <a:cubicBezTo>
                      <a:pt x="114" y="165"/>
                      <a:pt x="113" y="165"/>
                      <a:pt x="111" y="166"/>
                    </a:cubicBezTo>
                    <a:close/>
                    <a:moveTo>
                      <a:pt x="130" y="161"/>
                    </a:moveTo>
                    <a:cubicBezTo>
                      <a:pt x="129" y="160"/>
                      <a:pt x="128" y="160"/>
                      <a:pt x="126" y="159"/>
                    </a:cubicBezTo>
                    <a:cubicBezTo>
                      <a:pt x="126" y="158"/>
                      <a:pt x="126" y="158"/>
                      <a:pt x="126" y="158"/>
                    </a:cubicBezTo>
                    <a:cubicBezTo>
                      <a:pt x="126" y="152"/>
                      <a:pt x="126" y="152"/>
                      <a:pt x="126" y="152"/>
                    </a:cubicBezTo>
                    <a:cubicBezTo>
                      <a:pt x="127" y="152"/>
                      <a:pt x="129" y="153"/>
                      <a:pt x="130" y="154"/>
                    </a:cubicBezTo>
                    <a:cubicBezTo>
                      <a:pt x="131" y="155"/>
                      <a:pt x="131" y="155"/>
                      <a:pt x="132" y="155"/>
                    </a:cubicBezTo>
                    <a:lnTo>
                      <a:pt x="130" y="161"/>
                    </a:lnTo>
                    <a:close/>
                    <a:moveTo>
                      <a:pt x="132" y="149"/>
                    </a:moveTo>
                    <a:cubicBezTo>
                      <a:pt x="132" y="147"/>
                      <a:pt x="131" y="146"/>
                      <a:pt x="131" y="145"/>
                    </a:cubicBezTo>
                    <a:cubicBezTo>
                      <a:pt x="136" y="142"/>
                      <a:pt x="136" y="142"/>
                      <a:pt x="136" y="142"/>
                    </a:cubicBezTo>
                    <a:cubicBezTo>
                      <a:pt x="137" y="143"/>
                      <a:pt x="137" y="146"/>
                      <a:pt x="138" y="148"/>
                    </a:cubicBezTo>
                    <a:lnTo>
                      <a:pt x="132" y="149"/>
                    </a:lnTo>
                    <a:close/>
                    <a:moveTo>
                      <a:pt x="126" y="134"/>
                    </a:moveTo>
                    <a:cubicBezTo>
                      <a:pt x="129" y="133"/>
                      <a:pt x="129" y="133"/>
                      <a:pt x="129" y="133"/>
                    </a:cubicBezTo>
                    <a:cubicBezTo>
                      <a:pt x="126" y="134"/>
                      <a:pt x="126" y="134"/>
                      <a:pt x="126" y="134"/>
                    </a:cubicBezTo>
                    <a:cubicBezTo>
                      <a:pt x="125" y="133"/>
                      <a:pt x="125" y="133"/>
                      <a:pt x="125" y="133"/>
                    </a:cubicBezTo>
                    <a:cubicBezTo>
                      <a:pt x="125" y="131"/>
                      <a:pt x="124" y="130"/>
                      <a:pt x="124" y="129"/>
                    </a:cubicBezTo>
                    <a:cubicBezTo>
                      <a:pt x="129" y="127"/>
                      <a:pt x="129" y="127"/>
                      <a:pt x="129" y="127"/>
                    </a:cubicBezTo>
                    <a:cubicBezTo>
                      <a:pt x="130" y="128"/>
                      <a:pt x="130" y="129"/>
                      <a:pt x="131" y="130"/>
                    </a:cubicBezTo>
                    <a:cubicBezTo>
                      <a:pt x="131" y="132"/>
                      <a:pt x="131" y="132"/>
                      <a:pt x="131" y="132"/>
                    </a:cubicBezTo>
                    <a:cubicBezTo>
                      <a:pt x="129" y="133"/>
                      <a:pt x="129" y="133"/>
                      <a:pt x="129" y="133"/>
                    </a:cubicBezTo>
                    <a:lnTo>
                      <a:pt x="126" y="134"/>
                    </a:lnTo>
                    <a:close/>
                    <a:moveTo>
                      <a:pt x="122" y="116"/>
                    </a:moveTo>
                    <a:cubicBezTo>
                      <a:pt x="122" y="116"/>
                      <a:pt x="122" y="116"/>
                      <a:pt x="122" y="115"/>
                    </a:cubicBezTo>
                    <a:cubicBezTo>
                      <a:pt x="122" y="115"/>
                      <a:pt x="122" y="115"/>
                      <a:pt x="121" y="115"/>
                    </a:cubicBezTo>
                    <a:cubicBezTo>
                      <a:pt x="122" y="110"/>
                      <a:pt x="122" y="110"/>
                      <a:pt x="122" y="110"/>
                    </a:cubicBezTo>
                    <a:cubicBezTo>
                      <a:pt x="126" y="110"/>
                      <a:pt x="128" y="112"/>
                      <a:pt x="128" y="116"/>
                    </a:cubicBezTo>
                    <a:lnTo>
                      <a:pt x="122" y="116"/>
                    </a:lnTo>
                    <a:close/>
                    <a:moveTo>
                      <a:pt x="112" y="106"/>
                    </a:moveTo>
                    <a:cubicBezTo>
                      <a:pt x="115" y="105"/>
                      <a:pt x="115" y="105"/>
                      <a:pt x="115" y="105"/>
                    </a:cubicBezTo>
                    <a:cubicBezTo>
                      <a:pt x="112" y="106"/>
                      <a:pt x="112" y="106"/>
                      <a:pt x="112" y="106"/>
                    </a:cubicBezTo>
                    <a:cubicBezTo>
                      <a:pt x="112" y="105"/>
                      <a:pt x="112" y="105"/>
                      <a:pt x="112" y="105"/>
                    </a:cubicBezTo>
                    <a:cubicBezTo>
                      <a:pt x="111" y="103"/>
                      <a:pt x="110" y="102"/>
                      <a:pt x="110" y="102"/>
                    </a:cubicBezTo>
                    <a:cubicBezTo>
                      <a:pt x="114" y="98"/>
                      <a:pt x="114" y="98"/>
                      <a:pt x="114" y="98"/>
                    </a:cubicBezTo>
                    <a:cubicBezTo>
                      <a:pt x="116" y="99"/>
                      <a:pt x="116" y="101"/>
                      <a:pt x="117" y="104"/>
                    </a:cubicBezTo>
                    <a:cubicBezTo>
                      <a:pt x="117" y="104"/>
                      <a:pt x="117" y="104"/>
                      <a:pt x="117" y="104"/>
                    </a:cubicBezTo>
                    <a:lnTo>
                      <a:pt x="112" y="106"/>
                    </a:lnTo>
                    <a:close/>
                    <a:moveTo>
                      <a:pt x="102" y="93"/>
                    </a:moveTo>
                    <a:cubicBezTo>
                      <a:pt x="101" y="92"/>
                      <a:pt x="100" y="91"/>
                      <a:pt x="100" y="91"/>
                    </a:cubicBezTo>
                    <a:cubicBezTo>
                      <a:pt x="100" y="91"/>
                      <a:pt x="100" y="91"/>
                      <a:pt x="100" y="91"/>
                    </a:cubicBezTo>
                    <a:cubicBezTo>
                      <a:pt x="99" y="86"/>
                      <a:pt x="99" y="86"/>
                      <a:pt x="99" y="86"/>
                    </a:cubicBezTo>
                    <a:cubicBezTo>
                      <a:pt x="100" y="86"/>
                      <a:pt x="100" y="86"/>
                      <a:pt x="100" y="86"/>
                    </a:cubicBezTo>
                    <a:cubicBezTo>
                      <a:pt x="103" y="86"/>
                      <a:pt x="105" y="87"/>
                      <a:pt x="107" y="90"/>
                    </a:cubicBezTo>
                    <a:lnTo>
                      <a:pt x="102" y="93"/>
                    </a:lnTo>
                    <a:close/>
                    <a:moveTo>
                      <a:pt x="95" y="82"/>
                    </a:moveTo>
                    <a:cubicBezTo>
                      <a:pt x="89" y="81"/>
                      <a:pt x="89" y="81"/>
                      <a:pt x="89" y="81"/>
                    </a:cubicBezTo>
                    <a:cubicBezTo>
                      <a:pt x="89" y="80"/>
                      <a:pt x="90" y="78"/>
                      <a:pt x="90" y="76"/>
                    </a:cubicBezTo>
                    <a:cubicBezTo>
                      <a:pt x="90" y="75"/>
                      <a:pt x="90" y="75"/>
                      <a:pt x="90" y="75"/>
                    </a:cubicBezTo>
                    <a:cubicBezTo>
                      <a:pt x="96" y="77"/>
                      <a:pt x="96" y="77"/>
                      <a:pt x="96" y="77"/>
                    </a:cubicBezTo>
                    <a:cubicBezTo>
                      <a:pt x="96" y="77"/>
                      <a:pt x="96" y="77"/>
                      <a:pt x="96" y="77"/>
                    </a:cubicBezTo>
                    <a:cubicBezTo>
                      <a:pt x="96" y="79"/>
                      <a:pt x="95" y="81"/>
                      <a:pt x="95" y="82"/>
                    </a:cubicBezTo>
                    <a:close/>
                    <a:moveTo>
                      <a:pt x="99" y="65"/>
                    </a:moveTo>
                    <a:cubicBezTo>
                      <a:pt x="93" y="64"/>
                      <a:pt x="93" y="64"/>
                      <a:pt x="93" y="64"/>
                    </a:cubicBezTo>
                    <a:cubicBezTo>
                      <a:pt x="93" y="62"/>
                      <a:pt x="94" y="60"/>
                      <a:pt x="94" y="58"/>
                    </a:cubicBezTo>
                    <a:cubicBezTo>
                      <a:pt x="100" y="59"/>
                      <a:pt x="100" y="59"/>
                      <a:pt x="100" y="59"/>
                    </a:cubicBezTo>
                    <a:cubicBezTo>
                      <a:pt x="99" y="61"/>
                      <a:pt x="99" y="63"/>
                      <a:pt x="99" y="65"/>
                    </a:cubicBezTo>
                    <a:close/>
                    <a:moveTo>
                      <a:pt x="102" y="48"/>
                    </a:moveTo>
                    <a:cubicBezTo>
                      <a:pt x="97" y="47"/>
                      <a:pt x="97" y="47"/>
                      <a:pt x="97" y="47"/>
                    </a:cubicBezTo>
                    <a:cubicBezTo>
                      <a:pt x="97" y="44"/>
                      <a:pt x="99" y="42"/>
                      <a:pt x="99" y="41"/>
                    </a:cubicBezTo>
                    <a:cubicBezTo>
                      <a:pt x="104" y="43"/>
                      <a:pt x="104" y="43"/>
                      <a:pt x="104" y="43"/>
                    </a:cubicBezTo>
                    <a:cubicBezTo>
                      <a:pt x="103" y="45"/>
                      <a:pt x="103" y="47"/>
                      <a:pt x="102" y="48"/>
                    </a:cubicBezTo>
                    <a:close/>
                    <a:moveTo>
                      <a:pt x="87" y="41"/>
                    </a:moveTo>
                    <a:cubicBezTo>
                      <a:pt x="85" y="41"/>
                      <a:pt x="82" y="40"/>
                      <a:pt x="80" y="35"/>
                    </a:cubicBezTo>
                    <a:cubicBezTo>
                      <a:pt x="86" y="33"/>
                      <a:pt x="86" y="33"/>
                      <a:pt x="86" y="33"/>
                    </a:cubicBezTo>
                    <a:cubicBezTo>
                      <a:pt x="86" y="34"/>
                      <a:pt x="86" y="35"/>
                      <a:pt x="87" y="35"/>
                    </a:cubicBezTo>
                    <a:cubicBezTo>
                      <a:pt x="87" y="41"/>
                      <a:pt x="87" y="41"/>
                      <a:pt x="87" y="41"/>
                    </a:cubicBezTo>
                    <a:cubicBezTo>
                      <a:pt x="87" y="41"/>
                      <a:pt x="87" y="41"/>
                      <a:pt x="87" y="41"/>
                    </a:cubicBezTo>
                    <a:cubicBezTo>
                      <a:pt x="87" y="41"/>
                      <a:pt x="87" y="41"/>
                      <a:pt x="87" y="41"/>
                    </a:cubicBezTo>
                    <a:close/>
                    <a:moveTo>
                      <a:pt x="99" y="36"/>
                    </a:moveTo>
                    <a:cubicBezTo>
                      <a:pt x="97" y="30"/>
                      <a:pt x="97" y="30"/>
                      <a:pt x="97" y="30"/>
                    </a:cubicBezTo>
                    <a:cubicBezTo>
                      <a:pt x="99" y="29"/>
                      <a:pt x="102" y="29"/>
                      <a:pt x="104" y="30"/>
                    </a:cubicBezTo>
                    <a:cubicBezTo>
                      <a:pt x="103" y="35"/>
                      <a:pt x="103" y="35"/>
                      <a:pt x="103" y="35"/>
                    </a:cubicBezTo>
                    <a:cubicBezTo>
                      <a:pt x="102" y="35"/>
                      <a:pt x="100" y="35"/>
                      <a:pt x="99" y="36"/>
                    </a:cubicBezTo>
                    <a:close/>
                    <a:moveTo>
                      <a:pt x="77" y="23"/>
                    </a:moveTo>
                    <a:cubicBezTo>
                      <a:pt x="77" y="21"/>
                      <a:pt x="77" y="20"/>
                      <a:pt x="77" y="18"/>
                    </a:cubicBezTo>
                    <a:cubicBezTo>
                      <a:pt x="77" y="18"/>
                      <a:pt x="77" y="17"/>
                      <a:pt x="77" y="17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3" y="18"/>
                      <a:pt x="83" y="18"/>
                      <a:pt x="83" y="18"/>
                    </a:cubicBezTo>
                    <a:cubicBezTo>
                      <a:pt x="83" y="19"/>
                      <a:pt x="83" y="21"/>
                      <a:pt x="83" y="22"/>
                    </a:cubicBezTo>
                    <a:lnTo>
                      <a:pt x="77" y="23"/>
                    </a:lnTo>
                    <a:close/>
                    <a:moveTo>
                      <a:pt x="94" y="22"/>
                    </a:moveTo>
                    <a:cubicBezTo>
                      <a:pt x="94" y="22"/>
                      <a:pt x="93" y="21"/>
                      <a:pt x="92" y="21"/>
                    </a:cubicBezTo>
                    <a:cubicBezTo>
                      <a:pt x="91" y="21"/>
                      <a:pt x="89" y="20"/>
                      <a:pt x="88" y="20"/>
                    </a:cubicBezTo>
                    <a:cubicBezTo>
                      <a:pt x="90" y="14"/>
                      <a:pt x="90" y="14"/>
                      <a:pt x="90" y="14"/>
                    </a:cubicBezTo>
                    <a:cubicBezTo>
                      <a:pt x="91" y="15"/>
                      <a:pt x="92" y="15"/>
                      <a:pt x="94" y="16"/>
                    </a:cubicBezTo>
                    <a:cubicBezTo>
                      <a:pt x="94" y="16"/>
                      <a:pt x="95" y="16"/>
                      <a:pt x="95" y="16"/>
                    </a:cubicBezTo>
                    <a:lnTo>
                      <a:pt x="94" y="22"/>
                    </a:lnTo>
                    <a:close/>
                    <a:moveTo>
                      <a:pt x="106" y="17"/>
                    </a:moveTo>
                    <a:cubicBezTo>
                      <a:pt x="103" y="12"/>
                      <a:pt x="103" y="12"/>
                      <a:pt x="103" y="12"/>
                    </a:cubicBezTo>
                    <a:cubicBezTo>
                      <a:pt x="104" y="11"/>
                      <a:pt x="105" y="11"/>
                      <a:pt x="105" y="10"/>
                    </a:cubicBezTo>
                    <a:cubicBezTo>
                      <a:pt x="106" y="10"/>
                      <a:pt x="107" y="9"/>
                      <a:pt x="108" y="9"/>
                    </a:cubicBezTo>
                    <a:cubicBezTo>
                      <a:pt x="111" y="14"/>
                      <a:pt x="111" y="14"/>
                      <a:pt x="111" y="14"/>
                    </a:cubicBezTo>
                    <a:cubicBezTo>
                      <a:pt x="109" y="14"/>
                      <a:pt x="109" y="15"/>
                      <a:pt x="109" y="15"/>
                    </a:cubicBezTo>
                    <a:cubicBezTo>
                      <a:pt x="108" y="15"/>
                      <a:pt x="107" y="16"/>
                      <a:pt x="106" y="17"/>
                    </a:cubicBezTo>
                    <a:close/>
                    <a:moveTo>
                      <a:pt x="137" y="13"/>
                    </a:moveTo>
                    <a:cubicBezTo>
                      <a:pt x="136" y="7"/>
                      <a:pt x="136" y="7"/>
                      <a:pt x="136" y="7"/>
                    </a:cubicBezTo>
                    <a:cubicBezTo>
                      <a:pt x="137" y="7"/>
                      <a:pt x="139" y="7"/>
                      <a:pt x="141" y="7"/>
                    </a:cubicBezTo>
                    <a:cubicBezTo>
                      <a:pt x="142" y="7"/>
                      <a:pt x="142" y="7"/>
                      <a:pt x="142" y="7"/>
                    </a:cubicBezTo>
                    <a:cubicBezTo>
                      <a:pt x="142" y="13"/>
                      <a:pt x="142" y="13"/>
                      <a:pt x="142" y="13"/>
                    </a:cubicBezTo>
                    <a:cubicBezTo>
                      <a:pt x="141" y="13"/>
                      <a:pt x="141" y="13"/>
                      <a:pt x="141" y="13"/>
                    </a:cubicBezTo>
                    <a:cubicBezTo>
                      <a:pt x="139" y="13"/>
                      <a:pt x="138" y="13"/>
                      <a:pt x="137" y="13"/>
                    </a:cubicBezTo>
                    <a:close/>
                    <a:moveTo>
                      <a:pt x="154" y="12"/>
                    </a:moveTo>
                    <a:cubicBezTo>
                      <a:pt x="154" y="6"/>
                      <a:pt x="154" y="6"/>
                      <a:pt x="154" y="6"/>
                    </a:cubicBezTo>
                    <a:cubicBezTo>
                      <a:pt x="156" y="6"/>
                      <a:pt x="158" y="6"/>
                      <a:pt x="160" y="6"/>
                    </a:cubicBezTo>
                    <a:cubicBezTo>
                      <a:pt x="160" y="11"/>
                      <a:pt x="160" y="11"/>
                      <a:pt x="160" y="11"/>
                    </a:cubicBezTo>
                    <a:cubicBezTo>
                      <a:pt x="159" y="11"/>
                      <a:pt x="157" y="12"/>
                      <a:pt x="154" y="12"/>
                    </a:cubicBezTo>
                    <a:close/>
                    <a:moveTo>
                      <a:pt x="172" y="10"/>
                    </a:moveTo>
                    <a:cubicBezTo>
                      <a:pt x="171" y="5"/>
                      <a:pt x="171" y="5"/>
                      <a:pt x="171" y="5"/>
                    </a:cubicBezTo>
                    <a:cubicBezTo>
                      <a:pt x="173" y="4"/>
                      <a:pt x="175" y="4"/>
                      <a:pt x="177" y="4"/>
                    </a:cubicBezTo>
                    <a:cubicBezTo>
                      <a:pt x="178" y="10"/>
                      <a:pt x="178" y="10"/>
                      <a:pt x="178" y="10"/>
                    </a:cubicBezTo>
                    <a:cubicBezTo>
                      <a:pt x="176" y="10"/>
                      <a:pt x="174" y="10"/>
                      <a:pt x="172" y="10"/>
                    </a:cubicBezTo>
                    <a:close/>
                    <a:moveTo>
                      <a:pt x="124" y="10"/>
                    </a:moveTo>
                    <a:cubicBezTo>
                      <a:pt x="122" y="9"/>
                      <a:pt x="122" y="9"/>
                      <a:pt x="121" y="9"/>
                    </a:cubicBezTo>
                    <a:cubicBezTo>
                      <a:pt x="121" y="9"/>
                      <a:pt x="121" y="9"/>
                      <a:pt x="121" y="9"/>
                    </a:cubicBezTo>
                    <a:cubicBezTo>
                      <a:pt x="119" y="3"/>
                      <a:pt x="119" y="3"/>
                      <a:pt x="119" y="3"/>
                    </a:cubicBezTo>
                    <a:cubicBezTo>
                      <a:pt x="122" y="3"/>
                      <a:pt x="124" y="3"/>
                      <a:pt x="127" y="5"/>
                    </a:cubicBezTo>
                    <a:lnTo>
                      <a:pt x="124" y="10"/>
                    </a:lnTo>
                    <a:close/>
                    <a:moveTo>
                      <a:pt x="206" y="7"/>
                    </a:moveTo>
                    <a:cubicBezTo>
                      <a:pt x="205" y="1"/>
                      <a:pt x="205" y="1"/>
                      <a:pt x="205" y="1"/>
                    </a:cubicBezTo>
                    <a:cubicBezTo>
                      <a:pt x="206" y="1"/>
                      <a:pt x="207" y="1"/>
                      <a:pt x="208" y="0"/>
                    </a:cubicBezTo>
                    <a:cubicBezTo>
                      <a:pt x="210" y="6"/>
                      <a:pt x="210" y="6"/>
                      <a:pt x="210" y="6"/>
                    </a:cubicBezTo>
                    <a:cubicBezTo>
                      <a:pt x="209" y="6"/>
                      <a:pt x="207" y="7"/>
                      <a:pt x="206" y="7"/>
                    </a:cubicBezTo>
                    <a:close/>
                    <a:moveTo>
                      <a:pt x="194" y="7"/>
                    </a:moveTo>
                    <a:cubicBezTo>
                      <a:pt x="192" y="7"/>
                      <a:pt x="191" y="6"/>
                      <a:pt x="190" y="6"/>
                    </a:cubicBezTo>
                    <a:cubicBezTo>
                      <a:pt x="190" y="6"/>
                      <a:pt x="190" y="6"/>
                      <a:pt x="190" y="6"/>
                    </a:cubicBezTo>
                    <a:cubicBezTo>
                      <a:pt x="189" y="7"/>
                      <a:pt x="189" y="7"/>
                      <a:pt x="189" y="7"/>
                    </a:cubicBezTo>
                    <a:cubicBezTo>
                      <a:pt x="188" y="1"/>
                      <a:pt x="188" y="1"/>
                      <a:pt x="188" y="1"/>
                    </a:cubicBezTo>
                    <a:cubicBezTo>
                      <a:pt x="188" y="1"/>
                      <a:pt x="188" y="1"/>
                      <a:pt x="188" y="1"/>
                    </a:cubicBezTo>
                    <a:cubicBezTo>
                      <a:pt x="190" y="0"/>
                      <a:pt x="191" y="0"/>
                      <a:pt x="192" y="0"/>
                    </a:cubicBezTo>
                    <a:cubicBezTo>
                      <a:pt x="192" y="1"/>
                      <a:pt x="193" y="1"/>
                      <a:pt x="195" y="1"/>
                    </a:cubicBezTo>
                    <a:lnTo>
                      <a:pt x="194" y="7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63" name="ïṡļîḍé"/>
              <p:cNvSpPr/>
              <p:nvPr/>
            </p:nvSpPr>
            <p:spPr bwMode="auto">
              <a:xfrm>
                <a:off x="4137025" y="2039938"/>
                <a:ext cx="766763" cy="633413"/>
              </a:xfrm>
              <a:custGeom>
                <a:avLst/>
                <a:gdLst>
                  <a:gd name="T0" fmla="*/ 8 w 357"/>
                  <a:gd name="T1" fmla="*/ 294 h 296"/>
                  <a:gd name="T2" fmla="*/ 22 w 357"/>
                  <a:gd name="T3" fmla="*/ 284 h 296"/>
                  <a:gd name="T4" fmla="*/ 18 w 357"/>
                  <a:gd name="T5" fmla="*/ 290 h 296"/>
                  <a:gd name="T6" fmla="*/ 33 w 357"/>
                  <a:gd name="T7" fmla="*/ 280 h 296"/>
                  <a:gd name="T8" fmla="*/ 45 w 357"/>
                  <a:gd name="T9" fmla="*/ 271 h 296"/>
                  <a:gd name="T10" fmla="*/ 43 w 357"/>
                  <a:gd name="T11" fmla="*/ 264 h 296"/>
                  <a:gd name="T12" fmla="*/ 45 w 357"/>
                  <a:gd name="T13" fmla="*/ 271 h 296"/>
                  <a:gd name="T14" fmla="*/ 56 w 357"/>
                  <a:gd name="T15" fmla="*/ 263 h 296"/>
                  <a:gd name="T16" fmla="*/ 61 w 357"/>
                  <a:gd name="T17" fmla="*/ 258 h 296"/>
                  <a:gd name="T18" fmla="*/ 64 w 357"/>
                  <a:gd name="T19" fmla="*/ 240 h 296"/>
                  <a:gd name="T20" fmla="*/ 67 w 357"/>
                  <a:gd name="T21" fmla="*/ 247 h 296"/>
                  <a:gd name="T22" fmla="*/ 76 w 357"/>
                  <a:gd name="T23" fmla="*/ 225 h 296"/>
                  <a:gd name="T24" fmla="*/ 75 w 357"/>
                  <a:gd name="T25" fmla="*/ 210 h 296"/>
                  <a:gd name="T26" fmla="*/ 79 w 357"/>
                  <a:gd name="T27" fmla="*/ 214 h 296"/>
                  <a:gd name="T28" fmla="*/ 87 w 357"/>
                  <a:gd name="T29" fmla="*/ 193 h 296"/>
                  <a:gd name="T30" fmla="*/ 94 w 357"/>
                  <a:gd name="T31" fmla="*/ 178 h 296"/>
                  <a:gd name="T32" fmla="*/ 95 w 357"/>
                  <a:gd name="T33" fmla="*/ 167 h 296"/>
                  <a:gd name="T34" fmla="*/ 146 w 357"/>
                  <a:gd name="T35" fmla="*/ 159 h 296"/>
                  <a:gd name="T36" fmla="*/ 146 w 357"/>
                  <a:gd name="T37" fmla="*/ 159 h 296"/>
                  <a:gd name="T38" fmla="*/ 112 w 357"/>
                  <a:gd name="T39" fmla="*/ 159 h 296"/>
                  <a:gd name="T40" fmla="*/ 129 w 357"/>
                  <a:gd name="T41" fmla="*/ 153 h 296"/>
                  <a:gd name="T42" fmla="*/ 155 w 357"/>
                  <a:gd name="T43" fmla="*/ 154 h 296"/>
                  <a:gd name="T44" fmla="*/ 163 w 357"/>
                  <a:gd name="T45" fmla="*/ 154 h 296"/>
                  <a:gd name="T46" fmla="*/ 162 w 357"/>
                  <a:gd name="T47" fmla="*/ 140 h 296"/>
                  <a:gd name="T48" fmla="*/ 168 w 357"/>
                  <a:gd name="T49" fmla="*/ 139 h 296"/>
                  <a:gd name="T50" fmla="*/ 174 w 357"/>
                  <a:gd name="T51" fmla="*/ 125 h 296"/>
                  <a:gd name="T52" fmla="*/ 178 w 357"/>
                  <a:gd name="T53" fmla="*/ 130 h 296"/>
                  <a:gd name="T54" fmla="*/ 192 w 357"/>
                  <a:gd name="T55" fmla="*/ 111 h 296"/>
                  <a:gd name="T56" fmla="*/ 201 w 357"/>
                  <a:gd name="T57" fmla="*/ 104 h 296"/>
                  <a:gd name="T58" fmla="*/ 277 w 357"/>
                  <a:gd name="T59" fmla="*/ 100 h 296"/>
                  <a:gd name="T60" fmla="*/ 277 w 357"/>
                  <a:gd name="T61" fmla="*/ 89 h 296"/>
                  <a:gd name="T62" fmla="*/ 217 w 357"/>
                  <a:gd name="T63" fmla="*/ 94 h 296"/>
                  <a:gd name="T64" fmla="*/ 221 w 357"/>
                  <a:gd name="T65" fmla="*/ 99 h 296"/>
                  <a:gd name="T66" fmla="*/ 237 w 357"/>
                  <a:gd name="T67" fmla="*/ 86 h 296"/>
                  <a:gd name="T68" fmla="*/ 246 w 357"/>
                  <a:gd name="T69" fmla="*/ 79 h 296"/>
                  <a:gd name="T70" fmla="*/ 288 w 357"/>
                  <a:gd name="T71" fmla="*/ 83 h 296"/>
                  <a:gd name="T72" fmla="*/ 288 w 357"/>
                  <a:gd name="T73" fmla="*/ 83 h 296"/>
                  <a:gd name="T74" fmla="*/ 275 w 357"/>
                  <a:gd name="T75" fmla="*/ 81 h 296"/>
                  <a:gd name="T76" fmla="*/ 303 w 357"/>
                  <a:gd name="T77" fmla="*/ 76 h 296"/>
                  <a:gd name="T78" fmla="*/ 307 w 357"/>
                  <a:gd name="T79" fmla="*/ 76 h 296"/>
                  <a:gd name="T80" fmla="*/ 326 w 357"/>
                  <a:gd name="T81" fmla="*/ 73 h 296"/>
                  <a:gd name="T82" fmla="*/ 264 w 357"/>
                  <a:gd name="T83" fmla="*/ 64 h 296"/>
                  <a:gd name="T84" fmla="*/ 332 w 357"/>
                  <a:gd name="T85" fmla="*/ 63 h 296"/>
                  <a:gd name="T86" fmla="*/ 336 w 357"/>
                  <a:gd name="T87" fmla="*/ 67 h 296"/>
                  <a:gd name="T88" fmla="*/ 339 w 357"/>
                  <a:gd name="T89" fmla="*/ 43 h 296"/>
                  <a:gd name="T90" fmla="*/ 336 w 357"/>
                  <a:gd name="T91" fmla="*/ 40 h 296"/>
                  <a:gd name="T92" fmla="*/ 338 w 357"/>
                  <a:gd name="T93" fmla="*/ 34 h 296"/>
                  <a:gd name="T94" fmla="*/ 327 w 357"/>
                  <a:gd name="T95" fmla="*/ 23 h 296"/>
                  <a:gd name="T96" fmla="*/ 333 w 357"/>
                  <a:gd name="T97" fmla="*/ 23 h 296"/>
                  <a:gd name="T98" fmla="*/ 337 w 357"/>
                  <a:gd name="T99" fmla="*/ 8 h 296"/>
                  <a:gd name="T100" fmla="*/ 340 w 357"/>
                  <a:gd name="T101" fmla="*/ 13 h 296"/>
                  <a:gd name="T102" fmla="*/ 354 w 357"/>
                  <a:gd name="T103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7" h="296">
                    <a:moveTo>
                      <a:pt x="2" y="296"/>
                    </a:moveTo>
                    <a:cubicBezTo>
                      <a:pt x="0" y="290"/>
                      <a:pt x="0" y="290"/>
                      <a:pt x="0" y="290"/>
                    </a:cubicBezTo>
                    <a:cubicBezTo>
                      <a:pt x="2" y="290"/>
                      <a:pt x="3" y="290"/>
                      <a:pt x="5" y="289"/>
                    </a:cubicBezTo>
                    <a:cubicBezTo>
                      <a:pt x="8" y="294"/>
                      <a:pt x="8" y="294"/>
                      <a:pt x="8" y="294"/>
                    </a:cubicBezTo>
                    <a:cubicBezTo>
                      <a:pt x="5" y="295"/>
                      <a:pt x="3" y="296"/>
                      <a:pt x="2" y="296"/>
                    </a:cubicBezTo>
                    <a:close/>
                    <a:moveTo>
                      <a:pt x="18" y="290"/>
                    </a:moveTo>
                    <a:cubicBezTo>
                      <a:pt x="17" y="285"/>
                      <a:pt x="17" y="285"/>
                      <a:pt x="17" y="285"/>
                    </a:cubicBezTo>
                    <a:cubicBezTo>
                      <a:pt x="19" y="284"/>
                      <a:pt x="20" y="284"/>
                      <a:pt x="22" y="284"/>
                    </a:cubicBezTo>
                    <a:cubicBezTo>
                      <a:pt x="23" y="284"/>
                      <a:pt x="23" y="284"/>
                      <a:pt x="23" y="284"/>
                    </a:cubicBezTo>
                    <a:cubicBezTo>
                      <a:pt x="23" y="290"/>
                      <a:pt x="23" y="290"/>
                      <a:pt x="23" y="290"/>
                    </a:cubicBezTo>
                    <a:cubicBezTo>
                      <a:pt x="22" y="290"/>
                      <a:pt x="22" y="290"/>
                      <a:pt x="22" y="290"/>
                    </a:cubicBezTo>
                    <a:cubicBezTo>
                      <a:pt x="21" y="290"/>
                      <a:pt x="19" y="290"/>
                      <a:pt x="18" y="290"/>
                    </a:cubicBezTo>
                    <a:close/>
                    <a:moveTo>
                      <a:pt x="37" y="288"/>
                    </a:moveTo>
                    <a:cubicBezTo>
                      <a:pt x="33" y="283"/>
                      <a:pt x="33" y="283"/>
                      <a:pt x="33" y="283"/>
                    </a:cubicBezTo>
                    <a:cubicBezTo>
                      <a:pt x="33" y="283"/>
                      <a:pt x="33" y="282"/>
                      <a:pt x="33" y="282"/>
                    </a:cubicBezTo>
                    <a:cubicBezTo>
                      <a:pt x="33" y="280"/>
                      <a:pt x="33" y="280"/>
                      <a:pt x="33" y="280"/>
                    </a:cubicBezTo>
                    <a:cubicBezTo>
                      <a:pt x="39" y="280"/>
                      <a:pt x="39" y="280"/>
                      <a:pt x="39" y="280"/>
                    </a:cubicBezTo>
                    <a:cubicBezTo>
                      <a:pt x="39" y="282"/>
                      <a:pt x="39" y="282"/>
                      <a:pt x="39" y="282"/>
                    </a:cubicBezTo>
                    <a:cubicBezTo>
                      <a:pt x="39" y="283"/>
                      <a:pt x="39" y="286"/>
                      <a:pt x="37" y="288"/>
                    </a:cubicBezTo>
                    <a:close/>
                    <a:moveTo>
                      <a:pt x="45" y="271"/>
                    </a:moveTo>
                    <a:cubicBezTo>
                      <a:pt x="39" y="271"/>
                      <a:pt x="39" y="271"/>
                      <a:pt x="39" y="271"/>
                    </a:cubicBezTo>
                    <a:cubicBezTo>
                      <a:pt x="39" y="270"/>
                      <a:pt x="39" y="270"/>
                      <a:pt x="39" y="270"/>
                    </a:cubicBezTo>
                    <a:cubicBezTo>
                      <a:pt x="39" y="269"/>
                      <a:pt x="39" y="267"/>
                      <a:pt x="40" y="266"/>
                    </a:cubicBezTo>
                    <a:cubicBezTo>
                      <a:pt x="41" y="265"/>
                      <a:pt x="42" y="265"/>
                      <a:pt x="43" y="264"/>
                    </a:cubicBezTo>
                    <a:cubicBezTo>
                      <a:pt x="46" y="269"/>
                      <a:pt x="46" y="269"/>
                      <a:pt x="46" y="269"/>
                    </a:cubicBezTo>
                    <a:cubicBezTo>
                      <a:pt x="46" y="269"/>
                      <a:pt x="45" y="269"/>
                      <a:pt x="45" y="270"/>
                    </a:cubicBezTo>
                    <a:cubicBezTo>
                      <a:pt x="45" y="270"/>
                      <a:pt x="45" y="270"/>
                      <a:pt x="45" y="270"/>
                    </a:cubicBezTo>
                    <a:lnTo>
                      <a:pt x="45" y="271"/>
                    </a:lnTo>
                    <a:close/>
                    <a:moveTo>
                      <a:pt x="45" y="270"/>
                    </a:moveTo>
                    <a:cubicBezTo>
                      <a:pt x="45" y="270"/>
                      <a:pt x="45" y="270"/>
                      <a:pt x="45" y="270"/>
                    </a:cubicBezTo>
                    <a:cubicBezTo>
                      <a:pt x="45" y="270"/>
                      <a:pt x="45" y="270"/>
                      <a:pt x="45" y="270"/>
                    </a:cubicBezTo>
                    <a:close/>
                    <a:moveTo>
                      <a:pt x="56" y="263"/>
                    </a:moveTo>
                    <a:cubicBezTo>
                      <a:pt x="53" y="258"/>
                      <a:pt x="53" y="258"/>
                      <a:pt x="53" y="258"/>
                    </a:cubicBezTo>
                    <a:cubicBezTo>
                      <a:pt x="53" y="258"/>
                      <a:pt x="53" y="258"/>
                      <a:pt x="53" y="258"/>
                    </a:cubicBezTo>
                    <a:cubicBezTo>
                      <a:pt x="54" y="257"/>
                      <a:pt x="56" y="256"/>
                      <a:pt x="57" y="255"/>
                    </a:cubicBezTo>
                    <a:cubicBezTo>
                      <a:pt x="61" y="258"/>
                      <a:pt x="61" y="258"/>
                      <a:pt x="61" y="258"/>
                    </a:cubicBezTo>
                    <a:cubicBezTo>
                      <a:pt x="60" y="260"/>
                      <a:pt x="58" y="261"/>
                      <a:pt x="56" y="263"/>
                    </a:cubicBezTo>
                    <a:close/>
                    <a:moveTo>
                      <a:pt x="67" y="247"/>
                    </a:moveTo>
                    <a:cubicBezTo>
                      <a:pt x="62" y="245"/>
                      <a:pt x="62" y="245"/>
                      <a:pt x="62" y="245"/>
                    </a:cubicBezTo>
                    <a:cubicBezTo>
                      <a:pt x="62" y="244"/>
                      <a:pt x="63" y="242"/>
                      <a:pt x="64" y="240"/>
                    </a:cubicBezTo>
                    <a:cubicBezTo>
                      <a:pt x="64" y="240"/>
                      <a:pt x="64" y="240"/>
                      <a:pt x="64" y="240"/>
                    </a:cubicBezTo>
                    <a:cubicBezTo>
                      <a:pt x="70" y="242"/>
                      <a:pt x="70" y="242"/>
                      <a:pt x="70" y="242"/>
                    </a:cubicBezTo>
                    <a:cubicBezTo>
                      <a:pt x="69" y="243"/>
                      <a:pt x="69" y="243"/>
                      <a:pt x="69" y="243"/>
                    </a:cubicBezTo>
                    <a:cubicBezTo>
                      <a:pt x="68" y="245"/>
                      <a:pt x="68" y="246"/>
                      <a:pt x="67" y="247"/>
                    </a:cubicBezTo>
                    <a:close/>
                    <a:moveTo>
                      <a:pt x="74" y="231"/>
                    </a:moveTo>
                    <a:cubicBezTo>
                      <a:pt x="68" y="229"/>
                      <a:pt x="68" y="229"/>
                      <a:pt x="68" y="229"/>
                    </a:cubicBezTo>
                    <a:cubicBezTo>
                      <a:pt x="69" y="227"/>
                      <a:pt x="70" y="226"/>
                      <a:pt x="70" y="224"/>
                    </a:cubicBezTo>
                    <a:cubicBezTo>
                      <a:pt x="76" y="225"/>
                      <a:pt x="76" y="225"/>
                      <a:pt x="76" y="225"/>
                    </a:cubicBezTo>
                    <a:cubicBezTo>
                      <a:pt x="75" y="227"/>
                      <a:pt x="75" y="229"/>
                      <a:pt x="74" y="231"/>
                    </a:cubicBezTo>
                    <a:close/>
                    <a:moveTo>
                      <a:pt x="79" y="214"/>
                    </a:moveTo>
                    <a:cubicBezTo>
                      <a:pt x="74" y="212"/>
                      <a:pt x="74" y="212"/>
                      <a:pt x="74" y="212"/>
                    </a:cubicBezTo>
                    <a:cubicBezTo>
                      <a:pt x="74" y="212"/>
                      <a:pt x="74" y="211"/>
                      <a:pt x="75" y="210"/>
                    </a:cubicBezTo>
                    <a:cubicBezTo>
                      <a:pt x="75" y="209"/>
                      <a:pt x="75" y="208"/>
                      <a:pt x="76" y="207"/>
                    </a:cubicBezTo>
                    <a:cubicBezTo>
                      <a:pt x="81" y="209"/>
                      <a:pt x="81" y="209"/>
                      <a:pt x="81" y="209"/>
                    </a:cubicBezTo>
                    <a:cubicBezTo>
                      <a:pt x="81" y="210"/>
                      <a:pt x="81" y="211"/>
                      <a:pt x="80" y="212"/>
                    </a:cubicBezTo>
                    <a:cubicBezTo>
                      <a:pt x="80" y="213"/>
                      <a:pt x="80" y="214"/>
                      <a:pt x="79" y="214"/>
                    </a:cubicBezTo>
                    <a:close/>
                    <a:moveTo>
                      <a:pt x="85" y="198"/>
                    </a:moveTo>
                    <a:cubicBezTo>
                      <a:pt x="79" y="196"/>
                      <a:pt x="79" y="196"/>
                      <a:pt x="79" y="196"/>
                    </a:cubicBezTo>
                    <a:cubicBezTo>
                      <a:pt x="80" y="194"/>
                      <a:pt x="81" y="192"/>
                      <a:pt x="82" y="190"/>
                    </a:cubicBezTo>
                    <a:cubicBezTo>
                      <a:pt x="87" y="193"/>
                      <a:pt x="87" y="193"/>
                      <a:pt x="87" y="193"/>
                    </a:cubicBezTo>
                    <a:cubicBezTo>
                      <a:pt x="86" y="194"/>
                      <a:pt x="85" y="196"/>
                      <a:pt x="85" y="198"/>
                    </a:cubicBezTo>
                    <a:close/>
                    <a:moveTo>
                      <a:pt x="94" y="186"/>
                    </a:moveTo>
                    <a:cubicBezTo>
                      <a:pt x="91" y="181"/>
                      <a:pt x="91" y="181"/>
                      <a:pt x="91" y="181"/>
                    </a:cubicBezTo>
                    <a:cubicBezTo>
                      <a:pt x="92" y="180"/>
                      <a:pt x="93" y="179"/>
                      <a:pt x="94" y="178"/>
                    </a:cubicBezTo>
                    <a:cubicBezTo>
                      <a:pt x="99" y="181"/>
                      <a:pt x="99" y="181"/>
                      <a:pt x="99" y="181"/>
                    </a:cubicBezTo>
                    <a:cubicBezTo>
                      <a:pt x="98" y="183"/>
                      <a:pt x="96" y="184"/>
                      <a:pt x="94" y="186"/>
                    </a:cubicBezTo>
                    <a:close/>
                    <a:moveTo>
                      <a:pt x="101" y="168"/>
                    </a:moveTo>
                    <a:cubicBezTo>
                      <a:pt x="95" y="167"/>
                      <a:pt x="95" y="167"/>
                      <a:pt x="95" y="167"/>
                    </a:cubicBezTo>
                    <a:cubicBezTo>
                      <a:pt x="96" y="165"/>
                      <a:pt x="96" y="163"/>
                      <a:pt x="96" y="162"/>
                    </a:cubicBezTo>
                    <a:cubicBezTo>
                      <a:pt x="102" y="162"/>
                      <a:pt x="102" y="162"/>
                      <a:pt x="102" y="162"/>
                    </a:cubicBezTo>
                    <a:cubicBezTo>
                      <a:pt x="102" y="164"/>
                      <a:pt x="102" y="166"/>
                      <a:pt x="101" y="168"/>
                    </a:cubicBezTo>
                    <a:close/>
                    <a:moveTo>
                      <a:pt x="146" y="159"/>
                    </a:moveTo>
                    <a:cubicBezTo>
                      <a:pt x="144" y="159"/>
                      <a:pt x="143" y="159"/>
                      <a:pt x="141" y="158"/>
                    </a:cubicBezTo>
                    <a:cubicBezTo>
                      <a:pt x="141" y="153"/>
                      <a:pt x="141" y="153"/>
                      <a:pt x="141" y="153"/>
                    </a:cubicBezTo>
                    <a:cubicBezTo>
                      <a:pt x="144" y="153"/>
                      <a:pt x="146" y="153"/>
                      <a:pt x="148" y="154"/>
                    </a:cubicBezTo>
                    <a:lnTo>
                      <a:pt x="146" y="159"/>
                    </a:lnTo>
                    <a:close/>
                    <a:moveTo>
                      <a:pt x="106" y="159"/>
                    </a:moveTo>
                    <a:cubicBezTo>
                      <a:pt x="106" y="153"/>
                      <a:pt x="106" y="153"/>
                      <a:pt x="106" y="153"/>
                    </a:cubicBezTo>
                    <a:cubicBezTo>
                      <a:pt x="107" y="153"/>
                      <a:pt x="109" y="153"/>
                      <a:pt x="112" y="153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0" y="159"/>
                      <a:pt x="108" y="159"/>
                      <a:pt x="106" y="159"/>
                    </a:cubicBezTo>
                    <a:close/>
                    <a:moveTo>
                      <a:pt x="124" y="159"/>
                    </a:moveTo>
                    <a:cubicBezTo>
                      <a:pt x="123" y="153"/>
                      <a:pt x="123" y="153"/>
                      <a:pt x="123" y="153"/>
                    </a:cubicBezTo>
                    <a:cubicBezTo>
                      <a:pt x="125" y="153"/>
                      <a:pt x="127" y="153"/>
                      <a:pt x="129" y="153"/>
                    </a:cubicBezTo>
                    <a:cubicBezTo>
                      <a:pt x="129" y="159"/>
                      <a:pt x="129" y="159"/>
                      <a:pt x="129" y="159"/>
                    </a:cubicBezTo>
                    <a:cubicBezTo>
                      <a:pt x="128" y="159"/>
                      <a:pt x="126" y="159"/>
                      <a:pt x="124" y="159"/>
                    </a:cubicBezTo>
                    <a:close/>
                    <a:moveTo>
                      <a:pt x="160" y="158"/>
                    </a:moveTo>
                    <a:cubicBezTo>
                      <a:pt x="155" y="154"/>
                      <a:pt x="155" y="154"/>
                      <a:pt x="155" y="154"/>
                    </a:cubicBezTo>
                    <a:cubicBezTo>
                      <a:pt x="156" y="154"/>
                      <a:pt x="157" y="153"/>
                      <a:pt x="157" y="152"/>
                    </a:cubicBezTo>
                    <a:cubicBezTo>
                      <a:pt x="159" y="150"/>
                      <a:pt x="159" y="150"/>
                      <a:pt x="159" y="150"/>
                    </a:cubicBezTo>
                    <a:cubicBezTo>
                      <a:pt x="164" y="153"/>
                      <a:pt x="164" y="153"/>
                      <a:pt x="164" y="153"/>
                    </a:cubicBezTo>
                    <a:cubicBezTo>
                      <a:pt x="163" y="154"/>
                      <a:pt x="163" y="154"/>
                      <a:pt x="163" y="154"/>
                    </a:cubicBezTo>
                    <a:cubicBezTo>
                      <a:pt x="162" y="156"/>
                      <a:pt x="162" y="156"/>
                      <a:pt x="162" y="156"/>
                    </a:cubicBezTo>
                    <a:cubicBezTo>
                      <a:pt x="161" y="157"/>
                      <a:pt x="160" y="158"/>
                      <a:pt x="160" y="158"/>
                    </a:cubicBezTo>
                    <a:close/>
                    <a:moveTo>
                      <a:pt x="168" y="141"/>
                    </a:moveTo>
                    <a:cubicBezTo>
                      <a:pt x="162" y="140"/>
                      <a:pt x="162" y="140"/>
                      <a:pt x="162" y="140"/>
                    </a:cubicBezTo>
                    <a:cubicBezTo>
                      <a:pt x="162" y="138"/>
                      <a:pt x="162" y="138"/>
                      <a:pt x="162" y="138"/>
                    </a:cubicBezTo>
                    <a:cubicBezTo>
                      <a:pt x="162" y="137"/>
                      <a:pt x="163" y="135"/>
                      <a:pt x="164" y="134"/>
                    </a:cubicBezTo>
                    <a:cubicBezTo>
                      <a:pt x="169" y="137"/>
                      <a:pt x="169" y="137"/>
                      <a:pt x="169" y="137"/>
                    </a:cubicBezTo>
                    <a:cubicBezTo>
                      <a:pt x="168" y="138"/>
                      <a:pt x="168" y="138"/>
                      <a:pt x="168" y="139"/>
                    </a:cubicBezTo>
                    <a:lnTo>
                      <a:pt x="168" y="141"/>
                    </a:lnTo>
                    <a:close/>
                    <a:moveTo>
                      <a:pt x="178" y="130"/>
                    </a:moveTo>
                    <a:cubicBezTo>
                      <a:pt x="173" y="126"/>
                      <a:pt x="173" y="126"/>
                      <a:pt x="173" y="126"/>
                    </a:cubicBezTo>
                    <a:cubicBezTo>
                      <a:pt x="174" y="125"/>
                      <a:pt x="174" y="125"/>
                      <a:pt x="174" y="125"/>
                    </a:cubicBezTo>
                    <a:cubicBezTo>
                      <a:pt x="175" y="123"/>
                      <a:pt x="176" y="122"/>
                      <a:pt x="177" y="121"/>
                    </a:cubicBezTo>
                    <a:cubicBezTo>
                      <a:pt x="181" y="126"/>
                      <a:pt x="181" y="126"/>
                      <a:pt x="181" y="126"/>
                    </a:cubicBezTo>
                    <a:cubicBezTo>
                      <a:pt x="180" y="127"/>
                      <a:pt x="179" y="127"/>
                      <a:pt x="179" y="128"/>
                    </a:cubicBezTo>
                    <a:cubicBezTo>
                      <a:pt x="178" y="129"/>
                      <a:pt x="178" y="129"/>
                      <a:pt x="178" y="130"/>
                    </a:cubicBezTo>
                    <a:close/>
                    <a:moveTo>
                      <a:pt x="191" y="119"/>
                    </a:moveTo>
                    <a:cubicBezTo>
                      <a:pt x="187" y="115"/>
                      <a:pt x="187" y="115"/>
                      <a:pt x="187" y="115"/>
                    </a:cubicBezTo>
                    <a:cubicBezTo>
                      <a:pt x="189" y="114"/>
                      <a:pt x="190" y="113"/>
                      <a:pt x="192" y="112"/>
                    </a:cubicBezTo>
                    <a:cubicBezTo>
                      <a:pt x="192" y="111"/>
                      <a:pt x="192" y="111"/>
                      <a:pt x="192" y="111"/>
                    </a:cubicBezTo>
                    <a:cubicBezTo>
                      <a:pt x="196" y="116"/>
                      <a:pt x="196" y="116"/>
                      <a:pt x="196" y="116"/>
                    </a:cubicBezTo>
                    <a:cubicBezTo>
                      <a:pt x="194" y="117"/>
                      <a:pt x="192" y="118"/>
                      <a:pt x="191" y="119"/>
                    </a:cubicBezTo>
                    <a:close/>
                    <a:moveTo>
                      <a:pt x="205" y="109"/>
                    </a:moveTo>
                    <a:cubicBezTo>
                      <a:pt x="201" y="104"/>
                      <a:pt x="201" y="104"/>
                      <a:pt x="201" y="104"/>
                    </a:cubicBezTo>
                    <a:cubicBezTo>
                      <a:pt x="206" y="100"/>
                      <a:pt x="206" y="100"/>
                      <a:pt x="206" y="100"/>
                    </a:cubicBezTo>
                    <a:cubicBezTo>
                      <a:pt x="209" y="105"/>
                      <a:pt x="209" y="105"/>
                      <a:pt x="209" y="105"/>
                    </a:cubicBezTo>
                    <a:lnTo>
                      <a:pt x="205" y="109"/>
                    </a:lnTo>
                    <a:close/>
                    <a:moveTo>
                      <a:pt x="277" y="100"/>
                    </a:moveTo>
                    <a:cubicBezTo>
                      <a:pt x="274" y="94"/>
                      <a:pt x="274" y="94"/>
                      <a:pt x="274" y="94"/>
                    </a:cubicBezTo>
                    <a:cubicBezTo>
                      <a:pt x="276" y="93"/>
                      <a:pt x="276" y="93"/>
                      <a:pt x="276" y="93"/>
                    </a:cubicBezTo>
                    <a:cubicBezTo>
                      <a:pt x="275" y="92"/>
                      <a:pt x="275" y="92"/>
                      <a:pt x="275" y="92"/>
                    </a:cubicBezTo>
                    <a:cubicBezTo>
                      <a:pt x="277" y="89"/>
                      <a:pt x="277" y="89"/>
                      <a:pt x="277" y="89"/>
                    </a:cubicBezTo>
                    <a:cubicBezTo>
                      <a:pt x="282" y="92"/>
                      <a:pt x="282" y="92"/>
                      <a:pt x="282" y="92"/>
                    </a:cubicBezTo>
                    <a:lnTo>
                      <a:pt x="277" y="100"/>
                    </a:lnTo>
                    <a:close/>
                    <a:moveTo>
                      <a:pt x="218" y="99"/>
                    </a:moveTo>
                    <a:cubicBezTo>
                      <a:pt x="217" y="94"/>
                      <a:pt x="217" y="94"/>
                      <a:pt x="217" y="94"/>
                    </a:cubicBezTo>
                    <a:cubicBezTo>
                      <a:pt x="218" y="93"/>
                      <a:pt x="219" y="93"/>
                      <a:pt x="221" y="93"/>
                    </a:cubicBezTo>
                    <a:cubicBezTo>
                      <a:pt x="223" y="93"/>
                      <a:pt x="223" y="93"/>
                      <a:pt x="223" y="93"/>
                    </a:cubicBezTo>
                    <a:cubicBezTo>
                      <a:pt x="223" y="98"/>
                      <a:pt x="223" y="98"/>
                      <a:pt x="223" y="98"/>
                    </a:cubicBezTo>
                    <a:cubicBezTo>
                      <a:pt x="221" y="99"/>
                      <a:pt x="221" y="99"/>
                      <a:pt x="221" y="99"/>
                    </a:cubicBezTo>
                    <a:cubicBezTo>
                      <a:pt x="220" y="99"/>
                      <a:pt x="219" y="99"/>
                      <a:pt x="218" y="99"/>
                    </a:cubicBezTo>
                    <a:close/>
                    <a:moveTo>
                      <a:pt x="236" y="94"/>
                    </a:moveTo>
                    <a:cubicBezTo>
                      <a:pt x="232" y="89"/>
                      <a:pt x="232" y="89"/>
                      <a:pt x="232" y="89"/>
                    </a:cubicBezTo>
                    <a:cubicBezTo>
                      <a:pt x="237" y="86"/>
                      <a:pt x="237" y="86"/>
                      <a:pt x="237" y="86"/>
                    </a:cubicBezTo>
                    <a:cubicBezTo>
                      <a:pt x="240" y="91"/>
                      <a:pt x="240" y="91"/>
                      <a:pt x="240" y="91"/>
                    </a:cubicBezTo>
                    <a:lnTo>
                      <a:pt x="236" y="94"/>
                    </a:lnTo>
                    <a:close/>
                    <a:moveTo>
                      <a:pt x="250" y="84"/>
                    </a:moveTo>
                    <a:cubicBezTo>
                      <a:pt x="246" y="79"/>
                      <a:pt x="246" y="79"/>
                      <a:pt x="246" y="79"/>
                    </a:cubicBezTo>
                    <a:cubicBezTo>
                      <a:pt x="251" y="76"/>
                      <a:pt x="251" y="76"/>
                      <a:pt x="251" y="76"/>
                    </a:cubicBezTo>
                    <a:cubicBezTo>
                      <a:pt x="255" y="80"/>
                      <a:pt x="255" y="80"/>
                      <a:pt x="255" y="80"/>
                    </a:cubicBezTo>
                    <a:lnTo>
                      <a:pt x="250" y="84"/>
                    </a:lnTo>
                    <a:close/>
                    <a:moveTo>
                      <a:pt x="288" y="83"/>
                    </a:moveTo>
                    <a:cubicBezTo>
                      <a:pt x="285" y="78"/>
                      <a:pt x="285" y="78"/>
                      <a:pt x="285" y="78"/>
                    </a:cubicBezTo>
                    <a:cubicBezTo>
                      <a:pt x="290" y="76"/>
                      <a:pt x="290" y="76"/>
                      <a:pt x="290" y="76"/>
                    </a:cubicBezTo>
                    <a:cubicBezTo>
                      <a:pt x="293" y="81"/>
                      <a:pt x="293" y="81"/>
                      <a:pt x="293" y="81"/>
                    </a:cubicBezTo>
                    <a:lnTo>
                      <a:pt x="288" y="83"/>
                    </a:lnTo>
                    <a:close/>
                    <a:moveTo>
                      <a:pt x="270" y="83"/>
                    </a:moveTo>
                    <a:cubicBezTo>
                      <a:pt x="268" y="77"/>
                      <a:pt x="268" y="77"/>
                      <a:pt x="268" y="77"/>
                    </a:cubicBezTo>
                    <a:cubicBezTo>
                      <a:pt x="273" y="75"/>
                      <a:pt x="273" y="75"/>
                      <a:pt x="273" y="75"/>
                    </a:cubicBezTo>
                    <a:cubicBezTo>
                      <a:pt x="275" y="81"/>
                      <a:pt x="275" y="81"/>
                      <a:pt x="275" y="81"/>
                    </a:cubicBezTo>
                    <a:lnTo>
                      <a:pt x="270" y="83"/>
                    </a:lnTo>
                    <a:close/>
                    <a:moveTo>
                      <a:pt x="307" y="76"/>
                    </a:moveTo>
                    <a:cubicBezTo>
                      <a:pt x="305" y="75"/>
                      <a:pt x="304" y="76"/>
                      <a:pt x="304" y="76"/>
                    </a:cubicBezTo>
                    <a:cubicBezTo>
                      <a:pt x="303" y="76"/>
                      <a:pt x="303" y="76"/>
                      <a:pt x="303" y="76"/>
                    </a:cubicBezTo>
                    <a:cubicBezTo>
                      <a:pt x="301" y="71"/>
                      <a:pt x="301" y="71"/>
                      <a:pt x="301" y="71"/>
                    </a:cubicBezTo>
                    <a:cubicBezTo>
                      <a:pt x="301" y="70"/>
                      <a:pt x="301" y="70"/>
                      <a:pt x="301" y="70"/>
                    </a:cubicBezTo>
                    <a:cubicBezTo>
                      <a:pt x="303" y="70"/>
                      <a:pt x="305" y="70"/>
                      <a:pt x="309" y="70"/>
                    </a:cubicBezTo>
                    <a:lnTo>
                      <a:pt x="307" y="76"/>
                    </a:lnTo>
                    <a:close/>
                    <a:moveTo>
                      <a:pt x="320" y="76"/>
                    </a:moveTo>
                    <a:cubicBezTo>
                      <a:pt x="318" y="71"/>
                      <a:pt x="318" y="71"/>
                      <a:pt x="318" y="71"/>
                    </a:cubicBezTo>
                    <a:cubicBezTo>
                      <a:pt x="320" y="70"/>
                      <a:pt x="321" y="69"/>
                      <a:pt x="323" y="68"/>
                    </a:cubicBezTo>
                    <a:cubicBezTo>
                      <a:pt x="326" y="73"/>
                      <a:pt x="326" y="73"/>
                      <a:pt x="326" y="73"/>
                    </a:cubicBezTo>
                    <a:cubicBezTo>
                      <a:pt x="324" y="74"/>
                      <a:pt x="322" y="75"/>
                      <a:pt x="320" y="76"/>
                    </a:cubicBezTo>
                    <a:close/>
                    <a:moveTo>
                      <a:pt x="264" y="73"/>
                    </a:moveTo>
                    <a:cubicBezTo>
                      <a:pt x="260" y="68"/>
                      <a:pt x="260" y="68"/>
                      <a:pt x="260" y="68"/>
                    </a:cubicBezTo>
                    <a:cubicBezTo>
                      <a:pt x="264" y="64"/>
                      <a:pt x="264" y="64"/>
                      <a:pt x="264" y="64"/>
                    </a:cubicBezTo>
                    <a:cubicBezTo>
                      <a:pt x="268" y="69"/>
                      <a:pt x="268" y="69"/>
                      <a:pt x="268" y="69"/>
                    </a:cubicBezTo>
                    <a:lnTo>
                      <a:pt x="264" y="73"/>
                    </a:lnTo>
                    <a:close/>
                    <a:moveTo>
                      <a:pt x="336" y="67"/>
                    </a:moveTo>
                    <a:cubicBezTo>
                      <a:pt x="332" y="63"/>
                      <a:pt x="332" y="63"/>
                      <a:pt x="332" y="63"/>
                    </a:cubicBezTo>
                    <a:cubicBezTo>
                      <a:pt x="333" y="62"/>
                      <a:pt x="334" y="60"/>
                      <a:pt x="334" y="60"/>
                    </a:cubicBezTo>
                    <a:cubicBezTo>
                      <a:pt x="340" y="59"/>
                      <a:pt x="340" y="59"/>
                      <a:pt x="340" y="59"/>
                    </a:cubicBezTo>
                    <a:cubicBezTo>
                      <a:pt x="340" y="60"/>
                      <a:pt x="340" y="60"/>
                      <a:pt x="340" y="60"/>
                    </a:cubicBezTo>
                    <a:cubicBezTo>
                      <a:pt x="340" y="62"/>
                      <a:pt x="339" y="64"/>
                      <a:pt x="336" y="67"/>
                    </a:cubicBezTo>
                    <a:close/>
                    <a:moveTo>
                      <a:pt x="338" y="52"/>
                    </a:moveTo>
                    <a:cubicBezTo>
                      <a:pt x="334" y="47"/>
                      <a:pt x="334" y="47"/>
                      <a:pt x="334" y="47"/>
                    </a:cubicBezTo>
                    <a:cubicBezTo>
                      <a:pt x="335" y="47"/>
                      <a:pt x="335" y="46"/>
                      <a:pt x="335" y="46"/>
                    </a:cubicBezTo>
                    <a:cubicBezTo>
                      <a:pt x="337" y="45"/>
                      <a:pt x="338" y="44"/>
                      <a:pt x="339" y="43"/>
                    </a:cubicBezTo>
                    <a:cubicBezTo>
                      <a:pt x="342" y="49"/>
                      <a:pt x="342" y="49"/>
                      <a:pt x="342" y="49"/>
                    </a:cubicBezTo>
                    <a:cubicBezTo>
                      <a:pt x="341" y="49"/>
                      <a:pt x="340" y="50"/>
                      <a:pt x="339" y="51"/>
                    </a:cubicBezTo>
                    <a:cubicBezTo>
                      <a:pt x="338" y="51"/>
                      <a:pt x="338" y="51"/>
                      <a:pt x="338" y="52"/>
                    </a:cubicBezTo>
                    <a:close/>
                    <a:moveTo>
                      <a:pt x="336" y="40"/>
                    </a:moveTo>
                    <a:cubicBezTo>
                      <a:pt x="335" y="40"/>
                      <a:pt x="335" y="40"/>
                      <a:pt x="334" y="39"/>
                    </a:cubicBezTo>
                    <a:cubicBezTo>
                      <a:pt x="333" y="38"/>
                      <a:pt x="331" y="36"/>
                      <a:pt x="331" y="34"/>
                    </a:cubicBezTo>
                    <a:cubicBezTo>
                      <a:pt x="337" y="33"/>
                      <a:pt x="337" y="33"/>
                      <a:pt x="337" y="33"/>
                    </a:cubicBezTo>
                    <a:cubicBezTo>
                      <a:pt x="337" y="34"/>
                      <a:pt x="337" y="34"/>
                      <a:pt x="338" y="34"/>
                    </a:cubicBezTo>
                    <a:cubicBezTo>
                      <a:pt x="338" y="35"/>
                      <a:pt x="339" y="35"/>
                      <a:pt x="340" y="36"/>
                    </a:cubicBezTo>
                    <a:lnTo>
                      <a:pt x="336" y="40"/>
                    </a:lnTo>
                    <a:close/>
                    <a:moveTo>
                      <a:pt x="330" y="27"/>
                    </a:moveTo>
                    <a:cubicBezTo>
                      <a:pt x="328" y="26"/>
                      <a:pt x="327" y="24"/>
                      <a:pt x="327" y="23"/>
                    </a:cubicBezTo>
                    <a:cubicBezTo>
                      <a:pt x="327" y="21"/>
                      <a:pt x="329" y="19"/>
                      <a:pt x="331" y="18"/>
                    </a:cubicBezTo>
                    <a:cubicBezTo>
                      <a:pt x="334" y="23"/>
                      <a:pt x="334" y="23"/>
                      <a:pt x="334" y="23"/>
                    </a:cubicBezTo>
                    <a:cubicBezTo>
                      <a:pt x="333" y="23"/>
                      <a:pt x="333" y="23"/>
                      <a:pt x="333" y="23"/>
                    </a:cubicBezTo>
                    <a:cubicBezTo>
                      <a:pt x="333" y="23"/>
                      <a:pt x="333" y="23"/>
                      <a:pt x="333" y="23"/>
                    </a:cubicBezTo>
                    <a:cubicBezTo>
                      <a:pt x="333" y="22"/>
                      <a:pt x="333" y="22"/>
                      <a:pt x="333" y="22"/>
                    </a:cubicBezTo>
                    <a:lnTo>
                      <a:pt x="330" y="27"/>
                    </a:lnTo>
                    <a:close/>
                    <a:moveTo>
                      <a:pt x="339" y="13"/>
                    </a:moveTo>
                    <a:cubicBezTo>
                      <a:pt x="337" y="8"/>
                      <a:pt x="337" y="8"/>
                      <a:pt x="337" y="8"/>
                    </a:cubicBezTo>
                    <a:cubicBezTo>
                      <a:pt x="337" y="8"/>
                      <a:pt x="338" y="8"/>
                      <a:pt x="338" y="8"/>
                    </a:cubicBezTo>
                    <a:cubicBezTo>
                      <a:pt x="339" y="7"/>
                      <a:pt x="340" y="7"/>
                      <a:pt x="342" y="6"/>
                    </a:cubicBezTo>
                    <a:cubicBezTo>
                      <a:pt x="345" y="11"/>
                      <a:pt x="345" y="11"/>
                      <a:pt x="345" y="11"/>
                    </a:cubicBezTo>
                    <a:cubicBezTo>
                      <a:pt x="343" y="12"/>
                      <a:pt x="341" y="13"/>
                      <a:pt x="340" y="13"/>
                    </a:cubicBezTo>
                    <a:cubicBezTo>
                      <a:pt x="340" y="13"/>
                      <a:pt x="340" y="13"/>
                      <a:pt x="339" y="13"/>
                    </a:cubicBezTo>
                    <a:close/>
                    <a:moveTo>
                      <a:pt x="355" y="6"/>
                    </a:moveTo>
                    <a:cubicBezTo>
                      <a:pt x="353" y="1"/>
                      <a:pt x="353" y="1"/>
                      <a:pt x="353" y="1"/>
                    </a:cubicBezTo>
                    <a:cubicBezTo>
                      <a:pt x="354" y="0"/>
                      <a:pt x="354" y="0"/>
                      <a:pt x="354" y="0"/>
                    </a:cubicBezTo>
                    <a:cubicBezTo>
                      <a:pt x="357" y="5"/>
                      <a:pt x="357" y="5"/>
                      <a:pt x="357" y="5"/>
                    </a:cubicBezTo>
                    <a:lnTo>
                      <a:pt x="355" y="6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64" name="iṣḻïdé"/>
              <p:cNvSpPr/>
              <p:nvPr/>
            </p:nvSpPr>
            <p:spPr bwMode="auto">
              <a:xfrm>
                <a:off x="5019675" y="2060575"/>
                <a:ext cx="1303338" cy="1125538"/>
              </a:xfrm>
              <a:custGeom>
                <a:avLst/>
                <a:gdLst>
                  <a:gd name="T0" fmla="*/ 440 w 608"/>
                  <a:gd name="T1" fmla="*/ 521 h 525"/>
                  <a:gd name="T2" fmla="*/ 478 w 608"/>
                  <a:gd name="T3" fmla="*/ 516 h 525"/>
                  <a:gd name="T4" fmla="*/ 416 w 608"/>
                  <a:gd name="T5" fmla="*/ 506 h 525"/>
                  <a:gd name="T6" fmla="*/ 490 w 608"/>
                  <a:gd name="T7" fmla="*/ 512 h 525"/>
                  <a:gd name="T8" fmla="*/ 404 w 608"/>
                  <a:gd name="T9" fmla="*/ 493 h 525"/>
                  <a:gd name="T10" fmla="*/ 522 w 608"/>
                  <a:gd name="T11" fmla="*/ 500 h 525"/>
                  <a:gd name="T12" fmla="*/ 536 w 608"/>
                  <a:gd name="T13" fmla="*/ 495 h 525"/>
                  <a:gd name="T14" fmla="*/ 395 w 608"/>
                  <a:gd name="T15" fmla="*/ 485 h 525"/>
                  <a:gd name="T16" fmla="*/ 382 w 608"/>
                  <a:gd name="T17" fmla="*/ 471 h 525"/>
                  <a:gd name="T18" fmla="*/ 549 w 608"/>
                  <a:gd name="T19" fmla="*/ 471 h 525"/>
                  <a:gd name="T20" fmla="*/ 545 w 608"/>
                  <a:gd name="T21" fmla="*/ 453 h 525"/>
                  <a:gd name="T22" fmla="*/ 392 w 608"/>
                  <a:gd name="T23" fmla="*/ 446 h 525"/>
                  <a:gd name="T24" fmla="*/ 385 w 608"/>
                  <a:gd name="T25" fmla="*/ 431 h 525"/>
                  <a:gd name="T26" fmla="*/ 398 w 608"/>
                  <a:gd name="T27" fmla="*/ 423 h 525"/>
                  <a:gd name="T28" fmla="*/ 411 w 608"/>
                  <a:gd name="T29" fmla="*/ 410 h 525"/>
                  <a:gd name="T30" fmla="*/ 269 w 608"/>
                  <a:gd name="T31" fmla="*/ 396 h 525"/>
                  <a:gd name="T32" fmla="*/ 426 w 608"/>
                  <a:gd name="T33" fmla="*/ 401 h 525"/>
                  <a:gd name="T34" fmla="*/ 258 w 608"/>
                  <a:gd name="T35" fmla="*/ 393 h 525"/>
                  <a:gd name="T36" fmla="*/ 437 w 608"/>
                  <a:gd name="T37" fmla="*/ 382 h 525"/>
                  <a:gd name="T38" fmla="*/ 245 w 608"/>
                  <a:gd name="T39" fmla="*/ 386 h 525"/>
                  <a:gd name="T40" fmla="*/ 289 w 608"/>
                  <a:gd name="T41" fmla="*/ 379 h 525"/>
                  <a:gd name="T42" fmla="*/ 232 w 608"/>
                  <a:gd name="T43" fmla="*/ 371 h 525"/>
                  <a:gd name="T44" fmla="*/ 578 w 608"/>
                  <a:gd name="T45" fmla="*/ 377 h 525"/>
                  <a:gd name="T46" fmla="*/ 228 w 608"/>
                  <a:gd name="T47" fmla="*/ 369 h 525"/>
                  <a:gd name="T48" fmla="*/ 354 w 608"/>
                  <a:gd name="T49" fmla="*/ 366 h 525"/>
                  <a:gd name="T50" fmla="*/ 592 w 608"/>
                  <a:gd name="T51" fmla="*/ 365 h 525"/>
                  <a:gd name="T52" fmla="*/ 211 w 608"/>
                  <a:gd name="T53" fmla="*/ 363 h 525"/>
                  <a:gd name="T54" fmla="*/ 209 w 608"/>
                  <a:gd name="T55" fmla="*/ 358 h 525"/>
                  <a:gd name="T56" fmla="*/ 285 w 608"/>
                  <a:gd name="T57" fmla="*/ 355 h 525"/>
                  <a:gd name="T58" fmla="*/ 337 w 608"/>
                  <a:gd name="T59" fmla="*/ 360 h 525"/>
                  <a:gd name="T60" fmla="*/ 433 w 608"/>
                  <a:gd name="T61" fmla="*/ 352 h 525"/>
                  <a:gd name="T62" fmla="*/ 306 w 608"/>
                  <a:gd name="T63" fmla="*/ 357 h 525"/>
                  <a:gd name="T64" fmla="*/ 318 w 608"/>
                  <a:gd name="T65" fmla="*/ 346 h 525"/>
                  <a:gd name="T66" fmla="*/ 401 w 608"/>
                  <a:gd name="T67" fmla="*/ 344 h 525"/>
                  <a:gd name="T68" fmla="*/ 212 w 608"/>
                  <a:gd name="T69" fmla="*/ 342 h 525"/>
                  <a:gd name="T70" fmla="*/ 418 w 608"/>
                  <a:gd name="T71" fmla="*/ 335 h 525"/>
                  <a:gd name="T72" fmla="*/ 185 w 608"/>
                  <a:gd name="T73" fmla="*/ 320 h 525"/>
                  <a:gd name="T74" fmla="*/ 176 w 608"/>
                  <a:gd name="T75" fmla="*/ 316 h 525"/>
                  <a:gd name="T76" fmla="*/ 158 w 608"/>
                  <a:gd name="T77" fmla="*/ 295 h 525"/>
                  <a:gd name="T78" fmla="*/ 145 w 608"/>
                  <a:gd name="T79" fmla="*/ 284 h 525"/>
                  <a:gd name="T80" fmla="*/ 124 w 608"/>
                  <a:gd name="T81" fmla="*/ 275 h 525"/>
                  <a:gd name="T82" fmla="*/ 130 w 608"/>
                  <a:gd name="T83" fmla="*/ 279 h 525"/>
                  <a:gd name="T84" fmla="*/ 151 w 608"/>
                  <a:gd name="T85" fmla="*/ 253 h 525"/>
                  <a:gd name="T86" fmla="*/ 170 w 608"/>
                  <a:gd name="T87" fmla="*/ 237 h 525"/>
                  <a:gd name="T88" fmla="*/ 176 w 608"/>
                  <a:gd name="T89" fmla="*/ 210 h 525"/>
                  <a:gd name="T90" fmla="*/ 57 w 608"/>
                  <a:gd name="T91" fmla="*/ 205 h 525"/>
                  <a:gd name="T92" fmla="*/ 109 w 608"/>
                  <a:gd name="T93" fmla="*/ 197 h 525"/>
                  <a:gd name="T94" fmla="*/ 86 w 608"/>
                  <a:gd name="T95" fmla="*/ 200 h 525"/>
                  <a:gd name="T96" fmla="*/ 50 w 608"/>
                  <a:gd name="T97" fmla="*/ 189 h 525"/>
                  <a:gd name="T98" fmla="*/ 72 w 608"/>
                  <a:gd name="T99" fmla="*/ 190 h 525"/>
                  <a:gd name="T100" fmla="*/ 97 w 608"/>
                  <a:gd name="T101" fmla="*/ 189 h 525"/>
                  <a:gd name="T102" fmla="*/ 109 w 608"/>
                  <a:gd name="T103" fmla="*/ 187 h 525"/>
                  <a:gd name="T104" fmla="*/ 160 w 608"/>
                  <a:gd name="T105" fmla="*/ 180 h 525"/>
                  <a:gd name="T106" fmla="*/ 148 w 608"/>
                  <a:gd name="T107" fmla="*/ 183 h 525"/>
                  <a:gd name="T108" fmla="*/ 45 w 608"/>
                  <a:gd name="T109" fmla="*/ 167 h 525"/>
                  <a:gd name="T110" fmla="*/ 32 w 608"/>
                  <a:gd name="T111" fmla="*/ 154 h 525"/>
                  <a:gd name="T112" fmla="*/ 13 w 608"/>
                  <a:gd name="T113" fmla="*/ 125 h 525"/>
                  <a:gd name="T114" fmla="*/ 21 w 608"/>
                  <a:gd name="T115" fmla="*/ 107 h 525"/>
                  <a:gd name="T116" fmla="*/ 28 w 608"/>
                  <a:gd name="T117" fmla="*/ 85 h 525"/>
                  <a:gd name="T118" fmla="*/ 13 w 608"/>
                  <a:gd name="T119" fmla="*/ 53 h 525"/>
                  <a:gd name="T120" fmla="*/ 16 w 608"/>
                  <a:gd name="T121" fmla="*/ 40 h 525"/>
                  <a:gd name="T122" fmla="*/ 6 w 608"/>
                  <a:gd name="T123" fmla="*/ 0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525">
                    <a:moveTo>
                      <a:pt x="428" y="525"/>
                    </a:moveTo>
                    <a:cubicBezTo>
                      <a:pt x="428" y="525"/>
                      <a:pt x="428" y="525"/>
                      <a:pt x="428" y="525"/>
                    </a:cubicBezTo>
                    <a:cubicBezTo>
                      <a:pt x="427" y="525"/>
                      <a:pt x="425" y="524"/>
                      <a:pt x="424" y="524"/>
                    </a:cubicBezTo>
                    <a:cubicBezTo>
                      <a:pt x="427" y="519"/>
                      <a:pt x="427" y="519"/>
                      <a:pt x="427" y="519"/>
                    </a:cubicBezTo>
                    <a:cubicBezTo>
                      <a:pt x="427" y="519"/>
                      <a:pt x="428" y="519"/>
                      <a:pt x="428" y="519"/>
                    </a:cubicBezTo>
                    <a:cubicBezTo>
                      <a:pt x="428" y="519"/>
                      <a:pt x="429" y="519"/>
                      <a:pt x="430" y="518"/>
                    </a:cubicBezTo>
                    <a:cubicBezTo>
                      <a:pt x="432" y="524"/>
                      <a:pt x="432" y="524"/>
                      <a:pt x="432" y="524"/>
                    </a:cubicBezTo>
                    <a:cubicBezTo>
                      <a:pt x="431" y="524"/>
                      <a:pt x="429" y="525"/>
                      <a:pt x="428" y="525"/>
                    </a:cubicBezTo>
                    <a:close/>
                    <a:moveTo>
                      <a:pt x="440" y="521"/>
                    </a:moveTo>
                    <a:cubicBezTo>
                      <a:pt x="438" y="516"/>
                      <a:pt x="438" y="516"/>
                      <a:pt x="438" y="516"/>
                    </a:cubicBezTo>
                    <a:cubicBezTo>
                      <a:pt x="439" y="515"/>
                      <a:pt x="440" y="515"/>
                      <a:pt x="443" y="514"/>
                    </a:cubicBezTo>
                    <a:cubicBezTo>
                      <a:pt x="445" y="519"/>
                      <a:pt x="445" y="519"/>
                      <a:pt x="445" y="519"/>
                    </a:cubicBezTo>
                    <a:cubicBezTo>
                      <a:pt x="442" y="520"/>
                      <a:pt x="441" y="521"/>
                      <a:pt x="440" y="521"/>
                    </a:cubicBezTo>
                    <a:close/>
                    <a:moveTo>
                      <a:pt x="476" y="516"/>
                    </a:moveTo>
                    <a:cubicBezTo>
                      <a:pt x="475" y="516"/>
                      <a:pt x="473" y="516"/>
                      <a:pt x="472" y="516"/>
                    </a:cubicBezTo>
                    <a:cubicBezTo>
                      <a:pt x="473" y="510"/>
                      <a:pt x="473" y="510"/>
                      <a:pt x="473" y="510"/>
                    </a:cubicBezTo>
                    <a:cubicBezTo>
                      <a:pt x="475" y="510"/>
                      <a:pt x="476" y="510"/>
                      <a:pt x="478" y="510"/>
                    </a:cubicBezTo>
                    <a:cubicBezTo>
                      <a:pt x="478" y="516"/>
                      <a:pt x="478" y="516"/>
                      <a:pt x="478" y="516"/>
                    </a:cubicBezTo>
                    <a:cubicBezTo>
                      <a:pt x="478" y="516"/>
                      <a:pt x="477" y="516"/>
                      <a:pt x="476" y="516"/>
                    </a:cubicBezTo>
                    <a:close/>
                    <a:moveTo>
                      <a:pt x="456" y="515"/>
                    </a:moveTo>
                    <a:cubicBezTo>
                      <a:pt x="454" y="510"/>
                      <a:pt x="454" y="510"/>
                      <a:pt x="454" y="510"/>
                    </a:cubicBezTo>
                    <a:cubicBezTo>
                      <a:pt x="457" y="509"/>
                      <a:pt x="459" y="508"/>
                      <a:pt x="460" y="508"/>
                    </a:cubicBezTo>
                    <a:cubicBezTo>
                      <a:pt x="461" y="514"/>
                      <a:pt x="461" y="514"/>
                      <a:pt x="461" y="514"/>
                    </a:cubicBezTo>
                    <a:cubicBezTo>
                      <a:pt x="460" y="514"/>
                      <a:pt x="458" y="514"/>
                      <a:pt x="456" y="515"/>
                    </a:cubicBezTo>
                    <a:close/>
                    <a:moveTo>
                      <a:pt x="416" y="514"/>
                    </a:moveTo>
                    <a:cubicBezTo>
                      <a:pt x="415" y="513"/>
                      <a:pt x="413" y="511"/>
                      <a:pt x="412" y="510"/>
                    </a:cubicBezTo>
                    <a:cubicBezTo>
                      <a:pt x="416" y="506"/>
                      <a:pt x="416" y="506"/>
                      <a:pt x="416" y="506"/>
                    </a:cubicBezTo>
                    <a:cubicBezTo>
                      <a:pt x="418" y="508"/>
                      <a:pt x="419" y="509"/>
                      <a:pt x="420" y="511"/>
                    </a:cubicBezTo>
                    <a:lnTo>
                      <a:pt x="416" y="514"/>
                    </a:lnTo>
                    <a:close/>
                    <a:moveTo>
                      <a:pt x="490" y="512"/>
                    </a:moveTo>
                    <a:cubicBezTo>
                      <a:pt x="488" y="507"/>
                      <a:pt x="488" y="507"/>
                      <a:pt x="488" y="507"/>
                    </a:cubicBezTo>
                    <a:cubicBezTo>
                      <a:pt x="488" y="507"/>
                      <a:pt x="488" y="507"/>
                      <a:pt x="488" y="507"/>
                    </a:cubicBezTo>
                    <a:cubicBezTo>
                      <a:pt x="490" y="506"/>
                      <a:pt x="492" y="505"/>
                      <a:pt x="493" y="505"/>
                    </a:cubicBezTo>
                    <a:cubicBezTo>
                      <a:pt x="496" y="510"/>
                      <a:pt x="496" y="510"/>
                      <a:pt x="496" y="510"/>
                    </a:cubicBezTo>
                    <a:cubicBezTo>
                      <a:pt x="494" y="511"/>
                      <a:pt x="492" y="511"/>
                      <a:pt x="491" y="512"/>
                    </a:cubicBezTo>
                    <a:lnTo>
                      <a:pt x="490" y="512"/>
                    </a:lnTo>
                    <a:close/>
                    <a:moveTo>
                      <a:pt x="507" y="507"/>
                    </a:moveTo>
                    <a:cubicBezTo>
                      <a:pt x="505" y="501"/>
                      <a:pt x="505" y="501"/>
                      <a:pt x="505" y="501"/>
                    </a:cubicBezTo>
                    <a:cubicBezTo>
                      <a:pt x="507" y="501"/>
                      <a:pt x="508" y="501"/>
                      <a:pt x="508" y="500"/>
                    </a:cubicBezTo>
                    <a:cubicBezTo>
                      <a:pt x="508" y="501"/>
                      <a:pt x="508" y="501"/>
                      <a:pt x="508" y="501"/>
                    </a:cubicBezTo>
                    <a:cubicBezTo>
                      <a:pt x="514" y="503"/>
                      <a:pt x="514" y="503"/>
                      <a:pt x="514" y="503"/>
                    </a:cubicBezTo>
                    <a:cubicBezTo>
                      <a:pt x="513" y="506"/>
                      <a:pt x="510" y="506"/>
                      <a:pt x="507" y="507"/>
                    </a:cubicBezTo>
                    <a:close/>
                    <a:moveTo>
                      <a:pt x="404" y="501"/>
                    </a:moveTo>
                    <a:cubicBezTo>
                      <a:pt x="400" y="497"/>
                      <a:pt x="400" y="497"/>
                      <a:pt x="400" y="497"/>
                    </a:cubicBezTo>
                    <a:cubicBezTo>
                      <a:pt x="404" y="493"/>
                      <a:pt x="404" y="493"/>
                      <a:pt x="404" y="493"/>
                    </a:cubicBezTo>
                    <a:cubicBezTo>
                      <a:pt x="408" y="497"/>
                      <a:pt x="408" y="497"/>
                      <a:pt x="408" y="497"/>
                    </a:cubicBezTo>
                    <a:lnTo>
                      <a:pt x="404" y="501"/>
                    </a:lnTo>
                    <a:close/>
                    <a:moveTo>
                      <a:pt x="523" y="501"/>
                    </a:moveTo>
                    <a:cubicBezTo>
                      <a:pt x="522" y="500"/>
                      <a:pt x="521" y="500"/>
                      <a:pt x="520" y="500"/>
                    </a:cubicBezTo>
                    <a:cubicBezTo>
                      <a:pt x="519" y="500"/>
                      <a:pt x="519" y="500"/>
                      <a:pt x="519" y="500"/>
                    </a:cubicBezTo>
                    <a:cubicBezTo>
                      <a:pt x="520" y="495"/>
                      <a:pt x="520" y="495"/>
                      <a:pt x="520" y="495"/>
                    </a:cubicBezTo>
                    <a:cubicBezTo>
                      <a:pt x="520" y="495"/>
                      <a:pt x="520" y="495"/>
                      <a:pt x="520" y="495"/>
                    </a:cubicBezTo>
                    <a:cubicBezTo>
                      <a:pt x="523" y="495"/>
                      <a:pt x="526" y="495"/>
                      <a:pt x="527" y="498"/>
                    </a:cubicBezTo>
                    <a:cubicBezTo>
                      <a:pt x="522" y="500"/>
                      <a:pt x="522" y="500"/>
                      <a:pt x="522" y="500"/>
                    </a:cubicBezTo>
                    <a:cubicBezTo>
                      <a:pt x="522" y="500"/>
                      <a:pt x="522" y="501"/>
                      <a:pt x="523" y="501"/>
                    </a:cubicBezTo>
                    <a:close/>
                    <a:moveTo>
                      <a:pt x="537" y="499"/>
                    </a:moveTo>
                    <a:cubicBezTo>
                      <a:pt x="532" y="496"/>
                      <a:pt x="532" y="496"/>
                      <a:pt x="532" y="496"/>
                    </a:cubicBezTo>
                    <a:cubicBezTo>
                      <a:pt x="532" y="496"/>
                      <a:pt x="532" y="496"/>
                      <a:pt x="532" y="496"/>
                    </a:cubicBezTo>
                    <a:cubicBezTo>
                      <a:pt x="532" y="495"/>
                      <a:pt x="532" y="494"/>
                      <a:pt x="532" y="494"/>
                    </a:cubicBezTo>
                    <a:cubicBezTo>
                      <a:pt x="532" y="490"/>
                      <a:pt x="534" y="490"/>
                      <a:pt x="535" y="490"/>
                    </a:cubicBezTo>
                    <a:cubicBezTo>
                      <a:pt x="536" y="495"/>
                      <a:pt x="536" y="495"/>
                      <a:pt x="536" y="495"/>
                    </a:cubicBezTo>
                    <a:cubicBezTo>
                      <a:pt x="536" y="495"/>
                      <a:pt x="536" y="495"/>
                      <a:pt x="536" y="495"/>
                    </a:cubicBezTo>
                    <a:cubicBezTo>
                      <a:pt x="536" y="495"/>
                      <a:pt x="536" y="495"/>
                      <a:pt x="536" y="495"/>
                    </a:cubicBezTo>
                    <a:cubicBezTo>
                      <a:pt x="536" y="495"/>
                      <a:pt x="536" y="495"/>
                      <a:pt x="536" y="495"/>
                    </a:cubicBezTo>
                    <a:cubicBezTo>
                      <a:pt x="537" y="495"/>
                      <a:pt x="537" y="494"/>
                      <a:pt x="537" y="494"/>
                    </a:cubicBezTo>
                    <a:cubicBezTo>
                      <a:pt x="537" y="494"/>
                      <a:pt x="537" y="495"/>
                      <a:pt x="537" y="495"/>
                    </a:cubicBezTo>
                    <a:cubicBezTo>
                      <a:pt x="538" y="495"/>
                      <a:pt x="538" y="496"/>
                      <a:pt x="538" y="496"/>
                    </a:cubicBezTo>
                    <a:cubicBezTo>
                      <a:pt x="538" y="497"/>
                      <a:pt x="537" y="498"/>
                      <a:pt x="537" y="499"/>
                    </a:cubicBezTo>
                    <a:close/>
                    <a:moveTo>
                      <a:pt x="392" y="490"/>
                    </a:moveTo>
                    <a:cubicBezTo>
                      <a:pt x="390" y="489"/>
                      <a:pt x="389" y="488"/>
                      <a:pt x="387" y="487"/>
                    </a:cubicBezTo>
                    <a:cubicBezTo>
                      <a:pt x="390" y="482"/>
                      <a:pt x="390" y="482"/>
                      <a:pt x="390" y="482"/>
                    </a:cubicBezTo>
                    <a:cubicBezTo>
                      <a:pt x="392" y="483"/>
                      <a:pt x="394" y="484"/>
                      <a:pt x="395" y="485"/>
                    </a:cubicBezTo>
                    <a:lnTo>
                      <a:pt x="392" y="490"/>
                    </a:lnTo>
                    <a:close/>
                    <a:moveTo>
                      <a:pt x="546" y="489"/>
                    </a:moveTo>
                    <a:cubicBezTo>
                      <a:pt x="541" y="487"/>
                      <a:pt x="541" y="487"/>
                      <a:pt x="541" y="487"/>
                    </a:cubicBezTo>
                    <a:cubicBezTo>
                      <a:pt x="541" y="486"/>
                      <a:pt x="541" y="484"/>
                      <a:pt x="542" y="482"/>
                    </a:cubicBezTo>
                    <a:cubicBezTo>
                      <a:pt x="548" y="483"/>
                      <a:pt x="548" y="483"/>
                      <a:pt x="548" y="483"/>
                    </a:cubicBezTo>
                    <a:cubicBezTo>
                      <a:pt x="547" y="485"/>
                      <a:pt x="547" y="487"/>
                      <a:pt x="546" y="489"/>
                    </a:cubicBezTo>
                    <a:close/>
                    <a:moveTo>
                      <a:pt x="377" y="478"/>
                    </a:moveTo>
                    <a:cubicBezTo>
                      <a:pt x="376" y="476"/>
                      <a:pt x="376" y="474"/>
                      <a:pt x="376" y="471"/>
                    </a:cubicBezTo>
                    <a:cubicBezTo>
                      <a:pt x="382" y="471"/>
                      <a:pt x="382" y="471"/>
                      <a:pt x="382" y="471"/>
                    </a:cubicBezTo>
                    <a:cubicBezTo>
                      <a:pt x="382" y="474"/>
                      <a:pt x="382" y="475"/>
                      <a:pt x="383" y="476"/>
                    </a:cubicBezTo>
                    <a:lnTo>
                      <a:pt x="377" y="478"/>
                    </a:lnTo>
                    <a:close/>
                    <a:moveTo>
                      <a:pt x="549" y="471"/>
                    </a:moveTo>
                    <a:cubicBezTo>
                      <a:pt x="544" y="470"/>
                      <a:pt x="544" y="470"/>
                      <a:pt x="544" y="470"/>
                    </a:cubicBezTo>
                    <a:cubicBezTo>
                      <a:pt x="544" y="467"/>
                      <a:pt x="544" y="467"/>
                      <a:pt x="544" y="467"/>
                    </a:cubicBezTo>
                    <a:cubicBezTo>
                      <a:pt x="544" y="466"/>
                      <a:pt x="544" y="466"/>
                      <a:pt x="544" y="465"/>
                    </a:cubicBezTo>
                    <a:cubicBezTo>
                      <a:pt x="550" y="465"/>
                      <a:pt x="550" y="465"/>
                      <a:pt x="550" y="465"/>
                    </a:cubicBezTo>
                    <a:cubicBezTo>
                      <a:pt x="550" y="466"/>
                      <a:pt x="550" y="467"/>
                      <a:pt x="550" y="468"/>
                    </a:cubicBezTo>
                    <a:lnTo>
                      <a:pt x="549" y="471"/>
                    </a:lnTo>
                    <a:close/>
                    <a:moveTo>
                      <a:pt x="383" y="461"/>
                    </a:moveTo>
                    <a:cubicBezTo>
                      <a:pt x="377" y="459"/>
                      <a:pt x="377" y="459"/>
                      <a:pt x="377" y="459"/>
                    </a:cubicBezTo>
                    <a:cubicBezTo>
                      <a:pt x="378" y="456"/>
                      <a:pt x="380" y="456"/>
                      <a:pt x="381" y="455"/>
                    </a:cubicBezTo>
                    <a:cubicBezTo>
                      <a:pt x="382" y="455"/>
                      <a:pt x="382" y="454"/>
                      <a:pt x="383" y="454"/>
                    </a:cubicBezTo>
                    <a:cubicBezTo>
                      <a:pt x="386" y="459"/>
                      <a:pt x="386" y="459"/>
                      <a:pt x="386" y="459"/>
                    </a:cubicBezTo>
                    <a:cubicBezTo>
                      <a:pt x="385" y="459"/>
                      <a:pt x="384" y="460"/>
                      <a:pt x="384" y="460"/>
                    </a:cubicBezTo>
                    <a:cubicBezTo>
                      <a:pt x="383" y="460"/>
                      <a:pt x="383" y="461"/>
                      <a:pt x="383" y="461"/>
                    </a:cubicBezTo>
                    <a:close/>
                    <a:moveTo>
                      <a:pt x="551" y="454"/>
                    </a:moveTo>
                    <a:cubicBezTo>
                      <a:pt x="545" y="453"/>
                      <a:pt x="545" y="453"/>
                      <a:pt x="545" y="453"/>
                    </a:cubicBezTo>
                    <a:cubicBezTo>
                      <a:pt x="545" y="451"/>
                      <a:pt x="546" y="448"/>
                      <a:pt x="546" y="447"/>
                    </a:cubicBezTo>
                    <a:cubicBezTo>
                      <a:pt x="552" y="448"/>
                      <a:pt x="552" y="448"/>
                      <a:pt x="552" y="448"/>
                    </a:cubicBezTo>
                    <a:cubicBezTo>
                      <a:pt x="551" y="450"/>
                      <a:pt x="551" y="452"/>
                      <a:pt x="551" y="454"/>
                    </a:cubicBezTo>
                    <a:close/>
                    <a:moveTo>
                      <a:pt x="386" y="447"/>
                    </a:moveTo>
                    <a:cubicBezTo>
                      <a:pt x="386" y="446"/>
                      <a:pt x="386" y="446"/>
                      <a:pt x="386" y="445"/>
                    </a:cubicBezTo>
                    <a:cubicBezTo>
                      <a:pt x="386" y="445"/>
                      <a:pt x="386" y="444"/>
                      <a:pt x="385" y="442"/>
                    </a:cubicBezTo>
                    <a:cubicBezTo>
                      <a:pt x="390" y="440"/>
                      <a:pt x="390" y="440"/>
                      <a:pt x="390" y="440"/>
                    </a:cubicBezTo>
                    <a:cubicBezTo>
                      <a:pt x="391" y="442"/>
                      <a:pt x="392" y="444"/>
                      <a:pt x="392" y="445"/>
                    </a:cubicBezTo>
                    <a:cubicBezTo>
                      <a:pt x="392" y="446"/>
                      <a:pt x="392" y="446"/>
                      <a:pt x="392" y="446"/>
                    </a:cubicBezTo>
                    <a:lnTo>
                      <a:pt x="386" y="447"/>
                    </a:lnTo>
                    <a:close/>
                    <a:moveTo>
                      <a:pt x="556" y="437"/>
                    </a:moveTo>
                    <a:cubicBezTo>
                      <a:pt x="550" y="436"/>
                      <a:pt x="550" y="436"/>
                      <a:pt x="550" y="436"/>
                    </a:cubicBezTo>
                    <a:cubicBezTo>
                      <a:pt x="550" y="435"/>
                      <a:pt x="550" y="433"/>
                      <a:pt x="550" y="432"/>
                    </a:cubicBezTo>
                    <a:cubicBezTo>
                      <a:pt x="550" y="431"/>
                      <a:pt x="550" y="431"/>
                      <a:pt x="550" y="431"/>
                    </a:cubicBezTo>
                    <a:cubicBezTo>
                      <a:pt x="556" y="431"/>
                      <a:pt x="556" y="431"/>
                      <a:pt x="556" y="431"/>
                    </a:cubicBezTo>
                    <a:cubicBezTo>
                      <a:pt x="556" y="432"/>
                      <a:pt x="556" y="432"/>
                      <a:pt x="556" y="432"/>
                    </a:cubicBezTo>
                    <a:cubicBezTo>
                      <a:pt x="556" y="434"/>
                      <a:pt x="556" y="435"/>
                      <a:pt x="556" y="437"/>
                    </a:cubicBezTo>
                    <a:close/>
                    <a:moveTo>
                      <a:pt x="385" y="431"/>
                    </a:moveTo>
                    <a:cubicBezTo>
                      <a:pt x="379" y="430"/>
                      <a:pt x="379" y="430"/>
                      <a:pt x="379" y="430"/>
                    </a:cubicBezTo>
                    <a:cubicBezTo>
                      <a:pt x="380" y="427"/>
                      <a:pt x="382" y="426"/>
                      <a:pt x="385" y="424"/>
                    </a:cubicBezTo>
                    <a:cubicBezTo>
                      <a:pt x="388" y="429"/>
                      <a:pt x="388" y="429"/>
                      <a:pt x="388" y="429"/>
                    </a:cubicBezTo>
                    <a:cubicBezTo>
                      <a:pt x="386" y="430"/>
                      <a:pt x="385" y="431"/>
                      <a:pt x="385" y="431"/>
                    </a:cubicBezTo>
                    <a:close/>
                    <a:moveTo>
                      <a:pt x="398" y="423"/>
                    </a:moveTo>
                    <a:cubicBezTo>
                      <a:pt x="395" y="418"/>
                      <a:pt x="395" y="418"/>
                      <a:pt x="395" y="418"/>
                    </a:cubicBezTo>
                    <a:cubicBezTo>
                      <a:pt x="397" y="417"/>
                      <a:pt x="399" y="416"/>
                      <a:pt x="400" y="415"/>
                    </a:cubicBezTo>
                    <a:cubicBezTo>
                      <a:pt x="403" y="421"/>
                      <a:pt x="403" y="421"/>
                      <a:pt x="403" y="421"/>
                    </a:cubicBezTo>
                    <a:cubicBezTo>
                      <a:pt x="401" y="421"/>
                      <a:pt x="400" y="422"/>
                      <a:pt x="398" y="423"/>
                    </a:cubicBezTo>
                    <a:close/>
                    <a:moveTo>
                      <a:pt x="558" y="420"/>
                    </a:moveTo>
                    <a:cubicBezTo>
                      <a:pt x="552" y="419"/>
                      <a:pt x="552" y="419"/>
                      <a:pt x="552" y="419"/>
                    </a:cubicBezTo>
                    <a:cubicBezTo>
                      <a:pt x="552" y="417"/>
                      <a:pt x="553" y="415"/>
                      <a:pt x="553" y="413"/>
                    </a:cubicBezTo>
                    <a:cubicBezTo>
                      <a:pt x="553" y="413"/>
                      <a:pt x="553" y="413"/>
                      <a:pt x="553" y="413"/>
                    </a:cubicBezTo>
                    <a:cubicBezTo>
                      <a:pt x="559" y="414"/>
                      <a:pt x="559" y="414"/>
                      <a:pt x="559" y="414"/>
                    </a:cubicBezTo>
                    <a:cubicBezTo>
                      <a:pt x="559" y="414"/>
                      <a:pt x="559" y="414"/>
                      <a:pt x="559" y="414"/>
                    </a:cubicBezTo>
                    <a:cubicBezTo>
                      <a:pt x="558" y="416"/>
                      <a:pt x="558" y="418"/>
                      <a:pt x="558" y="420"/>
                    </a:cubicBezTo>
                    <a:close/>
                    <a:moveTo>
                      <a:pt x="414" y="415"/>
                    </a:moveTo>
                    <a:cubicBezTo>
                      <a:pt x="411" y="410"/>
                      <a:pt x="411" y="410"/>
                      <a:pt x="411" y="410"/>
                    </a:cubicBezTo>
                    <a:cubicBezTo>
                      <a:pt x="412" y="409"/>
                      <a:pt x="414" y="408"/>
                      <a:pt x="415" y="407"/>
                    </a:cubicBezTo>
                    <a:cubicBezTo>
                      <a:pt x="419" y="411"/>
                      <a:pt x="419" y="411"/>
                      <a:pt x="419" y="411"/>
                    </a:cubicBezTo>
                    <a:cubicBezTo>
                      <a:pt x="417" y="413"/>
                      <a:pt x="416" y="414"/>
                      <a:pt x="414" y="415"/>
                    </a:cubicBezTo>
                    <a:close/>
                    <a:moveTo>
                      <a:pt x="269" y="404"/>
                    </a:moveTo>
                    <a:cubicBezTo>
                      <a:pt x="268" y="404"/>
                      <a:pt x="267" y="404"/>
                      <a:pt x="267" y="404"/>
                    </a:cubicBezTo>
                    <a:cubicBezTo>
                      <a:pt x="269" y="398"/>
                      <a:pt x="269" y="398"/>
                      <a:pt x="269" y="398"/>
                    </a:cubicBezTo>
                    <a:cubicBezTo>
                      <a:pt x="268" y="398"/>
                      <a:pt x="268" y="398"/>
                      <a:pt x="268" y="398"/>
                    </a:cubicBezTo>
                    <a:cubicBezTo>
                      <a:pt x="268" y="398"/>
                      <a:pt x="269" y="397"/>
                      <a:pt x="269" y="397"/>
                    </a:cubicBezTo>
                    <a:cubicBezTo>
                      <a:pt x="269" y="396"/>
                      <a:pt x="269" y="396"/>
                      <a:pt x="269" y="396"/>
                    </a:cubicBezTo>
                    <a:cubicBezTo>
                      <a:pt x="274" y="399"/>
                      <a:pt x="274" y="399"/>
                      <a:pt x="274" y="399"/>
                    </a:cubicBezTo>
                    <a:cubicBezTo>
                      <a:pt x="274" y="400"/>
                      <a:pt x="274" y="400"/>
                      <a:pt x="274" y="400"/>
                    </a:cubicBezTo>
                    <a:cubicBezTo>
                      <a:pt x="273" y="402"/>
                      <a:pt x="271" y="404"/>
                      <a:pt x="269" y="404"/>
                    </a:cubicBezTo>
                    <a:close/>
                    <a:moveTo>
                      <a:pt x="561" y="403"/>
                    </a:moveTo>
                    <a:cubicBezTo>
                      <a:pt x="555" y="401"/>
                      <a:pt x="555" y="401"/>
                      <a:pt x="555" y="401"/>
                    </a:cubicBezTo>
                    <a:cubicBezTo>
                      <a:pt x="556" y="399"/>
                      <a:pt x="557" y="397"/>
                      <a:pt x="558" y="395"/>
                    </a:cubicBezTo>
                    <a:cubicBezTo>
                      <a:pt x="563" y="398"/>
                      <a:pt x="563" y="398"/>
                      <a:pt x="563" y="398"/>
                    </a:cubicBezTo>
                    <a:cubicBezTo>
                      <a:pt x="562" y="400"/>
                      <a:pt x="562" y="401"/>
                      <a:pt x="561" y="403"/>
                    </a:cubicBezTo>
                    <a:close/>
                    <a:moveTo>
                      <a:pt x="426" y="401"/>
                    </a:moveTo>
                    <a:cubicBezTo>
                      <a:pt x="423" y="400"/>
                      <a:pt x="423" y="400"/>
                      <a:pt x="423" y="400"/>
                    </a:cubicBezTo>
                    <a:cubicBezTo>
                      <a:pt x="421" y="398"/>
                      <a:pt x="421" y="398"/>
                      <a:pt x="421" y="398"/>
                    </a:cubicBezTo>
                    <a:cubicBezTo>
                      <a:pt x="422" y="396"/>
                      <a:pt x="423" y="395"/>
                      <a:pt x="424" y="393"/>
                    </a:cubicBezTo>
                    <a:cubicBezTo>
                      <a:pt x="429" y="396"/>
                      <a:pt x="429" y="396"/>
                      <a:pt x="429" y="396"/>
                    </a:cubicBezTo>
                    <a:cubicBezTo>
                      <a:pt x="428" y="398"/>
                      <a:pt x="427" y="399"/>
                      <a:pt x="426" y="401"/>
                    </a:cubicBezTo>
                    <a:close/>
                    <a:moveTo>
                      <a:pt x="256" y="399"/>
                    </a:moveTo>
                    <a:cubicBezTo>
                      <a:pt x="254" y="398"/>
                      <a:pt x="253" y="397"/>
                      <a:pt x="251" y="396"/>
                    </a:cubicBezTo>
                    <a:cubicBezTo>
                      <a:pt x="253" y="391"/>
                      <a:pt x="253" y="391"/>
                      <a:pt x="253" y="391"/>
                    </a:cubicBezTo>
                    <a:cubicBezTo>
                      <a:pt x="255" y="392"/>
                      <a:pt x="257" y="393"/>
                      <a:pt x="258" y="393"/>
                    </a:cubicBezTo>
                    <a:lnTo>
                      <a:pt x="256" y="399"/>
                    </a:lnTo>
                    <a:close/>
                    <a:moveTo>
                      <a:pt x="281" y="391"/>
                    </a:moveTo>
                    <a:cubicBezTo>
                      <a:pt x="277" y="386"/>
                      <a:pt x="277" y="386"/>
                      <a:pt x="277" y="386"/>
                    </a:cubicBezTo>
                    <a:cubicBezTo>
                      <a:pt x="279" y="385"/>
                      <a:pt x="281" y="383"/>
                      <a:pt x="282" y="382"/>
                    </a:cubicBezTo>
                    <a:cubicBezTo>
                      <a:pt x="285" y="388"/>
                      <a:pt x="285" y="388"/>
                      <a:pt x="285" y="388"/>
                    </a:cubicBezTo>
                    <a:cubicBezTo>
                      <a:pt x="284" y="388"/>
                      <a:pt x="283" y="389"/>
                      <a:pt x="281" y="391"/>
                    </a:cubicBezTo>
                    <a:close/>
                    <a:moveTo>
                      <a:pt x="436" y="390"/>
                    </a:moveTo>
                    <a:cubicBezTo>
                      <a:pt x="434" y="384"/>
                      <a:pt x="434" y="384"/>
                      <a:pt x="434" y="384"/>
                    </a:cubicBezTo>
                    <a:cubicBezTo>
                      <a:pt x="435" y="384"/>
                      <a:pt x="436" y="383"/>
                      <a:pt x="437" y="382"/>
                    </a:cubicBezTo>
                    <a:cubicBezTo>
                      <a:pt x="442" y="385"/>
                      <a:pt x="442" y="385"/>
                      <a:pt x="442" y="385"/>
                    </a:cubicBezTo>
                    <a:cubicBezTo>
                      <a:pt x="440" y="388"/>
                      <a:pt x="438" y="389"/>
                      <a:pt x="436" y="390"/>
                    </a:cubicBezTo>
                    <a:close/>
                    <a:moveTo>
                      <a:pt x="240" y="389"/>
                    </a:moveTo>
                    <a:cubicBezTo>
                      <a:pt x="239" y="388"/>
                      <a:pt x="239" y="387"/>
                      <a:pt x="239" y="386"/>
                    </a:cubicBezTo>
                    <a:cubicBezTo>
                      <a:pt x="239" y="385"/>
                      <a:pt x="240" y="383"/>
                      <a:pt x="241" y="382"/>
                    </a:cubicBezTo>
                    <a:cubicBezTo>
                      <a:pt x="241" y="382"/>
                      <a:pt x="241" y="383"/>
                      <a:pt x="241" y="383"/>
                    </a:cubicBezTo>
                    <a:cubicBezTo>
                      <a:pt x="247" y="382"/>
                      <a:pt x="247" y="382"/>
                      <a:pt x="247" y="382"/>
                    </a:cubicBezTo>
                    <a:cubicBezTo>
                      <a:pt x="247" y="385"/>
                      <a:pt x="246" y="387"/>
                      <a:pt x="244" y="388"/>
                    </a:cubicBezTo>
                    <a:cubicBezTo>
                      <a:pt x="244" y="387"/>
                      <a:pt x="245" y="387"/>
                      <a:pt x="245" y="386"/>
                    </a:cubicBezTo>
                    <a:lnTo>
                      <a:pt x="240" y="389"/>
                    </a:lnTo>
                    <a:close/>
                    <a:moveTo>
                      <a:pt x="569" y="388"/>
                    </a:moveTo>
                    <a:cubicBezTo>
                      <a:pt x="564" y="386"/>
                      <a:pt x="564" y="386"/>
                      <a:pt x="564" y="386"/>
                    </a:cubicBezTo>
                    <a:cubicBezTo>
                      <a:pt x="564" y="385"/>
                      <a:pt x="565" y="384"/>
                      <a:pt x="565" y="383"/>
                    </a:cubicBezTo>
                    <a:cubicBezTo>
                      <a:pt x="565" y="382"/>
                      <a:pt x="566" y="381"/>
                      <a:pt x="566" y="380"/>
                    </a:cubicBezTo>
                    <a:cubicBezTo>
                      <a:pt x="572" y="382"/>
                      <a:pt x="572" y="382"/>
                      <a:pt x="572" y="382"/>
                    </a:cubicBezTo>
                    <a:cubicBezTo>
                      <a:pt x="571" y="383"/>
                      <a:pt x="571" y="384"/>
                      <a:pt x="571" y="385"/>
                    </a:cubicBezTo>
                    <a:cubicBezTo>
                      <a:pt x="570" y="386"/>
                      <a:pt x="570" y="387"/>
                      <a:pt x="569" y="388"/>
                    </a:cubicBezTo>
                    <a:close/>
                    <a:moveTo>
                      <a:pt x="289" y="379"/>
                    </a:moveTo>
                    <a:cubicBezTo>
                      <a:pt x="289" y="379"/>
                      <a:pt x="289" y="379"/>
                      <a:pt x="288" y="378"/>
                    </a:cubicBezTo>
                    <a:cubicBezTo>
                      <a:pt x="287" y="377"/>
                      <a:pt x="287" y="377"/>
                      <a:pt x="286" y="376"/>
                    </a:cubicBezTo>
                    <a:cubicBezTo>
                      <a:pt x="290" y="372"/>
                      <a:pt x="290" y="372"/>
                      <a:pt x="290" y="372"/>
                    </a:cubicBezTo>
                    <a:cubicBezTo>
                      <a:pt x="291" y="372"/>
                      <a:pt x="291" y="373"/>
                      <a:pt x="292" y="373"/>
                    </a:cubicBezTo>
                    <a:cubicBezTo>
                      <a:pt x="293" y="375"/>
                      <a:pt x="294" y="376"/>
                      <a:pt x="295" y="377"/>
                    </a:cubicBezTo>
                    <a:lnTo>
                      <a:pt x="289" y="379"/>
                    </a:lnTo>
                    <a:close/>
                    <a:moveTo>
                      <a:pt x="233" y="377"/>
                    </a:moveTo>
                    <a:cubicBezTo>
                      <a:pt x="232" y="376"/>
                      <a:pt x="232" y="375"/>
                      <a:pt x="232" y="374"/>
                    </a:cubicBezTo>
                    <a:cubicBezTo>
                      <a:pt x="232" y="373"/>
                      <a:pt x="232" y="372"/>
                      <a:pt x="232" y="371"/>
                    </a:cubicBezTo>
                    <a:cubicBezTo>
                      <a:pt x="238" y="370"/>
                      <a:pt x="238" y="370"/>
                      <a:pt x="238" y="370"/>
                    </a:cubicBezTo>
                    <a:cubicBezTo>
                      <a:pt x="238" y="371"/>
                      <a:pt x="238" y="373"/>
                      <a:pt x="238" y="374"/>
                    </a:cubicBezTo>
                    <a:cubicBezTo>
                      <a:pt x="238" y="374"/>
                      <a:pt x="238" y="375"/>
                      <a:pt x="238" y="376"/>
                    </a:cubicBezTo>
                    <a:lnTo>
                      <a:pt x="233" y="377"/>
                    </a:lnTo>
                    <a:close/>
                    <a:moveTo>
                      <a:pt x="578" y="377"/>
                    </a:moveTo>
                    <a:cubicBezTo>
                      <a:pt x="577" y="371"/>
                      <a:pt x="577" y="371"/>
                      <a:pt x="577" y="371"/>
                    </a:cubicBezTo>
                    <a:cubicBezTo>
                      <a:pt x="578" y="371"/>
                      <a:pt x="580" y="371"/>
                      <a:pt x="581" y="370"/>
                    </a:cubicBezTo>
                    <a:cubicBezTo>
                      <a:pt x="585" y="374"/>
                      <a:pt x="585" y="374"/>
                      <a:pt x="585" y="374"/>
                    </a:cubicBezTo>
                    <a:cubicBezTo>
                      <a:pt x="583" y="376"/>
                      <a:pt x="580" y="377"/>
                      <a:pt x="578" y="377"/>
                    </a:cubicBezTo>
                    <a:close/>
                    <a:moveTo>
                      <a:pt x="441" y="373"/>
                    </a:moveTo>
                    <a:cubicBezTo>
                      <a:pt x="440" y="372"/>
                      <a:pt x="440" y="370"/>
                      <a:pt x="439" y="369"/>
                    </a:cubicBezTo>
                    <a:cubicBezTo>
                      <a:pt x="444" y="366"/>
                      <a:pt x="444" y="366"/>
                      <a:pt x="444" y="366"/>
                    </a:cubicBezTo>
                    <a:cubicBezTo>
                      <a:pt x="446" y="368"/>
                      <a:pt x="446" y="370"/>
                      <a:pt x="446" y="373"/>
                    </a:cubicBezTo>
                    <a:lnTo>
                      <a:pt x="441" y="373"/>
                    </a:lnTo>
                    <a:close/>
                    <a:moveTo>
                      <a:pt x="223" y="370"/>
                    </a:moveTo>
                    <a:cubicBezTo>
                      <a:pt x="221" y="365"/>
                      <a:pt x="221" y="365"/>
                      <a:pt x="221" y="365"/>
                    </a:cubicBezTo>
                    <a:cubicBezTo>
                      <a:pt x="223" y="364"/>
                      <a:pt x="225" y="364"/>
                      <a:pt x="227" y="363"/>
                    </a:cubicBezTo>
                    <a:cubicBezTo>
                      <a:pt x="228" y="369"/>
                      <a:pt x="228" y="369"/>
                      <a:pt x="228" y="369"/>
                    </a:cubicBezTo>
                    <a:cubicBezTo>
                      <a:pt x="226" y="369"/>
                      <a:pt x="224" y="370"/>
                      <a:pt x="223" y="370"/>
                    </a:cubicBezTo>
                    <a:close/>
                    <a:moveTo>
                      <a:pt x="278" y="367"/>
                    </a:moveTo>
                    <a:cubicBezTo>
                      <a:pt x="277" y="366"/>
                      <a:pt x="276" y="364"/>
                      <a:pt x="275" y="363"/>
                    </a:cubicBezTo>
                    <a:cubicBezTo>
                      <a:pt x="275" y="363"/>
                      <a:pt x="275" y="363"/>
                      <a:pt x="275" y="363"/>
                    </a:cubicBezTo>
                    <a:cubicBezTo>
                      <a:pt x="279" y="359"/>
                      <a:pt x="279" y="359"/>
                      <a:pt x="279" y="359"/>
                    </a:cubicBezTo>
                    <a:cubicBezTo>
                      <a:pt x="279" y="359"/>
                      <a:pt x="279" y="359"/>
                      <a:pt x="279" y="359"/>
                    </a:cubicBezTo>
                    <a:cubicBezTo>
                      <a:pt x="280" y="360"/>
                      <a:pt x="282" y="362"/>
                      <a:pt x="283" y="364"/>
                    </a:cubicBezTo>
                    <a:lnTo>
                      <a:pt x="278" y="367"/>
                    </a:lnTo>
                    <a:close/>
                    <a:moveTo>
                      <a:pt x="354" y="366"/>
                    </a:moveTo>
                    <a:cubicBezTo>
                      <a:pt x="353" y="366"/>
                      <a:pt x="352" y="366"/>
                      <a:pt x="352" y="365"/>
                    </a:cubicBezTo>
                    <a:cubicBezTo>
                      <a:pt x="350" y="365"/>
                      <a:pt x="350" y="365"/>
                      <a:pt x="350" y="365"/>
                    </a:cubicBezTo>
                    <a:cubicBezTo>
                      <a:pt x="350" y="365"/>
                      <a:pt x="349" y="364"/>
                      <a:pt x="348" y="364"/>
                    </a:cubicBezTo>
                    <a:cubicBezTo>
                      <a:pt x="351" y="359"/>
                      <a:pt x="351" y="359"/>
                      <a:pt x="351" y="359"/>
                    </a:cubicBezTo>
                    <a:cubicBezTo>
                      <a:pt x="351" y="359"/>
                      <a:pt x="352" y="359"/>
                      <a:pt x="353" y="360"/>
                    </a:cubicBezTo>
                    <a:cubicBezTo>
                      <a:pt x="354" y="360"/>
                      <a:pt x="354" y="360"/>
                      <a:pt x="354" y="360"/>
                    </a:cubicBezTo>
                    <a:cubicBezTo>
                      <a:pt x="355" y="360"/>
                      <a:pt x="355" y="361"/>
                      <a:pt x="356" y="361"/>
                    </a:cubicBezTo>
                    <a:lnTo>
                      <a:pt x="354" y="366"/>
                    </a:lnTo>
                    <a:close/>
                    <a:moveTo>
                      <a:pt x="592" y="365"/>
                    </a:moveTo>
                    <a:cubicBezTo>
                      <a:pt x="591" y="365"/>
                      <a:pt x="590" y="365"/>
                      <a:pt x="589" y="365"/>
                    </a:cubicBezTo>
                    <a:cubicBezTo>
                      <a:pt x="588" y="364"/>
                      <a:pt x="588" y="364"/>
                      <a:pt x="587" y="364"/>
                    </a:cubicBezTo>
                    <a:cubicBezTo>
                      <a:pt x="585" y="359"/>
                      <a:pt x="585" y="359"/>
                      <a:pt x="585" y="359"/>
                    </a:cubicBezTo>
                    <a:cubicBezTo>
                      <a:pt x="586" y="359"/>
                      <a:pt x="586" y="358"/>
                      <a:pt x="587" y="359"/>
                    </a:cubicBezTo>
                    <a:cubicBezTo>
                      <a:pt x="588" y="359"/>
                      <a:pt x="589" y="359"/>
                      <a:pt x="590" y="359"/>
                    </a:cubicBezTo>
                    <a:cubicBezTo>
                      <a:pt x="591" y="359"/>
                      <a:pt x="591" y="359"/>
                      <a:pt x="592" y="359"/>
                    </a:cubicBezTo>
                    <a:lnTo>
                      <a:pt x="592" y="365"/>
                    </a:lnTo>
                    <a:close/>
                    <a:moveTo>
                      <a:pt x="212" y="364"/>
                    </a:moveTo>
                    <a:cubicBezTo>
                      <a:pt x="212" y="363"/>
                      <a:pt x="211" y="363"/>
                      <a:pt x="211" y="363"/>
                    </a:cubicBezTo>
                    <a:cubicBezTo>
                      <a:pt x="211" y="363"/>
                      <a:pt x="212" y="363"/>
                      <a:pt x="212" y="363"/>
                    </a:cubicBezTo>
                    <a:cubicBezTo>
                      <a:pt x="209" y="358"/>
                      <a:pt x="209" y="358"/>
                      <a:pt x="209" y="358"/>
                    </a:cubicBezTo>
                    <a:cubicBezTo>
                      <a:pt x="209" y="358"/>
                      <a:pt x="209" y="358"/>
                      <a:pt x="209" y="359"/>
                    </a:cubicBezTo>
                    <a:cubicBezTo>
                      <a:pt x="203" y="357"/>
                      <a:pt x="203" y="357"/>
                      <a:pt x="203" y="357"/>
                    </a:cubicBezTo>
                    <a:cubicBezTo>
                      <a:pt x="204" y="356"/>
                      <a:pt x="205" y="355"/>
                      <a:pt x="205" y="354"/>
                    </a:cubicBezTo>
                    <a:cubicBezTo>
                      <a:pt x="206" y="353"/>
                      <a:pt x="206" y="352"/>
                      <a:pt x="206" y="352"/>
                    </a:cubicBezTo>
                    <a:cubicBezTo>
                      <a:pt x="212" y="353"/>
                      <a:pt x="212" y="353"/>
                      <a:pt x="212" y="353"/>
                    </a:cubicBezTo>
                    <a:cubicBezTo>
                      <a:pt x="211" y="355"/>
                      <a:pt x="211" y="356"/>
                      <a:pt x="210" y="357"/>
                    </a:cubicBezTo>
                    <a:cubicBezTo>
                      <a:pt x="210" y="357"/>
                      <a:pt x="210" y="357"/>
                      <a:pt x="209" y="358"/>
                    </a:cubicBezTo>
                    <a:cubicBezTo>
                      <a:pt x="213" y="356"/>
                      <a:pt x="216" y="358"/>
                      <a:pt x="217" y="362"/>
                    </a:cubicBezTo>
                    <a:lnTo>
                      <a:pt x="212" y="364"/>
                    </a:lnTo>
                    <a:close/>
                    <a:moveTo>
                      <a:pt x="367" y="363"/>
                    </a:moveTo>
                    <a:cubicBezTo>
                      <a:pt x="363" y="359"/>
                      <a:pt x="363" y="359"/>
                      <a:pt x="363" y="359"/>
                    </a:cubicBezTo>
                    <a:cubicBezTo>
                      <a:pt x="364" y="357"/>
                      <a:pt x="366" y="356"/>
                      <a:pt x="368" y="355"/>
                    </a:cubicBezTo>
                    <a:cubicBezTo>
                      <a:pt x="371" y="359"/>
                      <a:pt x="371" y="359"/>
                      <a:pt x="371" y="359"/>
                    </a:cubicBezTo>
                    <a:cubicBezTo>
                      <a:pt x="369" y="361"/>
                      <a:pt x="368" y="362"/>
                      <a:pt x="367" y="363"/>
                    </a:cubicBezTo>
                    <a:close/>
                    <a:moveTo>
                      <a:pt x="286" y="361"/>
                    </a:moveTo>
                    <a:cubicBezTo>
                      <a:pt x="285" y="355"/>
                      <a:pt x="285" y="355"/>
                      <a:pt x="285" y="355"/>
                    </a:cubicBezTo>
                    <a:cubicBezTo>
                      <a:pt x="287" y="355"/>
                      <a:pt x="288" y="355"/>
                      <a:pt x="290" y="354"/>
                    </a:cubicBezTo>
                    <a:cubicBezTo>
                      <a:pt x="291" y="360"/>
                      <a:pt x="291" y="360"/>
                      <a:pt x="291" y="360"/>
                    </a:cubicBezTo>
                    <a:cubicBezTo>
                      <a:pt x="289" y="361"/>
                      <a:pt x="287" y="361"/>
                      <a:pt x="286" y="361"/>
                    </a:cubicBezTo>
                    <a:close/>
                    <a:moveTo>
                      <a:pt x="604" y="360"/>
                    </a:moveTo>
                    <a:cubicBezTo>
                      <a:pt x="602" y="355"/>
                      <a:pt x="602" y="355"/>
                      <a:pt x="602" y="355"/>
                    </a:cubicBezTo>
                    <a:cubicBezTo>
                      <a:pt x="605" y="353"/>
                      <a:pt x="608" y="353"/>
                      <a:pt x="608" y="353"/>
                    </a:cubicBezTo>
                    <a:cubicBezTo>
                      <a:pt x="608" y="359"/>
                      <a:pt x="608" y="359"/>
                      <a:pt x="608" y="359"/>
                    </a:cubicBezTo>
                    <a:cubicBezTo>
                      <a:pt x="608" y="359"/>
                      <a:pt x="606" y="359"/>
                      <a:pt x="604" y="360"/>
                    </a:cubicBezTo>
                    <a:close/>
                    <a:moveTo>
                      <a:pt x="337" y="360"/>
                    </a:moveTo>
                    <a:cubicBezTo>
                      <a:pt x="337" y="360"/>
                      <a:pt x="336" y="359"/>
                      <a:pt x="335" y="359"/>
                    </a:cubicBezTo>
                    <a:cubicBezTo>
                      <a:pt x="334" y="358"/>
                      <a:pt x="333" y="358"/>
                      <a:pt x="332" y="357"/>
                    </a:cubicBezTo>
                    <a:cubicBezTo>
                      <a:pt x="335" y="352"/>
                      <a:pt x="335" y="352"/>
                      <a:pt x="335" y="352"/>
                    </a:cubicBezTo>
                    <a:cubicBezTo>
                      <a:pt x="336" y="353"/>
                      <a:pt x="337" y="353"/>
                      <a:pt x="337" y="353"/>
                    </a:cubicBezTo>
                    <a:cubicBezTo>
                      <a:pt x="338" y="354"/>
                      <a:pt x="339" y="354"/>
                      <a:pt x="340" y="355"/>
                    </a:cubicBezTo>
                    <a:lnTo>
                      <a:pt x="337" y="360"/>
                    </a:lnTo>
                    <a:close/>
                    <a:moveTo>
                      <a:pt x="433" y="359"/>
                    </a:moveTo>
                    <a:cubicBezTo>
                      <a:pt x="432" y="358"/>
                      <a:pt x="430" y="355"/>
                      <a:pt x="430" y="352"/>
                    </a:cubicBezTo>
                    <a:cubicBezTo>
                      <a:pt x="433" y="352"/>
                      <a:pt x="433" y="352"/>
                      <a:pt x="433" y="352"/>
                    </a:cubicBezTo>
                    <a:cubicBezTo>
                      <a:pt x="436" y="352"/>
                      <a:pt x="436" y="352"/>
                      <a:pt x="436" y="352"/>
                    </a:cubicBezTo>
                    <a:cubicBezTo>
                      <a:pt x="436" y="353"/>
                      <a:pt x="437" y="354"/>
                      <a:pt x="438" y="356"/>
                    </a:cubicBezTo>
                    <a:lnTo>
                      <a:pt x="433" y="359"/>
                    </a:lnTo>
                    <a:close/>
                    <a:moveTo>
                      <a:pt x="303" y="358"/>
                    </a:moveTo>
                    <a:cubicBezTo>
                      <a:pt x="302" y="352"/>
                      <a:pt x="302" y="352"/>
                      <a:pt x="302" y="352"/>
                    </a:cubicBezTo>
                    <a:cubicBezTo>
                      <a:pt x="303" y="352"/>
                      <a:pt x="304" y="352"/>
                      <a:pt x="305" y="352"/>
                    </a:cubicBezTo>
                    <a:cubicBezTo>
                      <a:pt x="306" y="351"/>
                      <a:pt x="306" y="351"/>
                      <a:pt x="307" y="351"/>
                    </a:cubicBezTo>
                    <a:cubicBezTo>
                      <a:pt x="309" y="356"/>
                      <a:pt x="309" y="356"/>
                      <a:pt x="309" y="356"/>
                    </a:cubicBezTo>
                    <a:cubicBezTo>
                      <a:pt x="308" y="357"/>
                      <a:pt x="307" y="357"/>
                      <a:pt x="306" y="357"/>
                    </a:cubicBezTo>
                    <a:cubicBezTo>
                      <a:pt x="305" y="357"/>
                      <a:pt x="304" y="358"/>
                      <a:pt x="303" y="358"/>
                    </a:cubicBezTo>
                    <a:close/>
                    <a:moveTo>
                      <a:pt x="381" y="354"/>
                    </a:moveTo>
                    <a:cubicBezTo>
                      <a:pt x="378" y="348"/>
                      <a:pt x="378" y="348"/>
                      <a:pt x="378" y="348"/>
                    </a:cubicBezTo>
                    <a:cubicBezTo>
                      <a:pt x="380" y="348"/>
                      <a:pt x="381" y="347"/>
                      <a:pt x="383" y="346"/>
                    </a:cubicBezTo>
                    <a:cubicBezTo>
                      <a:pt x="386" y="351"/>
                      <a:pt x="386" y="351"/>
                      <a:pt x="386" y="351"/>
                    </a:cubicBezTo>
                    <a:cubicBezTo>
                      <a:pt x="384" y="352"/>
                      <a:pt x="382" y="353"/>
                      <a:pt x="381" y="354"/>
                    </a:cubicBezTo>
                    <a:close/>
                    <a:moveTo>
                      <a:pt x="320" y="352"/>
                    </a:moveTo>
                    <a:cubicBezTo>
                      <a:pt x="318" y="347"/>
                      <a:pt x="318" y="347"/>
                      <a:pt x="318" y="347"/>
                    </a:cubicBezTo>
                    <a:cubicBezTo>
                      <a:pt x="318" y="346"/>
                      <a:pt x="318" y="346"/>
                      <a:pt x="318" y="346"/>
                    </a:cubicBezTo>
                    <a:cubicBezTo>
                      <a:pt x="321" y="345"/>
                      <a:pt x="323" y="345"/>
                      <a:pt x="324" y="345"/>
                    </a:cubicBezTo>
                    <a:cubicBezTo>
                      <a:pt x="324" y="351"/>
                      <a:pt x="324" y="351"/>
                      <a:pt x="324" y="351"/>
                    </a:cubicBezTo>
                    <a:cubicBezTo>
                      <a:pt x="324" y="351"/>
                      <a:pt x="324" y="351"/>
                      <a:pt x="324" y="351"/>
                    </a:cubicBezTo>
                    <a:cubicBezTo>
                      <a:pt x="324" y="351"/>
                      <a:pt x="322" y="351"/>
                      <a:pt x="321" y="351"/>
                    </a:cubicBezTo>
                    <a:lnTo>
                      <a:pt x="320" y="352"/>
                    </a:lnTo>
                    <a:close/>
                    <a:moveTo>
                      <a:pt x="396" y="346"/>
                    </a:moveTo>
                    <a:cubicBezTo>
                      <a:pt x="394" y="341"/>
                      <a:pt x="394" y="341"/>
                      <a:pt x="394" y="341"/>
                    </a:cubicBezTo>
                    <a:cubicBezTo>
                      <a:pt x="396" y="340"/>
                      <a:pt x="398" y="339"/>
                      <a:pt x="400" y="339"/>
                    </a:cubicBezTo>
                    <a:cubicBezTo>
                      <a:pt x="401" y="344"/>
                      <a:pt x="401" y="344"/>
                      <a:pt x="401" y="344"/>
                    </a:cubicBezTo>
                    <a:cubicBezTo>
                      <a:pt x="400" y="345"/>
                      <a:pt x="398" y="345"/>
                      <a:pt x="396" y="346"/>
                    </a:cubicBezTo>
                    <a:close/>
                    <a:moveTo>
                      <a:pt x="432" y="343"/>
                    </a:moveTo>
                    <a:cubicBezTo>
                      <a:pt x="432" y="343"/>
                      <a:pt x="432" y="342"/>
                      <a:pt x="430" y="342"/>
                    </a:cubicBezTo>
                    <a:cubicBezTo>
                      <a:pt x="429" y="342"/>
                      <a:pt x="429" y="342"/>
                      <a:pt x="429" y="342"/>
                    </a:cubicBezTo>
                    <a:cubicBezTo>
                      <a:pt x="430" y="336"/>
                      <a:pt x="430" y="336"/>
                      <a:pt x="430" y="336"/>
                    </a:cubicBezTo>
                    <a:cubicBezTo>
                      <a:pt x="431" y="336"/>
                      <a:pt x="431" y="336"/>
                      <a:pt x="431" y="336"/>
                    </a:cubicBezTo>
                    <a:cubicBezTo>
                      <a:pt x="434" y="337"/>
                      <a:pt x="436" y="338"/>
                      <a:pt x="437" y="339"/>
                    </a:cubicBezTo>
                    <a:lnTo>
                      <a:pt x="432" y="343"/>
                    </a:lnTo>
                    <a:close/>
                    <a:moveTo>
                      <a:pt x="212" y="342"/>
                    </a:moveTo>
                    <a:cubicBezTo>
                      <a:pt x="206" y="340"/>
                      <a:pt x="206" y="340"/>
                      <a:pt x="206" y="340"/>
                    </a:cubicBezTo>
                    <a:cubicBezTo>
                      <a:pt x="206" y="340"/>
                      <a:pt x="207" y="339"/>
                      <a:pt x="207" y="338"/>
                    </a:cubicBezTo>
                    <a:cubicBezTo>
                      <a:pt x="207" y="337"/>
                      <a:pt x="207" y="336"/>
                      <a:pt x="207" y="335"/>
                    </a:cubicBezTo>
                    <a:cubicBezTo>
                      <a:pt x="213" y="336"/>
                      <a:pt x="213" y="336"/>
                      <a:pt x="213" y="336"/>
                    </a:cubicBezTo>
                    <a:cubicBezTo>
                      <a:pt x="213" y="337"/>
                      <a:pt x="213" y="338"/>
                      <a:pt x="212" y="339"/>
                    </a:cubicBezTo>
                    <a:cubicBezTo>
                      <a:pt x="212" y="340"/>
                      <a:pt x="212" y="341"/>
                      <a:pt x="212" y="342"/>
                    </a:cubicBezTo>
                    <a:close/>
                    <a:moveTo>
                      <a:pt x="412" y="341"/>
                    </a:moveTo>
                    <a:cubicBezTo>
                      <a:pt x="411" y="336"/>
                      <a:pt x="411" y="336"/>
                      <a:pt x="411" y="336"/>
                    </a:cubicBezTo>
                    <a:cubicBezTo>
                      <a:pt x="414" y="335"/>
                      <a:pt x="416" y="335"/>
                      <a:pt x="418" y="335"/>
                    </a:cubicBezTo>
                    <a:cubicBezTo>
                      <a:pt x="418" y="341"/>
                      <a:pt x="418" y="341"/>
                      <a:pt x="418" y="341"/>
                    </a:cubicBezTo>
                    <a:cubicBezTo>
                      <a:pt x="416" y="341"/>
                      <a:pt x="414" y="341"/>
                      <a:pt x="412" y="341"/>
                    </a:cubicBezTo>
                    <a:close/>
                    <a:moveTo>
                      <a:pt x="206" y="330"/>
                    </a:moveTo>
                    <a:cubicBezTo>
                      <a:pt x="205" y="329"/>
                      <a:pt x="203" y="329"/>
                      <a:pt x="201" y="329"/>
                    </a:cubicBezTo>
                    <a:cubicBezTo>
                      <a:pt x="202" y="323"/>
                      <a:pt x="202" y="323"/>
                      <a:pt x="202" y="323"/>
                    </a:cubicBezTo>
                    <a:cubicBezTo>
                      <a:pt x="204" y="323"/>
                      <a:pt x="206" y="324"/>
                      <a:pt x="207" y="324"/>
                    </a:cubicBezTo>
                    <a:lnTo>
                      <a:pt x="206" y="330"/>
                    </a:lnTo>
                    <a:close/>
                    <a:moveTo>
                      <a:pt x="188" y="327"/>
                    </a:moveTo>
                    <a:cubicBezTo>
                      <a:pt x="186" y="325"/>
                      <a:pt x="185" y="323"/>
                      <a:pt x="185" y="320"/>
                    </a:cubicBezTo>
                    <a:cubicBezTo>
                      <a:pt x="190" y="318"/>
                      <a:pt x="190" y="318"/>
                      <a:pt x="190" y="318"/>
                    </a:cubicBezTo>
                    <a:cubicBezTo>
                      <a:pt x="190" y="319"/>
                      <a:pt x="190" y="319"/>
                      <a:pt x="190" y="319"/>
                    </a:cubicBezTo>
                    <a:cubicBezTo>
                      <a:pt x="191" y="320"/>
                      <a:pt x="191" y="321"/>
                      <a:pt x="191" y="322"/>
                    </a:cubicBezTo>
                    <a:lnTo>
                      <a:pt x="188" y="327"/>
                    </a:lnTo>
                    <a:close/>
                    <a:moveTo>
                      <a:pt x="176" y="316"/>
                    </a:moveTo>
                    <a:cubicBezTo>
                      <a:pt x="174" y="315"/>
                      <a:pt x="172" y="312"/>
                      <a:pt x="171" y="310"/>
                    </a:cubicBezTo>
                    <a:cubicBezTo>
                      <a:pt x="177" y="309"/>
                      <a:pt x="177" y="309"/>
                      <a:pt x="177" y="309"/>
                    </a:cubicBezTo>
                    <a:cubicBezTo>
                      <a:pt x="177" y="309"/>
                      <a:pt x="178" y="311"/>
                      <a:pt x="179" y="311"/>
                    </a:cubicBezTo>
                    <a:lnTo>
                      <a:pt x="176" y="316"/>
                    </a:lnTo>
                    <a:close/>
                    <a:moveTo>
                      <a:pt x="172" y="300"/>
                    </a:moveTo>
                    <a:cubicBezTo>
                      <a:pt x="172" y="299"/>
                      <a:pt x="172" y="298"/>
                      <a:pt x="171" y="298"/>
                    </a:cubicBezTo>
                    <a:cubicBezTo>
                      <a:pt x="171" y="297"/>
                      <a:pt x="171" y="297"/>
                      <a:pt x="171" y="297"/>
                    </a:cubicBezTo>
                    <a:cubicBezTo>
                      <a:pt x="171" y="297"/>
                      <a:pt x="172" y="298"/>
                      <a:pt x="172" y="298"/>
                    </a:cubicBezTo>
                    <a:cubicBezTo>
                      <a:pt x="171" y="292"/>
                      <a:pt x="171" y="292"/>
                      <a:pt x="171" y="292"/>
                    </a:cubicBezTo>
                    <a:cubicBezTo>
                      <a:pt x="174" y="291"/>
                      <a:pt x="176" y="294"/>
                      <a:pt x="176" y="295"/>
                    </a:cubicBezTo>
                    <a:cubicBezTo>
                      <a:pt x="177" y="295"/>
                      <a:pt x="177" y="296"/>
                      <a:pt x="178" y="297"/>
                    </a:cubicBezTo>
                    <a:lnTo>
                      <a:pt x="172" y="300"/>
                    </a:lnTo>
                    <a:close/>
                    <a:moveTo>
                      <a:pt x="158" y="295"/>
                    </a:moveTo>
                    <a:cubicBezTo>
                      <a:pt x="157" y="294"/>
                      <a:pt x="157" y="294"/>
                      <a:pt x="156" y="293"/>
                    </a:cubicBezTo>
                    <a:cubicBezTo>
                      <a:pt x="155" y="292"/>
                      <a:pt x="155" y="292"/>
                      <a:pt x="154" y="291"/>
                    </a:cubicBezTo>
                    <a:cubicBezTo>
                      <a:pt x="154" y="291"/>
                      <a:pt x="154" y="291"/>
                      <a:pt x="154" y="291"/>
                    </a:cubicBezTo>
                    <a:cubicBezTo>
                      <a:pt x="157" y="287"/>
                      <a:pt x="157" y="287"/>
                      <a:pt x="157" y="287"/>
                    </a:cubicBezTo>
                    <a:cubicBezTo>
                      <a:pt x="158" y="287"/>
                      <a:pt x="158" y="287"/>
                      <a:pt x="158" y="287"/>
                    </a:cubicBezTo>
                    <a:cubicBezTo>
                      <a:pt x="158" y="287"/>
                      <a:pt x="159" y="288"/>
                      <a:pt x="160" y="289"/>
                    </a:cubicBezTo>
                    <a:cubicBezTo>
                      <a:pt x="160" y="289"/>
                      <a:pt x="161" y="290"/>
                      <a:pt x="162" y="290"/>
                    </a:cubicBezTo>
                    <a:lnTo>
                      <a:pt x="158" y="295"/>
                    </a:lnTo>
                    <a:close/>
                    <a:moveTo>
                      <a:pt x="145" y="284"/>
                    </a:moveTo>
                    <a:cubicBezTo>
                      <a:pt x="142" y="282"/>
                      <a:pt x="142" y="282"/>
                      <a:pt x="142" y="282"/>
                    </a:cubicBezTo>
                    <a:cubicBezTo>
                      <a:pt x="141" y="281"/>
                      <a:pt x="141" y="281"/>
                      <a:pt x="140" y="280"/>
                    </a:cubicBezTo>
                    <a:cubicBezTo>
                      <a:pt x="143" y="275"/>
                      <a:pt x="143" y="275"/>
                      <a:pt x="143" y="275"/>
                    </a:cubicBezTo>
                    <a:cubicBezTo>
                      <a:pt x="144" y="276"/>
                      <a:pt x="145" y="276"/>
                      <a:pt x="146" y="277"/>
                    </a:cubicBezTo>
                    <a:cubicBezTo>
                      <a:pt x="148" y="279"/>
                      <a:pt x="148" y="279"/>
                      <a:pt x="148" y="279"/>
                    </a:cubicBezTo>
                    <a:lnTo>
                      <a:pt x="145" y="284"/>
                    </a:lnTo>
                    <a:close/>
                    <a:moveTo>
                      <a:pt x="125" y="279"/>
                    </a:moveTo>
                    <a:cubicBezTo>
                      <a:pt x="125" y="274"/>
                      <a:pt x="125" y="274"/>
                      <a:pt x="125" y="274"/>
                    </a:cubicBezTo>
                    <a:cubicBezTo>
                      <a:pt x="124" y="274"/>
                      <a:pt x="124" y="274"/>
                      <a:pt x="124" y="275"/>
                    </a:cubicBezTo>
                    <a:cubicBezTo>
                      <a:pt x="122" y="269"/>
                      <a:pt x="122" y="269"/>
                      <a:pt x="122" y="269"/>
                    </a:cubicBezTo>
                    <a:cubicBezTo>
                      <a:pt x="123" y="269"/>
                      <a:pt x="124" y="268"/>
                      <a:pt x="125" y="268"/>
                    </a:cubicBezTo>
                    <a:cubicBezTo>
                      <a:pt x="127" y="268"/>
                      <a:pt x="127" y="268"/>
                      <a:pt x="127" y="268"/>
                    </a:cubicBezTo>
                    <a:cubicBezTo>
                      <a:pt x="127" y="268"/>
                      <a:pt x="128" y="268"/>
                      <a:pt x="128" y="268"/>
                    </a:cubicBezTo>
                    <a:cubicBezTo>
                      <a:pt x="129" y="273"/>
                      <a:pt x="129" y="273"/>
                      <a:pt x="129" y="273"/>
                    </a:cubicBezTo>
                    <a:cubicBezTo>
                      <a:pt x="130" y="273"/>
                      <a:pt x="130" y="273"/>
                      <a:pt x="130" y="273"/>
                    </a:cubicBezTo>
                    <a:cubicBezTo>
                      <a:pt x="131" y="276"/>
                      <a:pt x="131" y="276"/>
                      <a:pt x="131" y="276"/>
                    </a:cubicBezTo>
                    <a:cubicBezTo>
                      <a:pt x="131" y="279"/>
                      <a:pt x="131" y="279"/>
                      <a:pt x="131" y="279"/>
                    </a:cubicBezTo>
                    <a:cubicBezTo>
                      <a:pt x="130" y="279"/>
                      <a:pt x="130" y="279"/>
                      <a:pt x="130" y="279"/>
                    </a:cubicBezTo>
                    <a:cubicBezTo>
                      <a:pt x="128" y="279"/>
                      <a:pt x="126" y="279"/>
                      <a:pt x="125" y="279"/>
                    </a:cubicBezTo>
                    <a:close/>
                    <a:moveTo>
                      <a:pt x="140" y="268"/>
                    </a:moveTo>
                    <a:cubicBezTo>
                      <a:pt x="138" y="262"/>
                      <a:pt x="138" y="262"/>
                      <a:pt x="138" y="262"/>
                    </a:cubicBezTo>
                    <a:cubicBezTo>
                      <a:pt x="138" y="262"/>
                      <a:pt x="138" y="262"/>
                      <a:pt x="138" y="262"/>
                    </a:cubicBezTo>
                    <a:cubicBezTo>
                      <a:pt x="140" y="261"/>
                      <a:pt x="142" y="261"/>
                      <a:pt x="143" y="260"/>
                    </a:cubicBezTo>
                    <a:cubicBezTo>
                      <a:pt x="146" y="265"/>
                      <a:pt x="146" y="265"/>
                      <a:pt x="146" y="265"/>
                    </a:cubicBezTo>
                    <a:cubicBezTo>
                      <a:pt x="144" y="266"/>
                      <a:pt x="143" y="267"/>
                      <a:pt x="140" y="268"/>
                    </a:cubicBezTo>
                    <a:close/>
                    <a:moveTo>
                      <a:pt x="155" y="257"/>
                    </a:moveTo>
                    <a:cubicBezTo>
                      <a:pt x="151" y="253"/>
                      <a:pt x="151" y="253"/>
                      <a:pt x="151" y="253"/>
                    </a:cubicBezTo>
                    <a:cubicBezTo>
                      <a:pt x="153" y="252"/>
                      <a:pt x="153" y="251"/>
                      <a:pt x="154" y="250"/>
                    </a:cubicBezTo>
                    <a:cubicBezTo>
                      <a:pt x="155" y="249"/>
                      <a:pt x="155" y="249"/>
                      <a:pt x="155" y="249"/>
                    </a:cubicBezTo>
                    <a:cubicBezTo>
                      <a:pt x="160" y="253"/>
                      <a:pt x="160" y="253"/>
                      <a:pt x="160" y="253"/>
                    </a:cubicBezTo>
                    <a:cubicBezTo>
                      <a:pt x="159" y="254"/>
                      <a:pt x="159" y="254"/>
                      <a:pt x="159" y="254"/>
                    </a:cubicBezTo>
                    <a:cubicBezTo>
                      <a:pt x="158" y="255"/>
                      <a:pt x="157" y="256"/>
                      <a:pt x="155" y="257"/>
                    </a:cubicBezTo>
                    <a:close/>
                    <a:moveTo>
                      <a:pt x="168" y="245"/>
                    </a:moveTo>
                    <a:cubicBezTo>
                      <a:pt x="163" y="241"/>
                      <a:pt x="163" y="241"/>
                      <a:pt x="163" y="241"/>
                    </a:cubicBezTo>
                    <a:cubicBezTo>
                      <a:pt x="164" y="241"/>
                      <a:pt x="164" y="240"/>
                      <a:pt x="164" y="237"/>
                    </a:cubicBezTo>
                    <a:cubicBezTo>
                      <a:pt x="170" y="237"/>
                      <a:pt x="170" y="237"/>
                      <a:pt x="170" y="237"/>
                    </a:cubicBezTo>
                    <a:cubicBezTo>
                      <a:pt x="170" y="240"/>
                      <a:pt x="170" y="243"/>
                      <a:pt x="168" y="245"/>
                    </a:cubicBezTo>
                    <a:close/>
                    <a:moveTo>
                      <a:pt x="172" y="227"/>
                    </a:moveTo>
                    <a:cubicBezTo>
                      <a:pt x="166" y="225"/>
                      <a:pt x="166" y="225"/>
                      <a:pt x="166" y="225"/>
                    </a:cubicBezTo>
                    <a:cubicBezTo>
                      <a:pt x="168" y="222"/>
                      <a:pt x="169" y="221"/>
                      <a:pt x="171" y="219"/>
                    </a:cubicBezTo>
                    <a:cubicBezTo>
                      <a:pt x="174" y="224"/>
                      <a:pt x="174" y="224"/>
                      <a:pt x="174" y="224"/>
                    </a:cubicBezTo>
                    <a:cubicBezTo>
                      <a:pt x="173" y="225"/>
                      <a:pt x="172" y="226"/>
                      <a:pt x="172" y="227"/>
                    </a:cubicBezTo>
                    <a:close/>
                    <a:moveTo>
                      <a:pt x="181" y="213"/>
                    </a:moveTo>
                    <a:cubicBezTo>
                      <a:pt x="176" y="211"/>
                      <a:pt x="176" y="211"/>
                      <a:pt x="176" y="211"/>
                    </a:cubicBezTo>
                    <a:cubicBezTo>
                      <a:pt x="176" y="211"/>
                      <a:pt x="176" y="211"/>
                      <a:pt x="176" y="210"/>
                    </a:cubicBezTo>
                    <a:cubicBezTo>
                      <a:pt x="177" y="209"/>
                      <a:pt x="177" y="208"/>
                      <a:pt x="177" y="206"/>
                    </a:cubicBezTo>
                    <a:cubicBezTo>
                      <a:pt x="183" y="207"/>
                      <a:pt x="183" y="207"/>
                      <a:pt x="183" y="207"/>
                    </a:cubicBezTo>
                    <a:cubicBezTo>
                      <a:pt x="183" y="208"/>
                      <a:pt x="182" y="210"/>
                      <a:pt x="182" y="212"/>
                    </a:cubicBezTo>
                    <a:cubicBezTo>
                      <a:pt x="182" y="212"/>
                      <a:pt x="181" y="213"/>
                      <a:pt x="181" y="213"/>
                    </a:cubicBezTo>
                    <a:close/>
                    <a:moveTo>
                      <a:pt x="57" y="205"/>
                    </a:moveTo>
                    <a:cubicBezTo>
                      <a:pt x="55" y="200"/>
                      <a:pt x="55" y="200"/>
                      <a:pt x="55" y="200"/>
                    </a:cubicBezTo>
                    <a:cubicBezTo>
                      <a:pt x="56" y="199"/>
                      <a:pt x="58" y="199"/>
                      <a:pt x="60" y="198"/>
                    </a:cubicBezTo>
                    <a:cubicBezTo>
                      <a:pt x="62" y="203"/>
                      <a:pt x="62" y="203"/>
                      <a:pt x="62" y="203"/>
                    </a:cubicBezTo>
                    <a:cubicBezTo>
                      <a:pt x="60" y="204"/>
                      <a:pt x="58" y="205"/>
                      <a:pt x="57" y="205"/>
                    </a:cubicBezTo>
                    <a:close/>
                    <a:moveTo>
                      <a:pt x="106" y="200"/>
                    </a:moveTo>
                    <a:cubicBezTo>
                      <a:pt x="105" y="200"/>
                      <a:pt x="105" y="200"/>
                      <a:pt x="105" y="200"/>
                    </a:cubicBezTo>
                    <a:cubicBezTo>
                      <a:pt x="104" y="200"/>
                      <a:pt x="104" y="200"/>
                      <a:pt x="104" y="200"/>
                    </a:cubicBezTo>
                    <a:cubicBezTo>
                      <a:pt x="103" y="200"/>
                      <a:pt x="102" y="200"/>
                      <a:pt x="100" y="199"/>
                    </a:cubicBezTo>
                    <a:cubicBezTo>
                      <a:pt x="103" y="194"/>
                      <a:pt x="103" y="194"/>
                      <a:pt x="103" y="194"/>
                    </a:cubicBezTo>
                    <a:cubicBezTo>
                      <a:pt x="103" y="194"/>
                      <a:pt x="104" y="194"/>
                      <a:pt x="104" y="194"/>
                    </a:cubicBezTo>
                    <a:cubicBezTo>
                      <a:pt x="105" y="194"/>
                      <a:pt x="105" y="194"/>
                      <a:pt x="106" y="194"/>
                    </a:cubicBezTo>
                    <a:cubicBezTo>
                      <a:pt x="105" y="195"/>
                      <a:pt x="104" y="195"/>
                      <a:pt x="104" y="195"/>
                    </a:cubicBezTo>
                    <a:cubicBezTo>
                      <a:pt x="109" y="197"/>
                      <a:pt x="109" y="197"/>
                      <a:pt x="109" y="197"/>
                    </a:cubicBezTo>
                    <a:cubicBezTo>
                      <a:pt x="108" y="200"/>
                      <a:pt x="107" y="200"/>
                      <a:pt x="106" y="200"/>
                    </a:cubicBezTo>
                    <a:close/>
                    <a:moveTo>
                      <a:pt x="81" y="200"/>
                    </a:moveTo>
                    <a:cubicBezTo>
                      <a:pt x="80" y="199"/>
                      <a:pt x="80" y="199"/>
                      <a:pt x="80" y="198"/>
                    </a:cubicBezTo>
                    <a:cubicBezTo>
                      <a:pt x="80" y="197"/>
                      <a:pt x="80" y="196"/>
                      <a:pt x="80" y="195"/>
                    </a:cubicBezTo>
                    <a:cubicBezTo>
                      <a:pt x="80" y="194"/>
                      <a:pt x="80" y="194"/>
                      <a:pt x="80" y="194"/>
                    </a:cubicBezTo>
                    <a:cubicBezTo>
                      <a:pt x="86" y="194"/>
                      <a:pt x="86" y="194"/>
                      <a:pt x="86" y="194"/>
                    </a:cubicBezTo>
                    <a:cubicBezTo>
                      <a:pt x="86" y="194"/>
                      <a:pt x="86" y="194"/>
                      <a:pt x="86" y="195"/>
                    </a:cubicBezTo>
                    <a:cubicBezTo>
                      <a:pt x="86" y="196"/>
                      <a:pt x="86" y="197"/>
                      <a:pt x="86" y="197"/>
                    </a:cubicBezTo>
                    <a:cubicBezTo>
                      <a:pt x="86" y="198"/>
                      <a:pt x="86" y="199"/>
                      <a:pt x="86" y="200"/>
                    </a:cubicBezTo>
                    <a:lnTo>
                      <a:pt x="81" y="200"/>
                    </a:lnTo>
                    <a:close/>
                    <a:moveTo>
                      <a:pt x="66" y="196"/>
                    </a:moveTo>
                    <a:cubicBezTo>
                      <a:pt x="64" y="191"/>
                      <a:pt x="64" y="191"/>
                      <a:pt x="64" y="191"/>
                    </a:cubicBezTo>
                    <a:cubicBezTo>
                      <a:pt x="69" y="189"/>
                      <a:pt x="69" y="189"/>
                      <a:pt x="69" y="189"/>
                    </a:cubicBezTo>
                    <a:cubicBezTo>
                      <a:pt x="72" y="194"/>
                      <a:pt x="72" y="194"/>
                      <a:pt x="72" y="194"/>
                    </a:cubicBezTo>
                    <a:lnTo>
                      <a:pt x="66" y="196"/>
                    </a:lnTo>
                    <a:close/>
                    <a:moveTo>
                      <a:pt x="56" y="196"/>
                    </a:moveTo>
                    <a:cubicBezTo>
                      <a:pt x="50" y="195"/>
                      <a:pt x="50" y="195"/>
                      <a:pt x="50" y="195"/>
                    </a:cubicBezTo>
                    <a:cubicBezTo>
                      <a:pt x="50" y="193"/>
                      <a:pt x="50" y="191"/>
                      <a:pt x="50" y="189"/>
                    </a:cubicBezTo>
                    <a:cubicBezTo>
                      <a:pt x="56" y="190"/>
                      <a:pt x="56" y="190"/>
                      <a:pt x="56" y="190"/>
                    </a:cubicBezTo>
                    <a:cubicBezTo>
                      <a:pt x="56" y="192"/>
                      <a:pt x="56" y="194"/>
                      <a:pt x="56" y="196"/>
                    </a:cubicBezTo>
                    <a:close/>
                    <a:moveTo>
                      <a:pt x="175" y="196"/>
                    </a:moveTo>
                    <a:cubicBezTo>
                      <a:pt x="175" y="194"/>
                      <a:pt x="174" y="193"/>
                      <a:pt x="173" y="192"/>
                    </a:cubicBez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9" y="190"/>
                      <a:pt x="181" y="192"/>
                      <a:pt x="181" y="195"/>
                    </a:cubicBezTo>
                    <a:lnTo>
                      <a:pt x="175" y="196"/>
                    </a:lnTo>
                    <a:close/>
                    <a:moveTo>
                      <a:pt x="74" y="195"/>
                    </a:moveTo>
                    <a:cubicBezTo>
                      <a:pt x="73" y="194"/>
                      <a:pt x="73" y="191"/>
                      <a:pt x="72" y="190"/>
                    </a:cubicBezTo>
                    <a:cubicBezTo>
                      <a:pt x="78" y="188"/>
                      <a:pt x="78" y="188"/>
                      <a:pt x="78" y="188"/>
                    </a:cubicBezTo>
                    <a:cubicBezTo>
                      <a:pt x="78" y="190"/>
                      <a:pt x="79" y="192"/>
                      <a:pt x="79" y="194"/>
                    </a:cubicBezTo>
                    <a:lnTo>
                      <a:pt x="74" y="195"/>
                    </a:lnTo>
                    <a:close/>
                    <a:moveTo>
                      <a:pt x="92" y="191"/>
                    </a:moveTo>
                    <a:cubicBezTo>
                      <a:pt x="91" y="185"/>
                      <a:pt x="91" y="185"/>
                      <a:pt x="91" y="185"/>
                    </a:cubicBezTo>
                    <a:cubicBezTo>
                      <a:pt x="92" y="185"/>
                      <a:pt x="93" y="185"/>
                      <a:pt x="95" y="184"/>
                    </a:cubicBezTo>
                    <a:cubicBezTo>
                      <a:pt x="96" y="183"/>
                      <a:pt x="97" y="183"/>
                      <a:pt x="99" y="184"/>
                    </a:cubicBezTo>
                    <a:cubicBezTo>
                      <a:pt x="96" y="189"/>
                      <a:pt x="96" y="189"/>
                      <a:pt x="96" y="189"/>
                    </a:cubicBezTo>
                    <a:cubicBezTo>
                      <a:pt x="97" y="189"/>
                      <a:pt x="97" y="189"/>
                      <a:pt x="97" y="189"/>
                    </a:cubicBezTo>
                    <a:cubicBezTo>
                      <a:pt x="95" y="190"/>
                      <a:pt x="93" y="190"/>
                      <a:pt x="92" y="191"/>
                    </a:cubicBezTo>
                    <a:close/>
                    <a:moveTo>
                      <a:pt x="131" y="189"/>
                    </a:moveTo>
                    <a:cubicBezTo>
                      <a:pt x="129" y="189"/>
                      <a:pt x="127" y="189"/>
                      <a:pt x="126" y="189"/>
                    </a:cubicBezTo>
                    <a:cubicBezTo>
                      <a:pt x="127" y="183"/>
                      <a:pt x="127" y="183"/>
                      <a:pt x="127" y="183"/>
                    </a:cubicBezTo>
                    <a:cubicBezTo>
                      <a:pt x="129" y="183"/>
                      <a:pt x="131" y="183"/>
                      <a:pt x="132" y="183"/>
                    </a:cubicBezTo>
                    <a:cubicBezTo>
                      <a:pt x="133" y="189"/>
                      <a:pt x="133" y="189"/>
                      <a:pt x="133" y="189"/>
                    </a:cubicBezTo>
                    <a:cubicBezTo>
                      <a:pt x="132" y="189"/>
                      <a:pt x="131" y="189"/>
                      <a:pt x="131" y="189"/>
                    </a:cubicBezTo>
                    <a:close/>
                    <a:moveTo>
                      <a:pt x="115" y="188"/>
                    </a:moveTo>
                    <a:cubicBezTo>
                      <a:pt x="109" y="187"/>
                      <a:pt x="109" y="187"/>
                      <a:pt x="109" y="187"/>
                    </a:cubicBezTo>
                    <a:cubicBezTo>
                      <a:pt x="110" y="187"/>
                      <a:pt x="110" y="187"/>
                      <a:pt x="110" y="187"/>
                    </a:cubicBezTo>
                    <a:cubicBezTo>
                      <a:pt x="110" y="184"/>
                      <a:pt x="112" y="181"/>
                      <a:pt x="115" y="180"/>
                    </a:cubicBezTo>
                    <a:cubicBezTo>
                      <a:pt x="116" y="186"/>
                      <a:pt x="116" y="186"/>
                      <a:pt x="116" y="186"/>
                    </a:cubicBezTo>
                    <a:cubicBezTo>
                      <a:pt x="116" y="186"/>
                      <a:pt x="116" y="186"/>
                      <a:pt x="115" y="187"/>
                    </a:cubicBezTo>
                    <a:lnTo>
                      <a:pt x="115" y="188"/>
                    </a:lnTo>
                    <a:close/>
                    <a:moveTo>
                      <a:pt x="164" y="187"/>
                    </a:moveTo>
                    <a:cubicBezTo>
                      <a:pt x="163" y="187"/>
                      <a:pt x="162" y="186"/>
                      <a:pt x="161" y="186"/>
                    </a:cubicBezTo>
                    <a:cubicBezTo>
                      <a:pt x="159" y="186"/>
                      <a:pt x="159" y="186"/>
                      <a:pt x="159" y="186"/>
                    </a:cubicBezTo>
                    <a:cubicBezTo>
                      <a:pt x="160" y="180"/>
                      <a:pt x="160" y="180"/>
                      <a:pt x="160" y="180"/>
                    </a:cubicBezTo>
                    <a:cubicBezTo>
                      <a:pt x="162" y="181"/>
                      <a:pt x="162" y="181"/>
                      <a:pt x="162" y="181"/>
                    </a:cubicBezTo>
                    <a:cubicBezTo>
                      <a:pt x="163" y="181"/>
                      <a:pt x="165" y="181"/>
                      <a:pt x="166" y="182"/>
                    </a:cubicBezTo>
                    <a:lnTo>
                      <a:pt x="164" y="187"/>
                    </a:lnTo>
                    <a:close/>
                    <a:moveTo>
                      <a:pt x="145" y="184"/>
                    </a:moveTo>
                    <a:cubicBezTo>
                      <a:pt x="141" y="180"/>
                      <a:pt x="141" y="180"/>
                      <a:pt x="141" y="180"/>
                    </a:cubicBezTo>
                    <a:cubicBezTo>
                      <a:pt x="141" y="180"/>
                      <a:pt x="142" y="180"/>
                      <a:pt x="142" y="180"/>
                    </a:cubicBezTo>
                    <a:cubicBezTo>
                      <a:pt x="143" y="179"/>
                      <a:pt x="144" y="177"/>
                      <a:pt x="147" y="177"/>
                    </a:cubicBezTo>
                    <a:cubicBezTo>
                      <a:pt x="147" y="177"/>
                      <a:pt x="148" y="177"/>
                      <a:pt x="149" y="178"/>
                    </a:cubicBezTo>
                    <a:cubicBezTo>
                      <a:pt x="148" y="183"/>
                      <a:pt x="148" y="183"/>
                      <a:pt x="148" y="183"/>
                    </a:cubicBezTo>
                    <a:cubicBezTo>
                      <a:pt x="147" y="183"/>
                      <a:pt x="147" y="183"/>
                      <a:pt x="147" y="183"/>
                    </a:cubicBezTo>
                    <a:cubicBezTo>
                      <a:pt x="146" y="183"/>
                      <a:pt x="146" y="184"/>
                      <a:pt x="146" y="184"/>
                    </a:cubicBezTo>
                    <a:cubicBezTo>
                      <a:pt x="146" y="184"/>
                      <a:pt x="146" y="184"/>
                      <a:pt x="145" y="184"/>
                    </a:cubicBezTo>
                    <a:close/>
                    <a:moveTo>
                      <a:pt x="57" y="178"/>
                    </a:moveTo>
                    <a:cubicBezTo>
                      <a:pt x="51" y="178"/>
                      <a:pt x="51" y="178"/>
                      <a:pt x="51" y="178"/>
                    </a:cubicBezTo>
                    <a:cubicBezTo>
                      <a:pt x="52" y="172"/>
                      <a:pt x="52" y="172"/>
                      <a:pt x="52" y="172"/>
                    </a:cubicBezTo>
                    <a:cubicBezTo>
                      <a:pt x="57" y="172"/>
                      <a:pt x="57" y="172"/>
                      <a:pt x="57" y="172"/>
                    </a:cubicBezTo>
                    <a:lnTo>
                      <a:pt x="57" y="178"/>
                    </a:lnTo>
                    <a:close/>
                    <a:moveTo>
                      <a:pt x="45" y="167"/>
                    </a:moveTo>
                    <a:cubicBezTo>
                      <a:pt x="44" y="166"/>
                      <a:pt x="42" y="164"/>
                      <a:pt x="40" y="163"/>
                    </a:cubicBezTo>
                    <a:cubicBezTo>
                      <a:pt x="45" y="159"/>
                      <a:pt x="45" y="159"/>
                      <a:pt x="45" y="159"/>
                    </a:cubicBezTo>
                    <a:cubicBezTo>
                      <a:pt x="46" y="160"/>
                      <a:pt x="47" y="161"/>
                      <a:pt x="49" y="162"/>
                    </a:cubicBezTo>
                    <a:lnTo>
                      <a:pt x="45" y="167"/>
                    </a:lnTo>
                    <a:close/>
                    <a:moveTo>
                      <a:pt x="32" y="154"/>
                    </a:moveTo>
                    <a:cubicBezTo>
                      <a:pt x="28" y="150"/>
                      <a:pt x="28" y="150"/>
                      <a:pt x="28" y="150"/>
                    </a:cubicBezTo>
                    <a:cubicBezTo>
                      <a:pt x="33" y="146"/>
                      <a:pt x="33" y="146"/>
                      <a:pt x="33" y="146"/>
                    </a:cubicBezTo>
                    <a:cubicBezTo>
                      <a:pt x="37" y="150"/>
                      <a:pt x="37" y="150"/>
                      <a:pt x="37" y="150"/>
                    </a:cubicBezTo>
                    <a:lnTo>
                      <a:pt x="32" y="154"/>
                    </a:lnTo>
                    <a:close/>
                    <a:moveTo>
                      <a:pt x="20" y="141"/>
                    </a:moveTo>
                    <a:cubicBezTo>
                      <a:pt x="16" y="137"/>
                      <a:pt x="16" y="137"/>
                      <a:pt x="16" y="137"/>
                    </a:cubicBezTo>
                    <a:cubicBezTo>
                      <a:pt x="21" y="133"/>
                      <a:pt x="21" y="133"/>
                      <a:pt x="21" y="133"/>
                    </a:cubicBezTo>
                    <a:cubicBezTo>
                      <a:pt x="25" y="137"/>
                      <a:pt x="25" y="137"/>
                      <a:pt x="25" y="137"/>
                    </a:cubicBezTo>
                    <a:lnTo>
                      <a:pt x="20" y="141"/>
                    </a:lnTo>
                    <a:close/>
                    <a:moveTo>
                      <a:pt x="8" y="129"/>
                    </a:moveTo>
                    <a:cubicBezTo>
                      <a:pt x="7" y="127"/>
                      <a:pt x="5" y="125"/>
                      <a:pt x="4" y="124"/>
                    </a:cubicBezTo>
                    <a:cubicBezTo>
                      <a:pt x="9" y="120"/>
                      <a:pt x="9" y="120"/>
                      <a:pt x="9" y="120"/>
                    </a:cubicBezTo>
                    <a:cubicBezTo>
                      <a:pt x="10" y="121"/>
                      <a:pt x="11" y="123"/>
                      <a:pt x="13" y="125"/>
                    </a:cubicBezTo>
                    <a:lnTo>
                      <a:pt x="8" y="129"/>
                    </a:lnTo>
                    <a:close/>
                    <a:moveTo>
                      <a:pt x="6" y="116"/>
                    </a:moveTo>
                    <a:cubicBezTo>
                      <a:pt x="3" y="111"/>
                      <a:pt x="3" y="111"/>
                      <a:pt x="3" y="111"/>
                    </a:cubicBezTo>
                    <a:cubicBezTo>
                      <a:pt x="4" y="110"/>
                      <a:pt x="5" y="109"/>
                      <a:pt x="6" y="109"/>
                    </a:cubicBezTo>
                    <a:cubicBezTo>
                      <a:pt x="8" y="108"/>
                      <a:pt x="8" y="108"/>
                      <a:pt x="8" y="108"/>
                    </a:cubicBezTo>
                    <a:cubicBezTo>
                      <a:pt x="11" y="113"/>
                      <a:pt x="11" y="113"/>
                      <a:pt x="11" y="113"/>
                    </a:cubicBezTo>
                    <a:cubicBezTo>
                      <a:pt x="9" y="114"/>
                      <a:pt x="9" y="114"/>
                      <a:pt x="9" y="114"/>
                    </a:cubicBezTo>
                    <a:cubicBezTo>
                      <a:pt x="8" y="114"/>
                      <a:pt x="7" y="115"/>
                      <a:pt x="6" y="116"/>
                    </a:cubicBezTo>
                    <a:close/>
                    <a:moveTo>
                      <a:pt x="21" y="107"/>
                    </a:moveTo>
                    <a:cubicBezTo>
                      <a:pt x="18" y="102"/>
                      <a:pt x="18" y="102"/>
                      <a:pt x="18" y="102"/>
                    </a:cubicBezTo>
                    <a:cubicBezTo>
                      <a:pt x="19" y="101"/>
                      <a:pt x="20" y="100"/>
                      <a:pt x="21" y="100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6" y="104"/>
                      <a:pt x="26" y="104"/>
                      <a:pt x="26" y="104"/>
                    </a:cubicBezTo>
                    <a:cubicBezTo>
                      <a:pt x="24" y="105"/>
                      <a:pt x="24" y="105"/>
                      <a:pt x="24" y="105"/>
                    </a:cubicBezTo>
                    <a:cubicBezTo>
                      <a:pt x="23" y="106"/>
                      <a:pt x="22" y="106"/>
                      <a:pt x="21" y="107"/>
                    </a:cubicBezTo>
                    <a:close/>
                    <a:moveTo>
                      <a:pt x="24" y="92"/>
                    </a:moveTo>
                    <a:cubicBezTo>
                      <a:pt x="23" y="91"/>
                      <a:pt x="23" y="89"/>
                      <a:pt x="22" y="87"/>
                    </a:cubicBezTo>
                    <a:cubicBezTo>
                      <a:pt x="28" y="85"/>
                      <a:pt x="28" y="85"/>
                      <a:pt x="28" y="85"/>
                    </a:cubicBezTo>
                    <a:cubicBezTo>
                      <a:pt x="28" y="87"/>
                      <a:pt x="29" y="89"/>
                      <a:pt x="29" y="91"/>
                    </a:cubicBezTo>
                    <a:lnTo>
                      <a:pt x="24" y="92"/>
                    </a:lnTo>
                    <a:close/>
                    <a:moveTo>
                      <a:pt x="19" y="75"/>
                    </a:moveTo>
                    <a:cubicBezTo>
                      <a:pt x="18" y="70"/>
                      <a:pt x="18" y="70"/>
                      <a:pt x="18" y="70"/>
                    </a:cubicBezTo>
                    <a:cubicBezTo>
                      <a:pt x="23" y="68"/>
                      <a:pt x="23" y="68"/>
                      <a:pt x="23" y="68"/>
                    </a:cubicBezTo>
                    <a:cubicBezTo>
                      <a:pt x="25" y="74"/>
                      <a:pt x="25" y="74"/>
                      <a:pt x="25" y="74"/>
                    </a:cubicBezTo>
                    <a:lnTo>
                      <a:pt x="19" y="75"/>
                    </a:lnTo>
                    <a:close/>
                    <a:moveTo>
                      <a:pt x="15" y="58"/>
                    </a:moveTo>
                    <a:cubicBezTo>
                      <a:pt x="13" y="53"/>
                      <a:pt x="13" y="53"/>
                      <a:pt x="13" y="53"/>
                    </a:cubicBezTo>
                    <a:cubicBezTo>
                      <a:pt x="19" y="51"/>
                      <a:pt x="19" y="51"/>
                      <a:pt x="19" y="51"/>
                    </a:cubicBezTo>
                    <a:cubicBezTo>
                      <a:pt x="20" y="57"/>
                      <a:pt x="20" y="57"/>
                      <a:pt x="20" y="57"/>
                    </a:cubicBezTo>
                    <a:lnTo>
                      <a:pt x="15" y="58"/>
                    </a:lnTo>
                    <a:close/>
                    <a:moveTo>
                      <a:pt x="10" y="41"/>
                    </a:moveTo>
                    <a:cubicBezTo>
                      <a:pt x="10" y="39"/>
                      <a:pt x="9" y="37"/>
                      <a:pt x="9" y="36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5" y="35"/>
                      <a:pt x="15" y="35"/>
                      <a:pt x="15" y="35"/>
                    </a:cubicBezTo>
                    <a:cubicBezTo>
                      <a:pt x="15" y="36"/>
                      <a:pt x="15" y="38"/>
                      <a:pt x="16" y="40"/>
                    </a:cubicBezTo>
                    <a:lnTo>
                      <a:pt x="10" y="41"/>
                    </a:lnTo>
                    <a:close/>
                    <a:moveTo>
                      <a:pt x="6" y="24"/>
                    </a:moveTo>
                    <a:cubicBezTo>
                      <a:pt x="4" y="19"/>
                      <a:pt x="4" y="19"/>
                      <a:pt x="4" y="19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2" y="23"/>
                      <a:pt x="12" y="23"/>
                      <a:pt x="12" y="23"/>
                    </a:cubicBezTo>
                    <a:lnTo>
                      <a:pt x="6" y="24"/>
                    </a:lnTo>
                    <a:close/>
                    <a:moveTo>
                      <a:pt x="1" y="7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1" y="7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65" name="îśļiḑê"/>
              <p:cNvSpPr/>
              <p:nvPr/>
            </p:nvSpPr>
            <p:spPr bwMode="auto">
              <a:xfrm>
                <a:off x="1546225" y="-4763"/>
                <a:ext cx="9094788" cy="6834188"/>
              </a:xfrm>
              <a:custGeom>
                <a:avLst/>
                <a:gdLst>
                  <a:gd name="T0" fmla="*/ 1599 w 4240"/>
                  <a:gd name="T1" fmla="*/ 2824 h 3190"/>
                  <a:gd name="T2" fmla="*/ 1470 w 4240"/>
                  <a:gd name="T3" fmla="*/ 2635 h 3190"/>
                  <a:gd name="T4" fmla="*/ 1556 w 4240"/>
                  <a:gd name="T5" fmla="*/ 2409 h 3190"/>
                  <a:gd name="T6" fmla="*/ 1391 w 4240"/>
                  <a:gd name="T7" fmla="*/ 2250 h 3190"/>
                  <a:gd name="T8" fmla="*/ 960 w 4240"/>
                  <a:gd name="T9" fmla="*/ 2198 h 3190"/>
                  <a:gd name="T10" fmla="*/ 655 w 4240"/>
                  <a:gd name="T11" fmla="*/ 2133 h 3190"/>
                  <a:gd name="T12" fmla="*/ 471 w 4240"/>
                  <a:gd name="T13" fmla="*/ 1967 h 3190"/>
                  <a:gd name="T14" fmla="*/ 219 w 4240"/>
                  <a:gd name="T15" fmla="*/ 1773 h 3190"/>
                  <a:gd name="T16" fmla="*/ 194 w 4240"/>
                  <a:gd name="T17" fmla="*/ 1502 h 3190"/>
                  <a:gd name="T18" fmla="*/ 76 w 4240"/>
                  <a:gd name="T19" fmla="*/ 1241 h 3190"/>
                  <a:gd name="T20" fmla="*/ 92 w 4240"/>
                  <a:gd name="T21" fmla="*/ 1175 h 3190"/>
                  <a:gd name="T22" fmla="*/ 229 w 4240"/>
                  <a:gd name="T23" fmla="*/ 1418 h 3190"/>
                  <a:gd name="T24" fmla="*/ 139 w 4240"/>
                  <a:gd name="T25" fmla="*/ 1667 h 3190"/>
                  <a:gd name="T26" fmla="*/ 383 w 4240"/>
                  <a:gd name="T27" fmla="*/ 1889 h 3190"/>
                  <a:gd name="T28" fmla="*/ 575 w 4240"/>
                  <a:gd name="T29" fmla="*/ 2068 h 3190"/>
                  <a:gd name="T30" fmla="*/ 794 w 4240"/>
                  <a:gd name="T31" fmla="*/ 2144 h 3190"/>
                  <a:gd name="T32" fmla="*/ 1070 w 4240"/>
                  <a:gd name="T33" fmla="*/ 2305 h 3190"/>
                  <a:gd name="T34" fmla="*/ 1496 w 4240"/>
                  <a:gd name="T35" fmla="*/ 2228 h 3190"/>
                  <a:gd name="T36" fmla="*/ 1498 w 4240"/>
                  <a:gd name="T37" fmla="*/ 2513 h 3190"/>
                  <a:gd name="T38" fmla="*/ 1543 w 4240"/>
                  <a:gd name="T39" fmla="*/ 2708 h 3190"/>
                  <a:gd name="T40" fmla="*/ 1717 w 4240"/>
                  <a:gd name="T41" fmla="*/ 2875 h 3190"/>
                  <a:gd name="T42" fmla="*/ 1970 w 4240"/>
                  <a:gd name="T43" fmla="*/ 2778 h 3190"/>
                  <a:gd name="T44" fmla="*/ 2230 w 4240"/>
                  <a:gd name="T45" fmla="*/ 2890 h 3190"/>
                  <a:gd name="T46" fmla="*/ 2030 w 4240"/>
                  <a:gd name="T47" fmla="*/ 2763 h 3190"/>
                  <a:gd name="T48" fmla="*/ 1758 w 4240"/>
                  <a:gd name="T49" fmla="*/ 2841 h 3190"/>
                  <a:gd name="T50" fmla="*/ 406 w 4240"/>
                  <a:gd name="T51" fmla="*/ 1913 h 3190"/>
                  <a:gd name="T52" fmla="*/ 4151 w 4240"/>
                  <a:gd name="T53" fmla="*/ 2572 h 3190"/>
                  <a:gd name="T54" fmla="*/ 3461 w 4240"/>
                  <a:gd name="T55" fmla="*/ 1124 h 3190"/>
                  <a:gd name="T56" fmla="*/ 3625 w 4240"/>
                  <a:gd name="T57" fmla="*/ 984 h 3190"/>
                  <a:gd name="T58" fmla="*/ 3789 w 4240"/>
                  <a:gd name="T59" fmla="*/ 756 h 3190"/>
                  <a:gd name="T60" fmla="*/ 3924 w 4240"/>
                  <a:gd name="T61" fmla="*/ 386 h 3190"/>
                  <a:gd name="T62" fmla="*/ 3679 w 4240"/>
                  <a:gd name="T63" fmla="*/ 391 h 3190"/>
                  <a:gd name="T64" fmla="*/ 3429 w 4240"/>
                  <a:gd name="T65" fmla="*/ 203 h 3190"/>
                  <a:gd name="T66" fmla="*/ 3163 w 4240"/>
                  <a:gd name="T67" fmla="*/ 18 h 3190"/>
                  <a:gd name="T68" fmla="*/ 2984 w 4240"/>
                  <a:gd name="T69" fmla="*/ 303 h 3190"/>
                  <a:gd name="T70" fmla="*/ 2958 w 4240"/>
                  <a:gd name="T71" fmla="*/ 516 h 3190"/>
                  <a:gd name="T72" fmla="*/ 2791 w 4240"/>
                  <a:gd name="T73" fmla="*/ 765 h 3190"/>
                  <a:gd name="T74" fmla="*/ 2387 w 4240"/>
                  <a:gd name="T75" fmla="*/ 1045 h 3190"/>
                  <a:gd name="T76" fmla="*/ 1521 w 4240"/>
                  <a:gd name="T77" fmla="*/ 815 h 3190"/>
                  <a:gd name="T78" fmla="*/ 1244 w 4240"/>
                  <a:gd name="T79" fmla="*/ 445 h 3190"/>
                  <a:gd name="T80" fmla="*/ 991 w 4240"/>
                  <a:gd name="T81" fmla="*/ 357 h 3190"/>
                  <a:gd name="T82" fmla="*/ 586 w 4240"/>
                  <a:gd name="T83" fmla="*/ 534 h 3190"/>
                  <a:gd name="T84" fmla="*/ 462 w 4240"/>
                  <a:gd name="T85" fmla="*/ 797 h 3190"/>
                  <a:gd name="T86" fmla="*/ 115 w 4240"/>
                  <a:gd name="T87" fmla="*/ 828 h 3190"/>
                  <a:gd name="T88" fmla="*/ 94 w 4240"/>
                  <a:gd name="T89" fmla="*/ 828 h 3190"/>
                  <a:gd name="T90" fmla="*/ 422 w 4240"/>
                  <a:gd name="T91" fmla="*/ 800 h 3190"/>
                  <a:gd name="T92" fmla="*/ 589 w 4240"/>
                  <a:gd name="T93" fmla="*/ 552 h 3190"/>
                  <a:gd name="T94" fmla="*/ 936 w 4240"/>
                  <a:gd name="T95" fmla="*/ 443 h 3190"/>
                  <a:gd name="T96" fmla="*/ 1209 w 4240"/>
                  <a:gd name="T97" fmla="*/ 416 h 3190"/>
                  <a:gd name="T98" fmla="*/ 1419 w 4240"/>
                  <a:gd name="T99" fmla="*/ 729 h 3190"/>
                  <a:gd name="T100" fmla="*/ 2254 w 4240"/>
                  <a:gd name="T101" fmla="*/ 1049 h 3190"/>
                  <a:gd name="T102" fmla="*/ 2683 w 4240"/>
                  <a:gd name="T103" fmla="*/ 819 h 3190"/>
                  <a:gd name="T104" fmla="*/ 3036 w 4240"/>
                  <a:gd name="T105" fmla="*/ 593 h 3190"/>
                  <a:gd name="T106" fmla="*/ 2959 w 4240"/>
                  <a:gd name="T107" fmla="*/ 339 h 3190"/>
                  <a:gd name="T108" fmla="*/ 3074 w 4240"/>
                  <a:gd name="T109" fmla="*/ 37 h 3190"/>
                  <a:gd name="T110" fmla="*/ 3406 w 4240"/>
                  <a:gd name="T111" fmla="*/ 150 h 3190"/>
                  <a:gd name="T112" fmla="*/ 3659 w 4240"/>
                  <a:gd name="T113" fmla="*/ 335 h 3190"/>
                  <a:gd name="T114" fmla="*/ 3877 w 4240"/>
                  <a:gd name="T115" fmla="*/ 332 h 3190"/>
                  <a:gd name="T116" fmla="*/ 3800 w 4240"/>
                  <a:gd name="T117" fmla="*/ 648 h 3190"/>
                  <a:gd name="T118" fmla="*/ 3722 w 4240"/>
                  <a:gd name="T119" fmla="*/ 919 h 3190"/>
                  <a:gd name="T120" fmla="*/ 3546 w 4240"/>
                  <a:gd name="T121" fmla="*/ 1049 h 3190"/>
                  <a:gd name="T122" fmla="*/ 3796 w 4240"/>
                  <a:gd name="T123" fmla="*/ 746 h 3190"/>
                  <a:gd name="T124" fmla="*/ 3016 w 4240"/>
                  <a:gd name="T125" fmla="*/ 105 h 3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40" h="3190">
                    <a:moveTo>
                      <a:pt x="3282" y="3190"/>
                    </a:moveTo>
                    <a:cubicBezTo>
                      <a:pt x="3274" y="3189"/>
                      <a:pt x="3274" y="3189"/>
                      <a:pt x="3274" y="3189"/>
                    </a:cubicBezTo>
                    <a:cubicBezTo>
                      <a:pt x="3278" y="3165"/>
                      <a:pt x="3307" y="3096"/>
                      <a:pt x="3308" y="3093"/>
                    </a:cubicBezTo>
                    <a:cubicBezTo>
                      <a:pt x="3315" y="3096"/>
                      <a:pt x="3315" y="3096"/>
                      <a:pt x="3315" y="3096"/>
                    </a:cubicBezTo>
                    <a:cubicBezTo>
                      <a:pt x="3315" y="3097"/>
                      <a:pt x="3286" y="3167"/>
                      <a:pt x="3282" y="3190"/>
                    </a:cubicBezTo>
                    <a:close/>
                    <a:moveTo>
                      <a:pt x="3879" y="3099"/>
                    </a:moveTo>
                    <a:cubicBezTo>
                      <a:pt x="3879" y="3091"/>
                      <a:pt x="3879" y="3091"/>
                      <a:pt x="3879" y="3091"/>
                    </a:cubicBezTo>
                    <a:cubicBezTo>
                      <a:pt x="3879" y="3091"/>
                      <a:pt x="3923" y="3087"/>
                      <a:pt x="3939" y="3075"/>
                    </a:cubicBezTo>
                    <a:cubicBezTo>
                      <a:pt x="3944" y="3081"/>
                      <a:pt x="3944" y="3081"/>
                      <a:pt x="3944" y="3081"/>
                    </a:cubicBezTo>
                    <a:cubicBezTo>
                      <a:pt x="3926" y="3094"/>
                      <a:pt x="3881" y="3099"/>
                      <a:pt x="3879" y="3099"/>
                    </a:cubicBezTo>
                    <a:close/>
                    <a:moveTo>
                      <a:pt x="3755" y="3003"/>
                    </a:moveTo>
                    <a:cubicBezTo>
                      <a:pt x="3748" y="2988"/>
                      <a:pt x="3751" y="2950"/>
                      <a:pt x="3751" y="2949"/>
                    </a:cubicBezTo>
                    <a:cubicBezTo>
                      <a:pt x="3759" y="2949"/>
                      <a:pt x="3759" y="2949"/>
                      <a:pt x="3759" y="2949"/>
                    </a:cubicBezTo>
                    <a:cubicBezTo>
                      <a:pt x="3758" y="2960"/>
                      <a:pt x="3757" y="2989"/>
                      <a:pt x="3762" y="3000"/>
                    </a:cubicBezTo>
                    <a:lnTo>
                      <a:pt x="3755" y="3003"/>
                    </a:lnTo>
                    <a:close/>
                    <a:moveTo>
                      <a:pt x="4019" y="2967"/>
                    </a:moveTo>
                    <a:cubicBezTo>
                      <a:pt x="4013" y="2961"/>
                      <a:pt x="4013" y="2961"/>
                      <a:pt x="4013" y="2961"/>
                    </a:cubicBezTo>
                    <a:cubicBezTo>
                      <a:pt x="4054" y="2919"/>
                      <a:pt x="4054" y="2919"/>
                      <a:pt x="4054" y="2919"/>
                    </a:cubicBezTo>
                    <a:cubicBezTo>
                      <a:pt x="4060" y="2924"/>
                      <a:pt x="4060" y="2924"/>
                      <a:pt x="4060" y="2924"/>
                    </a:cubicBezTo>
                    <a:lnTo>
                      <a:pt x="4019" y="2967"/>
                    </a:lnTo>
                    <a:close/>
                    <a:moveTo>
                      <a:pt x="3409" y="2920"/>
                    </a:moveTo>
                    <a:cubicBezTo>
                      <a:pt x="3402" y="2917"/>
                      <a:pt x="3402" y="2917"/>
                      <a:pt x="3402" y="2917"/>
                    </a:cubicBezTo>
                    <a:cubicBezTo>
                      <a:pt x="3404" y="2913"/>
                      <a:pt x="3449" y="2841"/>
                      <a:pt x="3455" y="2832"/>
                    </a:cubicBezTo>
                    <a:cubicBezTo>
                      <a:pt x="3461" y="2837"/>
                      <a:pt x="3461" y="2837"/>
                      <a:pt x="3461" y="2837"/>
                    </a:cubicBezTo>
                    <a:cubicBezTo>
                      <a:pt x="3441" y="2869"/>
                      <a:pt x="3411" y="2917"/>
                      <a:pt x="3409" y="2920"/>
                    </a:cubicBezTo>
                    <a:close/>
                    <a:moveTo>
                      <a:pt x="1757" y="2920"/>
                    </a:moveTo>
                    <a:cubicBezTo>
                      <a:pt x="1756" y="2920"/>
                      <a:pt x="1755" y="2920"/>
                      <a:pt x="1754" y="2920"/>
                    </a:cubicBezTo>
                    <a:cubicBezTo>
                      <a:pt x="1753" y="2919"/>
                      <a:pt x="1752" y="2918"/>
                      <a:pt x="1751" y="2917"/>
                    </a:cubicBezTo>
                    <a:cubicBezTo>
                      <a:pt x="1750" y="2917"/>
                      <a:pt x="1750" y="2917"/>
                      <a:pt x="1750" y="2917"/>
                    </a:cubicBezTo>
                    <a:cubicBezTo>
                      <a:pt x="1749" y="2917"/>
                      <a:pt x="1747" y="2917"/>
                      <a:pt x="1745" y="2915"/>
                    </a:cubicBezTo>
                    <a:cubicBezTo>
                      <a:pt x="1743" y="2914"/>
                      <a:pt x="1743" y="2912"/>
                      <a:pt x="1743" y="2910"/>
                    </a:cubicBezTo>
                    <a:cubicBezTo>
                      <a:pt x="1742" y="2910"/>
                      <a:pt x="1741" y="2910"/>
                      <a:pt x="1739" y="2910"/>
                    </a:cubicBezTo>
                    <a:cubicBezTo>
                      <a:pt x="1737" y="2911"/>
                      <a:pt x="1735" y="2911"/>
                      <a:pt x="1733" y="2912"/>
                    </a:cubicBezTo>
                    <a:cubicBezTo>
                      <a:pt x="1730" y="2912"/>
                      <a:pt x="1728" y="2913"/>
                      <a:pt x="1725" y="2913"/>
                    </a:cubicBezTo>
                    <a:cubicBezTo>
                      <a:pt x="1722" y="2914"/>
                      <a:pt x="1718" y="2913"/>
                      <a:pt x="1715" y="2911"/>
                    </a:cubicBezTo>
                    <a:cubicBezTo>
                      <a:pt x="1713" y="2908"/>
                      <a:pt x="1712" y="2905"/>
                      <a:pt x="1713" y="2902"/>
                    </a:cubicBezTo>
                    <a:cubicBezTo>
                      <a:pt x="1713" y="2902"/>
                      <a:pt x="1713" y="2902"/>
                      <a:pt x="1713" y="2902"/>
                    </a:cubicBezTo>
                    <a:cubicBezTo>
                      <a:pt x="1713" y="2901"/>
                      <a:pt x="1713" y="2901"/>
                      <a:pt x="1712" y="2901"/>
                    </a:cubicBezTo>
                    <a:cubicBezTo>
                      <a:pt x="1712" y="2901"/>
                      <a:pt x="1710" y="2900"/>
                      <a:pt x="1709" y="2899"/>
                    </a:cubicBezTo>
                    <a:cubicBezTo>
                      <a:pt x="1705" y="2893"/>
                      <a:pt x="1711" y="2886"/>
                      <a:pt x="1714" y="2884"/>
                    </a:cubicBezTo>
                    <a:cubicBezTo>
                      <a:pt x="1714" y="2883"/>
                      <a:pt x="1713" y="2881"/>
                      <a:pt x="1712" y="2881"/>
                    </a:cubicBezTo>
                    <a:cubicBezTo>
                      <a:pt x="1709" y="2878"/>
                      <a:pt x="1708" y="2875"/>
                      <a:pt x="1710" y="2871"/>
                    </a:cubicBezTo>
                    <a:cubicBezTo>
                      <a:pt x="1708" y="2870"/>
                      <a:pt x="1708" y="2868"/>
                      <a:pt x="1707" y="2866"/>
                    </a:cubicBezTo>
                    <a:cubicBezTo>
                      <a:pt x="1707" y="2865"/>
                      <a:pt x="1707" y="2863"/>
                      <a:pt x="1708" y="2862"/>
                    </a:cubicBezTo>
                    <a:cubicBezTo>
                      <a:pt x="1708" y="2862"/>
                      <a:pt x="1707" y="2862"/>
                      <a:pt x="1707" y="2862"/>
                    </a:cubicBezTo>
                    <a:cubicBezTo>
                      <a:pt x="1706" y="2862"/>
                      <a:pt x="1705" y="2863"/>
                      <a:pt x="1703" y="2864"/>
                    </a:cubicBezTo>
                    <a:cubicBezTo>
                      <a:pt x="1702" y="2865"/>
                      <a:pt x="1701" y="2865"/>
                      <a:pt x="1700" y="2866"/>
                    </a:cubicBezTo>
                    <a:cubicBezTo>
                      <a:pt x="1698" y="2867"/>
                      <a:pt x="1695" y="2867"/>
                      <a:pt x="1693" y="2867"/>
                    </a:cubicBezTo>
                    <a:cubicBezTo>
                      <a:pt x="1692" y="2867"/>
                      <a:pt x="1690" y="2867"/>
                      <a:pt x="1689" y="2867"/>
                    </a:cubicBezTo>
                    <a:cubicBezTo>
                      <a:pt x="1688" y="2869"/>
                      <a:pt x="1685" y="2872"/>
                      <a:pt x="1681" y="2875"/>
                    </a:cubicBezTo>
                    <a:cubicBezTo>
                      <a:pt x="1679" y="2877"/>
                      <a:pt x="1677" y="2878"/>
                      <a:pt x="1677" y="2879"/>
                    </a:cubicBezTo>
                    <a:cubicBezTo>
                      <a:pt x="1674" y="2882"/>
                      <a:pt x="1669" y="2886"/>
                      <a:pt x="1663" y="2886"/>
                    </a:cubicBezTo>
                    <a:cubicBezTo>
                      <a:pt x="1659" y="2886"/>
                      <a:pt x="1652" y="2887"/>
                      <a:pt x="1648" y="2878"/>
                    </a:cubicBezTo>
                    <a:cubicBezTo>
                      <a:pt x="1648" y="2877"/>
                      <a:pt x="1647" y="2876"/>
                      <a:pt x="1647" y="2876"/>
                    </a:cubicBezTo>
                    <a:cubicBezTo>
                      <a:pt x="1646" y="2875"/>
                      <a:pt x="1644" y="2876"/>
                      <a:pt x="1641" y="2877"/>
                    </a:cubicBezTo>
                    <a:cubicBezTo>
                      <a:pt x="1636" y="2880"/>
                      <a:pt x="1628" y="2879"/>
                      <a:pt x="1624" y="2876"/>
                    </a:cubicBezTo>
                    <a:cubicBezTo>
                      <a:pt x="1620" y="2872"/>
                      <a:pt x="1619" y="2869"/>
                      <a:pt x="1622" y="2865"/>
                    </a:cubicBezTo>
                    <a:cubicBezTo>
                      <a:pt x="1622" y="2863"/>
                      <a:pt x="1623" y="2862"/>
                      <a:pt x="1623" y="2862"/>
                    </a:cubicBezTo>
                    <a:cubicBezTo>
                      <a:pt x="1624" y="2861"/>
                      <a:pt x="1624" y="2861"/>
                      <a:pt x="1624" y="2860"/>
                    </a:cubicBezTo>
                    <a:cubicBezTo>
                      <a:pt x="1624" y="2860"/>
                      <a:pt x="1623" y="2860"/>
                      <a:pt x="1623" y="2860"/>
                    </a:cubicBezTo>
                    <a:cubicBezTo>
                      <a:pt x="1618" y="2859"/>
                      <a:pt x="1614" y="2857"/>
                      <a:pt x="1610" y="2854"/>
                    </a:cubicBezTo>
                    <a:cubicBezTo>
                      <a:pt x="1608" y="2852"/>
                      <a:pt x="1604" y="2847"/>
                      <a:pt x="1610" y="2837"/>
                    </a:cubicBezTo>
                    <a:cubicBezTo>
                      <a:pt x="1612" y="2833"/>
                      <a:pt x="1613" y="2830"/>
                      <a:pt x="1613" y="2829"/>
                    </a:cubicBezTo>
                    <a:cubicBezTo>
                      <a:pt x="1612" y="2829"/>
                      <a:pt x="1611" y="2828"/>
                      <a:pt x="1610" y="2827"/>
                    </a:cubicBezTo>
                    <a:cubicBezTo>
                      <a:pt x="1609" y="2826"/>
                      <a:pt x="1608" y="2825"/>
                      <a:pt x="1607" y="2824"/>
                    </a:cubicBezTo>
                    <a:cubicBezTo>
                      <a:pt x="1605" y="2823"/>
                      <a:pt x="1602" y="2823"/>
                      <a:pt x="1599" y="2824"/>
                    </a:cubicBezTo>
                    <a:cubicBezTo>
                      <a:pt x="1596" y="2825"/>
                      <a:pt x="1593" y="2825"/>
                      <a:pt x="1591" y="2823"/>
                    </a:cubicBezTo>
                    <a:cubicBezTo>
                      <a:pt x="1591" y="2823"/>
                      <a:pt x="1590" y="2823"/>
                      <a:pt x="1590" y="2822"/>
                    </a:cubicBezTo>
                    <a:cubicBezTo>
                      <a:pt x="1588" y="2821"/>
                      <a:pt x="1586" y="2820"/>
                      <a:pt x="1583" y="2819"/>
                    </a:cubicBezTo>
                    <a:cubicBezTo>
                      <a:pt x="1580" y="2817"/>
                      <a:pt x="1576" y="2816"/>
                      <a:pt x="1569" y="2817"/>
                    </a:cubicBezTo>
                    <a:cubicBezTo>
                      <a:pt x="1559" y="2819"/>
                      <a:pt x="1547" y="2813"/>
                      <a:pt x="1546" y="2812"/>
                    </a:cubicBezTo>
                    <a:cubicBezTo>
                      <a:pt x="1544" y="2812"/>
                      <a:pt x="1544" y="2812"/>
                      <a:pt x="1544" y="2812"/>
                    </a:cubicBezTo>
                    <a:cubicBezTo>
                      <a:pt x="1544" y="2809"/>
                      <a:pt x="1544" y="2809"/>
                      <a:pt x="1544" y="2809"/>
                    </a:cubicBezTo>
                    <a:cubicBezTo>
                      <a:pt x="1543" y="2807"/>
                      <a:pt x="1545" y="2805"/>
                      <a:pt x="1548" y="2801"/>
                    </a:cubicBezTo>
                    <a:cubicBezTo>
                      <a:pt x="1551" y="2799"/>
                      <a:pt x="1554" y="2795"/>
                      <a:pt x="1555" y="2793"/>
                    </a:cubicBezTo>
                    <a:cubicBezTo>
                      <a:pt x="1555" y="2791"/>
                      <a:pt x="1556" y="2790"/>
                      <a:pt x="1556" y="2789"/>
                    </a:cubicBezTo>
                    <a:cubicBezTo>
                      <a:pt x="1556" y="2786"/>
                      <a:pt x="1557" y="2784"/>
                      <a:pt x="1560" y="2781"/>
                    </a:cubicBezTo>
                    <a:cubicBezTo>
                      <a:pt x="1561" y="2780"/>
                      <a:pt x="1561" y="2780"/>
                      <a:pt x="1561" y="2780"/>
                    </a:cubicBezTo>
                    <a:cubicBezTo>
                      <a:pt x="1564" y="2778"/>
                      <a:pt x="1565" y="2777"/>
                      <a:pt x="1565" y="2775"/>
                    </a:cubicBezTo>
                    <a:cubicBezTo>
                      <a:pt x="1566" y="2772"/>
                      <a:pt x="1565" y="2770"/>
                      <a:pt x="1564" y="2768"/>
                    </a:cubicBezTo>
                    <a:cubicBezTo>
                      <a:pt x="1564" y="2767"/>
                      <a:pt x="1564" y="2767"/>
                      <a:pt x="1564" y="2766"/>
                    </a:cubicBezTo>
                    <a:cubicBezTo>
                      <a:pt x="1562" y="2762"/>
                      <a:pt x="1564" y="2756"/>
                      <a:pt x="1569" y="2754"/>
                    </a:cubicBezTo>
                    <a:cubicBezTo>
                      <a:pt x="1569" y="2754"/>
                      <a:pt x="1569" y="2754"/>
                      <a:pt x="1569" y="2754"/>
                    </a:cubicBezTo>
                    <a:cubicBezTo>
                      <a:pt x="1569" y="2754"/>
                      <a:pt x="1569" y="2754"/>
                      <a:pt x="1570" y="2753"/>
                    </a:cubicBezTo>
                    <a:cubicBezTo>
                      <a:pt x="1570" y="2752"/>
                      <a:pt x="1570" y="2752"/>
                      <a:pt x="1570" y="2752"/>
                    </a:cubicBezTo>
                    <a:cubicBezTo>
                      <a:pt x="1570" y="2751"/>
                      <a:pt x="1569" y="2750"/>
                      <a:pt x="1570" y="2748"/>
                    </a:cubicBezTo>
                    <a:cubicBezTo>
                      <a:pt x="1571" y="2745"/>
                      <a:pt x="1575" y="2741"/>
                      <a:pt x="1577" y="2740"/>
                    </a:cubicBezTo>
                    <a:cubicBezTo>
                      <a:pt x="1579" y="2739"/>
                      <a:pt x="1581" y="2739"/>
                      <a:pt x="1583" y="2740"/>
                    </a:cubicBezTo>
                    <a:cubicBezTo>
                      <a:pt x="1583" y="2740"/>
                      <a:pt x="1583" y="2740"/>
                      <a:pt x="1583" y="2739"/>
                    </a:cubicBezTo>
                    <a:cubicBezTo>
                      <a:pt x="1583" y="2737"/>
                      <a:pt x="1583" y="2735"/>
                      <a:pt x="1584" y="2733"/>
                    </a:cubicBezTo>
                    <a:cubicBezTo>
                      <a:pt x="1584" y="2733"/>
                      <a:pt x="1584" y="2732"/>
                      <a:pt x="1584" y="2731"/>
                    </a:cubicBezTo>
                    <a:cubicBezTo>
                      <a:pt x="1579" y="2731"/>
                      <a:pt x="1576" y="2730"/>
                      <a:pt x="1573" y="2727"/>
                    </a:cubicBezTo>
                    <a:cubicBezTo>
                      <a:pt x="1573" y="2727"/>
                      <a:pt x="1573" y="2727"/>
                      <a:pt x="1573" y="2726"/>
                    </a:cubicBezTo>
                    <a:cubicBezTo>
                      <a:pt x="1573" y="2727"/>
                      <a:pt x="1572" y="2727"/>
                      <a:pt x="1572" y="2727"/>
                    </a:cubicBezTo>
                    <a:cubicBezTo>
                      <a:pt x="1567" y="2729"/>
                      <a:pt x="1564" y="2728"/>
                      <a:pt x="1561" y="2726"/>
                    </a:cubicBezTo>
                    <a:cubicBezTo>
                      <a:pt x="1561" y="2726"/>
                      <a:pt x="1561" y="2726"/>
                      <a:pt x="1560" y="2726"/>
                    </a:cubicBezTo>
                    <a:cubicBezTo>
                      <a:pt x="1559" y="2726"/>
                      <a:pt x="1557" y="2726"/>
                      <a:pt x="1554" y="2726"/>
                    </a:cubicBezTo>
                    <a:cubicBezTo>
                      <a:pt x="1549" y="2726"/>
                      <a:pt x="1546" y="2725"/>
                      <a:pt x="1545" y="2720"/>
                    </a:cubicBezTo>
                    <a:cubicBezTo>
                      <a:pt x="1545" y="2720"/>
                      <a:pt x="1544" y="2719"/>
                      <a:pt x="1544" y="2719"/>
                    </a:cubicBezTo>
                    <a:cubicBezTo>
                      <a:pt x="1544" y="2719"/>
                      <a:pt x="1544" y="2719"/>
                      <a:pt x="1544" y="2719"/>
                    </a:cubicBezTo>
                    <a:cubicBezTo>
                      <a:pt x="1544" y="2719"/>
                      <a:pt x="1543" y="2719"/>
                      <a:pt x="1543" y="2719"/>
                    </a:cubicBezTo>
                    <a:cubicBezTo>
                      <a:pt x="1542" y="2719"/>
                      <a:pt x="1541" y="2719"/>
                      <a:pt x="1540" y="2719"/>
                    </a:cubicBezTo>
                    <a:cubicBezTo>
                      <a:pt x="1539" y="2719"/>
                      <a:pt x="1536" y="2718"/>
                      <a:pt x="1535" y="2716"/>
                    </a:cubicBezTo>
                    <a:cubicBezTo>
                      <a:pt x="1533" y="2714"/>
                      <a:pt x="1534" y="2711"/>
                      <a:pt x="1535" y="2711"/>
                    </a:cubicBezTo>
                    <a:cubicBezTo>
                      <a:pt x="1535" y="2710"/>
                      <a:pt x="1535" y="2709"/>
                      <a:pt x="1535" y="2709"/>
                    </a:cubicBezTo>
                    <a:cubicBezTo>
                      <a:pt x="1535" y="2708"/>
                      <a:pt x="1536" y="2708"/>
                      <a:pt x="1536" y="2707"/>
                    </a:cubicBezTo>
                    <a:cubicBezTo>
                      <a:pt x="1536" y="2706"/>
                      <a:pt x="1535" y="2704"/>
                      <a:pt x="1535" y="2703"/>
                    </a:cubicBezTo>
                    <a:cubicBezTo>
                      <a:pt x="1533" y="2699"/>
                      <a:pt x="1532" y="2695"/>
                      <a:pt x="1533" y="2692"/>
                    </a:cubicBezTo>
                    <a:cubicBezTo>
                      <a:pt x="1533" y="2691"/>
                      <a:pt x="1533" y="2690"/>
                      <a:pt x="1533" y="2689"/>
                    </a:cubicBezTo>
                    <a:cubicBezTo>
                      <a:pt x="1532" y="2688"/>
                      <a:pt x="1531" y="2686"/>
                      <a:pt x="1531" y="2684"/>
                    </a:cubicBezTo>
                    <a:cubicBezTo>
                      <a:pt x="1531" y="2682"/>
                      <a:pt x="1532" y="2680"/>
                      <a:pt x="1534" y="2679"/>
                    </a:cubicBezTo>
                    <a:cubicBezTo>
                      <a:pt x="1534" y="2678"/>
                      <a:pt x="1533" y="2675"/>
                      <a:pt x="1533" y="2674"/>
                    </a:cubicBezTo>
                    <a:cubicBezTo>
                      <a:pt x="1533" y="2674"/>
                      <a:pt x="1532" y="2673"/>
                      <a:pt x="1532" y="2673"/>
                    </a:cubicBezTo>
                    <a:cubicBezTo>
                      <a:pt x="1531" y="2671"/>
                      <a:pt x="1530" y="2669"/>
                      <a:pt x="1530" y="2664"/>
                    </a:cubicBezTo>
                    <a:cubicBezTo>
                      <a:pt x="1529" y="2663"/>
                      <a:pt x="1529" y="2662"/>
                      <a:pt x="1529" y="2662"/>
                    </a:cubicBezTo>
                    <a:cubicBezTo>
                      <a:pt x="1529" y="2663"/>
                      <a:pt x="1529" y="2663"/>
                      <a:pt x="1528" y="2663"/>
                    </a:cubicBezTo>
                    <a:cubicBezTo>
                      <a:pt x="1528" y="2663"/>
                      <a:pt x="1527" y="2663"/>
                      <a:pt x="1526" y="2662"/>
                    </a:cubicBezTo>
                    <a:cubicBezTo>
                      <a:pt x="1521" y="2662"/>
                      <a:pt x="1521" y="2657"/>
                      <a:pt x="1521" y="2654"/>
                    </a:cubicBezTo>
                    <a:cubicBezTo>
                      <a:pt x="1521" y="2653"/>
                      <a:pt x="1521" y="2653"/>
                      <a:pt x="1521" y="2653"/>
                    </a:cubicBezTo>
                    <a:cubicBezTo>
                      <a:pt x="1521" y="2651"/>
                      <a:pt x="1521" y="2650"/>
                      <a:pt x="1521" y="2649"/>
                    </a:cubicBezTo>
                    <a:cubicBezTo>
                      <a:pt x="1521" y="2648"/>
                      <a:pt x="1521" y="2647"/>
                      <a:pt x="1521" y="2646"/>
                    </a:cubicBezTo>
                    <a:cubicBezTo>
                      <a:pt x="1521" y="2642"/>
                      <a:pt x="1525" y="2640"/>
                      <a:pt x="1531" y="2637"/>
                    </a:cubicBezTo>
                    <a:cubicBezTo>
                      <a:pt x="1533" y="2636"/>
                      <a:pt x="1534" y="2635"/>
                      <a:pt x="1535" y="2634"/>
                    </a:cubicBezTo>
                    <a:cubicBezTo>
                      <a:pt x="1534" y="2634"/>
                      <a:pt x="1533" y="2634"/>
                      <a:pt x="1533" y="2634"/>
                    </a:cubicBezTo>
                    <a:cubicBezTo>
                      <a:pt x="1529" y="2638"/>
                      <a:pt x="1522" y="2636"/>
                      <a:pt x="1520" y="2635"/>
                    </a:cubicBezTo>
                    <a:cubicBezTo>
                      <a:pt x="1519" y="2634"/>
                      <a:pt x="1519" y="2634"/>
                      <a:pt x="1518" y="2633"/>
                    </a:cubicBezTo>
                    <a:cubicBezTo>
                      <a:pt x="1517" y="2633"/>
                      <a:pt x="1515" y="2633"/>
                      <a:pt x="1514" y="2632"/>
                    </a:cubicBezTo>
                    <a:cubicBezTo>
                      <a:pt x="1512" y="2632"/>
                      <a:pt x="1509" y="2632"/>
                      <a:pt x="1508" y="2632"/>
                    </a:cubicBezTo>
                    <a:cubicBezTo>
                      <a:pt x="1506" y="2632"/>
                      <a:pt x="1503" y="2632"/>
                      <a:pt x="1500" y="2632"/>
                    </a:cubicBezTo>
                    <a:cubicBezTo>
                      <a:pt x="1497" y="2632"/>
                      <a:pt x="1491" y="2632"/>
                      <a:pt x="1489" y="2632"/>
                    </a:cubicBezTo>
                    <a:cubicBezTo>
                      <a:pt x="1485" y="2635"/>
                      <a:pt x="1480" y="2635"/>
                      <a:pt x="1474" y="2635"/>
                    </a:cubicBezTo>
                    <a:cubicBezTo>
                      <a:pt x="1473" y="2635"/>
                      <a:pt x="1471" y="2635"/>
                      <a:pt x="1470" y="2635"/>
                    </a:cubicBezTo>
                    <a:cubicBezTo>
                      <a:pt x="1466" y="2635"/>
                      <a:pt x="1461" y="2638"/>
                      <a:pt x="1455" y="2642"/>
                    </a:cubicBezTo>
                    <a:cubicBezTo>
                      <a:pt x="1452" y="2644"/>
                      <a:pt x="1450" y="2646"/>
                      <a:pt x="1447" y="2648"/>
                    </a:cubicBezTo>
                    <a:cubicBezTo>
                      <a:pt x="1443" y="2650"/>
                      <a:pt x="1439" y="2651"/>
                      <a:pt x="1436" y="2650"/>
                    </a:cubicBezTo>
                    <a:cubicBezTo>
                      <a:pt x="1433" y="2649"/>
                      <a:pt x="1431" y="2645"/>
                      <a:pt x="1431" y="2643"/>
                    </a:cubicBezTo>
                    <a:cubicBezTo>
                      <a:pt x="1431" y="2643"/>
                      <a:pt x="1431" y="2643"/>
                      <a:pt x="1431" y="2643"/>
                    </a:cubicBezTo>
                    <a:cubicBezTo>
                      <a:pt x="1429" y="2642"/>
                      <a:pt x="1427" y="2639"/>
                      <a:pt x="1427" y="2636"/>
                    </a:cubicBezTo>
                    <a:cubicBezTo>
                      <a:pt x="1427" y="2635"/>
                      <a:pt x="1428" y="2633"/>
                      <a:pt x="1429" y="2632"/>
                    </a:cubicBezTo>
                    <a:cubicBezTo>
                      <a:pt x="1430" y="2631"/>
                      <a:pt x="1431" y="2630"/>
                      <a:pt x="1432" y="2629"/>
                    </a:cubicBezTo>
                    <a:cubicBezTo>
                      <a:pt x="1434" y="2626"/>
                      <a:pt x="1437" y="2624"/>
                      <a:pt x="1440" y="2621"/>
                    </a:cubicBezTo>
                    <a:cubicBezTo>
                      <a:pt x="1443" y="2619"/>
                      <a:pt x="1444" y="2617"/>
                      <a:pt x="1446" y="2615"/>
                    </a:cubicBezTo>
                    <a:cubicBezTo>
                      <a:pt x="1446" y="2614"/>
                      <a:pt x="1447" y="2613"/>
                      <a:pt x="1448" y="2612"/>
                    </a:cubicBezTo>
                    <a:cubicBezTo>
                      <a:pt x="1444" y="2610"/>
                      <a:pt x="1443" y="2607"/>
                      <a:pt x="1443" y="2606"/>
                    </a:cubicBezTo>
                    <a:cubicBezTo>
                      <a:pt x="1443" y="2604"/>
                      <a:pt x="1444" y="2602"/>
                      <a:pt x="1446" y="2601"/>
                    </a:cubicBezTo>
                    <a:cubicBezTo>
                      <a:pt x="1446" y="2600"/>
                      <a:pt x="1446" y="2600"/>
                      <a:pt x="1446" y="2599"/>
                    </a:cubicBezTo>
                    <a:cubicBezTo>
                      <a:pt x="1446" y="2598"/>
                      <a:pt x="1446" y="2597"/>
                      <a:pt x="1446" y="2597"/>
                    </a:cubicBezTo>
                    <a:cubicBezTo>
                      <a:pt x="1446" y="2597"/>
                      <a:pt x="1446" y="2597"/>
                      <a:pt x="1445" y="2597"/>
                    </a:cubicBezTo>
                    <a:cubicBezTo>
                      <a:pt x="1443" y="2598"/>
                      <a:pt x="1439" y="2598"/>
                      <a:pt x="1436" y="2592"/>
                    </a:cubicBezTo>
                    <a:cubicBezTo>
                      <a:pt x="1436" y="2592"/>
                      <a:pt x="1436" y="2592"/>
                      <a:pt x="1436" y="2591"/>
                    </a:cubicBezTo>
                    <a:cubicBezTo>
                      <a:pt x="1435" y="2589"/>
                      <a:pt x="1435" y="2586"/>
                      <a:pt x="1436" y="2582"/>
                    </a:cubicBezTo>
                    <a:cubicBezTo>
                      <a:pt x="1437" y="2579"/>
                      <a:pt x="1437" y="2579"/>
                      <a:pt x="1439" y="2574"/>
                    </a:cubicBezTo>
                    <a:cubicBezTo>
                      <a:pt x="1439" y="2570"/>
                      <a:pt x="1439" y="2570"/>
                      <a:pt x="1439" y="2570"/>
                    </a:cubicBezTo>
                    <a:cubicBezTo>
                      <a:pt x="1440" y="2566"/>
                      <a:pt x="1441" y="2563"/>
                      <a:pt x="1441" y="2562"/>
                    </a:cubicBezTo>
                    <a:cubicBezTo>
                      <a:pt x="1441" y="2562"/>
                      <a:pt x="1441" y="2562"/>
                      <a:pt x="1441" y="2561"/>
                    </a:cubicBezTo>
                    <a:cubicBezTo>
                      <a:pt x="1441" y="2561"/>
                      <a:pt x="1441" y="2561"/>
                      <a:pt x="1441" y="2561"/>
                    </a:cubicBezTo>
                    <a:cubicBezTo>
                      <a:pt x="1442" y="2560"/>
                      <a:pt x="1442" y="2558"/>
                      <a:pt x="1444" y="2558"/>
                    </a:cubicBezTo>
                    <a:cubicBezTo>
                      <a:pt x="1447" y="2556"/>
                      <a:pt x="1452" y="2554"/>
                      <a:pt x="1454" y="2553"/>
                    </a:cubicBezTo>
                    <a:cubicBezTo>
                      <a:pt x="1455" y="2553"/>
                      <a:pt x="1457" y="2553"/>
                      <a:pt x="1457" y="2553"/>
                    </a:cubicBezTo>
                    <a:cubicBezTo>
                      <a:pt x="1457" y="2552"/>
                      <a:pt x="1457" y="2550"/>
                      <a:pt x="1456" y="2549"/>
                    </a:cubicBezTo>
                    <a:cubicBezTo>
                      <a:pt x="1454" y="2544"/>
                      <a:pt x="1456" y="2540"/>
                      <a:pt x="1457" y="2538"/>
                    </a:cubicBezTo>
                    <a:cubicBezTo>
                      <a:pt x="1457" y="2537"/>
                      <a:pt x="1458" y="2536"/>
                      <a:pt x="1458" y="2535"/>
                    </a:cubicBezTo>
                    <a:cubicBezTo>
                      <a:pt x="1458" y="2532"/>
                      <a:pt x="1460" y="2529"/>
                      <a:pt x="1461" y="2526"/>
                    </a:cubicBezTo>
                    <a:cubicBezTo>
                      <a:pt x="1462" y="2524"/>
                      <a:pt x="1463" y="2523"/>
                      <a:pt x="1463" y="2522"/>
                    </a:cubicBezTo>
                    <a:cubicBezTo>
                      <a:pt x="1464" y="2519"/>
                      <a:pt x="1466" y="2517"/>
                      <a:pt x="1469" y="2516"/>
                    </a:cubicBezTo>
                    <a:cubicBezTo>
                      <a:pt x="1471" y="2515"/>
                      <a:pt x="1473" y="2515"/>
                      <a:pt x="1475" y="2516"/>
                    </a:cubicBezTo>
                    <a:cubicBezTo>
                      <a:pt x="1476" y="2516"/>
                      <a:pt x="1476" y="2517"/>
                      <a:pt x="1477" y="2517"/>
                    </a:cubicBezTo>
                    <a:cubicBezTo>
                      <a:pt x="1478" y="2518"/>
                      <a:pt x="1479" y="2518"/>
                      <a:pt x="1480" y="2518"/>
                    </a:cubicBezTo>
                    <a:cubicBezTo>
                      <a:pt x="1482" y="2516"/>
                      <a:pt x="1490" y="2509"/>
                      <a:pt x="1493" y="2507"/>
                    </a:cubicBezTo>
                    <a:cubicBezTo>
                      <a:pt x="1494" y="2506"/>
                      <a:pt x="1494" y="2505"/>
                      <a:pt x="1493" y="2505"/>
                    </a:cubicBezTo>
                    <a:cubicBezTo>
                      <a:pt x="1491" y="2501"/>
                      <a:pt x="1491" y="2499"/>
                      <a:pt x="1494" y="2496"/>
                    </a:cubicBezTo>
                    <a:cubicBezTo>
                      <a:pt x="1494" y="2496"/>
                      <a:pt x="1494" y="2496"/>
                      <a:pt x="1494" y="2496"/>
                    </a:cubicBezTo>
                    <a:cubicBezTo>
                      <a:pt x="1494" y="2495"/>
                      <a:pt x="1494" y="2494"/>
                      <a:pt x="1495" y="2493"/>
                    </a:cubicBezTo>
                    <a:cubicBezTo>
                      <a:pt x="1495" y="2492"/>
                      <a:pt x="1495" y="2492"/>
                      <a:pt x="1495" y="2492"/>
                    </a:cubicBezTo>
                    <a:cubicBezTo>
                      <a:pt x="1495" y="2490"/>
                      <a:pt x="1495" y="2487"/>
                      <a:pt x="1497" y="2485"/>
                    </a:cubicBezTo>
                    <a:cubicBezTo>
                      <a:pt x="1500" y="2484"/>
                      <a:pt x="1502" y="2485"/>
                      <a:pt x="1504" y="2486"/>
                    </a:cubicBezTo>
                    <a:cubicBezTo>
                      <a:pt x="1504" y="2486"/>
                      <a:pt x="1505" y="2486"/>
                      <a:pt x="1505" y="2486"/>
                    </a:cubicBezTo>
                    <a:cubicBezTo>
                      <a:pt x="1509" y="2488"/>
                      <a:pt x="1510" y="2490"/>
                      <a:pt x="1511" y="2493"/>
                    </a:cubicBezTo>
                    <a:cubicBezTo>
                      <a:pt x="1511" y="2494"/>
                      <a:pt x="1511" y="2494"/>
                      <a:pt x="1511" y="2494"/>
                    </a:cubicBezTo>
                    <a:cubicBezTo>
                      <a:pt x="1511" y="2494"/>
                      <a:pt x="1513" y="2494"/>
                      <a:pt x="1513" y="2494"/>
                    </a:cubicBezTo>
                    <a:cubicBezTo>
                      <a:pt x="1514" y="2493"/>
                      <a:pt x="1518" y="2487"/>
                      <a:pt x="1520" y="2484"/>
                    </a:cubicBezTo>
                    <a:cubicBezTo>
                      <a:pt x="1522" y="2481"/>
                      <a:pt x="1524" y="2478"/>
                      <a:pt x="1525" y="2476"/>
                    </a:cubicBezTo>
                    <a:cubicBezTo>
                      <a:pt x="1530" y="2471"/>
                      <a:pt x="1536" y="2470"/>
                      <a:pt x="1540" y="2472"/>
                    </a:cubicBezTo>
                    <a:cubicBezTo>
                      <a:pt x="1540" y="2472"/>
                      <a:pt x="1540" y="2471"/>
                      <a:pt x="1540" y="2471"/>
                    </a:cubicBezTo>
                    <a:cubicBezTo>
                      <a:pt x="1540" y="2469"/>
                      <a:pt x="1537" y="2465"/>
                      <a:pt x="1534" y="2462"/>
                    </a:cubicBezTo>
                    <a:cubicBezTo>
                      <a:pt x="1534" y="2462"/>
                      <a:pt x="1534" y="2462"/>
                      <a:pt x="1534" y="2462"/>
                    </a:cubicBezTo>
                    <a:cubicBezTo>
                      <a:pt x="1530" y="2458"/>
                      <a:pt x="1530" y="2456"/>
                      <a:pt x="1532" y="2450"/>
                    </a:cubicBezTo>
                    <a:cubicBezTo>
                      <a:pt x="1532" y="2449"/>
                      <a:pt x="1532" y="2449"/>
                      <a:pt x="1532" y="2449"/>
                    </a:cubicBezTo>
                    <a:cubicBezTo>
                      <a:pt x="1533" y="2447"/>
                      <a:pt x="1534" y="2445"/>
                      <a:pt x="1536" y="2444"/>
                    </a:cubicBezTo>
                    <a:cubicBezTo>
                      <a:pt x="1539" y="2442"/>
                      <a:pt x="1542" y="2443"/>
                      <a:pt x="1544" y="2444"/>
                    </a:cubicBezTo>
                    <a:cubicBezTo>
                      <a:pt x="1545" y="2445"/>
                      <a:pt x="1545" y="2445"/>
                      <a:pt x="1546" y="2445"/>
                    </a:cubicBezTo>
                    <a:cubicBezTo>
                      <a:pt x="1546" y="2445"/>
                      <a:pt x="1546" y="2444"/>
                      <a:pt x="1546" y="2444"/>
                    </a:cubicBezTo>
                    <a:cubicBezTo>
                      <a:pt x="1546" y="2443"/>
                      <a:pt x="1545" y="2441"/>
                      <a:pt x="1544" y="2439"/>
                    </a:cubicBezTo>
                    <a:cubicBezTo>
                      <a:pt x="1540" y="2434"/>
                      <a:pt x="1546" y="2429"/>
                      <a:pt x="1549" y="2427"/>
                    </a:cubicBezTo>
                    <a:cubicBezTo>
                      <a:pt x="1550" y="2426"/>
                      <a:pt x="1550" y="2426"/>
                      <a:pt x="1551" y="2425"/>
                    </a:cubicBezTo>
                    <a:cubicBezTo>
                      <a:pt x="1552" y="2424"/>
                      <a:pt x="1552" y="2420"/>
                      <a:pt x="1552" y="2416"/>
                    </a:cubicBezTo>
                    <a:cubicBezTo>
                      <a:pt x="1552" y="2412"/>
                      <a:pt x="1554" y="2410"/>
                      <a:pt x="1555" y="2409"/>
                    </a:cubicBezTo>
                    <a:cubicBezTo>
                      <a:pt x="1555" y="2409"/>
                      <a:pt x="1556" y="2409"/>
                      <a:pt x="1556" y="2409"/>
                    </a:cubicBezTo>
                    <a:cubicBezTo>
                      <a:pt x="1556" y="2405"/>
                      <a:pt x="1555" y="2385"/>
                      <a:pt x="1555" y="2381"/>
                    </a:cubicBezTo>
                    <a:cubicBezTo>
                      <a:pt x="1555" y="2377"/>
                      <a:pt x="1556" y="2374"/>
                      <a:pt x="1557" y="2372"/>
                    </a:cubicBezTo>
                    <a:cubicBezTo>
                      <a:pt x="1558" y="2371"/>
                      <a:pt x="1558" y="2371"/>
                      <a:pt x="1558" y="2371"/>
                    </a:cubicBezTo>
                    <a:cubicBezTo>
                      <a:pt x="1559" y="2369"/>
                      <a:pt x="1559" y="2369"/>
                      <a:pt x="1555" y="2366"/>
                    </a:cubicBezTo>
                    <a:cubicBezTo>
                      <a:pt x="1550" y="2361"/>
                      <a:pt x="1553" y="2355"/>
                      <a:pt x="1556" y="2351"/>
                    </a:cubicBezTo>
                    <a:cubicBezTo>
                      <a:pt x="1557" y="2349"/>
                      <a:pt x="1558" y="2348"/>
                      <a:pt x="1558" y="2346"/>
                    </a:cubicBezTo>
                    <a:cubicBezTo>
                      <a:pt x="1559" y="2344"/>
                      <a:pt x="1559" y="2343"/>
                      <a:pt x="1559" y="2343"/>
                    </a:cubicBezTo>
                    <a:cubicBezTo>
                      <a:pt x="1559" y="2343"/>
                      <a:pt x="1559" y="2343"/>
                      <a:pt x="1559" y="2343"/>
                    </a:cubicBezTo>
                    <a:cubicBezTo>
                      <a:pt x="1558" y="2342"/>
                      <a:pt x="1558" y="2341"/>
                      <a:pt x="1557" y="2338"/>
                    </a:cubicBezTo>
                    <a:cubicBezTo>
                      <a:pt x="1556" y="2332"/>
                      <a:pt x="1557" y="2330"/>
                      <a:pt x="1558" y="2326"/>
                    </a:cubicBezTo>
                    <a:cubicBezTo>
                      <a:pt x="1558" y="2326"/>
                      <a:pt x="1558" y="2325"/>
                      <a:pt x="1558" y="2324"/>
                    </a:cubicBezTo>
                    <a:cubicBezTo>
                      <a:pt x="1558" y="2324"/>
                      <a:pt x="1558" y="2324"/>
                      <a:pt x="1558" y="2324"/>
                    </a:cubicBezTo>
                    <a:cubicBezTo>
                      <a:pt x="1557" y="2325"/>
                      <a:pt x="1555" y="2326"/>
                      <a:pt x="1553" y="2325"/>
                    </a:cubicBezTo>
                    <a:cubicBezTo>
                      <a:pt x="1552" y="2324"/>
                      <a:pt x="1551" y="2323"/>
                      <a:pt x="1551" y="2321"/>
                    </a:cubicBezTo>
                    <a:cubicBezTo>
                      <a:pt x="1550" y="2320"/>
                      <a:pt x="1549" y="2319"/>
                      <a:pt x="1546" y="2317"/>
                    </a:cubicBezTo>
                    <a:cubicBezTo>
                      <a:pt x="1546" y="2317"/>
                      <a:pt x="1546" y="2317"/>
                      <a:pt x="1546" y="2317"/>
                    </a:cubicBezTo>
                    <a:cubicBezTo>
                      <a:pt x="1546" y="2317"/>
                      <a:pt x="1546" y="2317"/>
                      <a:pt x="1546" y="2317"/>
                    </a:cubicBezTo>
                    <a:cubicBezTo>
                      <a:pt x="1546" y="2321"/>
                      <a:pt x="1544" y="2324"/>
                      <a:pt x="1542" y="2326"/>
                    </a:cubicBezTo>
                    <a:cubicBezTo>
                      <a:pt x="1542" y="2326"/>
                      <a:pt x="1542" y="2326"/>
                      <a:pt x="1542" y="2326"/>
                    </a:cubicBezTo>
                    <a:cubicBezTo>
                      <a:pt x="1541" y="2327"/>
                      <a:pt x="1539" y="2329"/>
                      <a:pt x="1537" y="2329"/>
                    </a:cubicBezTo>
                    <a:cubicBezTo>
                      <a:pt x="1537" y="2329"/>
                      <a:pt x="1537" y="2329"/>
                      <a:pt x="1537" y="2329"/>
                    </a:cubicBezTo>
                    <a:cubicBezTo>
                      <a:pt x="1534" y="2329"/>
                      <a:pt x="1532" y="2327"/>
                      <a:pt x="1530" y="2325"/>
                    </a:cubicBezTo>
                    <a:cubicBezTo>
                      <a:pt x="1527" y="2321"/>
                      <a:pt x="1527" y="2320"/>
                      <a:pt x="1528" y="2316"/>
                    </a:cubicBezTo>
                    <a:cubicBezTo>
                      <a:pt x="1528" y="2316"/>
                      <a:pt x="1528" y="2315"/>
                      <a:pt x="1528" y="2314"/>
                    </a:cubicBezTo>
                    <a:cubicBezTo>
                      <a:pt x="1528" y="2313"/>
                      <a:pt x="1528" y="2311"/>
                      <a:pt x="1528" y="2311"/>
                    </a:cubicBezTo>
                    <a:cubicBezTo>
                      <a:pt x="1527" y="2311"/>
                      <a:pt x="1527" y="2311"/>
                      <a:pt x="1527" y="2310"/>
                    </a:cubicBezTo>
                    <a:cubicBezTo>
                      <a:pt x="1522" y="2307"/>
                      <a:pt x="1523" y="2292"/>
                      <a:pt x="1524" y="2290"/>
                    </a:cubicBezTo>
                    <a:cubicBezTo>
                      <a:pt x="1524" y="2289"/>
                      <a:pt x="1522" y="2286"/>
                      <a:pt x="1521" y="2284"/>
                    </a:cubicBezTo>
                    <a:cubicBezTo>
                      <a:pt x="1518" y="2280"/>
                      <a:pt x="1519" y="2274"/>
                      <a:pt x="1522" y="2267"/>
                    </a:cubicBezTo>
                    <a:cubicBezTo>
                      <a:pt x="1522" y="2266"/>
                      <a:pt x="1522" y="2265"/>
                      <a:pt x="1522" y="2265"/>
                    </a:cubicBezTo>
                    <a:cubicBezTo>
                      <a:pt x="1518" y="2265"/>
                      <a:pt x="1513" y="2264"/>
                      <a:pt x="1511" y="2260"/>
                    </a:cubicBezTo>
                    <a:cubicBezTo>
                      <a:pt x="1510" y="2257"/>
                      <a:pt x="1509" y="2253"/>
                      <a:pt x="1508" y="2250"/>
                    </a:cubicBezTo>
                    <a:cubicBezTo>
                      <a:pt x="1503" y="2253"/>
                      <a:pt x="1498" y="2248"/>
                      <a:pt x="1496" y="2247"/>
                    </a:cubicBezTo>
                    <a:cubicBezTo>
                      <a:pt x="1496" y="2246"/>
                      <a:pt x="1496" y="2246"/>
                      <a:pt x="1496" y="2246"/>
                    </a:cubicBezTo>
                    <a:cubicBezTo>
                      <a:pt x="1492" y="2244"/>
                      <a:pt x="1492" y="2239"/>
                      <a:pt x="1492" y="2235"/>
                    </a:cubicBezTo>
                    <a:cubicBezTo>
                      <a:pt x="1492" y="2234"/>
                      <a:pt x="1492" y="2234"/>
                      <a:pt x="1492" y="2234"/>
                    </a:cubicBezTo>
                    <a:cubicBezTo>
                      <a:pt x="1491" y="2233"/>
                      <a:pt x="1487" y="2231"/>
                      <a:pt x="1484" y="2232"/>
                    </a:cubicBezTo>
                    <a:cubicBezTo>
                      <a:pt x="1484" y="2232"/>
                      <a:pt x="1483" y="2232"/>
                      <a:pt x="1483" y="2232"/>
                    </a:cubicBezTo>
                    <a:cubicBezTo>
                      <a:pt x="1483" y="2232"/>
                      <a:pt x="1483" y="2232"/>
                      <a:pt x="1483" y="2232"/>
                    </a:cubicBezTo>
                    <a:cubicBezTo>
                      <a:pt x="1483" y="2233"/>
                      <a:pt x="1483" y="2233"/>
                      <a:pt x="1483" y="2234"/>
                    </a:cubicBezTo>
                    <a:cubicBezTo>
                      <a:pt x="1482" y="2235"/>
                      <a:pt x="1482" y="2236"/>
                      <a:pt x="1482" y="2237"/>
                    </a:cubicBezTo>
                    <a:cubicBezTo>
                      <a:pt x="1482" y="2239"/>
                      <a:pt x="1481" y="2242"/>
                      <a:pt x="1481" y="2244"/>
                    </a:cubicBezTo>
                    <a:cubicBezTo>
                      <a:pt x="1480" y="2247"/>
                      <a:pt x="1478" y="2250"/>
                      <a:pt x="1472" y="2249"/>
                    </a:cubicBezTo>
                    <a:cubicBezTo>
                      <a:pt x="1470" y="2251"/>
                      <a:pt x="1467" y="2256"/>
                      <a:pt x="1466" y="2257"/>
                    </a:cubicBezTo>
                    <a:cubicBezTo>
                      <a:pt x="1465" y="2259"/>
                      <a:pt x="1465" y="2259"/>
                      <a:pt x="1466" y="2261"/>
                    </a:cubicBezTo>
                    <a:cubicBezTo>
                      <a:pt x="1468" y="2264"/>
                      <a:pt x="1468" y="2268"/>
                      <a:pt x="1467" y="2272"/>
                    </a:cubicBezTo>
                    <a:cubicBezTo>
                      <a:pt x="1467" y="2273"/>
                      <a:pt x="1467" y="2274"/>
                      <a:pt x="1467" y="2275"/>
                    </a:cubicBezTo>
                    <a:cubicBezTo>
                      <a:pt x="1467" y="2279"/>
                      <a:pt x="1466" y="2281"/>
                      <a:pt x="1464" y="2283"/>
                    </a:cubicBezTo>
                    <a:cubicBezTo>
                      <a:pt x="1462" y="2284"/>
                      <a:pt x="1460" y="2284"/>
                      <a:pt x="1458" y="2283"/>
                    </a:cubicBezTo>
                    <a:cubicBezTo>
                      <a:pt x="1458" y="2283"/>
                      <a:pt x="1458" y="2283"/>
                      <a:pt x="1458" y="2283"/>
                    </a:cubicBezTo>
                    <a:cubicBezTo>
                      <a:pt x="1458" y="2283"/>
                      <a:pt x="1458" y="2283"/>
                      <a:pt x="1457" y="2283"/>
                    </a:cubicBezTo>
                    <a:cubicBezTo>
                      <a:pt x="1456" y="2285"/>
                      <a:pt x="1454" y="2286"/>
                      <a:pt x="1451" y="2288"/>
                    </a:cubicBezTo>
                    <a:cubicBezTo>
                      <a:pt x="1450" y="2288"/>
                      <a:pt x="1449" y="2289"/>
                      <a:pt x="1449" y="2289"/>
                    </a:cubicBezTo>
                    <a:cubicBezTo>
                      <a:pt x="1447" y="2290"/>
                      <a:pt x="1445" y="2292"/>
                      <a:pt x="1441" y="2293"/>
                    </a:cubicBezTo>
                    <a:cubicBezTo>
                      <a:pt x="1438" y="2295"/>
                      <a:pt x="1435" y="2294"/>
                      <a:pt x="1434" y="2293"/>
                    </a:cubicBezTo>
                    <a:cubicBezTo>
                      <a:pt x="1430" y="2291"/>
                      <a:pt x="1429" y="2286"/>
                      <a:pt x="1429" y="2283"/>
                    </a:cubicBezTo>
                    <a:cubicBezTo>
                      <a:pt x="1427" y="2282"/>
                      <a:pt x="1424" y="2280"/>
                      <a:pt x="1423" y="2280"/>
                    </a:cubicBezTo>
                    <a:cubicBezTo>
                      <a:pt x="1421" y="2280"/>
                      <a:pt x="1419" y="2280"/>
                      <a:pt x="1417" y="2278"/>
                    </a:cubicBezTo>
                    <a:cubicBezTo>
                      <a:pt x="1415" y="2277"/>
                      <a:pt x="1414" y="2275"/>
                      <a:pt x="1414" y="2272"/>
                    </a:cubicBezTo>
                    <a:cubicBezTo>
                      <a:pt x="1414" y="2271"/>
                      <a:pt x="1412" y="2271"/>
                      <a:pt x="1411" y="2270"/>
                    </a:cubicBezTo>
                    <a:cubicBezTo>
                      <a:pt x="1409" y="2269"/>
                      <a:pt x="1408" y="2268"/>
                      <a:pt x="1405" y="2266"/>
                    </a:cubicBezTo>
                    <a:cubicBezTo>
                      <a:pt x="1404" y="2265"/>
                      <a:pt x="1401" y="2262"/>
                      <a:pt x="1399" y="2261"/>
                    </a:cubicBezTo>
                    <a:cubicBezTo>
                      <a:pt x="1398" y="2261"/>
                      <a:pt x="1398" y="2261"/>
                      <a:pt x="1398" y="2261"/>
                    </a:cubicBezTo>
                    <a:cubicBezTo>
                      <a:pt x="1396" y="2260"/>
                      <a:pt x="1393" y="2259"/>
                      <a:pt x="1394" y="2255"/>
                    </a:cubicBezTo>
                    <a:cubicBezTo>
                      <a:pt x="1394" y="2254"/>
                      <a:pt x="1394" y="2254"/>
                      <a:pt x="1394" y="2254"/>
                    </a:cubicBezTo>
                    <a:cubicBezTo>
                      <a:pt x="1394" y="2253"/>
                      <a:pt x="1394" y="2252"/>
                      <a:pt x="1391" y="2250"/>
                    </a:cubicBezTo>
                    <a:cubicBezTo>
                      <a:pt x="1390" y="2251"/>
                      <a:pt x="1389" y="2251"/>
                      <a:pt x="1388" y="2252"/>
                    </a:cubicBezTo>
                    <a:cubicBezTo>
                      <a:pt x="1386" y="2253"/>
                      <a:pt x="1383" y="2252"/>
                      <a:pt x="1382" y="2251"/>
                    </a:cubicBezTo>
                    <a:cubicBezTo>
                      <a:pt x="1379" y="2249"/>
                      <a:pt x="1378" y="2245"/>
                      <a:pt x="1377" y="2243"/>
                    </a:cubicBezTo>
                    <a:cubicBezTo>
                      <a:pt x="1377" y="2243"/>
                      <a:pt x="1376" y="2242"/>
                      <a:pt x="1375" y="2242"/>
                    </a:cubicBezTo>
                    <a:cubicBezTo>
                      <a:pt x="1375" y="2242"/>
                      <a:pt x="1374" y="2242"/>
                      <a:pt x="1372" y="2242"/>
                    </a:cubicBezTo>
                    <a:cubicBezTo>
                      <a:pt x="1367" y="2243"/>
                      <a:pt x="1365" y="2243"/>
                      <a:pt x="1363" y="2243"/>
                    </a:cubicBezTo>
                    <a:cubicBezTo>
                      <a:pt x="1363" y="2243"/>
                      <a:pt x="1353" y="2242"/>
                      <a:pt x="1348" y="2234"/>
                    </a:cubicBezTo>
                    <a:cubicBezTo>
                      <a:pt x="1345" y="2231"/>
                      <a:pt x="1344" y="2231"/>
                      <a:pt x="1341" y="2233"/>
                    </a:cubicBezTo>
                    <a:cubicBezTo>
                      <a:pt x="1340" y="2233"/>
                      <a:pt x="1340" y="2233"/>
                      <a:pt x="1340" y="2233"/>
                    </a:cubicBezTo>
                    <a:cubicBezTo>
                      <a:pt x="1337" y="2235"/>
                      <a:pt x="1329" y="2236"/>
                      <a:pt x="1321" y="2237"/>
                    </a:cubicBezTo>
                    <a:cubicBezTo>
                      <a:pt x="1319" y="2237"/>
                      <a:pt x="1319" y="2237"/>
                      <a:pt x="1319" y="2237"/>
                    </a:cubicBezTo>
                    <a:cubicBezTo>
                      <a:pt x="1314" y="2238"/>
                      <a:pt x="1313" y="2240"/>
                      <a:pt x="1313" y="2240"/>
                    </a:cubicBezTo>
                    <a:cubicBezTo>
                      <a:pt x="1312" y="2241"/>
                      <a:pt x="1312" y="2242"/>
                      <a:pt x="1311" y="2243"/>
                    </a:cubicBezTo>
                    <a:cubicBezTo>
                      <a:pt x="1309" y="2246"/>
                      <a:pt x="1306" y="2251"/>
                      <a:pt x="1304" y="2253"/>
                    </a:cubicBezTo>
                    <a:cubicBezTo>
                      <a:pt x="1300" y="2258"/>
                      <a:pt x="1297" y="2260"/>
                      <a:pt x="1291" y="2261"/>
                    </a:cubicBezTo>
                    <a:cubicBezTo>
                      <a:pt x="1290" y="2261"/>
                      <a:pt x="1288" y="2262"/>
                      <a:pt x="1286" y="2262"/>
                    </a:cubicBezTo>
                    <a:cubicBezTo>
                      <a:pt x="1281" y="2264"/>
                      <a:pt x="1273" y="2266"/>
                      <a:pt x="1269" y="2268"/>
                    </a:cubicBezTo>
                    <a:cubicBezTo>
                      <a:pt x="1267" y="2268"/>
                      <a:pt x="1267" y="2268"/>
                      <a:pt x="1267" y="2268"/>
                    </a:cubicBezTo>
                    <a:cubicBezTo>
                      <a:pt x="1261" y="2271"/>
                      <a:pt x="1252" y="2275"/>
                      <a:pt x="1244" y="2277"/>
                    </a:cubicBezTo>
                    <a:cubicBezTo>
                      <a:pt x="1237" y="2278"/>
                      <a:pt x="1233" y="2277"/>
                      <a:pt x="1232" y="2277"/>
                    </a:cubicBezTo>
                    <a:cubicBezTo>
                      <a:pt x="1229" y="2277"/>
                      <a:pt x="1218" y="2277"/>
                      <a:pt x="1215" y="2277"/>
                    </a:cubicBezTo>
                    <a:cubicBezTo>
                      <a:pt x="1214" y="2277"/>
                      <a:pt x="1213" y="2278"/>
                      <a:pt x="1212" y="2279"/>
                    </a:cubicBezTo>
                    <a:cubicBezTo>
                      <a:pt x="1211" y="2280"/>
                      <a:pt x="1211" y="2281"/>
                      <a:pt x="1210" y="2282"/>
                    </a:cubicBezTo>
                    <a:cubicBezTo>
                      <a:pt x="1210" y="2282"/>
                      <a:pt x="1209" y="2283"/>
                      <a:pt x="1208" y="2284"/>
                    </a:cubicBezTo>
                    <a:cubicBezTo>
                      <a:pt x="1204" y="2287"/>
                      <a:pt x="1199" y="2292"/>
                      <a:pt x="1194" y="2296"/>
                    </a:cubicBezTo>
                    <a:cubicBezTo>
                      <a:pt x="1189" y="2300"/>
                      <a:pt x="1185" y="2307"/>
                      <a:pt x="1182" y="2313"/>
                    </a:cubicBezTo>
                    <a:cubicBezTo>
                      <a:pt x="1182" y="2314"/>
                      <a:pt x="1181" y="2315"/>
                      <a:pt x="1180" y="2316"/>
                    </a:cubicBezTo>
                    <a:cubicBezTo>
                      <a:pt x="1177" y="2323"/>
                      <a:pt x="1169" y="2326"/>
                      <a:pt x="1163" y="2326"/>
                    </a:cubicBezTo>
                    <a:cubicBezTo>
                      <a:pt x="1160" y="2327"/>
                      <a:pt x="1150" y="2327"/>
                      <a:pt x="1145" y="2327"/>
                    </a:cubicBezTo>
                    <a:cubicBezTo>
                      <a:pt x="1143" y="2327"/>
                      <a:pt x="1143" y="2327"/>
                      <a:pt x="1143" y="2327"/>
                    </a:cubicBezTo>
                    <a:cubicBezTo>
                      <a:pt x="1127" y="2326"/>
                      <a:pt x="1122" y="2326"/>
                      <a:pt x="1121" y="2326"/>
                    </a:cubicBezTo>
                    <a:cubicBezTo>
                      <a:pt x="1117" y="2328"/>
                      <a:pt x="1110" y="2327"/>
                      <a:pt x="1107" y="2325"/>
                    </a:cubicBezTo>
                    <a:cubicBezTo>
                      <a:pt x="1105" y="2324"/>
                      <a:pt x="1098" y="2320"/>
                      <a:pt x="1092" y="2320"/>
                    </a:cubicBezTo>
                    <a:cubicBezTo>
                      <a:pt x="1087" y="2319"/>
                      <a:pt x="1084" y="2316"/>
                      <a:pt x="1081" y="2314"/>
                    </a:cubicBezTo>
                    <a:cubicBezTo>
                      <a:pt x="1080" y="2313"/>
                      <a:pt x="1080" y="2313"/>
                      <a:pt x="1079" y="2312"/>
                    </a:cubicBezTo>
                    <a:cubicBezTo>
                      <a:pt x="1078" y="2311"/>
                      <a:pt x="1075" y="2312"/>
                      <a:pt x="1072" y="2313"/>
                    </a:cubicBezTo>
                    <a:cubicBezTo>
                      <a:pt x="1070" y="2313"/>
                      <a:pt x="1068" y="2314"/>
                      <a:pt x="1066" y="2314"/>
                    </a:cubicBezTo>
                    <a:cubicBezTo>
                      <a:pt x="1063" y="2314"/>
                      <a:pt x="1059" y="2314"/>
                      <a:pt x="1056" y="2314"/>
                    </a:cubicBezTo>
                    <a:cubicBezTo>
                      <a:pt x="1052" y="2314"/>
                      <a:pt x="1049" y="2313"/>
                      <a:pt x="1047" y="2314"/>
                    </a:cubicBezTo>
                    <a:cubicBezTo>
                      <a:pt x="1043" y="2314"/>
                      <a:pt x="1039" y="2312"/>
                      <a:pt x="1036" y="2309"/>
                    </a:cubicBezTo>
                    <a:cubicBezTo>
                      <a:pt x="1035" y="2307"/>
                      <a:pt x="1034" y="2305"/>
                      <a:pt x="1034" y="2303"/>
                    </a:cubicBezTo>
                    <a:cubicBezTo>
                      <a:pt x="1034" y="2302"/>
                      <a:pt x="1034" y="2300"/>
                      <a:pt x="1033" y="2298"/>
                    </a:cubicBezTo>
                    <a:cubicBezTo>
                      <a:pt x="1032" y="2295"/>
                      <a:pt x="1031" y="2290"/>
                      <a:pt x="1031" y="2286"/>
                    </a:cubicBezTo>
                    <a:cubicBezTo>
                      <a:pt x="1031" y="2277"/>
                      <a:pt x="1033" y="2275"/>
                      <a:pt x="1038" y="2271"/>
                    </a:cubicBezTo>
                    <a:cubicBezTo>
                      <a:pt x="1038" y="2270"/>
                      <a:pt x="1038" y="2270"/>
                      <a:pt x="1038" y="2270"/>
                    </a:cubicBezTo>
                    <a:cubicBezTo>
                      <a:pt x="1042" y="2267"/>
                      <a:pt x="1039" y="2263"/>
                      <a:pt x="1039" y="2262"/>
                    </a:cubicBezTo>
                    <a:cubicBezTo>
                      <a:pt x="1037" y="2259"/>
                      <a:pt x="1033" y="2256"/>
                      <a:pt x="1033" y="2256"/>
                    </a:cubicBezTo>
                    <a:cubicBezTo>
                      <a:pt x="1031" y="2255"/>
                      <a:pt x="1024" y="2254"/>
                      <a:pt x="1019" y="2253"/>
                    </a:cubicBezTo>
                    <a:cubicBezTo>
                      <a:pt x="1013" y="2253"/>
                      <a:pt x="1010" y="2252"/>
                      <a:pt x="1007" y="2245"/>
                    </a:cubicBezTo>
                    <a:cubicBezTo>
                      <a:pt x="1006" y="2240"/>
                      <a:pt x="1005" y="2232"/>
                      <a:pt x="1009" y="2226"/>
                    </a:cubicBezTo>
                    <a:cubicBezTo>
                      <a:pt x="1010" y="2224"/>
                      <a:pt x="1008" y="2222"/>
                      <a:pt x="1008" y="2222"/>
                    </a:cubicBezTo>
                    <a:cubicBezTo>
                      <a:pt x="1006" y="2221"/>
                      <a:pt x="1005" y="2220"/>
                      <a:pt x="1005" y="2218"/>
                    </a:cubicBezTo>
                    <a:cubicBezTo>
                      <a:pt x="1005" y="2215"/>
                      <a:pt x="1006" y="2213"/>
                      <a:pt x="1007" y="2211"/>
                    </a:cubicBezTo>
                    <a:cubicBezTo>
                      <a:pt x="1007" y="2211"/>
                      <a:pt x="1006" y="2211"/>
                      <a:pt x="1006" y="2210"/>
                    </a:cubicBezTo>
                    <a:cubicBezTo>
                      <a:pt x="1002" y="2208"/>
                      <a:pt x="1001" y="2205"/>
                      <a:pt x="999" y="2201"/>
                    </a:cubicBezTo>
                    <a:cubicBezTo>
                      <a:pt x="999" y="2200"/>
                      <a:pt x="999" y="2199"/>
                      <a:pt x="998" y="2198"/>
                    </a:cubicBezTo>
                    <a:cubicBezTo>
                      <a:pt x="998" y="2197"/>
                      <a:pt x="997" y="2197"/>
                      <a:pt x="997" y="2197"/>
                    </a:cubicBezTo>
                    <a:cubicBezTo>
                      <a:pt x="996" y="2197"/>
                      <a:pt x="996" y="2197"/>
                      <a:pt x="996" y="2197"/>
                    </a:cubicBezTo>
                    <a:cubicBezTo>
                      <a:pt x="994" y="2203"/>
                      <a:pt x="986" y="2202"/>
                      <a:pt x="983" y="2201"/>
                    </a:cubicBezTo>
                    <a:cubicBezTo>
                      <a:pt x="983" y="2201"/>
                      <a:pt x="983" y="2201"/>
                      <a:pt x="983" y="2201"/>
                    </a:cubicBezTo>
                    <a:cubicBezTo>
                      <a:pt x="982" y="2202"/>
                      <a:pt x="982" y="2203"/>
                      <a:pt x="981" y="2204"/>
                    </a:cubicBezTo>
                    <a:cubicBezTo>
                      <a:pt x="981" y="2204"/>
                      <a:pt x="980" y="2207"/>
                      <a:pt x="977" y="2207"/>
                    </a:cubicBezTo>
                    <a:cubicBezTo>
                      <a:pt x="974" y="2208"/>
                      <a:pt x="972" y="2206"/>
                      <a:pt x="971" y="2205"/>
                    </a:cubicBezTo>
                    <a:cubicBezTo>
                      <a:pt x="970" y="2204"/>
                      <a:pt x="970" y="2204"/>
                      <a:pt x="970" y="2204"/>
                    </a:cubicBezTo>
                    <a:cubicBezTo>
                      <a:pt x="969" y="2203"/>
                      <a:pt x="967" y="2203"/>
                      <a:pt x="966" y="2202"/>
                    </a:cubicBezTo>
                    <a:cubicBezTo>
                      <a:pt x="964" y="2201"/>
                      <a:pt x="962" y="2200"/>
                      <a:pt x="960" y="2198"/>
                    </a:cubicBezTo>
                    <a:cubicBezTo>
                      <a:pt x="958" y="2196"/>
                      <a:pt x="951" y="2189"/>
                      <a:pt x="949" y="2187"/>
                    </a:cubicBezTo>
                    <a:cubicBezTo>
                      <a:pt x="947" y="2186"/>
                      <a:pt x="943" y="2186"/>
                      <a:pt x="941" y="2186"/>
                    </a:cubicBezTo>
                    <a:cubicBezTo>
                      <a:pt x="940" y="2186"/>
                      <a:pt x="939" y="2186"/>
                      <a:pt x="939" y="2186"/>
                    </a:cubicBezTo>
                    <a:cubicBezTo>
                      <a:pt x="935" y="2185"/>
                      <a:pt x="927" y="2181"/>
                      <a:pt x="924" y="2178"/>
                    </a:cubicBezTo>
                    <a:cubicBezTo>
                      <a:pt x="924" y="2178"/>
                      <a:pt x="921" y="2176"/>
                      <a:pt x="920" y="2175"/>
                    </a:cubicBezTo>
                    <a:cubicBezTo>
                      <a:pt x="917" y="2173"/>
                      <a:pt x="914" y="2172"/>
                      <a:pt x="912" y="2170"/>
                    </a:cubicBezTo>
                    <a:cubicBezTo>
                      <a:pt x="910" y="2168"/>
                      <a:pt x="909" y="2168"/>
                      <a:pt x="908" y="2168"/>
                    </a:cubicBezTo>
                    <a:cubicBezTo>
                      <a:pt x="904" y="2169"/>
                      <a:pt x="899" y="2169"/>
                      <a:pt x="897" y="2169"/>
                    </a:cubicBezTo>
                    <a:cubicBezTo>
                      <a:pt x="896" y="2168"/>
                      <a:pt x="895" y="2168"/>
                      <a:pt x="893" y="2165"/>
                    </a:cubicBezTo>
                    <a:cubicBezTo>
                      <a:pt x="890" y="2163"/>
                      <a:pt x="886" y="2160"/>
                      <a:pt x="882" y="2158"/>
                    </a:cubicBezTo>
                    <a:cubicBezTo>
                      <a:pt x="882" y="2158"/>
                      <a:pt x="881" y="2158"/>
                      <a:pt x="880" y="2157"/>
                    </a:cubicBezTo>
                    <a:cubicBezTo>
                      <a:pt x="880" y="2158"/>
                      <a:pt x="880" y="2158"/>
                      <a:pt x="880" y="2158"/>
                    </a:cubicBezTo>
                    <a:cubicBezTo>
                      <a:pt x="877" y="2162"/>
                      <a:pt x="873" y="2161"/>
                      <a:pt x="872" y="2160"/>
                    </a:cubicBezTo>
                    <a:cubicBezTo>
                      <a:pt x="871" y="2160"/>
                      <a:pt x="870" y="2160"/>
                      <a:pt x="869" y="2160"/>
                    </a:cubicBezTo>
                    <a:cubicBezTo>
                      <a:pt x="868" y="2160"/>
                      <a:pt x="865" y="2159"/>
                      <a:pt x="864" y="2161"/>
                    </a:cubicBezTo>
                    <a:cubicBezTo>
                      <a:pt x="861" y="2164"/>
                      <a:pt x="859" y="2164"/>
                      <a:pt x="857" y="2165"/>
                    </a:cubicBezTo>
                    <a:cubicBezTo>
                      <a:pt x="856" y="2165"/>
                      <a:pt x="855" y="2166"/>
                      <a:pt x="854" y="2166"/>
                    </a:cubicBezTo>
                    <a:cubicBezTo>
                      <a:pt x="853" y="2167"/>
                      <a:pt x="853" y="2167"/>
                      <a:pt x="853" y="2167"/>
                    </a:cubicBezTo>
                    <a:cubicBezTo>
                      <a:pt x="853" y="2167"/>
                      <a:pt x="853" y="2168"/>
                      <a:pt x="853" y="2168"/>
                    </a:cubicBezTo>
                    <a:cubicBezTo>
                      <a:pt x="852" y="2169"/>
                      <a:pt x="852" y="2171"/>
                      <a:pt x="850" y="2173"/>
                    </a:cubicBezTo>
                    <a:cubicBezTo>
                      <a:pt x="848" y="2176"/>
                      <a:pt x="843" y="2180"/>
                      <a:pt x="836" y="2184"/>
                    </a:cubicBezTo>
                    <a:cubicBezTo>
                      <a:pt x="834" y="2186"/>
                      <a:pt x="831" y="2187"/>
                      <a:pt x="830" y="2188"/>
                    </a:cubicBezTo>
                    <a:cubicBezTo>
                      <a:pt x="828" y="2190"/>
                      <a:pt x="828" y="2190"/>
                      <a:pt x="828" y="2190"/>
                    </a:cubicBezTo>
                    <a:cubicBezTo>
                      <a:pt x="826" y="2192"/>
                      <a:pt x="825" y="2192"/>
                      <a:pt x="825" y="2193"/>
                    </a:cubicBezTo>
                    <a:cubicBezTo>
                      <a:pt x="825" y="2194"/>
                      <a:pt x="825" y="2194"/>
                      <a:pt x="825" y="2195"/>
                    </a:cubicBezTo>
                    <a:cubicBezTo>
                      <a:pt x="824" y="2198"/>
                      <a:pt x="823" y="2204"/>
                      <a:pt x="820" y="2207"/>
                    </a:cubicBezTo>
                    <a:cubicBezTo>
                      <a:pt x="819" y="2208"/>
                      <a:pt x="819" y="2208"/>
                      <a:pt x="820" y="2211"/>
                    </a:cubicBezTo>
                    <a:cubicBezTo>
                      <a:pt x="820" y="2212"/>
                      <a:pt x="821" y="2214"/>
                      <a:pt x="821" y="2215"/>
                    </a:cubicBezTo>
                    <a:cubicBezTo>
                      <a:pt x="821" y="2219"/>
                      <a:pt x="821" y="2223"/>
                      <a:pt x="819" y="2226"/>
                    </a:cubicBezTo>
                    <a:cubicBezTo>
                      <a:pt x="816" y="2229"/>
                      <a:pt x="812" y="2230"/>
                      <a:pt x="807" y="2231"/>
                    </a:cubicBezTo>
                    <a:cubicBezTo>
                      <a:pt x="798" y="2232"/>
                      <a:pt x="795" y="2226"/>
                      <a:pt x="793" y="2222"/>
                    </a:cubicBezTo>
                    <a:cubicBezTo>
                      <a:pt x="793" y="2220"/>
                      <a:pt x="793" y="2220"/>
                      <a:pt x="793" y="2220"/>
                    </a:cubicBezTo>
                    <a:cubicBezTo>
                      <a:pt x="792" y="2219"/>
                      <a:pt x="792" y="2218"/>
                      <a:pt x="791" y="2216"/>
                    </a:cubicBezTo>
                    <a:cubicBezTo>
                      <a:pt x="788" y="2210"/>
                      <a:pt x="785" y="2204"/>
                      <a:pt x="785" y="2201"/>
                    </a:cubicBezTo>
                    <a:cubicBezTo>
                      <a:pt x="785" y="2196"/>
                      <a:pt x="789" y="2191"/>
                      <a:pt x="792" y="2187"/>
                    </a:cubicBezTo>
                    <a:cubicBezTo>
                      <a:pt x="795" y="2183"/>
                      <a:pt x="798" y="2176"/>
                      <a:pt x="798" y="2173"/>
                    </a:cubicBezTo>
                    <a:cubicBezTo>
                      <a:pt x="798" y="2168"/>
                      <a:pt x="798" y="2157"/>
                      <a:pt x="797" y="2154"/>
                    </a:cubicBezTo>
                    <a:cubicBezTo>
                      <a:pt x="796" y="2153"/>
                      <a:pt x="794" y="2152"/>
                      <a:pt x="793" y="2152"/>
                    </a:cubicBezTo>
                    <a:cubicBezTo>
                      <a:pt x="792" y="2152"/>
                      <a:pt x="791" y="2151"/>
                      <a:pt x="790" y="2151"/>
                    </a:cubicBezTo>
                    <a:cubicBezTo>
                      <a:pt x="789" y="2151"/>
                      <a:pt x="786" y="2150"/>
                      <a:pt x="786" y="2150"/>
                    </a:cubicBezTo>
                    <a:cubicBezTo>
                      <a:pt x="783" y="2152"/>
                      <a:pt x="780" y="2153"/>
                      <a:pt x="777" y="2154"/>
                    </a:cubicBezTo>
                    <a:cubicBezTo>
                      <a:pt x="777" y="2154"/>
                      <a:pt x="776" y="2154"/>
                      <a:pt x="776" y="2154"/>
                    </a:cubicBezTo>
                    <a:cubicBezTo>
                      <a:pt x="775" y="2154"/>
                      <a:pt x="774" y="2155"/>
                      <a:pt x="772" y="2156"/>
                    </a:cubicBezTo>
                    <a:cubicBezTo>
                      <a:pt x="769" y="2157"/>
                      <a:pt x="765" y="2159"/>
                      <a:pt x="763" y="2159"/>
                    </a:cubicBezTo>
                    <a:cubicBezTo>
                      <a:pt x="758" y="2161"/>
                      <a:pt x="755" y="2159"/>
                      <a:pt x="753" y="2157"/>
                    </a:cubicBezTo>
                    <a:cubicBezTo>
                      <a:pt x="752" y="2156"/>
                      <a:pt x="752" y="2156"/>
                      <a:pt x="752" y="2156"/>
                    </a:cubicBezTo>
                    <a:cubicBezTo>
                      <a:pt x="752" y="2156"/>
                      <a:pt x="748" y="2157"/>
                      <a:pt x="746" y="2158"/>
                    </a:cubicBezTo>
                    <a:cubicBezTo>
                      <a:pt x="741" y="2161"/>
                      <a:pt x="732" y="2156"/>
                      <a:pt x="726" y="2153"/>
                    </a:cubicBezTo>
                    <a:cubicBezTo>
                      <a:pt x="725" y="2152"/>
                      <a:pt x="724" y="2152"/>
                      <a:pt x="723" y="2151"/>
                    </a:cubicBezTo>
                    <a:cubicBezTo>
                      <a:pt x="723" y="2151"/>
                      <a:pt x="722" y="2151"/>
                      <a:pt x="719" y="2154"/>
                    </a:cubicBezTo>
                    <a:cubicBezTo>
                      <a:pt x="719" y="2155"/>
                      <a:pt x="719" y="2155"/>
                      <a:pt x="718" y="2156"/>
                    </a:cubicBezTo>
                    <a:cubicBezTo>
                      <a:pt x="716" y="2159"/>
                      <a:pt x="713" y="2162"/>
                      <a:pt x="707" y="2158"/>
                    </a:cubicBezTo>
                    <a:cubicBezTo>
                      <a:pt x="705" y="2157"/>
                      <a:pt x="702" y="2155"/>
                      <a:pt x="700" y="2154"/>
                    </a:cubicBezTo>
                    <a:cubicBezTo>
                      <a:pt x="700" y="2153"/>
                      <a:pt x="699" y="2153"/>
                      <a:pt x="699" y="2154"/>
                    </a:cubicBezTo>
                    <a:cubicBezTo>
                      <a:pt x="698" y="2154"/>
                      <a:pt x="696" y="2155"/>
                      <a:pt x="694" y="2155"/>
                    </a:cubicBezTo>
                    <a:cubicBezTo>
                      <a:pt x="692" y="2154"/>
                      <a:pt x="690" y="2153"/>
                      <a:pt x="689" y="2152"/>
                    </a:cubicBezTo>
                    <a:cubicBezTo>
                      <a:pt x="689" y="2152"/>
                      <a:pt x="688" y="2151"/>
                      <a:pt x="688" y="2151"/>
                    </a:cubicBezTo>
                    <a:cubicBezTo>
                      <a:pt x="685" y="2152"/>
                      <a:pt x="682" y="2153"/>
                      <a:pt x="679" y="2152"/>
                    </a:cubicBezTo>
                    <a:cubicBezTo>
                      <a:pt x="679" y="2152"/>
                      <a:pt x="678" y="2152"/>
                      <a:pt x="678" y="2152"/>
                    </a:cubicBezTo>
                    <a:cubicBezTo>
                      <a:pt x="676" y="2151"/>
                      <a:pt x="673" y="2150"/>
                      <a:pt x="671" y="2148"/>
                    </a:cubicBezTo>
                    <a:cubicBezTo>
                      <a:pt x="670" y="2148"/>
                      <a:pt x="670" y="2147"/>
                      <a:pt x="670" y="2147"/>
                    </a:cubicBezTo>
                    <a:cubicBezTo>
                      <a:pt x="667" y="2145"/>
                      <a:pt x="664" y="2143"/>
                      <a:pt x="664" y="2139"/>
                    </a:cubicBezTo>
                    <a:cubicBezTo>
                      <a:pt x="664" y="2138"/>
                      <a:pt x="664" y="2138"/>
                      <a:pt x="664" y="2137"/>
                    </a:cubicBezTo>
                    <a:cubicBezTo>
                      <a:pt x="664" y="2137"/>
                      <a:pt x="664" y="2137"/>
                      <a:pt x="664" y="2137"/>
                    </a:cubicBezTo>
                    <a:cubicBezTo>
                      <a:pt x="664" y="2137"/>
                      <a:pt x="664" y="2137"/>
                      <a:pt x="664" y="2137"/>
                    </a:cubicBezTo>
                    <a:cubicBezTo>
                      <a:pt x="659" y="2136"/>
                      <a:pt x="656" y="2136"/>
                      <a:pt x="655" y="2133"/>
                    </a:cubicBezTo>
                    <a:cubicBezTo>
                      <a:pt x="654" y="2132"/>
                      <a:pt x="652" y="2130"/>
                      <a:pt x="651" y="2129"/>
                    </a:cubicBezTo>
                    <a:cubicBezTo>
                      <a:pt x="651" y="2129"/>
                      <a:pt x="651" y="2129"/>
                      <a:pt x="651" y="2129"/>
                    </a:cubicBezTo>
                    <a:cubicBezTo>
                      <a:pt x="649" y="2129"/>
                      <a:pt x="644" y="2127"/>
                      <a:pt x="644" y="2122"/>
                    </a:cubicBezTo>
                    <a:cubicBezTo>
                      <a:pt x="644" y="2120"/>
                      <a:pt x="642" y="2119"/>
                      <a:pt x="641" y="2118"/>
                    </a:cubicBezTo>
                    <a:cubicBezTo>
                      <a:pt x="639" y="2117"/>
                      <a:pt x="636" y="2117"/>
                      <a:pt x="633" y="2115"/>
                    </a:cubicBezTo>
                    <a:cubicBezTo>
                      <a:pt x="632" y="2115"/>
                      <a:pt x="632" y="2115"/>
                      <a:pt x="632" y="2115"/>
                    </a:cubicBezTo>
                    <a:cubicBezTo>
                      <a:pt x="631" y="2115"/>
                      <a:pt x="630" y="2116"/>
                      <a:pt x="630" y="2116"/>
                    </a:cubicBezTo>
                    <a:cubicBezTo>
                      <a:pt x="629" y="2119"/>
                      <a:pt x="628" y="2120"/>
                      <a:pt x="625" y="2124"/>
                    </a:cubicBezTo>
                    <a:cubicBezTo>
                      <a:pt x="624" y="2127"/>
                      <a:pt x="621" y="2128"/>
                      <a:pt x="620" y="2128"/>
                    </a:cubicBezTo>
                    <a:cubicBezTo>
                      <a:pt x="616" y="2129"/>
                      <a:pt x="613" y="2126"/>
                      <a:pt x="611" y="2124"/>
                    </a:cubicBezTo>
                    <a:cubicBezTo>
                      <a:pt x="611" y="2124"/>
                      <a:pt x="609" y="2123"/>
                      <a:pt x="608" y="2122"/>
                    </a:cubicBezTo>
                    <a:cubicBezTo>
                      <a:pt x="607" y="2121"/>
                      <a:pt x="605" y="2120"/>
                      <a:pt x="603" y="2119"/>
                    </a:cubicBezTo>
                    <a:cubicBezTo>
                      <a:pt x="600" y="2117"/>
                      <a:pt x="598" y="2114"/>
                      <a:pt x="599" y="2109"/>
                    </a:cubicBezTo>
                    <a:cubicBezTo>
                      <a:pt x="600" y="2105"/>
                      <a:pt x="601" y="2103"/>
                      <a:pt x="604" y="2101"/>
                    </a:cubicBezTo>
                    <a:cubicBezTo>
                      <a:pt x="599" y="2104"/>
                      <a:pt x="598" y="2106"/>
                      <a:pt x="598" y="2107"/>
                    </a:cubicBezTo>
                    <a:cubicBezTo>
                      <a:pt x="598" y="2107"/>
                      <a:pt x="597" y="2108"/>
                      <a:pt x="597" y="2109"/>
                    </a:cubicBezTo>
                    <a:cubicBezTo>
                      <a:pt x="597" y="2112"/>
                      <a:pt x="596" y="2116"/>
                      <a:pt x="593" y="2118"/>
                    </a:cubicBezTo>
                    <a:cubicBezTo>
                      <a:pt x="593" y="2118"/>
                      <a:pt x="593" y="2118"/>
                      <a:pt x="593" y="2118"/>
                    </a:cubicBezTo>
                    <a:cubicBezTo>
                      <a:pt x="592" y="2122"/>
                      <a:pt x="589" y="2123"/>
                      <a:pt x="588" y="2123"/>
                    </a:cubicBezTo>
                    <a:cubicBezTo>
                      <a:pt x="584" y="2124"/>
                      <a:pt x="580" y="2121"/>
                      <a:pt x="579" y="2119"/>
                    </a:cubicBezTo>
                    <a:cubicBezTo>
                      <a:pt x="575" y="2116"/>
                      <a:pt x="575" y="2112"/>
                      <a:pt x="577" y="2108"/>
                    </a:cubicBezTo>
                    <a:cubicBezTo>
                      <a:pt x="577" y="2108"/>
                      <a:pt x="577" y="2108"/>
                      <a:pt x="577" y="2108"/>
                    </a:cubicBezTo>
                    <a:cubicBezTo>
                      <a:pt x="576" y="2108"/>
                      <a:pt x="576" y="2107"/>
                      <a:pt x="575" y="2106"/>
                    </a:cubicBezTo>
                    <a:cubicBezTo>
                      <a:pt x="574" y="2103"/>
                      <a:pt x="575" y="2099"/>
                      <a:pt x="575" y="2095"/>
                    </a:cubicBezTo>
                    <a:cubicBezTo>
                      <a:pt x="575" y="2094"/>
                      <a:pt x="575" y="2094"/>
                      <a:pt x="576" y="2093"/>
                    </a:cubicBezTo>
                    <a:cubicBezTo>
                      <a:pt x="575" y="2093"/>
                      <a:pt x="573" y="2092"/>
                      <a:pt x="573" y="2091"/>
                    </a:cubicBezTo>
                    <a:cubicBezTo>
                      <a:pt x="571" y="2090"/>
                      <a:pt x="571" y="2090"/>
                      <a:pt x="571" y="2090"/>
                    </a:cubicBezTo>
                    <a:cubicBezTo>
                      <a:pt x="568" y="2088"/>
                      <a:pt x="568" y="2084"/>
                      <a:pt x="568" y="2080"/>
                    </a:cubicBezTo>
                    <a:cubicBezTo>
                      <a:pt x="568" y="2080"/>
                      <a:pt x="567" y="2080"/>
                      <a:pt x="566" y="2081"/>
                    </a:cubicBezTo>
                    <a:cubicBezTo>
                      <a:pt x="566" y="2081"/>
                      <a:pt x="565" y="2081"/>
                      <a:pt x="565" y="2081"/>
                    </a:cubicBezTo>
                    <a:cubicBezTo>
                      <a:pt x="564" y="2082"/>
                      <a:pt x="562" y="2084"/>
                      <a:pt x="559" y="2083"/>
                    </a:cubicBezTo>
                    <a:cubicBezTo>
                      <a:pt x="557" y="2082"/>
                      <a:pt x="556" y="2080"/>
                      <a:pt x="556" y="2078"/>
                    </a:cubicBezTo>
                    <a:cubicBezTo>
                      <a:pt x="555" y="2077"/>
                      <a:pt x="555" y="2075"/>
                      <a:pt x="554" y="2073"/>
                    </a:cubicBezTo>
                    <a:cubicBezTo>
                      <a:pt x="554" y="2071"/>
                      <a:pt x="549" y="2073"/>
                      <a:pt x="545" y="2074"/>
                    </a:cubicBezTo>
                    <a:cubicBezTo>
                      <a:pt x="544" y="2074"/>
                      <a:pt x="544" y="2074"/>
                      <a:pt x="544" y="2074"/>
                    </a:cubicBezTo>
                    <a:cubicBezTo>
                      <a:pt x="542" y="2075"/>
                      <a:pt x="540" y="2074"/>
                      <a:pt x="538" y="2073"/>
                    </a:cubicBezTo>
                    <a:cubicBezTo>
                      <a:pt x="536" y="2072"/>
                      <a:pt x="535" y="2070"/>
                      <a:pt x="535" y="2067"/>
                    </a:cubicBezTo>
                    <a:cubicBezTo>
                      <a:pt x="534" y="2068"/>
                      <a:pt x="533" y="2068"/>
                      <a:pt x="532" y="2068"/>
                    </a:cubicBezTo>
                    <a:cubicBezTo>
                      <a:pt x="529" y="2069"/>
                      <a:pt x="527" y="2069"/>
                      <a:pt x="525" y="2067"/>
                    </a:cubicBezTo>
                    <a:cubicBezTo>
                      <a:pt x="523" y="2065"/>
                      <a:pt x="521" y="2062"/>
                      <a:pt x="522" y="2056"/>
                    </a:cubicBezTo>
                    <a:cubicBezTo>
                      <a:pt x="522" y="2050"/>
                      <a:pt x="524" y="2048"/>
                      <a:pt x="527" y="2046"/>
                    </a:cubicBezTo>
                    <a:cubicBezTo>
                      <a:pt x="527" y="2045"/>
                      <a:pt x="528" y="2044"/>
                      <a:pt x="529" y="2043"/>
                    </a:cubicBezTo>
                    <a:cubicBezTo>
                      <a:pt x="530" y="2042"/>
                      <a:pt x="532" y="2040"/>
                      <a:pt x="534" y="2039"/>
                    </a:cubicBezTo>
                    <a:cubicBezTo>
                      <a:pt x="534" y="2039"/>
                      <a:pt x="534" y="2039"/>
                      <a:pt x="534" y="2039"/>
                    </a:cubicBezTo>
                    <a:cubicBezTo>
                      <a:pt x="534" y="2038"/>
                      <a:pt x="533" y="2037"/>
                      <a:pt x="533" y="2037"/>
                    </a:cubicBezTo>
                    <a:cubicBezTo>
                      <a:pt x="532" y="2036"/>
                      <a:pt x="529" y="2035"/>
                      <a:pt x="528" y="2036"/>
                    </a:cubicBezTo>
                    <a:cubicBezTo>
                      <a:pt x="527" y="2036"/>
                      <a:pt x="526" y="2037"/>
                      <a:pt x="525" y="2037"/>
                    </a:cubicBezTo>
                    <a:cubicBezTo>
                      <a:pt x="524" y="2038"/>
                      <a:pt x="523" y="2039"/>
                      <a:pt x="521" y="2040"/>
                    </a:cubicBezTo>
                    <a:cubicBezTo>
                      <a:pt x="514" y="2044"/>
                      <a:pt x="506" y="2039"/>
                      <a:pt x="502" y="2034"/>
                    </a:cubicBezTo>
                    <a:cubicBezTo>
                      <a:pt x="501" y="2034"/>
                      <a:pt x="501" y="2033"/>
                      <a:pt x="500" y="2032"/>
                    </a:cubicBezTo>
                    <a:cubicBezTo>
                      <a:pt x="498" y="2031"/>
                      <a:pt x="495" y="2028"/>
                      <a:pt x="496" y="2023"/>
                    </a:cubicBezTo>
                    <a:cubicBezTo>
                      <a:pt x="496" y="2022"/>
                      <a:pt x="493" y="2022"/>
                      <a:pt x="493" y="2022"/>
                    </a:cubicBezTo>
                    <a:cubicBezTo>
                      <a:pt x="490" y="2022"/>
                      <a:pt x="487" y="2019"/>
                      <a:pt x="484" y="2017"/>
                    </a:cubicBezTo>
                    <a:cubicBezTo>
                      <a:pt x="481" y="2015"/>
                      <a:pt x="480" y="2013"/>
                      <a:pt x="480" y="2010"/>
                    </a:cubicBezTo>
                    <a:cubicBezTo>
                      <a:pt x="480" y="2009"/>
                      <a:pt x="480" y="2008"/>
                      <a:pt x="480" y="2007"/>
                    </a:cubicBezTo>
                    <a:cubicBezTo>
                      <a:pt x="480" y="2006"/>
                      <a:pt x="480" y="2006"/>
                      <a:pt x="478" y="2005"/>
                    </a:cubicBezTo>
                    <a:cubicBezTo>
                      <a:pt x="477" y="2005"/>
                      <a:pt x="476" y="2005"/>
                      <a:pt x="476" y="2004"/>
                    </a:cubicBezTo>
                    <a:cubicBezTo>
                      <a:pt x="475" y="2004"/>
                      <a:pt x="475" y="2004"/>
                      <a:pt x="474" y="2003"/>
                    </a:cubicBezTo>
                    <a:cubicBezTo>
                      <a:pt x="472" y="2002"/>
                      <a:pt x="470" y="2001"/>
                      <a:pt x="468" y="1999"/>
                    </a:cubicBezTo>
                    <a:cubicBezTo>
                      <a:pt x="467" y="1998"/>
                      <a:pt x="466" y="1997"/>
                      <a:pt x="466" y="1995"/>
                    </a:cubicBezTo>
                    <a:cubicBezTo>
                      <a:pt x="466" y="1992"/>
                      <a:pt x="468" y="1988"/>
                      <a:pt x="470" y="1986"/>
                    </a:cubicBezTo>
                    <a:cubicBezTo>
                      <a:pt x="470" y="1986"/>
                      <a:pt x="470" y="1985"/>
                      <a:pt x="469" y="1985"/>
                    </a:cubicBezTo>
                    <a:cubicBezTo>
                      <a:pt x="467" y="1983"/>
                      <a:pt x="467" y="1980"/>
                      <a:pt x="467" y="1978"/>
                    </a:cubicBezTo>
                    <a:cubicBezTo>
                      <a:pt x="467" y="1976"/>
                      <a:pt x="467" y="1976"/>
                      <a:pt x="467" y="1976"/>
                    </a:cubicBezTo>
                    <a:cubicBezTo>
                      <a:pt x="467" y="1972"/>
                      <a:pt x="467" y="1969"/>
                      <a:pt x="471" y="1967"/>
                    </a:cubicBezTo>
                    <a:cubicBezTo>
                      <a:pt x="471" y="1967"/>
                      <a:pt x="471" y="1967"/>
                      <a:pt x="471" y="1967"/>
                    </a:cubicBezTo>
                    <a:cubicBezTo>
                      <a:pt x="468" y="1965"/>
                      <a:pt x="465" y="1963"/>
                      <a:pt x="464" y="1962"/>
                    </a:cubicBezTo>
                    <a:cubicBezTo>
                      <a:pt x="464" y="1961"/>
                      <a:pt x="464" y="1961"/>
                      <a:pt x="463" y="1961"/>
                    </a:cubicBezTo>
                    <a:cubicBezTo>
                      <a:pt x="462" y="1960"/>
                      <a:pt x="460" y="1959"/>
                      <a:pt x="459" y="1957"/>
                    </a:cubicBezTo>
                    <a:cubicBezTo>
                      <a:pt x="458" y="1957"/>
                      <a:pt x="456" y="1957"/>
                      <a:pt x="456" y="1957"/>
                    </a:cubicBezTo>
                    <a:cubicBezTo>
                      <a:pt x="456" y="1957"/>
                      <a:pt x="456" y="1957"/>
                      <a:pt x="456" y="1957"/>
                    </a:cubicBezTo>
                    <a:cubicBezTo>
                      <a:pt x="455" y="1957"/>
                      <a:pt x="455" y="1957"/>
                      <a:pt x="454" y="1957"/>
                    </a:cubicBezTo>
                    <a:cubicBezTo>
                      <a:pt x="453" y="1957"/>
                      <a:pt x="453" y="1957"/>
                      <a:pt x="452" y="1957"/>
                    </a:cubicBezTo>
                    <a:cubicBezTo>
                      <a:pt x="450" y="1960"/>
                      <a:pt x="447" y="1960"/>
                      <a:pt x="444" y="1959"/>
                    </a:cubicBezTo>
                    <a:cubicBezTo>
                      <a:pt x="444" y="1959"/>
                      <a:pt x="443" y="1959"/>
                      <a:pt x="442" y="1959"/>
                    </a:cubicBezTo>
                    <a:cubicBezTo>
                      <a:pt x="442" y="1959"/>
                      <a:pt x="441" y="1959"/>
                      <a:pt x="441" y="1959"/>
                    </a:cubicBezTo>
                    <a:cubicBezTo>
                      <a:pt x="441" y="1959"/>
                      <a:pt x="441" y="1960"/>
                      <a:pt x="440" y="1961"/>
                    </a:cubicBezTo>
                    <a:cubicBezTo>
                      <a:pt x="440" y="1962"/>
                      <a:pt x="440" y="1962"/>
                      <a:pt x="439" y="1963"/>
                    </a:cubicBezTo>
                    <a:cubicBezTo>
                      <a:pt x="438" y="1965"/>
                      <a:pt x="436" y="1966"/>
                      <a:pt x="434" y="1966"/>
                    </a:cubicBezTo>
                    <a:cubicBezTo>
                      <a:pt x="434" y="1966"/>
                      <a:pt x="434" y="1966"/>
                      <a:pt x="434" y="1966"/>
                    </a:cubicBezTo>
                    <a:cubicBezTo>
                      <a:pt x="433" y="1966"/>
                      <a:pt x="428" y="1966"/>
                      <a:pt x="421" y="1956"/>
                    </a:cubicBezTo>
                    <a:cubicBezTo>
                      <a:pt x="418" y="1952"/>
                      <a:pt x="416" y="1947"/>
                      <a:pt x="416" y="1938"/>
                    </a:cubicBezTo>
                    <a:cubicBezTo>
                      <a:pt x="416" y="1930"/>
                      <a:pt x="416" y="1929"/>
                      <a:pt x="414" y="1927"/>
                    </a:cubicBezTo>
                    <a:cubicBezTo>
                      <a:pt x="410" y="1923"/>
                      <a:pt x="410" y="1922"/>
                      <a:pt x="410" y="1919"/>
                    </a:cubicBezTo>
                    <a:cubicBezTo>
                      <a:pt x="410" y="1918"/>
                      <a:pt x="410" y="1918"/>
                      <a:pt x="409" y="1917"/>
                    </a:cubicBezTo>
                    <a:cubicBezTo>
                      <a:pt x="409" y="1916"/>
                      <a:pt x="409" y="1916"/>
                      <a:pt x="408" y="1915"/>
                    </a:cubicBezTo>
                    <a:cubicBezTo>
                      <a:pt x="408" y="1915"/>
                      <a:pt x="407" y="1914"/>
                      <a:pt x="406" y="1914"/>
                    </a:cubicBezTo>
                    <a:cubicBezTo>
                      <a:pt x="406" y="1914"/>
                      <a:pt x="405" y="1914"/>
                      <a:pt x="405" y="1914"/>
                    </a:cubicBezTo>
                    <a:cubicBezTo>
                      <a:pt x="403" y="1914"/>
                      <a:pt x="399" y="1914"/>
                      <a:pt x="397" y="1911"/>
                    </a:cubicBezTo>
                    <a:cubicBezTo>
                      <a:pt x="397" y="1911"/>
                      <a:pt x="396" y="1910"/>
                      <a:pt x="396" y="1909"/>
                    </a:cubicBezTo>
                    <a:cubicBezTo>
                      <a:pt x="394" y="1908"/>
                      <a:pt x="392" y="1904"/>
                      <a:pt x="390" y="1903"/>
                    </a:cubicBezTo>
                    <a:cubicBezTo>
                      <a:pt x="388" y="1903"/>
                      <a:pt x="387" y="1902"/>
                      <a:pt x="386" y="1902"/>
                    </a:cubicBezTo>
                    <a:cubicBezTo>
                      <a:pt x="383" y="1901"/>
                      <a:pt x="381" y="1899"/>
                      <a:pt x="378" y="1896"/>
                    </a:cubicBezTo>
                    <a:cubicBezTo>
                      <a:pt x="378" y="1895"/>
                      <a:pt x="378" y="1895"/>
                      <a:pt x="378" y="1895"/>
                    </a:cubicBezTo>
                    <a:cubicBezTo>
                      <a:pt x="376" y="1894"/>
                      <a:pt x="374" y="1891"/>
                      <a:pt x="374" y="1886"/>
                    </a:cubicBezTo>
                    <a:cubicBezTo>
                      <a:pt x="374" y="1886"/>
                      <a:pt x="374" y="1886"/>
                      <a:pt x="374" y="1886"/>
                    </a:cubicBezTo>
                    <a:cubicBezTo>
                      <a:pt x="374" y="1886"/>
                      <a:pt x="373" y="1886"/>
                      <a:pt x="373" y="1886"/>
                    </a:cubicBezTo>
                    <a:cubicBezTo>
                      <a:pt x="369" y="1883"/>
                      <a:pt x="369" y="1880"/>
                      <a:pt x="369" y="1877"/>
                    </a:cubicBezTo>
                    <a:cubicBezTo>
                      <a:pt x="369" y="1875"/>
                      <a:pt x="368" y="1874"/>
                      <a:pt x="368" y="1874"/>
                    </a:cubicBezTo>
                    <a:cubicBezTo>
                      <a:pt x="361" y="1868"/>
                      <a:pt x="349" y="1858"/>
                      <a:pt x="348" y="1857"/>
                    </a:cubicBezTo>
                    <a:cubicBezTo>
                      <a:pt x="345" y="1854"/>
                      <a:pt x="343" y="1848"/>
                      <a:pt x="344" y="1843"/>
                    </a:cubicBezTo>
                    <a:cubicBezTo>
                      <a:pt x="345" y="1843"/>
                      <a:pt x="344" y="1843"/>
                      <a:pt x="344" y="1843"/>
                    </a:cubicBezTo>
                    <a:cubicBezTo>
                      <a:pt x="344" y="1843"/>
                      <a:pt x="344" y="1842"/>
                      <a:pt x="344" y="1842"/>
                    </a:cubicBezTo>
                    <a:cubicBezTo>
                      <a:pt x="344" y="1842"/>
                      <a:pt x="343" y="1841"/>
                      <a:pt x="343" y="1841"/>
                    </a:cubicBezTo>
                    <a:cubicBezTo>
                      <a:pt x="340" y="1837"/>
                      <a:pt x="341" y="1834"/>
                      <a:pt x="343" y="1830"/>
                    </a:cubicBezTo>
                    <a:cubicBezTo>
                      <a:pt x="343" y="1830"/>
                      <a:pt x="343" y="1830"/>
                      <a:pt x="343" y="1829"/>
                    </a:cubicBezTo>
                    <a:cubicBezTo>
                      <a:pt x="342" y="1829"/>
                      <a:pt x="341" y="1829"/>
                      <a:pt x="339" y="1829"/>
                    </a:cubicBezTo>
                    <a:cubicBezTo>
                      <a:pt x="337" y="1828"/>
                      <a:pt x="337" y="1828"/>
                      <a:pt x="337" y="1828"/>
                    </a:cubicBezTo>
                    <a:cubicBezTo>
                      <a:pt x="333" y="1827"/>
                      <a:pt x="327" y="1823"/>
                      <a:pt x="321" y="1817"/>
                    </a:cubicBezTo>
                    <a:cubicBezTo>
                      <a:pt x="320" y="1816"/>
                      <a:pt x="320" y="1816"/>
                      <a:pt x="320" y="1816"/>
                    </a:cubicBezTo>
                    <a:cubicBezTo>
                      <a:pt x="318" y="1814"/>
                      <a:pt x="316" y="1813"/>
                      <a:pt x="314" y="1812"/>
                    </a:cubicBezTo>
                    <a:cubicBezTo>
                      <a:pt x="312" y="1814"/>
                      <a:pt x="310" y="1815"/>
                      <a:pt x="307" y="1815"/>
                    </a:cubicBezTo>
                    <a:cubicBezTo>
                      <a:pt x="303" y="1815"/>
                      <a:pt x="302" y="1812"/>
                      <a:pt x="301" y="1810"/>
                    </a:cubicBezTo>
                    <a:cubicBezTo>
                      <a:pt x="301" y="1810"/>
                      <a:pt x="300" y="1811"/>
                      <a:pt x="299" y="1813"/>
                    </a:cubicBezTo>
                    <a:cubicBezTo>
                      <a:pt x="298" y="1815"/>
                      <a:pt x="296" y="1819"/>
                      <a:pt x="296" y="1820"/>
                    </a:cubicBezTo>
                    <a:cubicBezTo>
                      <a:pt x="296" y="1823"/>
                      <a:pt x="295" y="1825"/>
                      <a:pt x="293" y="1826"/>
                    </a:cubicBezTo>
                    <a:cubicBezTo>
                      <a:pt x="291" y="1828"/>
                      <a:pt x="288" y="1829"/>
                      <a:pt x="283" y="1828"/>
                    </a:cubicBezTo>
                    <a:cubicBezTo>
                      <a:pt x="283" y="1828"/>
                      <a:pt x="283" y="1828"/>
                      <a:pt x="282" y="1828"/>
                    </a:cubicBezTo>
                    <a:cubicBezTo>
                      <a:pt x="282" y="1829"/>
                      <a:pt x="282" y="1830"/>
                      <a:pt x="282" y="1830"/>
                    </a:cubicBezTo>
                    <a:cubicBezTo>
                      <a:pt x="281" y="1833"/>
                      <a:pt x="280" y="1835"/>
                      <a:pt x="277" y="1836"/>
                    </a:cubicBezTo>
                    <a:cubicBezTo>
                      <a:pt x="274" y="1837"/>
                      <a:pt x="268" y="1836"/>
                      <a:pt x="265" y="1834"/>
                    </a:cubicBezTo>
                    <a:cubicBezTo>
                      <a:pt x="260" y="1831"/>
                      <a:pt x="261" y="1828"/>
                      <a:pt x="261" y="1823"/>
                    </a:cubicBezTo>
                    <a:cubicBezTo>
                      <a:pt x="261" y="1822"/>
                      <a:pt x="261" y="1821"/>
                      <a:pt x="261" y="1819"/>
                    </a:cubicBezTo>
                    <a:cubicBezTo>
                      <a:pt x="262" y="1815"/>
                      <a:pt x="261" y="1814"/>
                      <a:pt x="259" y="1813"/>
                    </a:cubicBezTo>
                    <a:cubicBezTo>
                      <a:pt x="258" y="1812"/>
                      <a:pt x="257" y="1811"/>
                      <a:pt x="256" y="1810"/>
                    </a:cubicBezTo>
                    <a:cubicBezTo>
                      <a:pt x="254" y="1808"/>
                      <a:pt x="253" y="1807"/>
                      <a:pt x="251" y="1806"/>
                    </a:cubicBezTo>
                    <a:cubicBezTo>
                      <a:pt x="249" y="1803"/>
                      <a:pt x="246" y="1801"/>
                      <a:pt x="246" y="1799"/>
                    </a:cubicBezTo>
                    <a:cubicBezTo>
                      <a:pt x="246" y="1798"/>
                      <a:pt x="245" y="1797"/>
                      <a:pt x="244" y="1796"/>
                    </a:cubicBezTo>
                    <a:cubicBezTo>
                      <a:pt x="243" y="1795"/>
                      <a:pt x="242" y="1794"/>
                      <a:pt x="241" y="1792"/>
                    </a:cubicBezTo>
                    <a:cubicBezTo>
                      <a:pt x="239" y="1790"/>
                      <a:pt x="236" y="1788"/>
                      <a:pt x="233" y="1787"/>
                    </a:cubicBezTo>
                    <a:cubicBezTo>
                      <a:pt x="230" y="1785"/>
                      <a:pt x="228" y="1782"/>
                      <a:pt x="224" y="1778"/>
                    </a:cubicBezTo>
                    <a:cubicBezTo>
                      <a:pt x="222" y="1776"/>
                      <a:pt x="220" y="1774"/>
                      <a:pt x="219" y="1773"/>
                    </a:cubicBezTo>
                    <a:cubicBezTo>
                      <a:pt x="218" y="1772"/>
                      <a:pt x="216" y="1771"/>
                      <a:pt x="213" y="1770"/>
                    </a:cubicBezTo>
                    <a:cubicBezTo>
                      <a:pt x="209" y="1768"/>
                      <a:pt x="204" y="1765"/>
                      <a:pt x="200" y="1761"/>
                    </a:cubicBezTo>
                    <a:cubicBezTo>
                      <a:pt x="194" y="1755"/>
                      <a:pt x="194" y="1753"/>
                      <a:pt x="195" y="1747"/>
                    </a:cubicBezTo>
                    <a:cubicBezTo>
                      <a:pt x="195" y="1746"/>
                      <a:pt x="195" y="1745"/>
                      <a:pt x="195" y="1744"/>
                    </a:cubicBezTo>
                    <a:cubicBezTo>
                      <a:pt x="196" y="1740"/>
                      <a:pt x="194" y="1738"/>
                      <a:pt x="193" y="1736"/>
                    </a:cubicBezTo>
                    <a:cubicBezTo>
                      <a:pt x="192" y="1735"/>
                      <a:pt x="192" y="1734"/>
                      <a:pt x="191" y="1734"/>
                    </a:cubicBezTo>
                    <a:cubicBezTo>
                      <a:pt x="191" y="1733"/>
                      <a:pt x="190" y="1732"/>
                      <a:pt x="190" y="1732"/>
                    </a:cubicBezTo>
                    <a:cubicBezTo>
                      <a:pt x="189" y="1730"/>
                      <a:pt x="187" y="1728"/>
                      <a:pt x="187" y="1724"/>
                    </a:cubicBezTo>
                    <a:cubicBezTo>
                      <a:pt x="187" y="1724"/>
                      <a:pt x="187" y="1724"/>
                      <a:pt x="187" y="1724"/>
                    </a:cubicBezTo>
                    <a:cubicBezTo>
                      <a:pt x="186" y="1724"/>
                      <a:pt x="185" y="1723"/>
                      <a:pt x="184" y="1723"/>
                    </a:cubicBezTo>
                    <a:cubicBezTo>
                      <a:pt x="183" y="1723"/>
                      <a:pt x="182" y="1723"/>
                      <a:pt x="181" y="1723"/>
                    </a:cubicBezTo>
                    <a:cubicBezTo>
                      <a:pt x="180" y="1723"/>
                      <a:pt x="180" y="1723"/>
                      <a:pt x="180" y="1723"/>
                    </a:cubicBezTo>
                    <a:cubicBezTo>
                      <a:pt x="178" y="1723"/>
                      <a:pt x="173" y="1722"/>
                      <a:pt x="172" y="1718"/>
                    </a:cubicBezTo>
                    <a:cubicBezTo>
                      <a:pt x="172" y="1718"/>
                      <a:pt x="172" y="1718"/>
                      <a:pt x="172" y="1718"/>
                    </a:cubicBezTo>
                    <a:cubicBezTo>
                      <a:pt x="172" y="1716"/>
                      <a:pt x="171" y="1715"/>
                      <a:pt x="171" y="1714"/>
                    </a:cubicBezTo>
                    <a:cubicBezTo>
                      <a:pt x="168" y="1713"/>
                      <a:pt x="167" y="1712"/>
                      <a:pt x="166" y="1709"/>
                    </a:cubicBezTo>
                    <a:cubicBezTo>
                      <a:pt x="166" y="1709"/>
                      <a:pt x="166" y="1709"/>
                      <a:pt x="166" y="1710"/>
                    </a:cubicBezTo>
                    <a:cubicBezTo>
                      <a:pt x="164" y="1712"/>
                      <a:pt x="161" y="1713"/>
                      <a:pt x="157" y="1713"/>
                    </a:cubicBezTo>
                    <a:cubicBezTo>
                      <a:pt x="150" y="1713"/>
                      <a:pt x="149" y="1709"/>
                      <a:pt x="148" y="1707"/>
                    </a:cubicBezTo>
                    <a:cubicBezTo>
                      <a:pt x="148" y="1707"/>
                      <a:pt x="148" y="1707"/>
                      <a:pt x="147" y="1707"/>
                    </a:cubicBezTo>
                    <a:cubicBezTo>
                      <a:pt x="143" y="1707"/>
                      <a:pt x="137" y="1700"/>
                      <a:pt x="136" y="1696"/>
                    </a:cubicBezTo>
                    <a:cubicBezTo>
                      <a:pt x="134" y="1690"/>
                      <a:pt x="135" y="1679"/>
                      <a:pt x="135" y="1678"/>
                    </a:cubicBezTo>
                    <a:cubicBezTo>
                      <a:pt x="135" y="1676"/>
                      <a:pt x="135" y="1674"/>
                      <a:pt x="135" y="1674"/>
                    </a:cubicBezTo>
                    <a:cubicBezTo>
                      <a:pt x="133" y="1673"/>
                      <a:pt x="130" y="1670"/>
                      <a:pt x="128" y="1668"/>
                    </a:cubicBezTo>
                    <a:cubicBezTo>
                      <a:pt x="126" y="1666"/>
                      <a:pt x="126" y="1664"/>
                      <a:pt x="126" y="1663"/>
                    </a:cubicBezTo>
                    <a:cubicBezTo>
                      <a:pt x="126" y="1660"/>
                      <a:pt x="128" y="1659"/>
                      <a:pt x="130" y="1658"/>
                    </a:cubicBezTo>
                    <a:cubicBezTo>
                      <a:pt x="130" y="1658"/>
                      <a:pt x="130" y="1658"/>
                      <a:pt x="130" y="1658"/>
                    </a:cubicBezTo>
                    <a:cubicBezTo>
                      <a:pt x="130" y="1658"/>
                      <a:pt x="130" y="1658"/>
                      <a:pt x="130" y="1658"/>
                    </a:cubicBezTo>
                    <a:cubicBezTo>
                      <a:pt x="129" y="1656"/>
                      <a:pt x="129" y="1654"/>
                      <a:pt x="129" y="1652"/>
                    </a:cubicBezTo>
                    <a:cubicBezTo>
                      <a:pt x="130" y="1647"/>
                      <a:pt x="134" y="1643"/>
                      <a:pt x="138" y="1642"/>
                    </a:cubicBezTo>
                    <a:cubicBezTo>
                      <a:pt x="138" y="1641"/>
                      <a:pt x="138" y="1640"/>
                      <a:pt x="137" y="1639"/>
                    </a:cubicBezTo>
                    <a:cubicBezTo>
                      <a:pt x="137" y="1638"/>
                      <a:pt x="137" y="1638"/>
                      <a:pt x="137" y="1638"/>
                    </a:cubicBezTo>
                    <a:cubicBezTo>
                      <a:pt x="136" y="1636"/>
                      <a:pt x="135" y="1632"/>
                      <a:pt x="134" y="1626"/>
                    </a:cubicBezTo>
                    <a:cubicBezTo>
                      <a:pt x="133" y="1619"/>
                      <a:pt x="138" y="1616"/>
                      <a:pt x="142" y="1614"/>
                    </a:cubicBezTo>
                    <a:cubicBezTo>
                      <a:pt x="140" y="1613"/>
                      <a:pt x="135" y="1610"/>
                      <a:pt x="134" y="1606"/>
                    </a:cubicBezTo>
                    <a:cubicBezTo>
                      <a:pt x="130" y="1598"/>
                      <a:pt x="133" y="1593"/>
                      <a:pt x="136" y="1591"/>
                    </a:cubicBezTo>
                    <a:cubicBezTo>
                      <a:pt x="139" y="1590"/>
                      <a:pt x="139" y="1587"/>
                      <a:pt x="139" y="1586"/>
                    </a:cubicBezTo>
                    <a:cubicBezTo>
                      <a:pt x="139" y="1585"/>
                      <a:pt x="139" y="1585"/>
                      <a:pt x="138" y="1584"/>
                    </a:cubicBezTo>
                    <a:cubicBezTo>
                      <a:pt x="138" y="1583"/>
                      <a:pt x="137" y="1581"/>
                      <a:pt x="137" y="1577"/>
                    </a:cubicBezTo>
                    <a:cubicBezTo>
                      <a:pt x="137" y="1573"/>
                      <a:pt x="137" y="1569"/>
                      <a:pt x="142" y="1566"/>
                    </a:cubicBezTo>
                    <a:cubicBezTo>
                      <a:pt x="146" y="1563"/>
                      <a:pt x="160" y="1559"/>
                      <a:pt x="166" y="1558"/>
                    </a:cubicBezTo>
                    <a:cubicBezTo>
                      <a:pt x="170" y="1558"/>
                      <a:pt x="172" y="1559"/>
                      <a:pt x="174" y="1561"/>
                    </a:cubicBezTo>
                    <a:cubicBezTo>
                      <a:pt x="176" y="1563"/>
                      <a:pt x="176" y="1566"/>
                      <a:pt x="175" y="1568"/>
                    </a:cubicBezTo>
                    <a:cubicBezTo>
                      <a:pt x="175" y="1572"/>
                      <a:pt x="174" y="1579"/>
                      <a:pt x="173" y="1584"/>
                    </a:cubicBezTo>
                    <a:cubicBezTo>
                      <a:pt x="172" y="1588"/>
                      <a:pt x="176" y="1594"/>
                      <a:pt x="180" y="1599"/>
                    </a:cubicBezTo>
                    <a:cubicBezTo>
                      <a:pt x="181" y="1600"/>
                      <a:pt x="181" y="1600"/>
                      <a:pt x="182" y="1601"/>
                    </a:cubicBezTo>
                    <a:cubicBezTo>
                      <a:pt x="182" y="1601"/>
                      <a:pt x="182" y="1600"/>
                      <a:pt x="182" y="1600"/>
                    </a:cubicBezTo>
                    <a:cubicBezTo>
                      <a:pt x="184" y="1597"/>
                      <a:pt x="186" y="1595"/>
                      <a:pt x="187" y="1594"/>
                    </a:cubicBezTo>
                    <a:cubicBezTo>
                      <a:pt x="188" y="1593"/>
                      <a:pt x="188" y="1592"/>
                      <a:pt x="189" y="1591"/>
                    </a:cubicBezTo>
                    <a:cubicBezTo>
                      <a:pt x="191" y="1587"/>
                      <a:pt x="193" y="1586"/>
                      <a:pt x="198" y="1586"/>
                    </a:cubicBezTo>
                    <a:cubicBezTo>
                      <a:pt x="198" y="1585"/>
                      <a:pt x="200" y="1582"/>
                      <a:pt x="201" y="1581"/>
                    </a:cubicBezTo>
                    <a:cubicBezTo>
                      <a:pt x="202" y="1578"/>
                      <a:pt x="203" y="1576"/>
                      <a:pt x="204" y="1574"/>
                    </a:cubicBezTo>
                    <a:cubicBezTo>
                      <a:pt x="206" y="1573"/>
                      <a:pt x="205" y="1572"/>
                      <a:pt x="205" y="1570"/>
                    </a:cubicBezTo>
                    <a:cubicBezTo>
                      <a:pt x="204" y="1569"/>
                      <a:pt x="204" y="1567"/>
                      <a:pt x="203" y="1565"/>
                    </a:cubicBezTo>
                    <a:cubicBezTo>
                      <a:pt x="203" y="1561"/>
                      <a:pt x="204" y="1557"/>
                      <a:pt x="208" y="1553"/>
                    </a:cubicBezTo>
                    <a:cubicBezTo>
                      <a:pt x="208" y="1553"/>
                      <a:pt x="208" y="1553"/>
                      <a:pt x="207" y="1553"/>
                    </a:cubicBezTo>
                    <a:cubicBezTo>
                      <a:pt x="207" y="1553"/>
                      <a:pt x="202" y="1549"/>
                      <a:pt x="200" y="1545"/>
                    </a:cubicBezTo>
                    <a:cubicBezTo>
                      <a:pt x="198" y="1541"/>
                      <a:pt x="200" y="1535"/>
                      <a:pt x="205" y="1532"/>
                    </a:cubicBezTo>
                    <a:cubicBezTo>
                      <a:pt x="205" y="1532"/>
                      <a:pt x="205" y="1530"/>
                      <a:pt x="205" y="1530"/>
                    </a:cubicBezTo>
                    <a:cubicBezTo>
                      <a:pt x="204" y="1529"/>
                      <a:pt x="204" y="1527"/>
                      <a:pt x="203" y="1524"/>
                    </a:cubicBezTo>
                    <a:cubicBezTo>
                      <a:pt x="203" y="1522"/>
                      <a:pt x="203" y="1519"/>
                      <a:pt x="202" y="1517"/>
                    </a:cubicBezTo>
                    <a:cubicBezTo>
                      <a:pt x="201" y="1514"/>
                      <a:pt x="200" y="1513"/>
                      <a:pt x="199" y="1511"/>
                    </a:cubicBezTo>
                    <a:cubicBezTo>
                      <a:pt x="198" y="1511"/>
                      <a:pt x="198" y="1511"/>
                      <a:pt x="198" y="1511"/>
                    </a:cubicBezTo>
                    <a:cubicBezTo>
                      <a:pt x="197" y="1509"/>
                      <a:pt x="196" y="1507"/>
                      <a:pt x="195" y="1505"/>
                    </a:cubicBezTo>
                    <a:cubicBezTo>
                      <a:pt x="195" y="1504"/>
                      <a:pt x="194" y="1503"/>
                      <a:pt x="194" y="1503"/>
                    </a:cubicBezTo>
                    <a:cubicBezTo>
                      <a:pt x="194" y="1502"/>
                      <a:pt x="194" y="1502"/>
                      <a:pt x="194" y="1502"/>
                    </a:cubicBezTo>
                    <a:cubicBezTo>
                      <a:pt x="193" y="1501"/>
                      <a:pt x="191" y="1498"/>
                      <a:pt x="189" y="1486"/>
                    </a:cubicBezTo>
                    <a:cubicBezTo>
                      <a:pt x="188" y="1481"/>
                      <a:pt x="188" y="1478"/>
                      <a:pt x="190" y="1475"/>
                    </a:cubicBezTo>
                    <a:cubicBezTo>
                      <a:pt x="192" y="1473"/>
                      <a:pt x="194" y="1472"/>
                      <a:pt x="196" y="1472"/>
                    </a:cubicBezTo>
                    <a:cubicBezTo>
                      <a:pt x="196" y="1472"/>
                      <a:pt x="196" y="1472"/>
                      <a:pt x="196" y="1472"/>
                    </a:cubicBezTo>
                    <a:cubicBezTo>
                      <a:pt x="197" y="1471"/>
                      <a:pt x="199" y="1466"/>
                      <a:pt x="199" y="1464"/>
                    </a:cubicBezTo>
                    <a:cubicBezTo>
                      <a:pt x="200" y="1462"/>
                      <a:pt x="200" y="1460"/>
                      <a:pt x="201" y="1459"/>
                    </a:cubicBezTo>
                    <a:cubicBezTo>
                      <a:pt x="202" y="1455"/>
                      <a:pt x="202" y="1454"/>
                      <a:pt x="201" y="1453"/>
                    </a:cubicBezTo>
                    <a:cubicBezTo>
                      <a:pt x="201" y="1452"/>
                      <a:pt x="200" y="1450"/>
                      <a:pt x="199" y="1449"/>
                    </a:cubicBezTo>
                    <a:cubicBezTo>
                      <a:pt x="199" y="1448"/>
                      <a:pt x="199" y="1447"/>
                      <a:pt x="198" y="1446"/>
                    </a:cubicBezTo>
                    <a:cubicBezTo>
                      <a:pt x="197" y="1445"/>
                      <a:pt x="197" y="1443"/>
                      <a:pt x="199" y="1441"/>
                    </a:cubicBezTo>
                    <a:cubicBezTo>
                      <a:pt x="201" y="1438"/>
                      <a:pt x="206" y="1437"/>
                      <a:pt x="210" y="1438"/>
                    </a:cubicBezTo>
                    <a:cubicBezTo>
                      <a:pt x="210" y="1438"/>
                      <a:pt x="211" y="1438"/>
                      <a:pt x="212" y="1438"/>
                    </a:cubicBezTo>
                    <a:cubicBezTo>
                      <a:pt x="214" y="1437"/>
                      <a:pt x="216" y="1436"/>
                      <a:pt x="218" y="1437"/>
                    </a:cubicBezTo>
                    <a:cubicBezTo>
                      <a:pt x="219" y="1437"/>
                      <a:pt x="222" y="1436"/>
                      <a:pt x="223" y="1435"/>
                    </a:cubicBezTo>
                    <a:cubicBezTo>
                      <a:pt x="223" y="1434"/>
                      <a:pt x="224" y="1434"/>
                      <a:pt x="224" y="1433"/>
                    </a:cubicBezTo>
                    <a:cubicBezTo>
                      <a:pt x="225" y="1432"/>
                      <a:pt x="225" y="1432"/>
                      <a:pt x="225" y="1431"/>
                    </a:cubicBezTo>
                    <a:cubicBezTo>
                      <a:pt x="225" y="1428"/>
                      <a:pt x="228" y="1427"/>
                      <a:pt x="229" y="1426"/>
                    </a:cubicBezTo>
                    <a:cubicBezTo>
                      <a:pt x="229" y="1426"/>
                      <a:pt x="229" y="1426"/>
                      <a:pt x="229" y="1426"/>
                    </a:cubicBezTo>
                    <a:cubicBezTo>
                      <a:pt x="227" y="1426"/>
                      <a:pt x="225" y="1425"/>
                      <a:pt x="223" y="1423"/>
                    </a:cubicBezTo>
                    <a:cubicBezTo>
                      <a:pt x="223" y="1423"/>
                      <a:pt x="223" y="1423"/>
                      <a:pt x="223" y="1423"/>
                    </a:cubicBezTo>
                    <a:cubicBezTo>
                      <a:pt x="221" y="1421"/>
                      <a:pt x="219" y="1419"/>
                      <a:pt x="218" y="1416"/>
                    </a:cubicBezTo>
                    <a:cubicBezTo>
                      <a:pt x="218" y="1415"/>
                      <a:pt x="217" y="1414"/>
                      <a:pt x="217" y="1413"/>
                    </a:cubicBezTo>
                    <a:cubicBezTo>
                      <a:pt x="216" y="1412"/>
                      <a:pt x="215" y="1410"/>
                      <a:pt x="215" y="1409"/>
                    </a:cubicBezTo>
                    <a:cubicBezTo>
                      <a:pt x="214" y="1408"/>
                      <a:pt x="214" y="1408"/>
                      <a:pt x="213" y="1407"/>
                    </a:cubicBezTo>
                    <a:cubicBezTo>
                      <a:pt x="210" y="1407"/>
                      <a:pt x="204" y="1403"/>
                      <a:pt x="203" y="1399"/>
                    </a:cubicBezTo>
                    <a:cubicBezTo>
                      <a:pt x="202" y="1399"/>
                      <a:pt x="202" y="1399"/>
                      <a:pt x="202" y="1399"/>
                    </a:cubicBezTo>
                    <a:cubicBezTo>
                      <a:pt x="201" y="1399"/>
                      <a:pt x="199" y="1399"/>
                      <a:pt x="198" y="1399"/>
                    </a:cubicBezTo>
                    <a:cubicBezTo>
                      <a:pt x="195" y="1398"/>
                      <a:pt x="193" y="1396"/>
                      <a:pt x="192" y="1394"/>
                    </a:cubicBezTo>
                    <a:cubicBezTo>
                      <a:pt x="191" y="1393"/>
                      <a:pt x="191" y="1393"/>
                      <a:pt x="190" y="1392"/>
                    </a:cubicBezTo>
                    <a:cubicBezTo>
                      <a:pt x="188" y="1390"/>
                      <a:pt x="186" y="1386"/>
                      <a:pt x="185" y="1378"/>
                    </a:cubicBezTo>
                    <a:cubicBezTo>
                      <a:pt x="185" y="1377"/>
                      <a:pt x="185" y="1377"/>
                      <a:pt x="185" y="1377"/>
                    </a:cubicBezTo>
                    <a:cubicBezTo>
                      <a:pt x="185" y="1373"/>
                      <a:pt x="185" y="1372"/>
                      <a:pt x="187" y="1369"/>
                    </a:cubicBezTo>
                    <a:cubicBezTo>
                      <a:pt x="188" y="1367"/>
                      <a:pt x="189" y="1367"/>
                      <a:pt x="189" y="1366"/>
                    </a:cubicBezTo>
                    <a:cubicBezTo>
                      <a:pt x="189" y="1365"/>
                      <a:pt x="189" y="1364"/>
                      <a:pt x="189" y="1364"/>
                    </a:cubicBezTo>
                    <a:cubicBezTo>
                      <a:pt x="188" y="1363"/>
                      <a:pt x="188" y="1362"/>
                      <a:pt x="188" y="1360"/>
                    </a:cubicBezTo>
                    <a:cubicBezTo>
                      <a:pt x="188" y="1358"/>
                      <a:pt x="188" y="1356"/>
                      <a:pt x="188" y="1353"/>
                    </a:cubicBezTo>
                    <a:cubicBezTo>
                      <a:pt x="188" y="1352"/>
                      <a:pt x="189" y="1350"/>
                      <a:pt x="189" y="1349"/>
                    </a:cubicBezTo>
                    <a:cubicBezTo>
                      <a:pt x="189" y="1345"/>
                      <a:pt x="189" y="1345"/>
                      <a:pt x="188" y="1343"/>
                    </a:cubicBezTo>
                    <a:cubicBezTo>
                      <a:pt x="186" y="1341"/>
                      <a:pt x="186" y="1338"/>
                      <a:pt x="186" y="1335"/>
                    </a:cubicBezTo>
                    <a:cubicBezTo>
                      <a:pt x="186" y="1333"/>
                      <a:pt x="186" y="1331"/>
                      <a:pt x="186" y="1330"/>
                    </a:cubicBezTo>
                    <a:cubicBezTo>
                      <a:pt x="185" y="1324"/>
                      <a:pt x="187" y="1321"/>
                      <a:pt x="189" y="1319"/>
                    </a:cubicBezTo>
                    <a:cubicBezTo>
                      <a:pt x="189" y="1318"/>
                      <a:pt x="190" y="1317"/>
                      <a:pt x="190" y="1317"/>
                    </a:cubicBezTo>
                    <a:cubicBezTo>
                      <a:pt x="192" y="1314"/>
                      <a:pt x="194" y="1313"/>
                      <a:pt x="196" y="1312"/>
                    </a:cubicBezTo>
                    <a:cubicBezTo>
                      <a:pt x="195" y="1312"/>
                      <a:pt x="194" y="1311"/>
                      <a:pt x="194" y="1311"/>
                    </a:cubicBezTo>
                    <a:cubicBezTo>
                      <a:pt x="193" y="1311"/>
                      <a:pt x="192" y="1310"/>
                      <a:pt x="192" y="1310"/>
                    </a:cubicBezTo>
                    <a:cubicBezTo>
                      <a:pt x="188" y="1311"/>
                      <a:pt x="183" y="1310"/>
                      <a:pt x="180" y="1308"/>
                    </a:cubicBezTo>
                    <a:cubicBezTo>
                      <a:pt x="178" y="1306"/>
                      <a:pt x="177" y="1306"/>
                      <a:pt x="177" y="1306"/>
                    </a:cubicBezTo>
                    <a:cubicBezTo>
                      <a:pt x="173" y="1308"/>
                      <a:pt x="169" y="1306"/>
                      <a:pt x="167" y="1304"/>
                    </a:cubicBezTo>
                    <a:cubicBezTo>
                      <a:pt x="166" y="1304"/>
                      <a:pt x="165" y="1304"/>
                      <a:pt x="164" y="1304"/>
                    </a:cubicBezTo>
                    <a:cubicBezTo>
                      <a:pt x="164" y="1304"/>
                      <a:pt x="163" y="1304"/>
                      <a:pt x="163" y="1304"/>
                    </a:cubicBezTo>
                    <a:cubicBezTo>
                      <a:pt x="159" y="1304"/>
                      <a:pt x="156" y="1301"/>
                      <a:pt x="152" y="1298"/>
                    </a:cubicBezTo>
                    <a:cubicBezTo>
                      <a:pt x="151" y="1296"/>
                      <a:pt x="151" y="1296"/>
                      <a:pt x="151" y="1296"/>
                    </a:cubicBezTo>
                    <a:cubicBezTo>
                      <a:pt x="147" y="1293"/>
                      <a:pt x="145" y="1291"/>
                      <a:pt x="144" y="1291"/>
                    </a:cubicBezTo>
                    <a:cubicBezTo>
                      <a:pt x="140" y="1291"/>
                      <a:pt x="136" y="1291"/>
                      <a:pt x="134" y="1284"/>
                    </a:cubicBezTo>
                    <a:cubicBezTo>
                      <a:pt x="134" y="1283"/>
                      <a:pt x="134" y="1282"/>
                      <a:pt x="130" y="1282"/>
                    </a:cubicBezTo>
                    <a:cubicBezTo>
                      <a:pt x="126" y="1281"/>
                      <a:pt x="122" y="1279"/>
                      <a:pt x="118" y="1274"/>
                    </a:cubicBezTo>
                    <a:cubicBezTo>
                      <a:pt x="117" y="1273"/>
                      <a:pt x="116" y="1273"/>
                      <a:pt x="116" y="1273"/>
                    </a:cubicBezTo>
                    <a:cubicBezTo>
                      <a:pt x="114" y="1271"/>
                      <a:pt x="113" y="1270"/>
                      <a:pt x="112" y="1266"/>
                    </a:cubicBezTo>
                    <a:cubicBezTo>
                      <a:pt x="111" y="1262"/>
                      <a:pt x="108" y="1259"/>
                      <a:pt x="106" y="1258"/>
                    </a:cubicBezTo>
                    <a:cubicBezTo>
                      <a:pt x="105" y="1257"/>
                      <a:pt x="103" y="1255"/>
                      <a:pt x="103" y="1253"/>
                    </a:cubicBezTo>
                    <a:cubicBezTo>
                      <a:pt x="103" y="1251"/>
                      <a:pt x="104" y="1249"/>
                      <a:pt x="106" y="1246"/>
                    </a:cubicBezTo>
                    <a:cubicBezTo>
                      <a:pt x="106" y="1246"/>
                      <a:pt x="107" y="1245"/>
                      <a:pt x="107" y="1245"/>
                    </a:cubicBezTo>
                    <a:cubicBezTo>
                      <a:pt x="105" y="1245"/>
                      <a:pt x="104" y="1246"/>
                      <a:pt x="102" y="1248"/>
                    </a:cubicBezTo>
                    <a:cubicBezTo>
                      <a:pt x="96" y="1253"/>
                      <a:pt x="83" y="1248"/>
                      <a:pt x="81" y="1246"/>
                    </a:cubicBezTo>
                    <a:cubicBezTo>
                      <a:pt x="81" y="1246"/>
                      <a:pt x="81" y="1246"/>
                      <a:pt x="81" y="1246"/>
                    </a:cubicBezTo>
                    <a:cubicBezTo>
                      <a:pt x="79" y="1245"/>
                      <a:pt x="77" y="1243"/>
                      <a:pt x="76" y="1241"/>
                    </a:cubicBezTo>
                    <a:cubicBezTo>
                      <a:pt x="76" y="1240"/>
                      <a:pt x="76" y="1238"/>
                      <a:pt x="77" y="1236"/>
                    </a:cubicBezTo>
                    <a:cubicBezTo>
                      <a:pt x="78" y="1235"/>
                      <a:pt x="78" y="1233"/>
                      <a:pt x="79" y="1231"/>
                    </a:cubicBezTo>
                    <a:cubicBezTo>
                      <a:pt x="80" y="1230"/>
                      <a:pt x="80" y="1229"/>
                      <a:pt x="80" y="1229"/>
                    </a:cubicBezTo>
                    <a:cubicBezTo>
                      <a:pt x="78" y="1228"/>
                      <a:pt x="75" y="1226"/>
                      <a:pt x="73" y="1223"/>
                    </a:cubicBezTo>
                    <a:cubicBezTo>
                      <a:pt x="70" y="1220"/>
                      <a:pt x="69" y="1218"/>
                      <a:pt x="70" y="1215"/>
                    </a:cubicBezTo>
                    <a:cubicBezTo>
                      <a:pt x="70" y="1211"/>
                      <a:pt x="74" y="1208"/>
                      <a:pt x="77" y="1206"/>
                    </a:cubicBezTo>
                    <a:cubicBezTo>
                      <a:pt x="78" y="1205"/>
                      <a:pt x="78" y="1205"/>
                      <a:pt x="78" y="1205"/>
                    </a:cubicBezTo>
                    <a:cubicBezTo>
                      <a:pt x="81" y="1203"/>
                      <a:pt x="82" y="1200"/>
                      <a:pt x="82" y="1196"/>
                    </a:cubicBezTo>
                    <a:cubicBezTo>
                      <a:pt x="82" y="1191"/>
                      <a:pt x="86" y="1186"/>
                      <a:pt x="87" y="1184"/>
                    </a:cubicBezTo>
                    <a:cubicBezTo>
                      <a:pt x="87" y="1183"/>
                      <a:pt x="87" y="1183"/>
                      <a:pt x="87" y="1181"/>
                    </a:cubicBezTo>
                    <a:cubicBezTo>
                      <a:pt x="85" y="1178"/>
                      <a:pt x="83" y="1175"/>
                      <a:pt x="86" y="1171"/>
                    </a:cubicBezTo>
                    <a:cubicBezTo>
                      <a:pt x="86" y="1171"/>
                      <a:pt x="85" y="1169"/>
                      <a:pt x="85" y="1169"/>
                    </a:cubicBezTo>
                    <a:cubicBezTo>
                      <a:pt x="84" y="1167"/>
                      <a:pt x="79" y="1162"/>
                      <a:pt x="78" y="1161"/>
                    </a:cubicBezTo>
                    <a:cubicBezTo>
                      <a:pt x="76" y="1159"/>
                      <a:pt x="75" y="1157"/>
                      <a:pt x="75" y="1154"/>
                    </a:cubicBezTo>
                    <a:cubicBezTo>
                      <a:pt x="74" y="1154"/>
                      <a:pt x="73" y="1153"/>
                      <a:pt x="72" y="1153"/>
                    </a:cubicBezTo>
                    <a:cubicBezTo>
                      <a:pt x="72" y="1153"/>
                      <a:pt x="71" y="1153"/>
                      <a:pt x="71" y="1153"/>
                    </a:cubicBezTo>
                    <a:cubicBezTo>
                      <a:pt x="68" y="1154"/>
                      <a:pt x="63" y="1155"/>
                      <a:pt x="61" y="1151"/>
                    </a:cubicBezTo>
                    <a:cubicBezTo>
                      <a:pt x="59" y="1147"/>
                      <a:pt x="62" y="1130"/>
                      <a:pt x="62" y="1129"/>
                    </a:cubicBezTo>
                    <a:cubicBezTo>
                      <a:pt x="62" y="1129"/>
                      <a:pt x="62" y="1129"/>
                      <a:pt x="62" y="1129"/>
                    </a:cubicBezTo>
                    <a:cubicBezTo>
                      <a:pt x="62" y="1129"/>
                      <a:pt x="61" y="1128"/>
                      <a:pt x="61" y="1129"/>
                    </a:cubicBezTo>
                    <a:cubicBezTo>
                      <a:pt x="58" y="1129"/>
                      <a:pt x="52" y="1127"/>
                      <a:pt x="49" y="1121"/>
                    </a:cubicBezTo>
                    <a:cubicBezTo>
                      <a:pt x="49" y="1119"/>
                      <a:pt x="42" y="1117"/>
                      <a:pt x="40" y="1118"/>
                    </a:cubicBezTo>
                    <a:cubicBezTo>
                      <a:pt x="36" y="1119"/>
                      <a:pt x="32" y="1117"/>
                      <a:pt x="30" y="1114"/>
                    </a:cubicBezTo>
                    <a:cubicBezTo>
                      <a:pt x="29" y="1113"/>
                      <a:pt x="28" y="1111"/>
                      <a:pt x="28" y="1110"/>
                    </a:cubicBezTo>
                    <a:cubicBezTo>
                      <a:pt x="27" y="1109"/>
                      <a:pt x="26" y="1108"/>
                      <a:pt x="24" y="1107"/>
                    </a:cubicBezTo>
                    <a:cubicBezTo>
                      <a:pt x="24" y="1106"/>
                      <a:pt x="24" y="1106"/>
                      <a:pt x="24" y="1106"/>
                    </a:cubicBezTo>
                    <a:cubicBezTo>
                      <a:pt x="22" y="1105"/>
                      <a:pt x="21" y="1104"/>
                      <a:pt x="20" y="1103"/>
                    </a:cubicBezTo>
                    <a:cubicBezTo>
                      <a:pt x="18" y="1106"/>
                      <a:pt x="16" y="1106"/>
                      <a:pt x="14" y="1105"/>
                    </a:cubicBezTo>
                    <a:cubicBezTo>
                      <a:pt x="13" y="1105"/>
                      <a:pt x="11" y="1104"/>
                      <a:pt x="10" y="1100"/>
                    </a:cubicBezTo>
                    <a:cubicBezTo>
                      <a:pt x="10" y="1100"/>
                      <a:pt x="10" y="1100"/>
                      <a:pt x="10" y="1100"/>
                    </a:cubicBezTo>
                    <a:cubicBezTo>
                      <a:pt x="9" y="1098"/>
                      <a:pt x="8" y="1096"/>
                      <a:pt x="8" y="1092"/>
                    </a:cubicBezTo>
                    <a:cubicBezTo>
                      <a:pt x="9" y="1090"/>
                      <a:pt x="9" y="1089"/>
                      <a:pt x="9" y="1089"/>
                    </a:cubicBezTo>
                    <a:cubicBezTo>
                      <a:pt x="9" y="1086"/>
                      <a:pt x="10" y="1083"/>
                      <a:pt x="14" y="1080"/>
                    </a:cubicBezTo>
                    <a:cubicBezTo>
                      <a:pt x="18" y="1076"/>
                      <a:pt x="22" y="1078"/>
                      <a:pt x="25" y="1079"/>
                    </a:cubicBezTo>
                    <a:cubicBezTo>
                      <a:pt x="26" y="1079"/>
                      <a:pt x="26" y="1079"/>
                      <a:pt x="26" y="1079"/>
                    </a:cubicBezTo>
                    <a:cubicBezTo>
                      <a:pt x="26" y="1079"/>
                      <a:pt x="27" y="1079"/>
                      <a:pt x="28" y="1079"/>
                    </a:cubicBezTo>
                    <a:cubicBezTo>
                      <a:pt x="29" y="1079"/>
                      <a:pt x="31" y="1079"/>
                      <a:pt x="32" y="1079"/>
                    </a:cubicBezTo>
                    <a:cubicBezTo>
                      <a:pt x="32" y="1087"/>
                      <a:pt x="32" y="1087"/>
                      <a:pt x="32" y="1087"/>
                    </a:cubicBezTo>
                    <a:cubicBezTo>
                      <a:pt x="31" y="1086"/>
                      <a:pt x="29" y="1086"/>
                      <a:pt x="28" y="1087"/>
                    </a:cubicBezTo>
                    <a:cubicBezTo>
                      <a:pt x="27" y="1087"/>
                      <a:pt x="25" y="1087"/>
                      <a:pt x="24" y="1086"/>
                    </a:cubicBezTo>
                    <a:cubicBezTo>
                      <a:pt x="23" y="1086"/>
                      <a:pt x="23" y="1086"/>
                      <a:pt x="23" y="1086"/>
                    </a:cubicBezTo>
                    <a:cubicBezTo>
                      <a:pt x="20" y="1085"/>
                      <a:pt x="20" y="1085"/>
                      <a:pt x="18" y="1086"/>
                    </a:cubicBezTo>
                    <a:cubicBezTo>
                      <a:pt x="17" y="1087"/>
                      <a:pt x="17" y="1087"/>
                      <a:pt x="17" y="1090"/>
                    </a:cubicBezTo>
                    <a:cubicBezTo>
                      <a:pt x="16" y="1091"/>
                      <a:pt x="16" y="1092"/>
                      <a:pt x="16" y="1093"/>
                    </a:cubicBezTo>
                    <a:cubicBezTo>
                      <a:pt x="16" y="1095"/>
                      <a:pt x="16" y="1095"/>
                      <a:pt x="16" y="1095"/>
                    </a:cubicBezTo>
                    <a:cubicBezTo>
                      <a:pt x="16" y="1096"/>
                      <a:pt x="17" y="1096"/>
                      <a:pt x="17" y="1096"/>
                    </a:cubicBezTo>
                    <a:cubicBezTo>
                      <a:pt x="17" y="1096"/>
                      <a:pt x="18" y="1095"/>
                      <a:pt x="18" y="1095"/>
                    </a:cubicBezTo>
                    <a:cubicBezTo>
                      <a:pt x="19" y="1095"/>
                      <a:pt x="23" y="1095"/>
                      <a:pt x="29" y="1101"/>
                    </a:cubicBezTo>
                    <a:cubicBezTo>
                      <a:pt x="30" y="1101"/>
                      <a:pt x="30" y="1101"/>
                      <a:pt x="30" y="1101"/>
                    </a:cubicBezTo>
                    <a:cubicBezTo>
                      <a:pt x="30" y="1102"/>
                      <a:pt x="31" y="1103"/>
                      <a:pt x="32" y="1103"/>
                    </a:cubicBezTo>
                    <a:cubicBezTo>
                      <a:pt x="34" y="1103"/>
                      <a:pt x="35" y="1106"/>
                      <a:pt x="35" y="1108"/>
                    </a:cubicBezTo>
                    <a:cubicBezTo>
                      <a:pt x="36" y="1108"/>
                      <a:pt x="36" y="1109"/>
                      <a:pt x="36" y="1109"/>
                    </a:cubicBezTo>
                    <a:cubicBezTo>
                      <a:pt x="36" y="1110"/>
                      <a:pt x="37" y="1110"/>
                      <a:pt x="38" y="1110"/>
                    </a:cubicBezTo>
                    <a:cubicBezTo>
                      <a:pt x="41" y="1109"/>
                      <a:pt x="54" y="1110"/>
                      <a:pt x="56" y="1118"/>
                    </a:cubicBezTo>
                    <a:cubicBezTo>
                      <a:pt x="57" y="1121"/>
                      <a:pt x="59" y="1121"/>
                      <a:pt x="60" y="1121"/>
                    </a:cubicBezTo>
                    <a:cubicBezTo>
                      <a:pt x="60" y="1121"/>
                      <a:pt x="60" y="1121"/>
                      <a:pt x="60" y="1121"/>
                    </a:cubicBezTo>
                    <a:cubicBezTo>
                      <a:pt x="61" y="1120"/>
                      <a:pt x="65" y="1121"/>
                      <a:pt x="68" y="1123"/>
                    </a:cubicBezTo>
                    <a:cubicBezTo>
                      <a:pt x="69" y="1124"/>
                      <a:pt x="70" y="1127"/>
                      <a:pt x="70" y="1131"/>
                    </a:cubicBezTo>
                    <a:cubicBezTo>
                      <a:pt x="69" y="1135"/>
                      <a:pt x="68" y="1142"/>
                      <a:pt x="68" y="1146"/>
                    </a:cubicBezTo>
                    <a:cubicBezTo>
                      <a:pt x="68" y="1146"/>
                      <a:pt x="69" y="1146"/>
                      <a:pt x="69" y="1146"/>
                    </a:cubicBezTo>
                    <a:cubicBezTo>
                      <a:pt x="69" y="1145"/>
                      <a:pt x="70" y="1145"/>
                      <a:pt x="70" y="1145"/>
                    </a:cubicBezTo>
                    <a:cubicBezTo>
                      <a:pt x="75" y="1144"/>
                      <a:pt x="80" y="1148"/>
                      <a:pt x="82" y="1151"/>
                    </a:cubicBezTo>
                    <a:cubicBezTo>
                      <a:pt x="85" y="1157"/>
                      <a:pt x="85" y="1157"/>
                      <a:pt x="85" y="1157"/>
                    </a:cubicBezTo>
                    <a:cubicBezTo>
                      <a:pt x="85" y="1157"/>
                      <a:pt x="85" y="1157"/>
                      <a:pt x="85" y="1157"/>
                    </a:cubicBezTo>
                    <a:cubicBezTo>
                      <a:pt x="87" y="1159"/>
                      <a:pt x="91" y="1163"/>
                      <a:pt x="91" y="1164"/>
                    </a:cubicBezTo>
                    <a:cubicBezTo>
                      <a:pt x="93" y="1167"/>
                      <a:pt x="95" y="1172"/>
                      <a:pt x="92" y="1175"/>
                    </a:cubicBezTo>
                    <a:cubicBezTo>
                      <a:pt x="92" y="1175"/>
                      <a:pt x="92" y="1175"/>
                      <a:pt x="92" y="1175"/>
                    </a:cubicBezTo>
                    <a:cubicBezTo>
                      <a:pt x="92" y="1176"/>
                      <a:pt x="93" y="1177"/>
                      <a:pt x="93" y="1178"/>
                    </a:cubicBezTo>
                    <a:cubicBezTo>
                      <a:pt x="96" y="1183"/>
                      <a:pt x="95" y="1186"/>
                      <a:pt x="94" y="1187"/>
                    </a:cubicBezTo>
                    <a:cubicBezTo>
                      <a:pt x="94" y="1188"/>
                      <a:pt x="94" y="1188"/>
                      <a:pt x="94" y="1188"/>
                    </a:cubicBezTo>
                    <a:cubicBezTo>
                      <a:pt x="92" y="1190"/>
                      <a:pt x="90" y="1194"/>
                      <a:pt x="90" y="1196"/>
                    </a:cubicBezTo>
                    <a:cubicBezTo>
                      <a:pt x="90" y="1203"/>
                      <a:pt x="87" y="1208"/>
                      <a:pt x="83" y="1212"/>
                    </a:cubicBezTo>
                    <a:cubicBezTo>
                      <a:pt x="81" y="1212"/>
                      <a:pt x="81" y="1212"/>
                      <a:pt x="81" y="1212"/>
                    </a:cubicBezTo>
                    <a:cubicBezTo>
                      <a:pt x="80" y="1213"/>
                      <a:pt x="78" y="1215"/>
                      <a:pt x="78" y="1216"/>
                    </a:cubicBezTo>
                    <a:cubicBezTo>
                      <a:pt x="77" y="1216"/>
                      <a:pt x="78" y="1217"/>
                      <a:pt x="79" y="1218"/>
                    </a:cubicBezTo>
                    <a:cubicBezTo>
                      <a:pt x="80" y="1220"/>
                      <a:pt x="82" y="1221"/>
                      <a:pt x="84" y="1222"/>
                    </a:cubicBezTo>
                    <a:cubicBezTo>
                      <a:pt x="86" y="1222"/>
                      <a:pt x="91" y="1225"/>
                      <a:pt x="88" y="1231"/>
                    </a:cubicBezTo>
                    <a:cubicBezTo>
                      <a:pt x="87" y="1232"/>
                      <a:pt x="87" y="1233"/>
                      <a:pt x="87" y="1234"/>
                    </a:cubicBezTo>
                    <a:cubicBezTo>
                      <a:pt x="86" y="1236"/>
                      <a:pt x="85" y="1238"/>
                      <a:pt x="84" y="1239"/>
                    </a:cubicBezTo>
                    <a:cubicBezTo>
                      <a:pt x="84" y="1239"/>
                      <a:pt x="85" y="1239"/>
                      <a:pt x="85" y="1239"/>
                    </a:cubicBezTo>
                    <a:cubicBezTo>
                      <a:pt x="85" y="1240"/>
                      <a:pt x="85" y="1240"/>
                      <a:pt x="85" y="1240"/>
                    </a:cubicBezTo>
                    <a:cubicBezTo>
                      <a:pt x="87" y="1241"/>
                      <a:pt x="95" y="1243"/>
                      <a:pt x="97" y="1242"/>
                    </a:cubicBezTo>
                    <a:cubicBezTo>
                      <a:pt x="100" y="1239"/>
                      <a:pt x="107" y="1235"/>
                      <a:pt x="111" y="1237"/>
                    </a:cubicBezTo>
                    <a:cubicBezTo>
                      <a:pt x="113" y="1238"/>
                      <a:pt x="114" y="1239"/>
                      <a:pt x="115" y="1241"/>
                    </a:cubicBezTo>
                    <a:cubicBezTo>
                      <a:pt x="115" y="1244"/>
                      <a:pt x="115" y="1248"/>
                      <a:pt x="112" y="1251"/>
                    </a:cubicBezTo>
                    <a:cubicBezTo>
                      <a:pt x="112" y="1252"/>
                      <a:pt x="111" y="1252"/>
                      <a:pt x="111" y="1252"/>
                    </a:cubicBezTo>
                    <a:cubicBezTo>
                      <a:pt x="113" y="1253"/>
                      <a:pt x="118" y="1258"/>
                      <a:pt x="120" y="1264"/>
                    </a:cubicBezTo>
                    <a:cubicBezTo>
                      <a:pt x="120" y="1266"/>
                      <a:pt x="120" y="1266"/>
                      <a:pt x="121" y="1267"/>
                    </a:cubicBezTo>
                    <a:cubicBezTo>
                      <a:pt x="122" y="1267"/>
                      <a:pt x="123" y="1268"/>
                      <a:pt x="124" y="1269"/>
                    </a:cubicBezTo>
                    <a:cubicBezTo>
                      <a:pt x="126" y="1272"/>
                      <a:pt x="130" y="1274"/>
                      <a:pt x="131" y="1274"/>
                    </a:cubicBezTo>
                    <a:cubicBezTo>
                      <a:pt x="134" y="1275"/>
                      <a:pt x="140" y="1275"/>
                      <a:pt x="142" y="1282"/>
                    </a:cubicBezTo>
                    <a:cubicBezTo>
                      <a:pt x="142" y="1283"/>
                      <a:pt x="142" y="1284"/>
                      <a:pt x="142" y="1284"/>
                    </a:cubicBezTo>
                    <a:cubicBezTo>
                      <a:pt x="142" y="1283"/>
                      <a:pt x="143" y="1284"/>
                      <a:pt x="144" y="1284"/>
                    </a:cubicBezTo>
                    <a:cubicBezTo>
                      <a:pt x="148" y="1284"/>
                      <a:pt x="152" y="1287"/>
                      <a:pt x="156" y="1291"/>
                    </a:cubicBezTo>
                    <a:cubicBezTo>
                      <a:pt x="158" y="1292"/>
                      <a:pt x="158" y="1292"/>
                      <a:pt x="158" y="1292"/>
                    </a:cubicBezTo>
                    <a:cubicBezTo>
                      <a:pt x="159" y="1293"/>
                      <a:pt x="162" y="1296"/>
                      <a:pt x="163" y="1296"/>
                    </a:cubicBezTo>
                    <a:cubicBezTo>
                      <a:pt x="163" y="1296"/>
                      <a:pt x="164" y="1296"/>
                      <a:pt x="164" y="1296"/>
                    </a:cubicBezTo>
                    <a:cubicBezTo>
                      <a:pt x="166" y="1296"/>
                      <a:pt x="168" y="1296"/>
                      <a:pt x="171" y="1298"/>
                    </a:cubicBezTo>
                    <a:cubicBezTo>
                      <a:pt x="173" y="1299"/>
                      <a:pt x="174" y="1299"/>
                      <a:pt x="174" y="1299"/>
                    </a:cubicBezTo>
                    <a:cubicBezTo>
                      <a:pt x="178" y="1297"/>
                      <a:pt x="182" y="1299"/>
                      <a:pt x="185" y="1302"/>
                    </a:cubicBezTo>
                    <a:cubicBezTo>
                      <a:pt x="187" y="1303"/>
                      <a:pt x="189" y="1303"/>
                      <a:pt x="190" y="1303"/>
                    </a:cubicBezTo>
                    <a:cubicBezTo>
                      <a:pt x="193" y="1302"/>
                      <a:pt x="195" y="1303"/>
                      <a:pt x="196" y="1304"/>
                    </a:cubicBezTo>
                    <a:cubicBezTo>
                      <a:pt x="197" y="1304"/>
                      <a:pt x="197" y="1304"/>
                      <a:pt x="198" y="1304"/>
                    </a:cubicBezTo>
                    <a:cubicBezTo>
                      <a:pt x="198" y="1304"/>
                      <a:pt x="205" y="1304"/>
                      <a:pt x="207" y="1309"/>
                    </a:cubicBezTo>
                    <a:cubicBezTo>
                      <a:pt x="208" y="1310"/>
                      <a:pt x="208" y="1312"/>
                      <a:pt x="206" y="1315"/>
                    </a:cubicBezTo>
                    <a:cubicBezTo>
                      <a:pt x="204" y="1317"/>
                      <a:pt x="202" y="1318"/>
                      <a:pt x="200" y="1318"/>
                    </a:cubicBezTo>
                    <a:cubicBezTo>
                      <a:pt x="198" y="1319"/>
                      <a:pt x="197" y="1320"/>
                      <a:pt x="197" y="1321"/>
                    </a:cubicBezTo>
                    <a:cubicBezTo>
                      <a:pt x="196" y="1322"/>
                      <a:pt x="196" y="1322"/>
                      <a:pt x="195" y="1323"/>
                    </a:cubicBezTo>
                    <a:cubicBezTo>
                      <a:pt x="193" y="1325"/>
                      <a:pt x="193" y="1326"/>
                      <a:pt x="193" y="1329"/>
                    </a:cubicBezTo>
                    <a:cubicBezTo>
                      <a:pt x="194" y="1331"/>
                      <a:pt x="194" y="1333"/>
                      <a:pt x="194" y="1335"/>
                    </a:cubicBezTo>
                    <a:cubicBezTo>
                      <a:pt x="194" y="1336"/>
                      <a:pt x="194" y="1338"/>
                      <a:pt x="194" y="1339"/>
                    </a:cubicBezTo>
                    <a:cubicBezTo>
                      <a:pt x="197" y="1342"/>
                      <a:pt x="197" y="1343"/>
                      <a:pt x="196" y="1349"/>
                    </a:cubicBezTo>
                    <a:cubicBezTo>
                      <a:pt x="196" y="1351"/>
                      <a:pt x="196" y="1353"/>
                      <a:pt x="196" y="1354"/>
                    </a:cubicBezTo>
                    <a:cubicBezTo>
                      <a:pt x="196" y="1356"/>
                      <a:pt x="196" y="1358"/>
                      <a:pt x="196" y="1359"/>
                    </a:cubicBezTo>
                    <a:cubicBezTo>
                      <a:pt x="196" y="1361"/>
                      <a:pt x="196" y="1362"/>
                      <a:pt x="196" y="1362"/>
                    </a:cubicBezTo>
                    <a:cubicBezTo>
                      <a:pt x="197" y="1365"/>
                      <a:pt x="197" y="1366"/>
                      <a:pt x="196" y="1368"/>
                    </a:cubicBezTo>
                    <a:cubicBezTo>
                      <a:pt x="196" y="1369"/>
                      <a:pt x="195" y="1371"/>
                      <a:pt x="193" y="1374"/>
                    </a:cubicBezTo>
                    <a:cubicBezTo>
                      <a:pt x="193" y="1374"/>
                      <a:pt x="193" y="1374"/>
                      <a:pt x="193" y="1374"/>
                    </a:cubicBezTo>
                    <a:cubicBezTo>
                      <a:pt x="193" y="1375"/>
                      <a:pt x="193" y="1375"/>
                      <a:pt x="193" y="1376"/>
                    </a:cubicBezTo>
                    <a:cubicBezTo>
                      <a:pt x="193" y="1377"/>
                      <a:pt x="193" y="1377"/>
                      <a:pt x="193" y="1377"/>
                    </a:cubicBezTo>
                    <a:cubicBezTo>
                      <a:pt x="194" y="1385"/>
                      <a:pt x="195" y="1386"/>
                      <a:pt x="195" y="1387"/>
                    </a:cubicBezTo>
                    <a:cubicBezTo>
                      <a:pt x="196" y="1387"/>
                      <a:pt x="197" y="1388"/>
                      <a:pt x="198" y="1389"/>
                    </a:cubicBezTo>
                    <a:cubicBezTo>
                      <a:pt x="198" y="1390"/>
                      <a:pt x="199" y="1391"/>
                      <a:pt x="200" y="1391"/>
                    </a:cubicBezTo>
                    <a:cubicBezTo>
                      <a:pt x="200" y="1391"/>
                      <a:pt x="201" y="1391"/>
                      <a:pt x="202" y="1391"/>
                    </a:cubicBezTo>
                    <a:cubicBezTo>
                      <a:pt x="204" y="1391"/>
                      <a:pt x="209" y="1391"/>
                      <a:pt x="210" y="1397"/>
                    </a:cubicBezTo>
                    <a:cubicBezTo>
                      <a:pt x="210" y="1397"/>
                      <a:pt x="213" y="1399"/>
                      <a:pt x="214" y="1400"/>
                    </a:cubicBezTo>
                    <a:cubicBezTo>
                      <a:pt x="214" y="1400"/>
                      <a:pt x="214" y="1400"/>
                      <a:pt x="214" y="1400"/>
                    </a:cubicBezTo>
                    <a:cubicBezTo>
                      <a:pt x="217" y="1400"/>
                      <a:pt x="221" y="1403"/>
                      <a:pt x="222" y="1407"/>
                    </a:cubicBezTo>
                    <a:cubicBezTo>
                      <a:pt x="222" y="1407"/>
                      <a:pt x="223" y="1409"/>
                      <a:pt x="223" y="1410"/>
                    </a:cubicBezTo>
                    <a:cubicBezTo>
                      <a:pt x="224" y="1411"/>
                      <a:pt x="225" y="1412"/>
                      <a:pt x="225" y="1414"/>
                    </a:cubicBezTo>
                    <a:cubicBezTo>
                      <a:pt x="226" y="1415"/>
                      <a:pt x="227" y="1416"/>
                      <a:pt x="228" y="1417"/>
                    </a:cubicBezTo>
                    <a:cubicBezTo>
                      <a:pt x="229" y="1418"/>
                      <a:pt x="229" y="1418"/>
                      <a:pt x="229" y="1418"/>
                    </a:cubicBezTo>
                    <a:cubicBezTo>
                      <a:pt x="229" y="1418"/>
                      <a:pt x="229" y="1418"/>
                      <a:pt x="229" y="1418"/>
                    </a:cubicBezTo>
                    <a:cubicBezTo>
                      <a:pt x="229" y="1418"/>
                      <a:pt x="229" y="1418"/>
                      <a:pt x="229" y="1418"/>
                    </a:cubicBezTo>
                    <a:cubicBezTo>
                      <a:pt x="230" y="1418"/>
                      <a:pt x="230" y="1418"/>
                      <a:pt x="230" y="1418"/>
                    </a:cubicBezTo>
                    <a:cubicBezTo>
                      <a:pt x="233" y="1418"/>
                      <a:pt x="239" y="1422"/>
                      <a:pt x="240" y="1426"/>
                    </a:cubicBezTo>
                    <a:cubicBezTo>
                      <a:pt x="240" y="1428"/>
                      <a:pt x="239" y="1430"/>
                      <a:pt x="237" y="1431"/>
                    </a:cubicBezTo>
                    <a:cubicBezTo>
                      <a:pt x="236" y="1432"/>
                      <a:pt x="234" y="1433"/>
                      <a:pt x="233" y="1433"/>
                    </a:cubicBezTo>
                    <a:cubicBezTo>
                      <a:pt x="233" y="1433"/>
                      <a:pt x="233" y="1433"/>
                      <a:pt x="233" y="1433"/>
                    </a:cubicBezTo>
                    <a:cubicBezTo>
                      <a:pt x="233" y="1436"/>
                      <a:pt x="231" y="1437"/>
                      <a:pt x="230" y="1439"/>
                    </a:cubicBezTo>
                    <a:cubicBezTo>
                      <a:pt x="230" y="1439"/>
                      <a:pt x="229" y="1440"/>
                      <a:pt x="229" y="1440"/>
                    </a:cubicBezTo>
                    <a:cubicBezTo>
                      <a:pt x="225" y="1444"/>
                      <a:pt x="220" y="1445"/>
                      <a:pt x="217" y="1444"/>
                    </a:cubicBezTo>
                    <a:cubicBezTo>
                      <a:pt x="216" y="1444"/>
                      <a:pt x="215" y="1445"/>
                      <a:pt x="215" y="1445"/>
                    </a:cubicBezTo>
                    <a:cubicBezTo>
                      <a:pt x="213" y="1446"/>
                      <a:pt x="210" y="1446"/>
                      <a:pt x="208" y="1446"/>
                    </a:cubicBezTo>
                    <a:cubicBezTo>
                      <a:pt x="207" y="1446"/>
                      <a:pt x="207" y="1446"/>
                      <a:pt x="207" y="1446"/>
                    </a:cubicBezTo>
                    <a:cubicBezTo>
                      <a:pt x="207" y="1446"/>
                      <a:pt x="207" y="1446"/>
                      <a:pt x="207" y="1446"/>
                    </a:cubicBezTo>
                    <a:cubicBezTo>
                      <a:pt x="207" y="1447"/>
                      <a:pt x="208" y="1448"/>
                      <a:pt x="208" y="1449"/>
                    </a:cubicBezTo>
                    <a:cubicBezTo>
                      <a:pt x="210" y="1453"/>
                      <a:pt x="210" y="1456"/>
                      <a:pt x="208" y="1462"/>
                    </a:cubicBezTo>
                    <a:cubicBezTo>
                      <a:pt x="208" y="1463"/>
                      <a:pt x="207" y="1464"/>
                      <a:pt x="207" y="1466"/>
                    </a:cubicBezTo>
                    <a:cubicBezTo>
                      <a:pt x="204" y="1473"/>
                      <a:pt x="203" y="1477"/>
                      <a:pt x="201" y="1479"/>
                    </a:cubicBezTo>
                    <a:cubicBezTo>
                      <a:pt x="199" y="1480"/>
                      <a:pt x="198" y="1480"/>
                      <a:pt x="197" y="1480"/>
                    </a:cubicBezTo>
                    <a:cubicBezTo>
                      <a:pt x="196" y="1480"/>
                      <a:pt x="196" y="1480"/>
                      <a:pt x="196" y="1480"/>
                    </a:cubicBezTo>
                    <a:cubicBezTo>
                      <a:pt x="196" y="1481"/>
                      <a:pt x="196" y="1482"/>
                      <a:pt x="196" y="1485"/>
                    </a:cubicBezTo>
                    <a:cubicBezTo>
                      <a:pt x="199" y="1495"/>
                      <a:pt x="200" y="1497"/>
                      <a:pt x="200" y="1499"/>
                    </a:cubicBezTo>
                    <a:cubicBezTo>
                      <a:pt x="201" y="1499"/>
                      <a:pt x="201" y="1499"/>
                      <a:pt x="201" y="1499"/>
                    </a:cubicBezTo>
                    <a:cubicBezTo>
                      <a:pt x="201" y="1500"/>
                      <a:pt x="201" y="1500"/>
                      <a:pt x="202" y="1501"/>
                    </a:cubicBezTo>
                    <a:cubicBezTo>
                      <a:pt x="203" y="1503"/>
                      <a:pt x="204" y="1505"/>
                      <a:pt x="205" y="1506"/>
                    </a:cubicBezTo>
                    <a:cubicBezTo>
                      <a:pt x="206" y="1509"/>
                      <a:pt x="208" y="1511"/>
                      <a:pt x="209" y="1515"/>
                    </a:cubicBezTo>
                    <a:cubicBezTo>
                      <a:pt x="210" y="1517"/>
                      <a:pt x="211" y="1520"/>
                      <a:pt x="211" y="1523"/>
                    </a:cubicBezTo>
                    <a:cubicBezTo>
                      <a:pt x="211" y="1524"/>
                      <a:pt x="212" y="1526"/>
                      <a:pt x="212" y="1527"/>
                    </a:cubicBezTo>
                    <a:cubicBezTo>
                      <a:pt x="215" y="1534"/>
                      <a:pt x="211" y="1538"/>
                      <a:pt x="209" y="1539"/>
                    </a:cubicBezTo>
                    <a:cubicBezTo>
                      <a:pt x="207" y="1540"/>
                      <a:pt x="207" y="1542"/>
                      <a:pt x="207" y="1542"/>
                    </a:cubicBezTo>
                    <a:cubicBezTo>
                      <a:pt x="208" y="1543"/>
                      <a:pt x="210" y="1546"/>
                      <a:pt x="212" y="1547"/>
                    </a:cubicBezTo>
                    <a:cubicBezTo>
                      <a:pt x="214" y="1549"/>
                      <a:pt x="216" y="1551"/>
                      <a:pt x="216" y="1553"/>
                    </a:cubicBezTo>
                    <a:cubicBezTo>
                      <a:pt x="216" y="1555"/>
                      <a:pt x="216" y="1557"/>
                      <a:pt x="214" y="1559"/>
                    </a:cubicBezTo>
                    <a:cubicBezTo>
                      <a:pt x="212" y="1561"/>
                      <a:pt x="211" y="1562"/>
                      <a:pt x="211" y="1565"/>
                    </a:cubicBezTo>
                    <a:cubicBezTo>
                      <a:pt x="211" y="1565"/>
                      <a:pt x="212" y="1566"/>
                      <a:pt x="212" y="1567"/>
                    </a:cubicBezTo>
                    <a:cubicBezTo>
                      <a:pt x="213" y="1570"/>
                      <a:pt x="214" y="1574"/>
                      <a:pt x="211" y="1579"/>
                    </a:cubicBezTo>
                    <a:cubicBezTo>
                      <a:pt x="210" y="1580"/>
                      <a:pt x="209" y="1582"/>
                      <a:pt x="208" y="1584"/>
                    </a:cubicBezTo>
                    <a:cubicBezTo>
                      <a:pt x="205" y="1589"/>
                      <a:pt x="203" y="1593"/>
                      <a:pt x="198" y="1593"/>
                    </a:cubicBezTo>
                    <a:cubicBezTo>
                      <a:pt x="196" y="1593"/>
                      <a:pt x="196" y="1593"/>
                      <a:pt x="196" y="1595"/>
                    </a:cubicBezTo>
                    <a:cubicBezTo>
                      <a:pt x="195" y="1597"/>
                      <a:pt x="194" y="1598"/>
                      <a:pt x="193" y="1599"/>
                    </a:cubicBezTo>
                    <a:cubicBezTo>
                      <a:pt x="192" y="1600"/>
                      <a:pt x="190" y="1601"/>
                      <a:pt x="189" y="1604"/>
                    </a:cubicBezTo>
                    <a:cubicBezTo>
                      <a:pt x="188" y="1606"/>
                      <a:pt x="186" y="1609"/>
                      <a:pt x="183" y="1610"/>
                    </a:cubicBezTo>
                    <a:cubicBezTo>
                      <a:pt x="179" y="1610"/>
                      <a:pt x="176" y="1607"/>
                      <a:pt x="174" y="1604"/>
                    </a:cubicBezTo>
                    <a:cubicBezTo>
                      <a:pt x="169" y="1597"/>
                      <a:pt x="164" y="1590"/>
                      <a:pt x="165" y="1583"/>
                    </a:cubicBezTo>
                    <a:cubicBezTo>
                      <a:pt x="166" y="1577"/>
                      <a:pt x="167" y="1570"/>
                      <a:pt x="168" y="1567"/>
                    </a:cubicBezTo>
                    <a:cubicBezTo>
                      <a:pt x="168" y="1567"/>
                      <a:pt x="168" y="1566"/>
                      <a:pt x="168" y="1566"/>
                    </a:cubicBezTo>
                    <a:cubicBezTo>
                      <a:pt x="168" y="1566"/>
                      <a:pt x="167" y="1566"/>
                      <a:pt x="167" y="1566"/>
                    </a:cubicBezTo>
                    <a:cubicBezTo>
                      <a:pt x="161" y="1566"/>
                      <a:pt x="148" y="1571"/>
                      <a:pt x="146" y="1572"/>
                    </a:cubicBezTo>
                    <a:cubicBezTo>
                      <a:pt x="145" y="1573"/>
                      <a:pt x="145" y="1574"/>
                      <a:pt x="145" y="1577"/>
                    </a:cubicBezTo>
                    <a:cubicBezTo>
                      <a:pt x="145" y="1579"/>
                      <a:pt x="145" y="1580"/>
                      <a:pt x="146" y="1581"/>
                    </a:cubicBezTo>
                    <a:cubicBezTo>
                      <a:pt x="146" y="1582"/>
                      <a:pt x="146" y="1583"/>
                      <a:pt x="147" y="1585"/>
                    </a:cubicBezTo>
                    <a:cubicBezTo>
                      <a:pt x="147" y="1590"/>
                      <a:pt x="145" y="1595"/>
                      <a:pt x="140" y="1598"/>
                    </a:cubicBezTo>
                    <a:cubicBezTo>
                      <a:pt x="140" y="1598"/>
                      <a:pt x="139" y="1599"/>
                      <a:pt x="141" y="1603"/>
                    </a:cubicBezTo>
                    <a:cubicBezTo>
                      <a:pt x="141" y="1605"/>
                      <a:pt x="143" y="1606"/>
                      <a:pt x="144" y="1606"/>
                    </a:cubicBezTo>
                    <a:cubicBezTo>
                      <a:pt x="146" y="1607"/>
                      <a:pt x="151" y="1610"/>
                      <a:pt x="152" y="1614"/>
                    </a:cubicBezTo>
                    <a:cubicBezTo>
                      <a:pt x="152" y="1615"/>
                      <a:pt x="152" y="1618"/>
                      <a:pt x="148" y="1620"/>
                    </a:cubicBezTo>
                    <a:cubicBezTo>
                      <a:pt x="142" y="1623"/>
                      <a:pt x="142" y="1623"/>
                      <a:pt x="142" y="1625"/>
                    </a:cubicBezTo>
                    <a:cubicBezTo>
                      <a:pt x="142" y="1630"/>
                      <a:pt x="143" y="1633"/>
                      <a:pt x="144" y="1635"/>
                    </a:cubicBezTo>
                    <a:cubicBezTo>
                      <a:pt x="145" y="1636"/>
                      <a:pt x="145" y="1636"/>
                      <a:pt x="145" y="1636"/>
                    </a:cubicBezTo>
                    <a:cubicBezTo>
                      <a:pt x="145" y="1638"/>
                      <a:pt x="146" y="1642"/>
                      <a:pt x="145" y="1645"/>
                    </a:cubicBezTo>
                    <a:cubicBezTo>
                      <a:pt x="144" y="1647"/>
                      <a:pt x="143" y="1648"/>
                      <a:pt x="141" y="1649"/>
                    </a:cubicBezTo>
                    <a:cubicBezTo>
                      <a:pt x="140" y="1650"/>
                      <a:pt x="137" y="1652"/>
                      <a:pt x="137" y="1653"/>
                    </a:cubicBezTo>
                    <a:cubicBezTo>
                      <a:pt x="137" y="1654"/>
                      <a:pt x="137" y="1655"/>
                      <a:pt x="137" y="1656"/>
                    </a:cubicBezTo>
                    <a:cubicBezTo>
                      <a:pt x="138" y="1657"/>
                      <a:pt x="138" y="1659"/>
                      <a:pt x="137" y="1662"/>
                    </a:cubicBezTo>
                    <a:cubicBezTo>
                      <a:pt x="137" y="1663"/>
                      <a:pt x="136" y="1664"/>
                      <a:pt x="135" y="1664"/>
                    </a:cubicBezTo>
                    <a:cubicBezTo>
                      <a:pt x="137" y="1666"/>
                      <a:pt x="139" y="1667"/>
                      <a:pt x="139" y="1667"/>
                    </a:cubicBezTo>
                    <a:cubicBezTo>
                      <a:pt x="144" y="1668"/>
                      <a:pt x="143" y="1674"/>
                      <a:pt x="143" y="1678"/>
                    </a:cubicBezTo>
                    <a:cubicBezTo>
                      <a:pt x="143" y="1684"/>
                      <a:pt x="142" y="1691"/>
                      <a:pt x="143" y="1694"/>
                    </a:cubicBezTo>
                    <a:cubicBezTo>
                      <a:pt x="144" y="1696"/>
                      <a:pt x="147" y="1699"/>
                      <a:pt x="148" y="1699"/>
                    </a:cubicBezTo>
                    <a:cubicBezTo>
                      <a:pt x="154" y="1700"/>
                      <a:pt x="156" y="1703"/>
                      <a:pt x="156" y="1706"/>
                    </a:cubicBezTo>
                    <a:cubicBezTo>
                      <a:pt x="157" y="1706"/>
                      <a:pt x="159" y="1706"/>
                      <a:pt x="159" y="1705"/>
                    </a:cubicBezTo>
                    <a:cubicBezTo>
                      <a:pt x="161" y="1703"/>
                      <a:pt x="164" y="1701"/>
                      <a:pt x="167" y="1702"/>
                    </a:cubicBezTo>
                    <a:cubicBezTo>
                      <a:pt x="170" y="1702"/>
                      <a:pt x="172" y="1703"/>
                      <a:pt x="173" y="1706"/>
                    </a:cubicBezTo>
                    <a:cubicBezTo>
                      <a:pt x="173" y="1706"/>
                      <a:pt x="173" y="1706"/>
                      <a:pt x="174" y="1707"/>
                    </a:cubicBezTo>
                    <a:cubicBezTo>
                      <a:pt x="174" y="1707"/>
                      <a:pt x="174" y="1707"/>
                      <a:pt x="174" y="1707"/>
                    </a:cubicBezTo>
                    <a:cubicBezTo>
                      <a:pt x="177" y="1708"/>
                      <a:pt x="179" y="1712"/>
                      <a:pt x="180" y="1715"/>
                    </a:cubicBezTo>
                    <a:cubicBezTo>
                      <a:pt x="180" y="1715"/>
                      <a:pt x="180" y="1715"/>
                      <a:pt x="181" y="1715"/>
                    </a:cubicBezTo>
                    <a:cubicBezTo>
                      <a:pt x="182" y="1715"/>
                      <a:pt x="182" y="1715"/>
                      <a:pt x="182" y="1715"/>
                    </a:cubicBezTo>
                    <a:cubicBezTo>
                      <a:pt x="183" y="1715"/>
                      <a:pt x="184" y="1715"/>
                      <a:pt x="185" y="1716"/>
                    </a:cubicBezTo>
                    <a:cubicBezTo>
                      <a:pt x="186" y="1716"/>
                      <a:pt x="187" y="1716"/>
                      <a:pt x="188" y="1716"/>
                    </a:cubicBezTo>
                    <a:cubicBezTo>
                      <a:pt x="190" y="1716"/>
                      <a:pt x="194" y="1717"/>
                      <a:pt x="195" y="1724"/>
                    </a:cubicBezTo>
                    <a:cubicBezTo>
                      <a:pt x="195" y="1725"/>
                      <a:pt x="195" y="1726"/>
                      <a:pt x="196" y="1727"/>
                    </a:cubicBezTo>
                    <a:cubicBezTo>
                      <a:pt x="197" y="1728"/>
                      <a:pt x="197" y="1729"/>
                      <a:pt x="198" y="1730"/>
                    </a:cubicBezTo>
                    <a:cubicBezTo>
                      <a:pt x="198" y="1730"/>
                      <a:pt x="199" y="1731"/>
                      <a:pt x="199" y="1731"/>
                    </a:cubicBezTo>
                    <a:cubicBezTo>
                      <a:pt x="201" y="1734"/>
                      <a:pt x="204" y="1738"/>
                      <a:pt x="203" y="1745"/>
                    </a:cubicBezTo>
                    <a:cubicBezTo>
                      <a:pt x="203" y="1746"/>
                      <a:pt x="203" y="1747"/>
                      <a:pt x="202" y="1748"/>
                    </a:cubicBezTo>
                    <a:cubicBezTo>
                      <a:pt x="202" y="1752"/>
                      <a:pt x="202" y="1752"/>
                      <a:pt x="206" y="1756"/>
                    </a:cubicBezTo>
                    <a:cubicBezTo>
                      <a:pt x="209" y="1759"/>
                      <a:pt x="213" y="1761"/>
                      <a:pt x="217" y="1763"/>
                    </a:cubicBezTo>
                    <a:cubicBezTo>
                      <a:pt x="220" y="1764"/>
                      <a:pt x="222" y="1765"/>
                      <a:pt x="224" y="1767"/>
                    </a:cubicBezTo>
                    <a:cubicBezTo>
                      <a:pt x="225" y="1768"/>
                      <a:pt x="227" y="1770"/>
                      <a:pt x="229" y="1772"/>
                    </a:cubicBezTo>
                    <a:cubicBezTo>
                      <a:pt x="232" y="1775"/>
                      <a:pt x="235" y="1779"/>
                      <a:pt x="237" y="1780"/>
                    </a:cubicBezTo>
                    <a:cubicBezTo>
                      <a:pt x="240" y="1782"/>
                      <a:pt x="245" y="1784"/>
                      <a:pt x="247" y="1788"/>
                    </a:cubicBezTo>
                    <a:cubicBezTo>
                      <a:pt x="248" y="1789"/>
                      <a:pt x="249" y="1790"/>
                      <a:pt x="250" y="1791"/>
                    </a:cubicBezTo>
                    <a:cubicBezTo>
                      <a:pt x="251" y="1793"/>
                      <a:pt x="253" y="1795"/>
                      <a:pt x="254" y="1797"/>
                    </a:cubicBezTo>
                    <a:cubicBezTo>
                      <a:pt x="254" y="1798"/>
                      <a:pt x="256" y="1799"/>
                      <a:pt x="256" y="1800"/>
                    </a:cubicBezTo>
                    <a:cubicBezTo>
                      <a:pt x="258" y="1801"/>
                      <a:pt x="260" y="1803"/>
                      <a:pt x="262" y="1805"/>
                    </a:cubicBezTo>
                    <a:cubicBezTo>
                      <a:pt x="262" y="1806"/>
                      <a:pt x="263" y="1806"/>
                      <a:pt x="264" y="1807"/>
                    </a:cubicBezTo>
                    <a:cubicBezTo>
                      <a:pt x="266" y="1809"/>
                      <a:pt x="270" y="1812"/>
                      <a:pt x="269" y="1819"/>
                    </a:cubicBezTo>
                    <a:cubicBezTo>
                      <a:pt x="269" y="1821"/>
                      <a:pt x="269" y="1823"/>
                      <a:pt x="269" y="1824"/>
                    </a:cubicBezTo>
                    <a:cubicBezTo>
                      <a:pt x="269" y="1825"/>
                      <a:pt x="269" y="1826"/>
                      <a:pt x="269" y="1827"/>
                    </a:cubicBezTo>
                    <a:cubicBezTo>
                      <a:pt x="269" y="1827"/>
                      <a:pt x="269" y="1827"/>
                      <a:pt x="269" y="1827"/>
                    </a:cubicBezTo>
                    <a:cubicBezTo>
                      <a:pt x="271" y="1828"/>
                      <a:pt x="274" y="1829"/>
                      <a:pt x="275" y="1828"/>
                    </a:cubicBezTo>
                    <a:cubicBezTo>
                      <a:pt x="275" y="1828"/>
                      <a:pt x="275" y="1827"/>
                      <a:pt x="275" y="1827"/>
                    </a:cubicBezTo>
                    <a:cubicBezTo>
                      <a:pt x="275" y="1825"/>
                      <a:pt x="275" y="1823"/>
                      <a:pt x="277" y="1821"/>
                    </a:cubicBezTo>
                    <a:cubicBezTo>
                      <a:pt x="279" y="1820"/>
                      <a:pt x="282" y="1820"/>
                      <a:pt x="284" y="1820"/>
                    </a:cubicBezTo>
                    <a:cubicBezTo>
                      <a:pt x="287" y="1821"/>
                      <a:pt x="288" y="1820"/>
                      <a:pt x="288" y="1820"/>
                    </a:cubicBezTo>
                    <a:cubicBezTo>
                      <a:pt x="288" y="1817"/>
                      <a:pt x="290" y="1814"/>
                      <a:pt x="293" y="1809"/>
                    </a:cubicBezTo>
                    <a:cubicBezTo>
                      <a:pt x="293" y="1808"/>
                      <a:pt x="294" y="1806"/>
                      <a:pt x="294" y="1806"/>
                    </a:cubicBezTo>
                    <a:cubicBezTo>
                      <a:pt x="295" y="1804"/>
                      <a:pt x="297" y="1802"/>
                      <a:pt x="299" y="1801"/>
                    </a:cubicBezTo>
                    <a:cubicBezTo>
                      <a:pt x="302" y="1801"/>
                      <a:pt x="304" y="1802"/>
                      <a:pt x="306" y="1803"/>
                    </a:cubicBezTo>
                    <a:cubicBezTo>
                      <a:pt x="307" y="1804"/>
                      <a:pt x="307" y="1805"/>
                      <a:pt x="308" y="1806"/>
                    </a:cubicBezTo>
                    <a:cubicBezTo>
                      <a:pt x="308" y="1806"/>
                      <a:pt x="308" y="1807"/>
                      <a:pt x="308" y="1807"/>
                    </a:cubicBezTo>
                    <a:cubicBezTo>
                      <a:pt x="309" y="1807"/>
                      <a:pt x="309" y="1807"/>
                      <a:pt x="310" y="1806"/>
                    </a:cubicBezTo>
                    <a:cubicBezTo>
                      <a:pt x="311" y="1805"/>
                      <a:pt x="312" y="1805"/>
                      <a:pt x="313" y="1805"/>
                    </a:cubicBezTo>
                    <a:cubicBezTo>
                      <a:pt x="317" y="1804"/>
                      <a:pt x="323" y="1808"/>
                      <a:pt x="325" y="1810"/>
                    </a:cubicBezTo>
                    <a:cubicBezTo>
                      <a:pt x="326" y="1811"/>
                      <a:pt x="326" y="1811"/>
                      <a:pt x="326" y="1811"/>
                    </a:cubicBezTo>
                    <a:cubicBezTo>
                      <a:pt x="333" y="1817"/>
                      <a:pt x="337" y="1820"/>
                      <a:pt x="339" y="1821"/>
                    </a:cubicBezTo>
                    <a:cubicBezTo>
                      <a:pt x="341" y="1821"/>
                      <a:pt x="341" y="1821"/>
                      <a:pt x="341" y="1821"/>
                    </a:cubicBezTo>
                    <a:cubicBezTo>
                      <a:pt x="343" y="1822"/>
                      <a:pt x="343" y="1822"/>
                      <a:pt x="344" y="1822"/>
                    </a:cubicBezTo>
                    <a:cubicBezTo>
                      <a:pt x="346" y="1822"/>
                      <a:pt x="348" y="1823"/>
                      <a:pt x="350" y="1825"/>
                    </a:cubicBezTo>
                    <a:cubicBezTo>
                      <a:pt x="351" y="1828"/>
                      <a:pt x="351" y="1831"/>
                      <a:pt x="350" y="1834"/>
                    </a:cubicBezTo>
                    <a:cubicBezTo>
                      <a:pt x="349" y="1835"/>
                      <a:pt x="349" y="1836"/>
                      <a:pt x="349" y="1836"/>
                    </a:cubicBezTo>
                    <a:cubicBezTo>
                      <a:pt x="349" y="1836"/>
                      <a:pt x="349" y="1836"/>
                      <a:pt x="349" y="1836"/>
                    </a:cubicBezTo>
                    <a:cubicBezTo>
                      <a:pt x="349" y="1836"/>
                      <a:pt x="349" y="1836"/>
                      <a:pt x="350" y="1837"/>
                    </a:cubicBezTo>
                    <a:cubicBezTo>
                      <a:pt x="351" y="1838"/>
                      <a:pt x="353" y="1840"/>
                      <a:pt x="352" y="1845"/>
                    </a:cubicBezTo>
                    <a:cubicBezTo>
                      <a:pt x="351" y="1847"/>
                      <a:pt x="352" y="1850"/>
                      <a:pt x="353" y="1851"/>
                    </a:cubicBezTo>
                    <a:cubicBezTo>
                      <a:pt x="354" y="1852"/>
                      <a:pt x="370" y="1865"/>
                      <a:pt x="373" y="1868"/>
                    </a:cubicBezTo>
                    <a:cubicBezTo>
                      <a:pt x="373" y="1868"/>
                      <a:pt x="377" y="1871"/>
                      <a:pt x="377" y="1877"/>
                    </a:cubicBezTo>
                    <a:cubicBezTo>
                      <a:pt x="377" y="1878"/>
                      <a:pt x="377" y="1879"/>
                      <a:pt x="377" y="1879"/>
                    </a:cubicBezTo>
                    <a:cubicBezTo>
                      <a:pt x="377" y="1879"/>
                      <a:pt x="377" y="1879"/>
                      <a:pt x="377" y="1879"/>
                    </a:cubicBezTo>
                    <a:cubicBezTo>
                      <a:pt x="379" y="1880"/>
                      <a:pt x="382" y="1881"/>
                      <a:pt x="382" y="1886"/>
                    </a:cubicBezTo>
                    <a:cubicBezTo>
                      <a:pt x="382" y="1888"/>
                      <a:pt x="383" y="1889"/>
                      <a:pt x="383" y="1889"/>
                    </a:cubicBezTo>
                    <a:cubicBezTo>
                      <a:pt x="383" y="1889"/>
                      <a:pt x="384" y="1890"/>
                      <a:pt x="384" y="1891"/>
                    </a:cubicBezTo>
                    <a:cubicBezTo>
                      <a:pt x="385" y="1891"/>
                      <a:pt x="387" y="1893"/>
                      <a:pt x="387" y="1894"/>
                    </a:cubicBezTo>
                    <a:cubicBezTo>
                      <a:pt x="388" y="1894"/>
                      <a:pt x="389" y="1894"/>
                      <a:pt x="389" y="1895"/>
                    </a:cubicBezTo>
                    <a:cubicBezTo>
                      <a:pt x="393" y="1894"/>
                      <a:pt x="397" y="1898"/>
                      <a:pt x="402" y="1904"/>
                    </a:cubicBezTo>
                    <a:cubicBezTo>
                      <a:pt x="402" y="1905"/>
                      <a:pt x="403" y="1905"/>
                      <a:pt x="403" y="1906"/>
                    </a:cubicBezTo>
                    <a:cubicBezTo>
                      <a:pt x="403" y="1906"/>
                      <a:pt x="404" y="1906"/>
                      <a:pt x="405" y="1906"/>
                    </a:cubicBezTo>
                    <a:cubicBezTo>
                      <a:pt x="408" y="1906"/>
                      <a:pt x="411" y="1906"/>
                      <a:pt x="412" y="1909"/>
                    </a:cubicBezTo>
                    <a:cubicBezTo>
                      <a:pt x="413" y="1909"/>
                      <a:pt x="413" y="1909"/>
                      <a:pt x="413" y="1909"/>
                    </a:cubicBezTo>
                    <a:cubicBezTo>
                      <a:pt x="414" y="1910"/>
                      <a:pt x="416" y="1912"/>
                      <a:pt x="417" y="1916"/>
                    </a:cubicBezTo>
                    <a:cubicBezTo>
                      <a:pt x="417" y="1917"/>
                      <a:pt x="417" y="1917"/>
                      <a:pt x="417" y="1918"/>
                    </a:cubicBezTo>
                    <a:cubicBezTo>
                      <a:pt x="417" y="1919"/>
                      <a:pt x="417" y="1919"/>
                      <a:pt x="419" y="1921"/>
                    </a:cubicBezTo>
                    <a:cubicBezTo>
                      <a:pt x="424" y="1926"/>
                      <a:pt x="424" y="1930"/>
                      <a:pt x="424" y="1938"/>
                    </a:cubicBezTo>
                    <a:cubicBezTo>
                      <a:pt x="424" y="1945"/>
                      <a:pt x="425" y="1948"/>
                      <a:pt x="427" y="1951"/>
                    </a:cubicBezTo>
                    <a:cubicBezTo>
                      <a:pt x="430" y="1955"/>
                      <a:pt x="432" y="1957"/>
                      <a:pt x="433" y="1958"/>
                    </a:cubicBezTo>
                    <a:cubicBezTo>
                      <a:pt x="433" y="1957"/>
                      <a:pt x="434" y="1957"/>
                      <a:pt x="434" y="1957"/>
                    </a:cubicBezTo>
                    <a:cubicBezTo>
                      <a:pt x="435" y="1954"/>
                      <a:pt x="437" y="1951"/>
                      <a:pt x="443" y="1952"/>
                    </a:cubicBezTo>
                    <a:cubicBezTo>
                      <a:pt x="444" y="1952"/>
                      <a:pt x="444" y="1952"/>
                      <a:pt x="445" y="1952"/>
                    </a:cubicBezTo>
                    <a:cubicBezTo>
                      <a:pt x="445" y="1952"/>
                      <a:pt x="446" y="1952"/>
                      <a:pt x="446" y="1952"/>
                    </a:cubicBezTo>
                    <a:cubicBezTo>
                      <a:pt x="449" y="1948"/>
                      <a:pt x="453" y="1949"/>
                      <a:pt x="455" y="1949"/>
                    </a:cubicBezTo>
                    <a:cubicBezTo>
                      <a:pt x="455" y="1949"/>
                      <a:pt x="456" y="1949"/>
                      <a:pt x="456" y="1949"/>
                    </a:cubicBezTo>
                    <a:cubicBezTo>
                      <a:pt x="459" y="1949"/>
                      <a:pt x="464" y="1949"/>
                      <a:pt x="465" y="1953"/>
                    </a:cubicBezTo>
                    <a:cubicBezTo>
                      <a:pt x="466" y="1953"/>
                      <a:pt x="466" y="1954"/>
                      <a:pt x="467" y="1954"/>
                    </a:cubicBezTo>
                    <a:cubicBezTo>
                      <a:pt x="468" y="1955"/>
                      <a:pt x="469" y="1956"/>
                      <a:pt x="470" y="1957"/>
                    </a:cubicBezTo>
                    <a:cubicBezTo>
                      <a:pt x="471" y="1957"/>
                      <a:pt x="475" y="1960"/>
                      <a:pt x="478" y="1961"/>
                    </a:cubicBezTo>
                    <a:cubicBezTo>
                      <a:pt x="480" y="1963"/>
                      <a:pt x="480" y="1963"/>
                      <a:pt x="480" y="1963"/>
                    </a:cubicBezTo>
                    <a:cubicBezTo>
                      <a:pt x="479" y="1965"/>
                      <a:pt x="479" y="1965"/>
                      <a:pt x="479" y="1965"/>
                    </a:cubicBezTo>
                    <a:cubicBezTo>
                      <a:pt x="479" y="1966"/>
                      <a:pt x="479" y="1971"/>
                      <a:pt x="475" y="1973"/>
                    </a:cubicBezTo>
                    <a:cubicBezTo>
                      <a:pt x="475" y="1973"/>
                      <a:pt x="475" y="1973"/>
                      <a:pt x="475" y="1973"/>
                    </a:cubicBezTo>
                    <a:cubicBezTo>
                      <a:pt x="475" y="1974"/>
                      <a:pt x="475" y="1975"/>
                      <a:pt x="475" y="1976"/>
                    </a:cubicBezTo>
                    <a:cubicBezTo>
                      <a:pt x="475" y="1978"/>
                      <a:pt x="475" y="1978"/>
                      <a:pt x="475" y="1978"/>
                    </a:cubicBezTo>
                    <a:cubicBezTo>
                      <a:pt x="475" y="1978"/>
                      <a:pt x="475" y="1978"/>
                      <a:pt x="475" y="1979"/>
                    </a:cubicBezTo>
                    <a:cubicBezTo>
                      <a:pt x="475" y="1979"/>
                      <a:pt x="475" y="1979"/>
                      <a:pt x="475" y="1979"/>
                    </a:cubicBezTo>
                    <a:cubicBezTo>
                      <a:pt x="477" y="1979"/>
                      <a:pt x="479" y="1981"/>
                      <a:pt x="479" y="1983"/>
                    </a:cubicBezTo>
                    <a:cubicBezTo>
                      <a:pt x="480" y="1986"/>
                      <a:pt x="479" y="1989"/>
                      <a:pt x="477" y="1990"/>
                    </a:cubicBezTo>
                    <a:cubicBezTo>
                      <a:pt x="476" y="1991"/>
                      <a:pt x="474" y="1993"/>
                      <a:pt x="474" y="1994"/>
                    </a:cubicBezTo>
                    <a:cubicBezTo>
                      <a:pt x="475" y="1995"/>
                      <a:pt x="476" y="1996"/>
                      <a:pt x="478" y="1996"/>
                    </a:cubicBezTo>
                    <a:cubicBezTo>
                      <a:pt x="478" y="1997"/>
                      <a:pt x="479" y="1997"/>
                      <a:pt x="480" y="1997"/>
                    </a:cubicBezTo>
                    <a:cubicBezTo>
                      <a:pt x="480" y="1998"/>
                      <a:pt x="480" y="1998"/>
                      <a:pt x="481" y="1998"/>
                    </a:cubicBezTo>
                    <a:cubicBezTo>
                      <a:pt x="483" y="1999"/>
                      <a:pt x="488" y="2001"/>
                      <a:pt x="488" y="2007"/>
                    </a:cubicBezTo>
                    <a:cubicBezTo>
                      <a:pt x="488" y="2008"/>
                      <a:pt x="488" y="2009"/>
                      <a:pt x="488" y="2010"/>
                    </a:cubicBezTo>
                    <a:cubicBezTo>
                      <a:pt x="488" y="2010"/>
                      <a:pt x="488" y="2010"/>
                      <a:pt x="488" y="2011"/>
                    </a:cubicBezTo>
                    <a:cubicBezTo>
                      <a:pt x="488" y="2011"/>
                      <a:pt x="488" y="2011"/>
                      <a:pt x="489" y="2011"/>
                    </a:cubicBezTo>
                    <a:cubicBezTo>
                      <a:pt x="491" y="2013"/>
                      <a:pt x="493" y="2014"/>
                      <a:pt x="494" y="2014"/>
                    </a:cubicBezTo>
                    <a:cubicBezTo>
                      <a:pt x="499" y="2015"/>
                      <a:pt x="504" y="2018"/>
                      <a:pt x="503" y="2024"/>
                    </a:cubicBezTo>
                    <a:cubicBezTo>
                      <a:pt x="503" y="2025"/>
                      <a:pt x="504" y="2025"/>
                      <a:pt x="505" y="2027"/>
                    </a:cubicBezTo>
                    <a:cubicBezTo>
                      <a:pt x="506" y="2028"/>
                      <a:pt x="507" y="2028"/>
                      <a:pt x="508" y="2029"/>
                    </a:cubicBezTo>
                    <a:cubicBezTo>
                      <a:pt x="510" y="2032"/>
                      <a:pt x="515" y="2034"/>
                      <a:pt x="517" y="2033"/>
                    </a:cubicBezTo>
                    <a:cubicBezTo>
                      <a:pt x="519" y="2032"/>
                      <a:pt x="520" y="2031"/>
                      <a:pt x="521" y="2031"/>
                    </a:cubicBezTo>
                    <a:cubicBezTo>
                      <a:pt x="522" y="2030"/>
                      <a:pt x="523" y="2030"/>
                      <a:pt x="524" y="2029"/>
                    </a:cubicBezTo>
                    <a:cubicBezTo>
                      <a:pt x="528" y="2027"/>
                      <a:pt x="535" y="2028"/>
                      <a:pt x="538" y="2031"/>
                    </a:cubicBezTo>
                    <a:cubicBezTo>
                      <a:pt x="540" y="2032"/>
                      <a:pt x="542" y="2036"/>
                      <a:pt x="542" y="2038"/>
                    </a:cubicBezTo>
                    <a:cubicBezTo>
                      <a:pt x="542" y="2041"/>
                      <a:pt x="541" y="2043"/>
                      <a:pt x="539" y="2045"/>
                    </a:cubicBezTo>
                    <a:cubicBezTo>
                      <a:pt x="537" y="2046"/>
                      <a:pt x="536" y="2047"/>
                      <a:pt x="535" y="2049"/>
                    </a:cubicBezTo>
                    <a:cubicBezTo>
                      <a:pt x="534" y="2050"/>
                      <a:pt x="533" y="2051"/>
                      <a:pt x="531" y="2052"/>
                    </a:cubicBezTo>
                    <a:cubicBezTo>
                      <a:pt x="530" y="2053"/>
                      <a:pt x="530" y="2053"/>
                      <a:pt x="529" y="2056"/>
                    </a:cubicBezTo>
                    <a:cubicBezTo>
                      <a:pt x="529" y="2059"/>
                      <a:pt x="530" y="2060"/>
                      <a:pt x="530" y="2061"/>
                    </a:cubicBezTo>
                    <a:cubicBezTo>
                      <a:pt x="531" y="2060"/>
                      <a:pt x="531" y="2060"/>
                      <a:pt x="532" y="2060"/>
                    </a:cubicBezTo>
                    <a:cubicBezTo>
                      <a:pt x="534" y="2059"/>
                      <a:pt x="537" y="2058"/>
                      <a:pt x="539" y="2059"/>
                    </a:cubicBezTo>
                    <a:cubicBezTo>
                      <a:pt x="542" y="2061"/>
                      <a:pt x="542" y="2063"/>
                      <a:pt x="542" y="2064"/>
                    </a:cubicBezTo>
                    <a:cubicBezTo>
                      <a:pt x="542" y="2065"/>
                      <a:pt x="542" y="2066"/>
                      <a:pt x="542" y="2066"/>
                    </a:cubicBezTo>
                    <a:cubicBezTo>
                      <a:pt x="547" y="2065"/>
                      <a:pt x="558" y="2061"/>
                      <a:pt x="562" y="2071"/>
                    </a:cubicBezTo>
                    <a:cubicBezTo>
                      <a:pt x="562" y="2072"/>
                      <a:pt x="562" y="2073"/>
                      <a:pt x="563" y="2074"/>
                    </a:cubicBezTo>
                    <a:cubicBezTo>
                      <a:pt x="563" y="2074"/>
                      <a:pt x="563" y="2073"/>
                      <a:pt x="564" y="2073"/>
                    </a:cubicBezTo>
                    <a:cubicBezTo>
                      <a:pt x="564" y="2073"/>
                      <a:pt x="564" y="2073"/>
                      <a:pt x="564" y="2073"/>
                    </a:cubicBezTo>
                    <a:cubicBezTo>
                      <a:pt x="564" y="2071"/>
                      <a:pt x="566" y="2068"/>
                      <a:pt x="569" y="2067"/>
                    </a:cubicBezTo>
                    <a:cubicBezTo>
                      <a:pt x="571" y="2066"/>
                      <a:pt x="573" y="2067"/>
                      <a:pt x="575" y="2068"/>
                    </a:cubicBezTo>
                    <a:cubicBezTo>
                      <a:pt x="576" y="2069"/>
                      <a:pt x="578" y="2071"/>
                      <a:pt x="577" y="2075"/>
                    </a:cubicBezTo>
                    <a:cubicBezTo>
                      <a:pt x="575" y="2082"/>
                      <a:pt x="576" y="2084"/>
                      <a:pt x="576" y="2084"/>
                    </a:cubicBezTo>
                    <a:cubicBezTo>
                      <a:pt x="577" y="2085"/>
                      <a:pt x="577" y="2085"/>
                      <a:pt x="577" y="2085"/>
                    </a:cubicBezTo>
                    <a:cubicBezTo>
                      <a:pt x="580" y="2087"/>
                      <a:pt x="583" y="2089"/>
                      <a:pt x="583" y="2093"/>
                    </a:cubicBezTo>
                    <a:cubicBezTo>
                      <a:pt x="583" y="2094"/>
                      <a:pt x="583" y="2095"/>
                      <a:pt x="583" y="2096"/>
                    </a:cubicBezTo>
                    <a:cubicBezTo>
                      <a:pt x="583" y="2098"/>
                      <a:pt x="582" y="2102"/>
                      <a:pt x="582" y="2103"/>
                    </a:cubicBezTo>
                    <a:cubicBezTo>
                      <a:pt x="583" y="2104"/>
                      <a:pt x="583" y="2104"/>
                      <a:pt x="583" y="2105"/>
                    </a:cubicBezTo>
                    <a:cubicBezTo>
                      <a:pt x="584" y="2106"/>
                      <a:pt x="586" y="2109"/>
                      <a:pt x="583" y="2113"/>
                    </a:cubicBezTo>
                    <a:cubicBezTo>
                      <a:pt x="583" y="2113"/>
                      <a:pt x="584" y="2113"/>
                      <a:pt x="584" y="2114"/>
                    </a:cubicBezTo>
                    <a:cubicBezTo>
                      <a:pt x="585" y="2114"/>
                      <a:pt x="585" y="2115"/>
                      <a:pt x="586" y="2115"/>
                    </a:cubicBezTo>
                    <a:cubicBezTo>
                      <a:pt x="586" y="2114"/>
                      <a:pt x="586" y="2114"/>
                      <a:pt x="586" y="2114"/>
                    </a:cubicBezTo>
                    <a:cubicBezTo>
                      <a:pt x="586" y="2112"/>
                      <a:pt x="588" y="2111"/>
                      <a:pt x="589" y="2111"/>
                    </a:cubicBezTo>
                    <a:cubicBezTo>
                      <a:pt x="589" y="2110"/>
                      <a:pt x="589" y="2109"/>
                      <a:pt x="590" y="2108"/>
                    </a:cubicBezTo>
                    <a:cubicBezTo>
                      <a:pt x="590" y="2107"/>
                      <a:pt x="590" y="2106"/>
                      <a:pt x="590" y="2105"/>
                    </a:cubicBezTo>
                    <a:cubicBezTo>
                      <a:pt x="591" y="2101"/>
                      <a:pt x="595" y="2097"/>
                      <a:pt x="600" y="2094"/>
                    </a:cubicBezTo>
                    <a:cubicBezTo>
                      <a:pt x="600" y="2093"/>
                      <a:pt x="601" y="2093"/>
                      <a:pt x="601" y="2093"/>
                    </a:cubicBezTo>
                    <a:cubicBezTo>
                      <a:pt x="602" y="2092"/>
                      <a:pt x="604" y="2091"/>
                      <a:pt x="606" y="2092"/>
                    </a:cubicBezTo>
                    <a:cubicBezTo>
                      <a:pt x="609" y="2093"/>
                      <a:pt x="611" y="2096"/>
                      <a:pt x="612" y="2100"/>
                    </a:cubicBezTo>
                    <a:cubicBezTo>
                      <a:pt x="612" y="2102"/>
                      <a:pt x="612" y="2104"/>
                      <a:pt x="610" y="2105"/>
                    </a:cubicBezTo>
                    <a:cubicBezTo>
                      <a:pt x="608" y="2107"/>
                      <a:pt x="608" y="2108"/>
                      <a:pt x="607" y="2111"/>
                    </a:cubicBezTo>
                    <a:cubicBezTo>
                      <a:pt x="607" y="2112"/>
                      <a:pt x="607" y="2112"/>
                      <a:pt x="607" y="2112"/>
                    </a:cubicBezTo>
                    <a:cubicBezTo>
                      <a:pt x="607" y="2112"/>
                      <a:pt x="607" y="2112"/>
                      <a:pt x="607" y="2112"/>
                    </a:cubicBezTo>
                    <a:cubicBezTo>
                      <a:pt x="607" y="2112"/>
                      <a:pt x="607" y="2112"/>
                      <a:pt x="608" y="2113"/>
                    </a:cubicBezTo>
                    <a:cubicBezTo>
                      <a:pt x="609" y="2114"/>
                      <a:pt x="611" y="2115"/>
                      <a:pt x="612" y="2115"/>
                    </a:cubicBezTo>
                    <a:cubicBezTo>
                      <a:pt x="614" y="2117"/>
                      <a:pt x="616" y="2118"/>
                      <a:pt x="617" y="2119"/>
                    </a:cubicBezTo>
                    <a:cubicBezTo>
                      <a:pt x="618" y="2120"/>
                      <a:pt x="618" y="2120"/>
                      <a:pt x="619" y="2120"/>
                    </a:cubicBezTo>
                    <a:cubicBezTo>
                      <a:pt x="619" y="2120"/>
                      <a:pt x="619" y="2120"/>
                      <a:pt x="619" y="2120"/>
                    </a:cubicBezTo>
                    <a:cubicBezTo>
                      <a:pt x="621" y="2116"/>
                      <a:pt x="622" y="2115"/>
                      <a:pt x="622" y="2113"/>
                    </a:cubicBezTo>
                    <a:cubicBezTo>
                      <a:pt x="624" y="2111"/>
                      <a:pt x="626" y="2108"/>
                      <a:pt x="629" y="2107"/>
                    </a:cubicBezTo>
                    <a:cubicBezTo>
                      <a:pt x="632" y="2107"/>
                      <a:pt x="634" y="2107"/>
                      <a:pt x="637" y="2108"/>
                    </a:cubicBezTo>
                    <a:cubicBezTo>
                      <a:pt x="639" y="2109"/>
                      <a:pt x="642" y="2110"/>
                      <a:pt x="643" y="2110"/>
                    </a:cubicBezTo>
                    <a:cubicBezTo>
                      <a:pt x="644" y="2110"/>
                      <a:pt x="644" y="2110"/>
                      <a:pt x="644" y="2110"/>
                    </a:cubicBezTo>
                    <a:cubicBezTo>
                      <a:pt x="645" y="2111"/>
                      <a:pt x="645" y="2111"/>
                      <a:pt x="645" y="2111"/>
                    </a:cubicBezTo>
                    <a:cubicBezTo>
                      <a:pt x="646" y="2111"/>
                      <a:pt x="651" y="2115"/>
                      <a:pt x="652" y="2121"/>
                    </a:cubicBezTo>
                    <a:cubicBezTo>
                      <a:pt x="652" y="2121"/>
                      <a:pt x="653" y="2122"/>
                      <a:pt x="653" y="2122"/>
                    </a:cubicBezTo>
                    <a:cubicBezTo>
                      <a:pt x="654" y="2122"/>
                      <a:pt x="654" y="2122"/>
                      <a:pt x="655" y="2122"/>
                    </a:cubicBezTo>
                    <a:cubicBezTo>
                      <a:pt x="656" y="2123"/>
                      <a:pt x="660" y="2126"/>
                      <a:pt x="661" y="2129"/>
                    </a:cubicBezTo>
                    <a:cubicBezTo>
                      <a:pt x="662" y="2129"/>
                      <a:pt x="664" y="2129"/>
                      <a:pt x="665" y="2129"/>
                    </a:cubicBezTo>
                    <a:cubicBezTo>
                      <a:pt x="672" y="2131"/>
                      <a:pt x="672" y="2135"/>
                      <a:pt x="672" y="2137"/>
                    </a:cubicBezTo>
                    <a:cubicBezTo>
                      <a:pt x="672" y="2138"/>
                      <a:pt x="672" y="2138"/>
                      <a:pt x="672" y="2138"/>
                    </a:cubicBezTo>
                    <a:cubicBezTo>
                      <a:pt x="672" y="2139"/>
                      <a:pt x="674" y="2140"/>
                      <a:pt x="675" y="2141"/>
                    </a:cubicBezTo>
                    <a:cubicBezTo>
                      <a:pt x="675" y="2141"/>
                      <a:pt x="676" y="2142"/>
                      <a:pt x="676" y="2142"/>
                    </a:cubicBezTo>
                    <a:cubicBezTo>
                      <a:pt x="677" y="2143"/>
                      <a:pt x="679" y="2144"/>
                      <a:pt x="680" y="2144"/>
                    </a:cubicBezTo>
                    <a:cubicBezTo>
                      <a:pt x="681" y="2144"/>
                      <a:pt x="681" y="2144"/>
                      <a:pt x="682" y="2145"/>
                    </a:cubicBezTo>
                    <a:cubicBezTo>
                      <a:pt x="682" y="2145"/>
                      <a:pt x="685" y="2144"/>
                      <a:pt x="687" y="2143"/>
                    </a:cubicBezTo>
                    <a:cubicBezTo>
                      <a:pt x="688" y="2143"/>
                      <a:pt x="688" y="2143"/>
                      <a:pt x="688" y="2143"/>
                    </a:cubicBezTo>
                    <a:cubicBezTo>
                      <a:pt x="689" y="2143"/>
                      <a:pt x="689" y="2143"/>
                      <a:pt x="689" y="2143"/>
                    </a:cubicBezTo>
                    <a:cubicBezTo>
                      <a:pt x="689" y="2143"/>
                      <a:pt x="693" y="2144"/>
                      <a:pt x="695" y="2147"/>
                    </a:cubicBezTo>
                    <a:cubicBezTo>
                      <a:pt x="697" y="2145"/>
                      <a:pt x="701" y="2145"/>
                      <a:pt x="705" y="2147"/>
                    </a:cubicBezTo>
                    <a:cubicBezTo>
                      <a:pt x="707" y="2149"/>
                      <a:pt x="709" y="2150"/>
                      <a:pt x="712" y="2152"/>
                    </a:cubicBezTo>
                    <a:cubicBezTo>
                      <a:pt x="712" y="2152"/>
                      <a:pt x="712" y="2152"/>
                      <a:pt x="712" y="2152"/>
                    </a:cubicBezTo>
                    <a:cubicBezTo>
                      <a:pt x="712" y="2152"/>
                      <a:pt x="712" y="2151"/>
                      <a:pt x="712" y="2151"/>
                    </a:cubicBezTo>
                    <a:cubicBezTo>
                      <a:pt x="712" y="2151"/>
                      <a:pt x="713" y="2150"/>
                      <a:pt x="713" y="2150"/>
                    </a:cubicBezTo>
                    <a:cubicBezTo>
                      <a:pt x="715" y="2147"/>
                      <a:pt x="720" y="2141"/>
                      <a:pt x="727" y="2144"/>
                    </a:cubicBezTo>
                    <a:cubicBezTo>
                      <a:pt x="728" y="2145"/>
                      <a:pt x="729" y="2145"/>
                      <a:pt x="730" y="2146"/>
                    </a:cubicBezTo>
                    <a:cubicBezTo>
                      <a:pt x="737" y="2150"/>
                      <a:pt x="741" y="2152"/>
                      <a:pt x="742" y="2151"/>
                    </a:cubicBezTo>
                    <a:cubicBezTo>
                      <a:pt x="745" y="2150"/>
                      <a:pt x="753" y="2146"/>
                      <a:pt x="757" y="2150"/>
                    </a:cubicBezTo>
                    <a:cubicBezTo>
                      <a:pt x="758" y="2151"/>
                      <a:pt x="758" y="2151"/>
                      <a:pt x="758" y="2151"/>
                    </a:cubicBezTo>
                    <a:cubicBezTo>
                      <a:pt x="758" y="2151"/>
                      <a:pt x="759" y="2152"/>
                      <a:pt x="760" y="2152"/>
                    </a:cubicBezTo>
                    <a:cubicBezTo>
                      <a:pt x="760" y="2152"/>
                      <a:pt x="760" y="2152"/>
                      <a:pt x="761" y="2152"/>
                    </a:cubicBezTo>
                    <a:cubicBezTo>
                      <a:pt x="762" y="2151"/>
                      <a:pt x="766" y="2150"/>
                      <a:pt x="769" y="2148"/>
                    </a:cubicBezTo>
                    <a:cubicBezTo>
                      <a:pt x="771" y="2148"/>
                      <a:pt x="773" y="2147"/>
                      <a:pt x="773" y="2147"/>
                    </a:cubicBezTo>
                    <a:cubicBezTo>
                      <a:pt x="774" y="2147"/>
                      <a:pt x="774" y="2146"/>
                      <a:pt x="775" y="2146"/>
                    </a:cubicBezTo>
                    <a:cubicBezTo>
                      <a:pt x="777" y="2146"/>
                      <a:pt x="780" y="2145"/>
                      <a:pt x="781" y="2144"/>
                    </a:cubicBezTo>
                    <a:cubicBezTo>
                      <a:pt x="784" y="2141"/>
                      <a:pt x="789" y="2143"/>
                      <a:pt x="792" y="2144"/>
                    </a:cubicBezTo>
                    <a:cubicBezTo>
                      <a:pt x="793" y="2144"/>
                      <a:pt x="793" y="2144"/>
                      <a:pt x="794" y="2144"/>
                    </a:cubicBezTo>
                    <a:cubicBezTo>
                      <a:pt x="798" y="2145"/>
                      <a:pt x="801" y="2147"/>
                      <a:pt x="803" y="2149"/>
                    </a:cubicBezTo>
                    <a:cubicBezTo>
                      <a:pt x="806" y="2152"/>
                      <a:pt x="806" y="2173"/>
                      <a:pt x="806" y="2173"/>
                    </a:cubicBezTo>
                    <a:cubicBezTo>
                      <a:pt x="806" y="2179"/>
                      <a:pt x="802" y="2187"/>
                      <a:pt x="798" y="2192"/>
                    </a:cubicBezTo>
                    <a:cubicBezTo>
                      <a:pt x="794" y="2196"/>
                      <a:pt x="793" y="2199"/>
                      <a:pt x="793" y="2201"/>
                    </a:cubicBezTo>
                    <a:cubicBezTo>
                      <a:pt x="793" y="2203"/>
                      <a:pt x="796" y="2210"/>
                      <a:pt x="798" y="2213"/>
                    </a:cubicBezTo>
                    <a:cubicBezTo>
                      <a:pt x="799" y="2215"/>
                      <a:pt x="799" y="2216"/>
                      <a:pt x="800" y="2217"/>
                    </a:cubicBezTo>
                    <a:cubicBezTo>
                      <a:pt x="801" y="2218"/>
                      <a:pt x="801" y="2218"/>
                      <a:pt x="801" y="2218"/>
                    </a:cubicBezTo>
                    <a:cubicBezTo>
                      <a:pt x="802" y="2223"/>
                      <a:pt x="803" y="2223"/>
                      <a:pt x="807" y="2223"/>
                    </a:cubicBezTo>
                    <a:cubicBezTo>
                      <a:pt x="809" y="2223"/>
                      <a:pt x="812" y="2222"/>
                      <a:pt x="812" y="2221"/>
                    </a:cubicBezTo>
                    <a:cubicBezTo>
                      <a:pt x="813" y="2220"/>
                      <a:pt x="813" y="2218"/>
                      <a:pt x="813" y="2216"/>
                    </a:cubicBezTo>
                    <a:cubicBezTo>
                      <a:pt x="813" y="2215"/>
                      <a:pt x="813" y="2214"/>
                      <a:pt x="812" y="2213"/>
                    </a:cubicBezTo>
                    <a:cubicBezTo>
                      <a:pt x="812" y="2209"/>
                      <a:pt x="811" y="2206"/>
                      <a:pt x="814" y="2202"/>
                    </a:cubicBezTo>
                    <a:cubicBezTo>
                      <a:pt x="816" y="2200"/>
                      <a:pt x="817" y="2196"/>
                      <a:pt x="817" y="2193"/>
                    </a:cubicBezTo>
                    <a:cubicBezTo>
                      <a:pt x="817" y="2193"/>
                      <a:pt x="817" y="2192"/>
                      <a:pt x="818" y="2191"/>
                    </a:cubicBezTo>
                    <a:cubicBezTo>
                      <a:pt x="818" y="2188"/>
                      <a:pt x="820" y="2186"/>
                      <a:pt x="823" y="2184"/>
                    </a:cubicBezTo>
                    <a:cubicBezTo>
                      <a:pt x="825" y="2183"/>
                      <a:pt x="825" y="2183"/>
                      <a:pt x="825" y="2183"/>
                    </a:cubicBezTo>
                    <a:cubicBezTo>
                      <a:pt x="826" y="2181"/>
                      <a:pt x="829" y="2180"/>
                      <a:pt x="832" y="2178"/>
                    </a:cubicBezTo>
                    <a:cubicBezTo>
                      <a:pt x="836" y="2175"/>
                      <a:pt x="842" y="2171"/>
                      <a:pt x="844" y="2169"/>
                    </a:cubicBezTo>
                    <a:cubicBezTo>
                      <a:pt x="845" y="2167"/>
                      <a:pt x="845" y="2166"/>
                      <a:pt x="845" y="2165"/>
                    </a:cubicBezTo>
                    <a:cubicBezTo>
                      <a:pt x="846" y="2163"/>
                      <a:pt x="847" y="2161"/>
                      <a:pt x="851" y="2160"/>
                    </a:cubicBezTo>
                    <a:cubicBezTo>
                      <a:pt x="852" y="2159"/>
                      <a:pt x="854" y="2158"/>
                      <a:pt x="855" y="2158"/>
                    </a:cubicBezTo>
                    <a:cubicBezTo>
                      <a:pt x="856" y="2157"/>
                      <a:pt x="857" y="2157"/>
                      <a:pt x="858" y="2156"/>
                    </a:cubicBezTo>
                    <a:cubicBezTo>
                      <a:pt x="861" y="2153"/>
                      <a:pt x="865" y="2151"/>
                      <a:pt x="871" y="2152"/>
                    </a:cubicBezTo>
                    <a:cubicBezTo>
                      <a:pt x="872" y="2152"/>
                      <a:pt x="873" y="2153"/>
                      <a:pt x="874" y="2153"/>
                    </a:cubicBezTo>
                    <a:cubicBezTo>
                      <a:pt x="874" y="2153"/>
                      <a:pt x="874" y="2153"/>
                      <a:pt x="874" y="2153"/>
                    </a:cubicBezTo>
                    <a:cubicBezTo>
                      <a:pt x="874" y="2153"/>
                      <a:pt x="874" y="2153"/>
                      <a:pt x="874" y="2153"/>
                    </a:cubicBezTo>
                    <a:cubicBezTo>
                      <a:pt x="877" y="2148"/>
                      <a:pt x="881" y="2149"/>
                      <a:pt x="886" y="2152"/>
                    </a:cubicBezTo>
                    <a:cubicBezTo>
                      <a:pt x="890" y="2154"/>
                      <a:pt x="895" y="2157"/>
                      <a:pt x="897" y="2159"/>
                    </a:cubicBezTo>
                    <a:cubicBezTo>
                      <a:pt x="898" y="2160"/>
                      <a:pt x="899" y="2161"/>
                      <a:pt x="900" y="2161"/>
                    </a:cubicBezTo>
                    <a:cubicBezTo>
                      <a:pt x="901" y="2161"/>
                      <a:pt x="904" y="2161"/>
                      <a:pt x="906" y="2161"/>
                    </a:cubicBezTo>
                    <a:cubicBezTo>
                      <a:pt x="910" y="2160"/>
                      <a:pt x="914" y="2161"/>
                      <a:pt x="918" y="2164"/>
                    </a:cubicBezTo>
                    <a:cubicBezTo>
                      <a:pt x="919" y="2166"/>
                      <a:pt x="921" y="2167"/>
                      <a:pt x="924" y="2168"/>
                    </a:cubicBezTo>
                    <a:cubicBezTo>
                      <a:pt x="926" y="2170"/>
                      <a:pt x="929" y="2172"/>
                      <a:pt x="930" y="2173"/>
                    </a:cubicBezTo>
                    <a:cubicBezTo>
                      <a:pt x="931" y="2174"/>
                      <a:pt x="938" y="2178"/>
                      <a:pt x="939" y="2178"/>
                    </a:cubicBezTo>
                    <a:cubicBezTo>
                      <a:pt x="940" y="2178"/>
                      <a:pt x="940" y="2178"/>
                      <a:pt x="941" y="2178"/>
                    </a:cubicBezTo>
                    <a:cubicBezTo>
                      <a:pt x="948" y="2178"/>
                      <a:pt x="952" y="2179"/>
                      <a:pt x="954" y="2181"/>
                    </a:cubicBezTo>
                    <a:cubicBezTo>
                      <a:pt x="956" y="2183"/>
                      <a:pt x="963" y="2190"/>
                      <a:pt x="965" y="2192"/>
                    </a:cubicBezTo>
                    <a:cubicBezTo>
                      <a:pt x="966" y="2193"/>
                      <a:pt x="968" y="2194"/>
                      <a:pt x="970" y="2195"/>
                    </a:cubicBezTo>
                    <a:cubicBezTo>
                      <a:pt x="971" y="2196"/>
                      <a:pt x="973" y="2197"/>
                      <a:pt x="975" y="2198"/>
                    </a:cubicBezTo>
                    <a:cubicBezTo>
                      <a:pt x="975" y="2199"/>
                      <a:pt x="975" y="2199"/>
                      <a:pt x="975" y="2199"/>
                    </a:cubicBezTo>
                    <a:cubicBezTo>
                      <a:pt x="975" y="2198"/>
                      <a:pt x="975" y="2198"/>
                      <a:pt x="976" y="2198"/>
                    </a:cubicBezTo>
                    <a:cubicBezTo>
                      <a:pt x="976" y="2196"/>
                      <a:pt x="978" y="2192"/>
                      <a:pt x="983" y="2193"/>
                    </a:cubicBezTo>
                    <a:cubicBezTo>
                      <a:pt x="985" y="2194"/>
                      <a:pt x="985" y="2194"/>
                      <a:pt x="985" y="2194"/>
                    </a:cubicBezTo>
                    <a:cubicBezTo>
                      <a:pt x="986" y="2194"/>
                      <a:pt x="988" y="2194"/>
                      <a:pt x="989" y="2194"/>
                    </a:cubicBezTo>
                    <a:cubicBezTo>
                      <a:pt x="990" y="2191"/>
                      <a:pt x="993" y="2189"/>
                      <a:pt x="996" y="2189"/>
                    </a:cubicBezTo>
                    <a:cubicBezTo>
                      <a:pt x="1000" y="2189"/>
                      <a:pt x="1004" y="2191"/>
                      <a:pt x="1005" y="2195"/>
                    </a:cubicBezTo>
                    <a:cubicBezTo>
                      <a:pt x="1006" y="2196"/>
                      <a:pt x="1006" y="2197"/>
                      <a:pt x="1007" y="2198"/>
                    </a:cubicBezTo>
                    <a:cubicBezTo>
                      <a:pt x="1008" y="2201"/>
                      <a:pt x="1009" y="2203"/>
                      <a:pt x="1010" y="2204"/>
                    </a:cubicBezTo>
                    <a:cubicBezTo>
                      <a:pt x="1010" y="2204"/>
                      <a:pt x="1011" y="2204"/>
                      <a:pt x="1012" y="2205"/>
                    </a:cubicBezTo>
                    <a:cubicBezTo>
                      <a:pt x="1014" y="2205"/>
                      <a:pt x="1016" y="2206"/>
                      <a:pt x="1017" y="2209"/>
                    </a:cubicBezTo>
                    <a:cubicBezTo>
                      <a:pt x="1017" y="2210"/>
                      <a:pt x="1017" y="2212"/>
                      <a:pt x="1015" y="2214"/>
                    </a:cubicBezTo>
                    <a:cubicBezTo>
                      <a:pt x="1014" y="2215"/>
                      <a:pt x="1014" y="2216"/>
                      <a:pt x="1013" y="2216"/>
                    </a:cubicBezTo>
                    <a:cubicBezTo>
                      <a:pt x="1017" y="2219"/>
                      <a:pt x="1018" y="2225"/>
                      <a:pt x="1015" y="2230"/>
                    </a:cubicBezTo>
                    <a:cubicBezTo>
                      <a:pt x="1013" y="2233"/>
                      <a:pt x="1014" y="2239"/>
                      <a:pt x="1015" y="2243"/>
                    </a:cubicBezTo>
                    <a:cubicBezTo>
                      <a:pt x="1016" y="2245"/>
                      <a:pt x="1016" y="2245"/>
                      <a:pt x="1020" y="2246"/>
                    </a:cubicBezTo>
                    <a:cubicBezTo>
                      <a:pt x="1025" y="2246"/>
                      <a:pt x="1033" y="2248"/>
                      <a:pt x="1035" y="2249"/>
                    </a:cubicBezTo>
                    <a:cubicBezTo>
                      <a:pt x="1038" y="2250"/>
                      <a:pt x="1043" y="2254"/>
                      <a:pt x="1046" y="2259"/>
                    </a:cubicBezTo>
                    <a:cubicBezTo>
                      <a:pt x="1049" y="2264"/>
                      <a:pt x="1049" y="2271"/>
                      <a:pt x="1043" y="2276"/>
                    </a:cubicBezTo>
                    <a:cubicBezTo>
                      <a:pt x="1043" y="2277"/>
                      <a:pt x="1043" y="2277"/>
                      <a:pt x="1043" y="2277"/>
                    </a:cubicBezTo>
                    <a:cubicBezTo>
                      <a:pt x="1039" y="2280"/>
                      <a:pt x="1039" y="2280"/>
                      <a:pt x="1039" y="2286"/>
                    </a:cubicBezTo>
                    <a:cubicBezTo>
                      <a:pt x="1039" y="2290"/>
                      <a:pt x="1040" y="2293"/>
                      <a:pt x="1041" y="2296"/>
                    </a:cubicBezTo>
                    <a:cubicBezTo>
                      <a:pt x="1041" y="2299"/>
                      <a:pt x="1042" y="2302"/>
                      <a:pt x="1042" y="2304"/>
                    </a:cubicBezTo>
                    <a:cubicBezTo>
                      <a:pt x="1042" y="2304"/>
                      <a:pt x="1044" y="2306"/>
                      <a:pt x="1046" y="2306"/>
                    </a:cubicBezTo>
                    <a:cubicBezTo>
                      <a:pt x="1049" y="2306"/>
                      <a:pt x="1052" y="2306"/>
                      <a:pt x="1056" y="2306"/>
                    </a:cubicBezTo>
                    <a:cubicBezTo>
                      <a:pt x="1059" y="2306"/>
                      <a:pt x="1063" y="2306"/>
                      <a:pt x="1065" y="2306"/>
                    </a:cubicBezTo>
                    <a:cubicBezTo>
                      <a:pt x="1067" y="2306"/>
                      <a:pt x="1068" y="2305"/>
                      <a:pt x="1070" y="2305"/>
                    </a:cubicBezTo>
                    <a:cubicBezTo>
                      <a:pt x="1074" y="2304"/>
                      <a:pt x="1079" y="2303"/>
                      <a:pt x="1083" y="2305"/>
                    </a:cubicBezTo>
                    <a:cubicBezTo>
                      <a:pt x="1085" y="2307"/>
                      <a:pt x="1086" y="2308"/>
                      <a:pt x="1087" y="2309"/>
                    </a:cubicBezTo>
                    <a:cubicBezTo>
                      <a:pt x="1089" y="2310"/>
                      <a:pt x="1090" y="2312"/>
                      <a:pt x="1093" y="2312"/>
                    </a:cubicBezTo>
                    <a:cubicBezTo>
                      <a:pt x="1101" y="2313"/>
                      <a:pt x="1110" y="2317"/>
                      <a:pt x="1111" y="2318"/>
                    </a:cubicBezTo>
                    <a:cubicBezTo>
                      <a:pt x="1112" y="2319"/>
                      <a:pt x="1116" y="2320"/>
                      <a:pt x="1119" y="2319"/>
                    </a:cubicBezTo>
                    <a:cubicBezTo>
                      <a:pt x="1122" y="2318"/>
                      <a:pt x="1129" y="2318"/>
                      <a:pt x="1144" y="2319"/>
                    </a:cubicBezTo>
                    <a:cubicBezTo>
                      <a:pt x="1146" y="2319"/>
                      <a:pt x="1146" y="2319"/>
                      <a:pt x="1146" y="2319"/>
                    </a:cubicBezTo>
                    <a:cubicBezTo>
                      <a:pt x="1149" y="2319"/>
                      <a:pt x="1159" y="2319"/>
                      <a:pt x="1163" y="2319"/>
                    </a:cubicBezTo>
                    <a:cubicBezTo>
                      <a:pt x="1166" y="2318"/>
                      <a:pt x="1171" y="2316"/>
                      <a:pt x="1173" y="2313"/>
                    </a:cubicBezTo>
                    <a:cubicBezTo>
                      <a:pt x="1174" y="2311"/>
                      <a:pt x="1175" y="2310"/>
                      <a:pt x="1175" y="2309"/>
                    </a:cubicBezTo>
                    <a:cubicBezTo>
                      <a:pt x="1178" y="2303"/>
                      <a:pt x="1183" y="2295"/>
                      <a:pt x="1189" y="2290"/>
                    </a:cubicBezTo>
                    <a:cubicBezTo>
                      <a:pt x="1194" y="2286"/>
                      <a:pt x="1199" y="2281"/>
                      <a:pt x="1202" y="2278"/>
                    </a:cubicBezTo>
                    <a:cubicBezTo>
                      <a:pt x="1204" y="2276"/>
                      <a:pt x="1205" y="2276"/>
                      <a:pt x="1205" y="2275"/>
                    </a:cubicBezTo>
                    <a:cubicBezTo>
                      <a:pt x="1206" y="2275"/>
                      <a:pt x="1206" y="2275"/>
                      <a:pt x="1206" y="2275"/>
                    </a:cubicBezTo>
                    <a:cubicBezTo>
                      <a:pt x="1207" y="2273"/>
                      <a:pt x="1210" y="2269"/>
                      <a:pt x="1215" y="2269"/>
                    </a:cubicBezTo>
                    <a:cubicBezTo>
                      <a:pt x="1219" y="2269"/>
                      <a:pt x="1232" y="2269"/>
                      <a:pt x="1232" y="2269"/>
                    </a:cubicBezTo>
                    <a:cubicBezTo>
                      <a:pt x="1233" y="2269"/>
                      <a:pt x="1233" y="2269"/>
                      <a:pt x="1233" y="2269"/>
                    </a:cubicBezTo>
                    <a:cubicBezTo>
                      <a:pt x="1234" y="2269"/>
                      <a:pt x="1234" y="2269"/>
                      <a:pt x="1234" y="2269"/>
                    </a:cubicBezTo>
                    <a:cubicBezTo>
                      <a:pt x="1234" y="2269"/>
                      <a:pt x="1234" y="2269"/>
                      <a:pt x="1234" y="2269"/>
                    </a:cubicBezTo>
                    <a:cubicBezTo>
                      <a:pt x="1234" y="2269"/>
                      <a:pt x="1236" y="2270"/>
                      <a:pt x="1243" y="2269"/>
                    </a:cubicBezTo>
                    <a:cubicBezTo>
                      <a:pt x="1250" y="2268"/>
                      <a:pt x="1258" y="2264"/>
                      <a:pt x="1264" y="2261"/>
                    </a:cubicBezTo>
                    <a:cubicBezTo>
                      <a:pt x="1265" y="2261"/>
                      <a:pt x="1265" y="2261"/>
                      <a:pt x="1265" y="2261"/>
                    </a:cubicBezTo>
                    <a:cubicBezTo>
                      <a:pt x="1271" y="2258"/>
                      <a:pt x="1279" y="2256"/>
                      <a:pt x="1285" y="2255"/>
                    </a:cubicBezTo>
                    <a:cubicBezTo>
                      <a:pt x="1286" y="2254"/>
                      <a:pt x="1288" y="2254"/>
                      <a:pt x="1289" y="2254"/>
                    </a:cubicBezTo>
                    <a:cubicBezTo>
                      <a:pt x="1294" y="2252"/>
                      <a:pt x="1295" y="2252"/>
                      <a:pt x="1297" y="2249"/>
                    </a:cubicBezTo>
                    <a:cubicBezTo>
                      <a:pt x="1299" y="2246"/>
                      <a:pt x="1302" y="2241"/>
                      <a:pt x="1305" y="2238"/>
                    </a:cubicBezTo>
                    <a:cubicBezTo>
                      <a:pt x="1305" y="2237"/>
                      <a:pt x="1306" y="2236"/>
                      <a:pt x="1306" y="2236"/>
                    </a:cubicBezTo>
                    <a:cubicBezTo>
                      <a:pt x="1309" y="2232"/>
                      <a:pt x="1312" y="2230"/>
                      <a:pt x="1318" y="2230"/>
                    </a:cubicBezTo>
                    <a:cubicBezTo>
                      <a:pt x="1320" y="2230"/>
                      <a:pt x="1320" y="2230"/>
                      <a:pt x="1320" y="2230"/>
                    </a:cubicBezTo>
                    <a:cubicBezTo>
                      <a:pt x="1324" y="2229"/>
                      <a:pt x="1334" y="2228"/>
                      <a:pt x="1337" y="2226"/>
                    </a:cubicBezTo>
                    <a:cubicBezTo>
                      <a:pt x="1338" y="2226"/>
                      <a:pt x="1338" y="2226"/>
                      <a:pt x="1338" y="2226"/>
                    </a:cubicBezTo>
                    <a:cubicBezTo>
                      <a:pt x="1341" y="2224"/>
                      <a:pt x="1348" y="2221"/>
                      <a:pt x="1354" y="2229"/>
                    </a:cubicBezTo>
                    <a:cubicBezTo>
                      <a:pt x="1358" y="2234"/>
                      <a:pt x="1364" y="2235"/>
                      <a:pt x="1364" y="2235"/>
                    </a:cubicBezTo>
                    <a:cubicBezTo>
                      <a:pt x="1365" y="2235"/>
                      <a:pt x="1369" y="2235"/>
                      <a:pt x="1371" y="2234"/>
                    </a:cubicBezTo>
                    <a:cubicBezTo>
                      <a:pt x="1373" y="2234"/>
                      <a:pt x="1375" y="2234"/>
                      <a:pt x="1375" y="2234"/>
                    </a:cubicBezTo>
                    <a:cubicBezTo>
                      <a:pt x="1378" y="2234"/>
                      <a:pt x="1385" y="2237"/>
                      <a:pt x="1385" y="2242"/>
                    </a:cubicBezTo>
                    <a:cubicBezTo>
                      <a:pt x="1385" y="2243"/>
                      <a:pt x="1385" y="2244"/>
                      <a:pt x="1386" y="2244"/>
                    </a:cubicBezTo>
                    <a:cubicBezTo>
                      <a:pt x="1386" y="2244"/>
                      <a:pt x="1386" y="2244"/>
                      <a:pt x="1386" y="2244"/>
                    </a:cubicBezTo>
                    <a:cubicBezTo>
                      <a:pt x="1387" y="2243"/>
                      <a:pt x="1391" y="2240"/>
                      <a:pt x="1395" y="2243"/>
                    </a:cubicBezTo>
                    <a:cubicBezTo>
                      <a:pt x="1397" y="2245"/>
                      <a:pt x="1402" y="2248"/>
                      <a:pt x="1402" y="2254"/>
                    </a:cubicBezTo>
                    <a:cubicBezTo>
                      <a:pt x="1402" y="2254"/>
                      <a:pt x="1402" y="2254"/>
                      <a:pt x="1402" y="2254"/>
                    </a:cubicBezTo>
                    <a:cubicBezTo>
                      <a:pt x="1405" y="2255"/>
                      <a:pt x="1407" y="2257"/>
                      <a:pt x="1411" y="2260"/>
                    </a:cubicBezTo>
                    <a:cubicBezTo>
                      <a:pt x="1412" y="2261"/>
                      <a:pt x="1413" y="2263"/>
                      <a:pt x="1414" y="2263"/>
                    </a:cubicBezTo>
                    <a:cubicBezTo>
                      <a:pt x="1416" y="2264"/>
                      <a:pt x="1421" y="2266"/>
                      <a:pt x="1421" y="2271"/>
                    </a:cubicBezTo>
                    <a:cubicBezTo>
                      <a:pt x="1421" y="2272"/>
                      <a:pt x="1422" y="2272"/>
                      <a:pt x="1422" y="2272"/>
                    </a:cubicBezTo>
                    <a:cubicBezTo>
                      <a:pt x="1422" y="2272"/>
                      <a:pt x="1422" y="2272"/>
                      <a:pt x="1423" y="2272"/>
                    </a:cubicBezTo>
                    <a:cubicBezTo>
                      <a:pt x="1424" y="2272"/>
                      <a:pt x="1427" y="2272"/>
                      <a:pt x="1435" y="2278"/>
                    </a:cubicBezTo>
                    <a:cubicBezTo>
                      <a:pt x="1437" y="2280"/>
                      <a:pt x="1437" y="2280"/>
                      <a:pt x="1437" y="2280"/>
                    </a:cubicBezTo>
                    <a:cubicBezTo>
                      <a:pt x="1437" y="2281"/>
                      <a:pt x="1437" y="2281"/>
                      <a:pt x="1437" y="2281"/>
                    </a:cubicBezTo>
                    <a:cubicBezTo>
                      <a:pt x="1437" y="2283"/>
                      <a:pt x="1437" y="2285"/>
                      <a:pt x="1438" y="2286"/>
                    </a:cubicBezTo>
                    <a:cubicBezTo>
                      <a:pt x="1442" y="2285"/>
                      <a:pt x="1443" y="2284"/>
                      <a:pt x="1445" y="2283"/>
                    </a:cubicBezTo>
                    <a:cubicBezTo>
                      <a:pt x="1446" y="2282"/>
                      <a:pt x="1447" y="2282"/>
                      <a:pt x="1448" y="2281"/>
                    </a:cubicBezTo>
                    <a:cubicBezTo>
                      <a:pt x="1450" y="2280"/>
                      <a:pt x="1451" y="2279"/>
                      <a:pt x="1452" y="2278"/>
                    </a:cubicBezTo>
                    <a:cubicBezTo>
                      <a:pt x="1453" y="2277"/>
                      <a:pt x="1453" y="2277"/>
                      <a:pt x="1454" y="2276"/>
                    </a:cubicBezTo>
                    <a:cubicBezTo>
                      <a:pt x="1456" y="2275"/>
                      <a:pt x="1458" y="2275"/>
                      <a:pt x="1459" y="2275"/>
                    </a:cubicBezTo>
                    <a:cubicBezTo>
                      <a:pt x="1459" y="2274"/>
                      <a:pt x="1459" y="2272"/>
                      <a:pt x="1460" y="2270"/>
                    </a:cubicBezTo>
                    <a:cubicBezTo>
                      <a:pt x="1460" y="2268"/>
                      <a:pt x="1460" y="2266"/>
                      <a:pt x="1460" y="2265"/>
                    </a:cubicBezTo>
                    <a:cubicBezTo>
                      <a:pt x="1457" y="2261"/>
                      <a:pt x="1457" y="2258"/>
                      <a:pt x="1459" y="2254"/>
                    </a:cubicBezTo>
                    <a:cubicBezTo>
                      <a:pt x="1460" y="2251"/>
                      <a:pt x="1466" y="2243"/>
                      <a:pt x="1467" y="2242"/>
                    </a:cubicBezTo>
                    <a:cubicBezTo>
                      <a:pt x="1469" y="2240"/>
                      <a:pt x="1471" y="2241"/>
                      <a:pt x="1473" y="2241"/>
                    </a:cubicBezTo>
                    <a:cubicBezTo>
                      <a:pt x="1473" y="2241"/>
                      <a:pt x="1473" y="2241"/>
                      <a:pt x="1473" y="2241"/>
                    </a:cubicBezTo>
                    <a:cubicBezTo>
                      <a:pt x="1474" y="2239"/>
                      <a:pt x="1474" y="2238"/>
                      <a:pt x="1474" y="2236"/>
                    </a:cubicBezTo>
                    <a:cubicBezTo>
                      <a:pt x="1475" y="2235"/>
                      <a:pt x="1475" y="2233"/>
                      <a:pt x="1475" y="2232"/>
                    </a:cubicBezTo>
                    <a:cubicBezTo>
                      <a:pt x="1475" y="2232"/>
                      <a:pt x="1475" y="2232"/>
                      <a:pt x="1475" y="2231"/>
                    </a:cubicBezTo>
                    <a:cubicBezTo>
                      <a:pt x="1476" y="2228"/>
                      <a:pt x="1477" y="2225"/>
                      <a:pt x="1483" y="2224"/>
                    </a:cubicBezTo>
                    <a:cubicBezTo>
                      <a:pt x="1487" y="2223"/>
                      <a:pt x="1493" y="2225"/>
                      <a:pt x="1496" y="2228"/>
                    </a:cubicBezTo>
                    <a:cubicBezTo>
                      <a:pt x="1499" y="2230"/>
                      <a:pt x="1500" y="2232"/>
                      <a:pt x="1500" y="2233"/>
                    </a:cubicBezTo>
                    <a:cubicBezTo>
                      <a:pt x="1500" y="2235"/>
                      <a:pt x="1500" y="2235"/>
                      <a:pt x="1500" y="2235"/>
                    </a:cubicBezTo>
                    <a:cubicBezTo>
                      <a:pt x="1500" y="2236"/>
                      <a:pt x="1500" y="2239"/>
                      <a:pt x="1501" y="2240"/>
                    </a:cubicBezTo>
                    <a:cubicBezTo>
                      <a:pt x="1501" y="2241"/>
                      <a:pt x="1501" y="2241"/>
                      <a:pt x="1501" y="2241"/>
                    </a:cubicBezTo>
                    <a:cubicBezTo>
                      <a:pt x="1502" y="2241"/>
                      <a:pt x="1503" y="2242"/>
                      <a:pt x="1504" y="2243"/>
                    </a:cubicBezTo>
                    <a:cubicBezTo>
                      <a:pt x="1507" y="2241"/>
                      <a:pt x="1509" y="2241"/>
                      <a:pt x="1510" y="2241"/>
                    </a:cubicBezTo>
                    <a:cubicBezTo>
                      <a:pt x="1512" y="2242"/>
                      <a:pt x="1514" y="2244"/>
                      <a:pt x="1515" y="2247"/>
                    </a:cubicBezTo>
                    <a:cubicBezTo>
                      <a:pt x="1516" y="2251"/>
                      <a:pt x="1518" y="2254"/>
                      <a:pt x="1519" y="2257"/>
                    </a:cubicBezTo>
                    <a:cubicBezTo>
                      <a:pt x="1519" y="2257"/>
                      <a:pt x="1520" y="2257"/>
                      <a:pt x="1521" y="2257"/>
                    </a:cubicBezTo>
                    <a:cubicBezTo>
                      <a:pt x="1523" y="2257"/>
                      <a:pt x="1526" y="2258"/>
                      <a:pt x="1528" y="2260"/>
                    </a:cubicBezTo>
                    <a:cubicBezTo>
                      <a:pt x="1529" y="2262"/>
                      <a:pt x="1531" y="2265"/>
                      <a:pt x="1529" y="2269"/>
                    </a:cubicBezTo>
                    <a:cubicBezTo>
                      <a:pt x="1527" y="2277"/>
                      <a:pt x="1527" y="2279"/>
                      <a:pt x="1527" y="2280"/>
                    </a:cubicBezTo>
                    <a:cubicBezTo>
                      <a:pt x="1529" y="2283"/>
                      <a:pt x="1532" y="2287"/>
                      <a:pt x="1531" y="2291"/>
                    </a:cubicBezTo>
                    <a:cubicBezTo>
                      <a:pt x="1531" y="2295"/>
                      <a:pt x="1531" y="2302"/>
                      <a:pt x="1532" y="2304"/>
                    </a:cubicBezTo>
                    <a:cubicBezTo>
                      <a:pt x="1535" y="2307"/>
                      <a:pt x="1535" y="2309"/>
                      <a:pt x="1535" y="2314"/>
                    </a:cubicBezTo>
                    <a:cubicBezTo>
                      <a:pt x="1535" y="2315"/>
                      <a:pt x="1535" y="2316"/>
                      <a:pt x="1535" y="2317"/>
                    </a:cubicBezTo>
                    <a:cubicBezTo>
                      <a:pt x="1535" y="2318"/>
                      <a:pt x="1535" y="2318"/>
                      <a:pt x="1536" y="2320"/>
                    </a:cubicBezTo>
                    <a:cubicBezTo>
                      <a:pt x="1536" y="2320"/>
                      <a:pt x="1537" y="2320"/>
                      <a:pt x="1537" y="2320"/>
                    </a:cubicBezTo>
                    <a:cubicBezTo>
                      <a:pt x="1538" y="2319"/>
                      <a:pt x="1538" y="2318"/>
                      <a:pt x="1538" y="2318"/>
                    </a:cubicBezTo>
                    <a:cubicBezTo>
                      <a:pt x="1538" y="2315"/>
                      <a:pt x="1539" y="2311"/>
                      <a:pt x="1543" y="2309"/>
                    </a:cubicBezTo>
                    <a:cubicBezTo>
                      <a:pt x="1544" y="2309"/>
                      <a:pt x="1547" y="2308"/>
                      <a:pt x="1551" y="2311"/>
                    </a:cubicBezTo>
                    <a:cubicBezTo>
                      <a:pt x="1554" y="2313"/>
                      <a:pt x="1555" y="2315"/>
                      <a:pt x="1557" y="2316"/>
                    </a:cubicBezTo>
                    <a:cubicBezTo>
                      <a:pt x="1558" y="2316"/>
                      <a:pt x="1560" y="2316"/>
                      <a:pt x="1562" y="2317"/>
                    </a:cubicBezTo>
                    <a:cubicBezTo>
                      <a:pt x="1565" y="2319"/>
                      <a:pt x="1567" y="2323"/>
                      <a:pt x="1566" y="2327"/>
                    </a:cubicBezTo>
                    <a:cubicBezTo>
                      <a:pt x="1566" y="2327"/>
                      <a:pt x="1565" y="2328"/>
                      <a:pt x="1565" y="2329"/>
                    </a:cubicBezTo>
                    <a:cubicBezTo>
                      <a:pt x="1564" y="2331"/>
                      <a:pt x="1564" y="2333"/>
                      <a:pt x="1565" y="2336"/>
                    </a:cubicBezTo>
                    <a:cubicBezTo>
                      <a:pt x="1565" y="2338"/>
                      <a:pt x="1565" y="2338"/>
                      <a:pt x="1566" y="2339"/>
                    </a:cubicBezTo>
                    <a:cubicBezTo>
                      <a:pt x="1567" y="2342"/>
                      <a:pt x="1567" y="2344"/>
                      <a:pt x="1565" y="2349"/>
                    </a:cubicBezTo>
                    <a:cubicBezTo>
                      <a:pt x="1565" y="2351"/>
                      <a:pt x="1563" y="2353"/>
                      <a:pt x="1562" y="2355"/>
                    </a:cubicBezTo>
                    <a:cubicBezTo>
                      <a:pt x="1560" y="2359"/>
                      <a:pt x="1560" y="2359"/>
                      <a:pt x="1561" y="2360"/>
                    </a:cubicBezTo>
                    <a:cubicBezTo>
                      <a:pt x="1566" y="2365"/>
                      <a:pt x="1568" y="2368"/>
                      <a:pt x="1565" y="2374"/>
                    </a:cubicBezTo>
                    <a:cubicBezTo>
                      <a:pt x="1564" y="2375"/>
                      <a:pt x="1564" y="2375"/>
                      <a:pt x="1564" y="2375"/>
                    </a:cubicBezTo>
                    <a:cubicBezTo>
                      <a:pt x="1563" y="2377"/>
                      <a:pt x="1563" y="2378"/>
                      <a:pt x="1563" y="2380"/>
                    </a:cubicBezTo>
                    <a:cubicBezTo>
                      <a:pt x="1563" y="2384"/>
                      <a:pt x="1564" y="2404"/>
                      <a:pt x="1563" y="2409"/>
                    </a:cubicBezTo>
                    <a:cubicBezTo>
                      <a:pt x="1563" y="2412"/>
                      <a:pt x="1562" y="2414"/>
                      <a:pt x="1561" y="2415"/>
                    </a:cubicBezTo>
                    <a:cubicBezTo>
                      <a:pt x="1560" y="2415"/>
                      <a:pt x="1560" y="2415"/>
                      <a:pt x="1560" y="2416"/>
                    </a:cubicBezTo>
                    <a:cubicBezTo>
                      <a:pt x="1560" y="2422"/>
                      <a:pt x="1560" y="2427"/>
                      <a:pt x="1556" y="2431"/>
                    </a:cubicBezTo>
                    <a:cubicBezTo>
                      <a:pt x="1555" y="2431"/>
                      <a:pt x="1555" y="2432"/>
                      <a:pt x="1554" y="2433"/>
                    </a:cubicBezTo>
                    <a:cubicBezTo>
                      <a:pt x="1553" y="2433"/>
                      <a:pt x="1552" y="2435"/>
                      <a:pt x="1551" y="2436"/>
                    </a:cubicBezTo>
                    <a:cubicBezTo>
                      <a:pt x="1553" y="2439"/>
                      <a:pt x="1554" y="2442"/>
                      <a:pt x="1554" y="2443"/>
                    </a:cubicBezTo>
                    <a:cubicBezTo>
                      <a:pt x="1554" y="2444"/>
                      <a:pt x="1554" y="2444"/>
                      <a:pt x="1554" y="2444"/>
                    </a:cubicBezTo>
                    <a:cubicBezTo>
                      <a:pt x="1554" y="2444"/>
                      <a:pt x="1554" y="2444"/>
                      <a:pt x="1554" y="2444"/>
                    </a:cubicBezTo>
                    <a:cubicBezTo>
                      <a:pt x="1554" y="2445"/>
                      <a:pt x="1553" y="2450"/>
                      <a:pt x="1550" y="2452"/>
                    </a:cubicBezTo>
                    <a:cubicBezTo>
                      <a:pt x="1548" y="2453"/>
                      <a:pt x="1546" y="2453"/>
                      <a:pt x="1544" y="2453"/>
                    </a:cubicBezTo>
                    <a:cubicBezTo>
                      <a:pt x="1543" y="2452"/>
                      <a:pt x="1542" y="2452"/>
                      <a:pt x="1541" y="2452"/>
                    </a:cubicBezTo>
                    <a:cubicBezTo>
                      <a:pt x="1541" y="2451"/>
                      <a:pt x="1540" y="2451"/>
                      <a:pt x="1539" y="2451"/>
                    </a:cubicBezTo>
                    <a:cubicBezTo>
                      <a:pt x="1539" y="2451"/>
                      <a:pt x="1539" y="2451"/>
                      <a:pt x="1539" y="2451"/>
                    </a:cubicBezTo>
                    <a:cubicBezTo>
                      <a:pt x="1539" y="2452"/>
                      <a:pt x="1539" y="2452"/>
                      <a:pt x="1539" y="2452"/>
                    </a:cubicBezTo>
                    <a:cubicBezTo>
                      <a:pt x="1539" y="2453"/>
                      <a:pt x="1538" y="2455"/>
                      <a:pt x="1538" y="2455"/>
                    </a:cubicBezTo>
                    <a:cubicBezTo>
                      <a:pt x="1539" y="2456"/>
                      <a:pt x="1539" y="2456"/>
                      <a:pt x="1539" y="2456"/>
                    </a:cubicBezTo>
                    <a:cubicBezTo>
                      <a:pt x="1540" y="2457"/>
                      <a:pt x="1540" y="2457"/>
                      <a:pt x="1540" y="2457"/>
                    </a:cubicBezTo>
                    <a:cubicBezTo>
                      <a:pt x="1543" y="2460"/>
                      <a:pt x="1547" y="2465"/>
                      <a:pt x="1548" y="2470"/>
                    </a:cubicBezTo>
                    <a:cubicBezTo>
                      <a:pt x="1549" y="2473"/>
                      <a:pt x="1547" y="2476"/>
                      <a:pt x="1545" y="2478"/>
                    </a:cubicBezTo>
                    <a:cubicBezTo>
                      <a:pt x="1542" y="2480"/>
                      <a:pt x="1539" y="2480"/>
                      <a:pt x="1537" y="2479"/>
                    </a:cubicBezTo>
                    <a:cubicBezTo>
                      <a:pt x="1536" y="2478"/>
                      <a:pt x="1534" y="2478"/>
                      <a:pt x="1532" y="2481"/>
                    </a:cubicBezTo>
                    <a:cubicBezTo>
                      <a:pt x="1530" y="2482"/>
                      <a:pt x="1528" y="2485"/>
                      <a:pt x="1526" y="2488"/>
                    </a:cubicBezTo>
                    <a:cubicBezTo>
                      <a:pt x="1522" y="2495"/>
                      <a:pt x="1520" y="2499"/>
                      <a:pt x="1518" y="2500"/>
                    </a:cubicBezTo>
                    <a:cubicBezTo>
                      <a:pt x="1515" y="2502"/>
                      <a:pt x="1512" y="2503"/>
                      <a:pt x="1508" y="2501"/>
                    </a:cubicBezTo>
                    <a:cubicBezTo>
                      <a:pt x="1506" y="2500"/>
                      <a:pt x="1504" y="2498"/>
                      <a:pt x="1503" y="2496"/>
                    </a:cubicBezTo>
                    <a:cubicBezTo>
                      <a:pt x="1503" y="2495"/>
                      <a:pt x="1503" y="2495"/>
                      <a:pt x="1503" y="2495"/>
                    </a:cubicBezTo>
                    <a:cubicBezTo>
                      <a:pt x="1503" y="2494"/>
                      <a:pt x="1503" y="2494"/>
                      <a:pt x="1503" y="2494"/>
                    </a:cubicBezTo>
                    <a:cubicBezTo>
                      <a:pt x="1503" y="2494"/>
                      <a:pt x="1503" y="2494"/>
                      <a:pt x="1503" y="2494"/>
                    </a:cubicBezTo>
                    <a:cubicBezTo>
                      <a:pt x="1503" y="2494"/>
                      <a:pt x="1502" y="2494"/>
                      <a:pt x="1502" y="2494"/>
                    </a:cubicBezTo>
                    <a:cubicBezTo>
                      <a:pt x="1502" y="2498"/>
                      <a:pt x="1502" y="2499"/>
                      <a:pt x="1500" y="2501"/>
                    </a:cubicBezTo>
                    <a:cubicBezTo>
                      <a:pt x="1500" y="2501"/>
                      <a:pt x="1500" y="2501"/>
                      <a:pt x="1500" y="2501"/>
                    </a:cubicBezTo>
                    <a:cubicBezTo>
                      <a:pt x="1502" y="2505"/>
                      <a:pt x="1502" y="2510"/>
                      <a:pt x="1498" y="2513"/>
                    </a:cubicBezTo>
                    <a:cubicBezTo>
                      <a:pt x="1495" y="2515"/>
                      <a:pt x="1488" y="2522"/>
                      <a:pt x="1485" y="2524"/>
                    </a:cubicBezTo>
                    <a:cubicBezTo>
                      <a:pt x="1482" y="2528"/>
                      <a:pt x="1476" y="2525"/>
                      <a:pt x="1474" y="2524"/>
                    </a:cubicBezTo>
                    <a:cubicBezTo>
                      <a:pt x="1473" y="2524"/>
                      <a:pt x="1472" y="2523"/>
                      <a:pt x="1472" y="2523"/>
                    </a:cubicBezTo>
                    <a:cubicBezTo>
                      <a:pt x="1471" y="2523"/>
                      <a:pt x="1471" y="2524"/>
                      <a:pt x="1470" y="2525"/>
                    </a:cubicBezTo>
                    <a:cubicBezTo>
                      <a:pt x="1470" y="2526"/>
                      <a:pt x="1469" y="2528"/>
                      <a:pt x="1468" y="2529"/>
                    </a:cubicBezTo>
                    <a:cubicBezTo>
                      <a:pt x="1467" y="2532"/>
                      <a:pt x="1466" y="2535"/>
                      <a:pt x="1465" y="2537"/>
                    </a:cubicBezTo>
                    <a:cubicBezTo>
                      <a:pt x="1465" y="2538"/>
                      <a:pt x="1464" y="2539"/>
                      <a:pt x="1464" y="2541"/>
                    </a:cubicBezTo>
                    <a:cubicBezTo>
                      <a:pt x="1463" y="2543"/>
                      <a:pt x="1462" y="2544"/>
                      <a:pt x="1463" y="2546"/>
                    </a:cubicBezTo>
                    <a:cubicBezTo>
                      <a:pt x="1465" y="2550"/>
                      <a:pt x="1467" y="2556"/>
                      <a:pt x="1465" y="2559"/>
                    </a:cubicBezTo>
                    <a:cubicBezTo>
                      <a:pt x="1465" y="2561"/>
                      <a:pt x="1464" y="2562"/>
                      <a:pt x="1462" y="2562"/>
                    </a:cubicBezTo>
                    <a:cubicBezTo>
                      <a:pt x="1460" y="2563"/>
                      <a:pt x="1458" y="2562"/>
                      <a:pt x="1457" y="2561"/>
                    </a:cubicBezTo>
                    <a:cubicBezTo>
                      <a:pt x="1457" y="2561"/>
                      <a:pt x="1456" y="2561"/>
                      <a:pt x="1456" y="2561"/>
                    </a:cubicBezTo>
                    <a:cubicBezTo>
                      <a:pt x="1455" y="2561"/>
                      <a:pt x="1451" y="2563"/>
                      <a:pt x="1449" y="2564"/>
                    </a:cubicBezTo>
                    <a:cubicBezTo>
                      <a:pt x="1448" y="2566"/>
                      <a:pt x="1448" y="2568"/>
                      <a:pt x="1447" y="2571"/>
                    </a:cubicBezTo>
                    <a:cubicBezTo>
                      <a:pt x="1446" y="2575"/>
                      <a:pt x="1446" y="2575"/>
                      <a:pt x="1446" y="2575"/>
                    </a:cubicBezTo>
                    <a:cubicBezTo>
                      <a:pt x="1445" y="2581"/>
                      <a:pt x="1445" y="2581"/>
                      <a:pt x="1444" y="2585"/>
                    </a:cubicBezTo>
                    <a:cubicBezTo>
                      <a:pt x="1443" y="2586"/>
                      <a:pt x="1443" y="2587"/>
                      <a:pt x="1443" y="2588"/>
                    </a:cubicBezTo>
                    <a:cubicBezTo>
                      <a:pt x="1443" y="2589"/>
                      <a:pt x="1443" y="2589"/>
                      <a:pt x="1443" y="2589"/>
                    </a:cubicBezTo>
                    <a:cubicBezTo>
                      <a:pt x="1443" y="2589"/>
                      <a:pt x="1444" y="2589"/>
                      <a:pt x="1444" y="2589"/>
                    </a:cubicBezTo>
                    <a:cubicBezTo>
                      <a:pt x="1447" y="2588"/>
                      <a:pt x="1449" y="2589"/>
                      <a:pt x="1450" y="2589"/>
                    </a:cubicBezTo>
                    <a:cubicBezTo>
                      <a:pt x="1451" y="2589"/>
                      <a:pt x="1451" y="2589"/>
                      <a:pt x="1451" y="2589"/>
                    </a:cubicBezTo>
                    <a:cubicBezTo>
                      <a:pt x="1452" y="2590"/>
                      <a:pt x="1452" y="2590"/>
                      <a:pt x="1452" y="2590"/>
                    </a:cubicBezTo>
                    <a:cubicBezTo>
                      <a:pt x="1453" y="2591"/>
                      <a:pt x="1454" y="2593"/>
                      <a:pt x="1454" y="2598"/>
                    </a:cubicBezTo>
                    <a:cubicBezTo>
                      <a:pt x="1454" y="2601"/>
                      <a:pt x="1454" y="2604"/>
                      <a:pt x="1453" y="2606"/>
                    </a:cubicBezTo>
                    <a:cubicBezTo>
                      <a:pt x="1455" y="2606"/>
                      <a:pt x="1456" y="2608"/>
                      <a:pt x="1456" y="2610"/>
                    </a:cubicBezTo>
                    <a:cubicBezTo>
                      <a:pt x="1457" y="2612"/>
                      <a:pt x="1456" y="2615"/>
                      <a:pt x="1454" y="2617"/>
                    </a:cubicBezTo>
                    <a:cubicBezTo>
                      <a:pt x="1453" y="2618"/>
                      <a:pt x="1453" y="2619"/>
                      <a:pt x="1452" y="2620"/>
                    </a:cubicBezTo>
                    <a:cubicBezTo>
                      <a:pt x="1450" y="2622"/>
                      <a:pt x="1449" y="2624"/>
                      <a:pt x="1445" y="2627"/>
                    </a:cubicBezTo>
                    <a:cubicBezTo>
                      <a:pt x="1442" y="2629"/>
                      <a:pt x="1440" y="2632"/>
                      <a:pt x="1438" y="2634"/>
                    </a:cubicBezTo>
                    <a:cubicBezTo>
                      <a:pt x="1437" y="2635"/>
                      <a:pt x="1436" y="2636"/>
                      <a:pt x="1435" y="2637"/>
                    </a:cubicBezTo>
                    <a:cubicBezTo>
                      <a:pt x="1436" y="2637"/>
                      <a:pt x="1436" y="2637"/>
                      <a:pt x="1436" y="2638"/>
                    </a:cubicBezTo>
                    <a:cubicBezTo>
                      <a:pt x="1437" y="2639"/>
                      <a:pt x="1438" y="2640"/>
                      <a:pt x="1438" y="2641"/>
                    </a:cubicBezTo>
                    <a:cubicBezTo>
                      <a:pt x="1438" y="2641"/>
                      <a:pt x="1439" y="2642"/>
                      <a:pt x="1439" y="2643"/>
                    </a:cubicBezTo>
                    <a:cubicBezTo>
                      <a:pt x="1439" y="2643"/>
                      <a:pt x="1440" y="2643"/>
                      <a:pt x="1443" y="2641"/>
                    </a:cubicBezTo>
                    <a:cubicBezTo>
                      <a:pt x="1445" y="2639"/>
                      <a:pt x="1448" y="2637"/>
                      <a:pt x="1450" y="2636"/>
                    </a:cubicBezTo>
                    <a:cubicBezTo>
                      <a:pt x="1457" y="2631"/>
                      <a:pt x="1463" y="2627"/>
                      <a:pt x="1470" y="2627"/>
                    </a:cubicBezTo>
                    <a:cubicBezTo>
                      <a:pt x="1471" y="2627"/>
                      <a:pt x="1473" y="2627"/>
                      <a:pt x="1474" y="2627"/>
                    </a:cubicBezTo>
                    <a:cubicBezTo>
                      <a:pt x="1479" y="2627"/>
                      <a:pt x="1483" y="2627"/>
                      <a:pt x="1485" y="2626"/>
                    </a:cubicBezTo>
                    <a:cubicBezTo>
                      <a:pt x="1488" y="2624"/>
                      <a:pt x="1493" y="2624"/>
                      <a:pt x="1500" y="2624"/>
                    </a:cubicBezTo>
                    <a:cubicBezTo>
                      <a:pt x="1503" y="2624"/>
                      <a:pt x="1506" y="2624"/>
                      <a:pt x="1507" y="2624"/>
                    </a:cubicBezTo>
                    <a:cubicBezTo>
                      <a:pt x="1509" y="2624"/>
                      <a:pt x="1512" y="2624"/>
                      <a:pt x="1515" y="2625"/>
                    </a:cubicBezTo>
                    <a:cubicBezTo>
                      <a:pt x="1516" y="2625"/>
                      <a:pt x="1517" y="2625"/>
                      <a:pt x="1519" y="2625"/>
                    </a:cubicBezTo>
                    <a:cubicBezTo>
                      <a:pt x="1519" y="2624"/>
                      <a:pt x="1519" y="2624"/>
                      <a:pt x="1519" y="2624"/>
                    </a:cubicBezTo>
                    <a:cubicBezTo>
                      <a:pt x="1522" y="2625"/>
                      <a:pt x="1522" y="2625"/>
                      <a:pt x="1522" y="2625"/>
                    </a:cubicBezTo>
                    <a:cubicBezTo>
                      <a:pt x="1523" y="2631"/>
                      <a:pt x="1523" y="2631"/>
                      <a:pt x="1523" y="2631"/>
                    </a:cubicBezTo>
                    <a:cubicBezTo>
                      <a:pt x="1524" y="2632"/>
                      <a:pt x="1524" y="2632"/>
                      <a:pt x="1524" y="2632"/>
                    </a:cubicBezTo>
                    <a:cubicBezTo>
                      <a:pt x="1525" y="2631"/>
                      <a:pt x="1525" y="2630"/>
                      <a:pt x="1525" y="2629"/>
                    </a:cubicBezTo>
                    <a:cubicBezTo>
                      <a:pt x="1525" y="2629"/>
                      <a:pt x="1525" y="2629"/>
                      <a:pt x="1524" y="2628"/>
                    </a:cubicBezTo>
                    <a:cubicBezTo>
                      <a:pt x="1525" y="2629"/>
                      <a:pt x="1527" y="2629"/>
                      <a:pt x="1528" y="2628"/>
                    </a:cubicBezTo>
                    <a:cubicBezTo>
                      <a:pt x="1532" y="2625"/>
                      <a:pt x="1540" y="2627"/>
                      <a:pt x="1544" y="2629"/>
                    </a:cubicBezTo>
                    <a:cubicBezTo>
                      <a:pt x="1549" y="2631"/>
                      <a:pt x="1549" y="2631"/>
                      <a:pt x="1549" y="2631"/>
                    </a:cubicBezTo>
                    <a:cubicBezTo>
                      <a:pt x="1546" y="2635"/>
                      <a:pt x="1546" y="2635"/>
                      <a:pt x="1546" y="2635"/>
                    </a:cubicBezTo>
                    <a:cubicBezTo>
                      <a:pt x="1546" y="2635"/>
                      <a:pt x="1541" y="2640"/>
                      <a:pt x="1535" y="2644"/>
                    </a:cubicBezTo>
                    <a:cubicBezTo>
                      <a:pt x="1533" y="2644"/>
                      <a:pt x="1530" y="2646"/>
                      <a:pt x="1528" y="2647"/>
                    </a:cubicBezTo>
                    <a:cubicBezTo>
                      <a:pt x="1529" y="2647"/>
                      <a:pt x="1529" y="2647"/>
                      <a:pt x="1529" y="2648"/>
                    </a:cubicBezTo>
                    <a:cubicBezTo>
                      <a:pt x="1529" y="2649"/>
                      <a:pt x="1529" y="2650"/>
                      <a:pt x="1529" y="2653"/>
                    </a:cubicBezTo>
                    <a:cubicBezTo>
                      <a:pt x="1529" y="2655"/>
                      <a:pt x="1529" y="2655"/>
                      <a:pt x="1529" y="2655"/>
                    </a:cubicBezTo>
                    <a:cubicBezTo>
                      <a:pt x="1529" y="2655"/>
                      <a:pt x="1529" y="2655"/>
                      <a:pt x="1529" y="2655"/>
                    </a:cubicBezTo>
                    <a:cubicBezTo>
                      <a:pt x="1531" y="2655"/>
                      <a:pt x="1536" y="2655"/>
                      <a:pt x="1537" y="2663"/>
                    </a:cubicBezTo>
                    <a:cubicBezTo>
                      <a:pt x="1538" y="2667"/>
                      <a:pt x="1539" y="2668"/>
                      <a:pt x="1539" y="2670"/>
                    </a:cubicBezTo>
                    <a:cubicBezTo>
                      <a:pt x="1540" y="2670"/>
                      <a:pt x="1540" y="2671"/>
                      <a:pt x="1540" y="2672"/>
                    </a:cubicBezTo>
                    <a:cubicBezTo>
                      <a:pt x="1541" y="2674"/>
                      <a:pt x="1543" y="2680"/>
                      <a:pt x="1540" y="2684"/>
                    </a:cubicBezTo>
                    <a:cubicBezTo>
                      <a:pt x="1542" y="2686"/>
                      <a:pt x="1541" y="2688"/>
                      <a:pt x="1541" y="2690"/>
                    </a:cubicBezTo>
                    <a:cubicBezTo>
                      <a:pt x="1541" y="2691"/>
                      <a:pt x="1541" y="2692"/>
                      <a:pt x="1540" y="2693"/>
                    </a:cubicBezTo>
                    <a:cubicBezTo>
                      <a:pt x="1540" y="2695"/>
                      <a:pt x="1541" y="2698"/>
                      <a:pt x="1542" y="2701"/>
                    </a:cubicBezTo>
                    <a:cubicBezTo>
                      <a:pt x="1543" y="2704"/>
                      <a:pt x="1544" y="2706"/>
                      <a:pt x="1543" y="2708"/>
                    </a:cubicBezTo>
                    <a:cubicBezTo>
                      <a:pt x="1543" y="2709"/>
                      <a:pt x="1543" y="2710"/>
                      <a:pt x="1543" y="2711"/>
                    </a:cubicBezTo>
                    <a:cubicBezTo>
                      <a:pt x="1545" y="2711"/>
                      <a:pt x="1549" y="2711"/>
                      <a:pt x="1551" y="2716"/>
                    </a:cubicBezTo>
                    <a:cubicBezTo>
                      <a:pt x="1552" y="2717"/>
                      <a:pt x="1552" y="2718"/>
                      <a:pt x="1552" y="2718"/>
                    </a:cubicBezTo>
                    <a:cubicBezTo>
                      <a:pt x="1552" y="2718"/>
                      <a:pt x="1552" y="2718"/>
                      <a:pt x="1552" y="2718"/>
                    </a:cubicBezTo>
                    <a:cubicBezTo>
                      <a:pt x="1553" y="2718"/>
                      <a:pt x="1553" y="2718"/>
                      <a:pt x="1555" y="2718"/>
                    </a:cubicBezTo>
                    <a:cubicBezTo>
                      <a:pt x="1557" y="2718"/>
                      <a:pt x="1558" y="2718"/>
                      <a:pt x="1560" y="2718"/>
                    </a:cubicBezTo>
                    <a:cubicBezTo>
                      <a:pt x="1561" y="2718"/>
                      <a:pt x="1563" y="2718"/>
                      <a:pt x="1565" y="2719"/>
                    </a:cubicBezTo>
                    <a:cubicBezTo>
                      <a:pt x="1567" y="2720"/>
                      <a:pt x="1567" y="2720"/>
                      <a:pt x="1569" y="2720"/>
                    </a:cubicBezTo>
                    <a:cubicBezTo>
                      <a:pt x="1573" y="2718"/>
                      <a:pt x="1575" y="2718"/>
                      <a:pt x="1579" y="2722"/>
                    </a:cubicBezTo>
                    <a:cubicBezTo>
                      <a:pt x="1581" y="2723"/>
                      <a:pt x="1581" y="2724"/>
                      <a:pt x="1585" y="2723"/>
                    </a:cubicBezTo>
                    <a:cubicBezTo>
                      <a:pt x="1588" y="2723"/>
                      <a:pt x="1590" y="2724"/>
                      <a:pt x="1591" y="2725"/>
                    </a:cubicBezTo>
                    <a:cubicBezTo>
                      <a:pt x="1593" y="2728"/>
                      <a:pt x="1592" y="2732"/>
                      <a:pt x="1591" y="2735"/>
                    </a:cubicBezTo>
                    <a:cubicBezTo>
                      <a:pt x="1591" y="2737"/>
                      <a:pt x="1591" y="2738"/>
                      <a:pt x="1591" y="2739"/>
                    </a:cubicBezTo>
                    <a:cubicBezTo>
                      <a:pt x="1591" y="2740"/>
                      <a:pt x="1591" y="2740"/>
                      <a:pt x="1591" y="2741"/>
                    </a:cubicBezTo>
                    <a:cubicBezTo>
                      <a:pt x="1591" y="2742"/>
                      <a:pt x="1591" y="2744"/>
                      <a:pt x="1590" y="2746"/>
                    </a:cubicBezTo>
                    <a:cubicBezTo>
                      <a:pt x="1590" y="2750"/>
                      <a:pt x="1590" y="2750"/>
                      <a:pt x="1590" y="2750"/>
                    </a:cubicBezTo>
                    <a:cubicBezTo>
                      <a:pt x="1586" y="2750"/>
                      <a:pt x="1586" y="2750"/>
                      <a:pt x="1586" y="2750"/>
                    </a:cubicBezTo>
                    <a:cubicBezTo>
                      <a:pt x="1584" y="2750"/>
                      <a:pt x="1582" y="2749"/>
                      <a:pt x="1580" y="2748"/>
                    </a:cubicBezTo>
                    <a:cubicBezTo>
                      <a:pt x="1580" y="2748"/>
                      <a:pt x="1580" y="2748"/>
                      <a:pt x="1580" y="2747"/>
                    </a:cubicBezTo>
                    <a:cubicBezTo>
                      <a:pt x="1579" y="2748"/>
                      <a:pt x="1578" y="2750"/>
                      <a:pt x="1577" y="2750"/>
                    </a:cubicBezTo>
                    <a:cubicBezTo>
                      <a:pt x="1578" y="2752"/>
                      <a:pt x="1578" y="2753"/>
                      <a:pt x="1577" y="2756"/>
                    </a:cubicBezTo>
                    <a:cubicBezTo>
                      <a:pt x="1575" y="2760"/>
                      <a:pt x="1573" y="2761"/>
                      <a:pt x="1572" y="2761"/>
                    </a:cubicBezTo>
                    <a:cubicBezTo>
                      <a:pt x="1571" y="2762"/>
                      <a:pt x="1571" y="2763"/>
                      <a:pt x="1571" y="2764"/>
                    </a:cubicBezTo>
                    <a:cubicBezTo>
                      <a:pt x="1571" y="2764"/>
                      <a:pt x="1571" y="2764"/>
                      <a:pt x="1571" y="2765"/>
                    </a:cubicBezTo>
                    <a:cubicBezTo>
                      <a:pt x="1572" y="2767"/>
                      <a:pt x="1574" y="2771"/>
                      <a:pt x="1573" y="2776"/>
                    </a:cubicBezTo>
                    <a:cubicBezTo>
                      <a:pt x="1572" y="2782"/>
                      <a:pt x="1569" y="2784"/>
                      <a:pt x="1566" y="2786"/>
                    </a:cubicBezTo>
                    <a:cubicBezTo>
                      <a:pt x="1565" y="2787"/>
                      <a:pt x="1565" y="2787"/>
                      <a:pt x="1565" y="2787"/>
                    </a:cubicBezTo>
                    <a:cubicBezTo>
                      <a:pt x="1564" y="2788"/>
                      <a:pt x="1564" y="2788"/>
                      <a:pt x="1563" y="2790"/>
                    </a:cubicBezTo>
                    <a:cubicBezTo>
                      <a:pt x="1563" y="2792"/>
                      <a:pt x="1563" y="2793"/>
                      <a:pt x="1562" y="2795"/>
                    </a:cubicBezTo>
                    <a:cubicBezTo>
                      <a:pt x="1561" y="2799"/>
                      <a:pt x="1557" y="2803"/>
                      <a:pt x="1554" y="2806"/>
                    </a:cubicBezTo>
                    <a:cubicBezTo>
                      <a:pt x="1554" y="2806"/>
                      <a:pt x="1554" y="2807"/>
                      <a:pt x="1553" y="2807"/>
                    </a:cubicBezTo>
                    <a:cubicBezTo>
                      <a:pt x="1558" y="2809"/>
                      <a:pt x="1563" y="2810"/>
                      <a:pt x="1567" y="2810"/>
                    </a:cubicBezTo>
                    <a:cubicBezTo>
                      <a:pt x="1576" y="2808"/>
                      <a:pt x="1582" y="2810"/>
                      <a:pt x="1586" y="2812"/>
                    </a:cubicBezTo>
                    <a:cubicBezTo>
                      <a:pt x="1590" y="2813"/>
                      <a:pt x="1592" y="2814"/>
                      <a:pt x="1594" y="2816"/>
                    </a:cubicBezTo>
                    <a:cubicBezTo>
                      <a:pt x="1595" y="2816"/>
                      <a:pt x="1595" y="2817"/>
                      <a:pt x="1595" y="2817"/>
                    </a:cubicBezTo>
                    <a:cubicBezTo>
                      <a:pt x="1596" y="2817"/>
                      <a:pt x="1596" y="2817"/>
                      <a:pt x="1596" y="2817"/>
                    </a:cubicBezTo>
                    <a:cubicBezTo>
                      <a:pt x="1601" y="2814"/>
                      <a:pt x="1608" y="2815"/>
                      <a:pt x="1612" y="2819"/>
                    </a:cubicBezTo>
                    <a:cubicBezTo>
                      <a:pt x="1613" y="2819"/>
                      <a:pt x="1614" y="2820"/>
                      <a:pt x="1615" y="2821"/>
                    </a:cubicBezTo>
                    <a:cubicBezTo>
                      <a:pt x="1617" y="2823"/>
                      <a:pt x="1620" y="2825"/>
                      <a:pt x="1620" y="2827"/>
                    </a:cubicBezTo>
                    <a:cubicBezTo>
                      <a:pt x="1621" y="2830"/>
                      <a:pt x="1620" y="2835"/>
                      <a:pt x="1617" y="2841"/>
                    </a:cubicBezTo>
                    <a:cubicBezTo>
                      <a:pt x="1614" y="2845"/>
                      <a:pt x="1614" y="2847"/>
                      <a:pt x="1615" y="2848"/>
                    </a:cubicBezTo>
                    <a:cubicBezTo>
                      <a:pt x="1617" y="2849"/>
                      <a:pt x="1620" y="2851"/>
                      <a:pt x="1624" y="2852"/>
                    </a:cubicBezTo>
                    <a:cubicBezTo>
                      <a:pt x="1627" y="2853"/>
                      <a:pt x="1630" y="2853"/>
                      <a:pt x="1632" y="2856"/>
                    </a:cubicBezTo>
                    <a:cubicBezTo>
                      <a:pt x="1633" y="2858"/>
                      <a:pt x="1632" y="2861"/>
                      <a:pt x="1632" y="2862"/>
                    </a:cubicBezTo>
                    <a:cubicBezTo>
                      <a:pt x="1631" y="2864"/>
                      <a:pt x="1631" y="2865"/>
                      <a:pt x="1630" y="2866"/>
                    </a:cubicBezTo>
                    <a:cubicBezTo>
                      <a:pt x="1630" y="2866"/>
                      <a:pt x="1629" y="2867"/>
                      <a:pt x="1629" y="2868"/>
                    </a:cubicBezTo>
                    <a:cubicBezTo>
                      <a:pt x="1628" y="2869"/>
                      <a:pt x="1628" y="2869"/>
                      <a:pt x="1628" y="2869"/>
                    </a:cubicBezTo>
                    <a:cubicBezTo>
                      <a:pt x="1628" y="2869"/>
                      <a:pt x="1629" y="2869"/>
                      <a:pt x="1629" y="2870"/>
                    </a:cubicBezTo>
                    <a:cubicBezTo>
                      <a:pt x="1631" y="2871"/>
                      <a:pt x="1635" y="2872"/>
                      <a:pt x="1638" y="2870"/>
                    </a:cubicBezTo>
                    <a:cubicBezTo>
                      <a:pt x="1641" y="2869"/>
                      <a:pt x="1645" y="2867"/>
                      <a:pt x="1649" y="2868"/>
                    </a:cubicBezTo>
                    <a:cubicBezTo>
                      <a:pt x="1652" y="2869"/>
                      <a:pt x="1654" y="2871"/>
                      <a:pt x="1655" y="2874"/>
                    </a:cubicBezTo>
                    <a:cubicBezTo>
                      <a:pt x="1657" y="2878"/>
                      <a:pt x="1659" y="2878"/>
                      <a:pt x="1663" y="2878"/>
                    </a:cubicBezTo>
                    <a:cubicBezTo>
                      <a:pt x="1666" y="2878"/>
                      <a:pt x="1669" y="2876"/>
                      <a:pt x="1671" y="2873"/>
                    </a:cubicBezTo>
                    <a:cubicBezTo>
                      <a:pt x="1672" y="2872"/>
                      <a:pt x="1674" y="2871"/>
                      <a:pt x="1676" y="2869"/>
                    </a:cubicBezTo>
                    <a:cubicBezTo>
                      <a:pt x="1678" y="2867"/>
                      <a:pt x="1682" y="2864"/>
                      <a:pt x="1683" y="2863"/>
                    </a:cubicBezTo>
                    <a:cubicBezTo>
                      <a:pt x="1685" y="2859"/>
                      <a:pt x="1690" y="2859"/>
                      <a:pt x="1693" y="2859"/>
                    </a:cubicBezTo>
                    <a:cubicBezTo>
                      <a:pt x="1694" y="2859"/>
                      <a:pt x="1696" y="2859"/>
                      <a:pt x="1696" y="2859"/>
                    </a:cubicBezTo>
                    <a:cubicBezTo>
                      <a:pt x="1697" y="2859"/>
                      <a:pt x="1698" y="2858"/>
                      <a:pt x="1699" y="2857"/>
                    </a:cubicBezTo>
                    <a:cubicBezTo>
                      <a:pt x="1701" y="2857"/>
                      <a:pt x="1702" y="2856"/>
                      <a:pt x="1703" y="2855"/>
                    </a:cubicBezTo>
                    <a:cubicBezTo>
                      <a:pt x="1706" y="2852"/>
                      <a:pt x="1715" y="2856"/>
                      <a:pt x="1715" y="2856"/>
                    </a:cubicBezTo>
                    <a:cubicBezTo>
                      <a:pt x="1714" y="2863"/>
                      <a:pt x="1714" y="2863"/>
                      <a:pt x="1714" y="2863"/>
                    </a:cubicBezTo>
                    <a:cubicBezTo>
                      <a:pt x="1716" y="2863"/>
                      <a:pt x="1717" y="2861"/>
                      <a:pt x="1717" y="2861"/>
                    </a:cubicBezTo>
                    <a:cubicBezTo>
                      <a:pt x="1717" y="2862"/>
                      <a:pt x="1716" y="2863"/>
                      <a:pt x="1715" y="2865"/>
                    </a:cubicBezTo>
                    <a:cubicBezTo>
                      <a:pt x="1715" y="2865"/>
                      <a:pt x="1715" y="2865"/>
                      <a:pt x="1715" y="2866"/>
                    </a:cubicBezTo>
                    <a:cubicBezTo>
                      <a:pt x="1716" y="2866"/>
                      <a:pt x="1717" y="2867"/>
                      <a:pt x="1717" y="2869"/>
                    </a:cubicBezTo>
                    <a:cubicBezTo>
                      <a:pt x="1718" y="2870"/>
                      <a:pt x="1718" y="2873"/>
                      <a:pt x="1717" y="2875"/>
                    </a:cubicBezTo>
                    <a:cubicBezTo>
                      <a:pt x="1717" y="2875"/>
                      <a:pt x="1717" y="2875"/>
                      <a:pt x="1717" y="2875"/>
                    </a:cubicBezTo>
                    <a:cubicBezTo>
                      <a:pt x="1718" y="2876"/>
                      <a:pt x="1721" y="2879"/>
                      <a:pt x="1722" y="2883"/>
                    </a:cubicBezTo>
                    <a:cubicBezTo>
                      <a:pt x="1722" y="2885"/>
                      <a:pt x="1721" y="2887"/>
                      <a:pt x="1719" y="2889"/>
                    </a:cubicBezTo>
                    <a:cubicBezTo>
                      <a:pt x="1717" y="2892"/>
                      <a:pt x="1716" y="2893"/>
                      <a:pt x="1716" y="2894"/>
                    </a:cubicBezTo>
                    <a:cubicBezTo>
                      <a:pt x="1716" y="2894"/>
                      <a:pt x="1716" y="2894"/>
                      <a:pt x="1717" y="2895"/>
                    </a:cubicBezTo>
                    <a:cubicBezTo>
                      <a:pt x="1718" y="2896"/>
                      <a:pt x="1722" y="2898"/>
                      <a:pt x="1720" y="2904"/>
                    </a:cubicBezTo>
                    <a:cubicBezTo>
                      <a:pt x="1720" y="2904"/>
                      <a:pt x="1720" y="2904"/>
                      <a:pt x="1721" y="2905"/>
                    </a:cubicBezTo>
                    <a:cubicBezTo>
                      <a:pt x="1721" y="2906"/>
                      <a:pt x="1722" y="2906"/>
                      <a:pt x="1723" y="2906"/>
                    </a:cubicBezTo>
                    <a:cubicBezTo>
                      <a:pt x="1726" y="2905"/>
                      <a:pt x="1729" y="2904"/>
                      <a:pt x="1732" y="2904"/>
                    </a:cubicBezTo>
                    <a:cubicBezTo>
                      <a:pt x="1734" y="2904"/>
                      <a:pt x="1736" y="2903"/>
                      <a:pt x="1738" y="2903"/>
                    </a:cubicBezTo>
                    <a:cubicBezTo>
                      <a:pt x="1743" y="2902"/>
                      <a:pt x="1746" y="2903"/>
                      <a:pt x="1748" y="2904"/>
                    </a:cubicBezTo>
                    <a:cubicBezTo>
                      <a:pt x="1749" y="2906"/>
                      <a:pt x="1750" y="2907"/>
                      <a:pt x="1751" y="2909"/>
                    </a:cubicBezTo>
                    <a:cubicBezTo>
                      <a:pt x="1754" y="2908"/>
                      <a:pt x="1756" y="2909"/>
                      <a:pt x="1757" y="2912"/>
                    </a:cubicBezTo>
                    <a:cubicBezTo>
                      <a:pt x="1758" y="2912"/>
                      <a:pt x="1759" y="2912"/>
                      <a:pt x="1761" y="2911"/>
                    </a:cubicBezTo>
                    <a:cubicBezTo>
                      <a:pt x="1762" y="2910"/>
                      <a:pt x="1763" y="2910"/>
                      <a:pt x="1763" y="2910"/>
                    </a:cubicBezTo>
                    <a:cubicBezTo>
                      <a:pt x="1756" y="2906"/>
                      <a:pt x="1753" y="2901"/>
                      <a:pt x="1754" y="2895"/>
                    </a:cubicBezTo>
                    <a:cubicBezTo>
                      <a:pt x="1756" y="2888"/>
                      <a:pt x="1756" y="2888"/>
                      <a:pt x="1756" y="2885"/>
                    </a:cubicBezTo>
                    <a:cubicBezTo>
                      <a:pt x="1756" y="2882"/>
                      <a:pt x="1756" y="2879"/>
                      <a:pt x="1761" y="2877"/>
                    </a:cubicBezTo>
                    <a:cubicBezTo>
                      <a:pt x="1762" y="2876"/>
                      <a:pt x="1762" y="2876"/>
                      <a:pt x="1762" y="2875"/>
                    </a:cubicBezTo>
                    <a:cubicBezTo>
                      <a:pt x="1761" y="2874"/>
                      <a:pt x="1758" y="2871"/>
                      <a:pt x="1759" y="2865"/>
                    </a:cubicBezTo>
                    <a:cubicBezTo>
                      <a:pt x="1760" y="2860"/>
                      <a:pt x="1760" y="2857"/>
                      <a:pt x="1760" y="2856"/>
                    </a:cubicBezTo>
                    <a:cubicBezTo>
                      <a:pt x="1759" y="2855"/>
                      <a:pt x="1758" y="2853"/>
                      <a:pt x="1757" y="2852"/>
                    </a:cubicBezTo>
                    <a:cubicBezTo>
                      <a:pt x="1756" y="2850"/>
                      <a:pt x="1754" y="2848"/>
                      <a:pt x="1753" y="2847"/>
                    </a:cubicBezTo>
                    <a:cubicBezTo>
                      <a:pt x="1749" y="2844"/>
                      <a:pt x="1750" y="2840"/>
                      <a:pt x="1750" y="2838"/>
                    </a:cubicBezTo>
                    <a:cubicBezTo>
                      <a:pt x="1750" y="2837"/>
                      <a:pt x="1750" y="2837"/>
                      <a:pt x="1750" y="2837"/>
                    </a:cubicBezTo>
                    <a:cubicBezTo>
                      <a:pt x="1749" y="2836"/>
                      <a:pt x="1748" y="2835"/>
                      <a:pt x="1748" y="2832"/>
                    </a:cubicBezTo>
                    <a:cubicBezTo>
                      <a:pt x="1748" y="2831"/>
                      <a:pt x="1748" y="2831"/>
                      <a:pt x="1748" y="2831"/>
                    </a:cubicBezTo>
                    <a:cubicBezTo>
                      <a:pt x="1748" y="2829"/>
                      <a:pt x="1748" y="2827"/>
                      <a:pt x="1749" y="2825"/>
                    </a:cubicBezTo>
                    <a:cubicBezTo>
                      <a:pt x="1749" y="2824"/>
                      <a:pt x="1749" y="2824"/>
                      <a:pt x="1748" y="2822"/>
                    </a:cubicBezTo>
                    <a:cubicBezTo>
                      <a:pt x="1746" y="2821"/>
                      <a:pt x="1746" y="2819"/>
                      <a:pt x="1746" y="2818"/>
                    </a:cubicBezTo>
                    <a:cubicBezTo>
                      <a:pt x="1747" y="2815"/>
                      <a:pt x="1749" y="2814"/>
                      <a:pt x="1752" y="2811"/>
                    </a:cubicBezTo>
                    <a:cubicBezTo>
                      <a:pt x="1754" y="2810"/>
                      <a:pt x="1755" y="2807"/>
                      <a:pt x="1756" y="2803"/>
                    </a:cubicBezTo>
                    <a:cubicBezTo>
                      <a:pt x="1756" y="2798"/>
                      <a:pt x="1761" y="2794"/>
                      <a:pt x="1766" y="2793"/>
                    </a:cubicBezTo>
                    <a:cubicBezTo>
                      <a:pt x="1769" y="2792"/>
                      <a:pt x="1773" y="2794"/>
                      <a:pt x="1774" y="2798"/>
                    </a:cubicBezTo>
                    <a:cubicBezTo>
                      <a:pt x="1775" y="2800"/>
                      <a:pt x="1776" y="2802"/>
                      <a:pt x="1777" y="2802"/>
                    </a:cubicBezTo>
                    <a:cubicBezTo>
                      <a:pt x="1780" y="2800"/>
                      <a:pt x="1782" y="2799"/>
                      <a:pt x="1785" y="2799"/>
                    </a:cubicBezTo>
                    <a:cubicBezTo>
                      <a:pt x="1788" y="2799"/>
                      <a:pt x="1796" y="2801"/>
                      <a:pt x="1798" y="2801"/>
                    </a:cubicBezTo>
                    <a:cubicBezTo>
                      <a:pt x="1799" y="2801"/>
                      <a:pt x="1799" y="2801"/>
                      <a:pt x="1799" y="2801"/>
                    </a:cubicBezTo>
                    <a:cubicBezTo>
                      <a:pt x="1799" y="2802"/>
                      <a:pt x="1799" y="2802"/>
                      <a:pt x="1799" y="2802"/>
                    </a:cubicBezTo>
                    <a:cubicBezTo>
                      <a:pt x="1799" y="2802"/>
                      <a:pt x="1804" y="2805"/>
                      <a:pt x="1806" y="2803"/>
                    </a:cubicBezTo>
                    <a:cubicBezTo>
                      <a:pt x="1808" y="2800"/>
                      <a:pt x="1808" y="2800"/>
                      <a:pt x="1808" y="2800"/>
                    </a:cubicBezTo>
                    <a:cubicBezTo>
                      <a:pt x="1811" y="2796"/>
                      <a:pt x="1813" y="2794"/>
                      <a:pt x="1814" y="2791"/>
                    </a:cubicBezTo>
                    <a:cubicBezTo>
                      <a:pt x="1816" y="2787"/>
                      <a:pt x="1817" y="2786"/>
                      <a:pt x="1819" y="2783"/>
                    </a:cubicBezTo>
                    <a:cubicBezTo>
                      <a:pt x="1820" y="2781"/>
                      <a:pt x="1824" y="2779"/>
                      <a:pt x="1829" y="2776"/>
                    </a:cubicBezTo>
                    <a:cubicBezTo>
                      <a:pt x="1834" y="2773"/>
                      <a:pt x="1837" y="2778"/>
                      <a:pt x="1838" y="2780"/>
                    </a:cubicBezTo>
                    <a:cubicBezTo>
                      <a:pt x="1839" y="2780"/>
                      <a:pt x="1839" y="2781"/>
                      <a:pt x="1839" y="2781"/>
                    </a:cubicBezTo>
                    <a:cubicBezTo>
                      <a:pt x="1840" y="2781"/>
                      <a:pt x="1842" y="2782"/>
                      <a:pt x="1844" y="2782"/>
                    </a:cubicBezTo>
                    <a:cubicBezTo>
                      <a:pt x="1847" y="2782"/>
                      <a:pt x="1853" y="2784"/>
                      <a:pt x="1855" y="2788"/>
                    </a:cubicBezTo>
                    <a:cubicBezTo>
                      <a:pt x="1856" y="2790"/>
                      <a:pt x="1859" y="2791"/>
                      <a:pt x="1861" y="2792"/>
                    </a:cubicBezTo>
                    <a:cubicBezTo>
                      <a:pt x="1862" y="2792"/>
                      <a:pt x="1862" y="2792"/>
                      <a:pt x="1862" y="2792"/>
                    </a:cubicBezTo>
                    <a:cubicBezTo>
                      <a:pt x="1862" y="2793"/>
                      <a:pt x="1865" y="2796"/>
                      <a:pt x="1867" y="2802"/>
                    </a:cubicBezTo>
                    <a:cubicBezTo>
                      <a:pt x="1867" y="2805"/>
                      <a:pt x="1870" y="2807"/>
                      <a:pt x="1870" y="2807"/>
                    </a:cubicBezTo>
                    <a:cubicBezTo>
                      <a:pt x="1870" y="2807"/>
                      <a:pt x="1870" y="2807"/>
                      <a:pt x="1870" y="2807"/>
                    </a:cubicBezTo>
                    <a:cubicBezTo>
                      <a:pt x="1870" y="2807"/>
                      <a:pt x="1872" y="2807"/>
                      <a:pt x="1875" y="2805"/>
                    </a:cubicBezTo>
                    <a:cubicBezTo>
                      <a:pt x="1880" y="2802"/>
                      <a:pt x="1890" y="2788"/>
                      <a:pt x="1892" y="2784"/>
                    </a:cubicBezTo>
                    <a:cubicBezTo>
                      <a:pt x="1894" y="2781"/>
                      <a:pt x="1897" y="2778"/>
                      <a:pt x="1903" y="2778"/>
                    </a:cubicBezTo>
                    <a:cubicBezTo>
                      <a:pt x="1904" y="2778"/>
                      <a:pt x="1904" y="2778"/>
                      <a:pt x="1904" y="2778"/>
                    </a:cubicBezTo>
                    <a:cubicBezTo>
                      <a:pt x="1910" y="2778"/>
                      <a:pt x="1910" y="2783"/>
                      <a:pt x="1911" y="2788"/>
                    </a:cubicBezTo>
                    <a:cubicBezTo>
                      <a:pt x="1911" y="2791"/>
                      <a:pt x="1913" y="2794"/>
                      <a:pt x="1914" y="2795"/>
                    </a:cubicBezTo>
                    <a:cubicBezTo>
                      <a:pt x="1915" y="2791"/>
                      <a:pt x="1915" y="2786"/>
                      <a:pt x="1920" y="2782"/>
                    </a:cubicBezTo>
                    <a:cubicBezTo>
                      <a:pt x="1920" y="2781"/>
                      <a:pt x="1922" y="2780"/>
                      <a:pt x="1922" y="2779"/>
                    </a:cubicBezTo>
                    <a:cubicBezTo>
                      <a:pt x="1927" y="2776"/>
                      <a:pt x="1931" y="2781"/>
                      <a:pt x="1937" y="2789"/>
                    </a:cubicBezTo>
                    <a:cubicBezTo>
                      <a:pt x="1938" y="2790"/>
                      <a:pt x="1940" y="2792"/>
                      <a:pt x="1941" y="2793"/>
                    </a:cubicBezTo>
                    <a:cubicBezTo>
                      <a:pt x="1945" y="2796"/>
                      <a:pt x="1948" y="2799"/>
                      <a:pt x="1950" y="2801"/>
                    </a:cubicBezTo>
                    <a:cubicBezTo>
                      <a:pt x="1953" y="2794"/>
                      <a:pt x="1957" y="2784"/>
                      <a:pt x="1960" y="2781"/>
                    </a:cubicBezTo>
                    <a:cubicBezTo>
                      <a:pt x="1965" y="2778"/>
                      <a:pt x="1967" y="2778"/>
                      <a:pt x="1970" y="2778"/>
                    </a:cubicBezTo>
                    <a:cubicBezTo>
                      <a:pt x="1971" y="2778"/>
                      <a:pt x="1972" y="2778"/>
                      <a:pt x="1973" y="2778"/>
                    </a:cubicBezTo>
                    <a:cubicBezTo>
                      <a:pt x="1976" y="2778"/>
                      <a:pt x="1978" y="2778"/>
                      <a:pt x="1979" y="2779"/>
                    </a:cubicBezTo>
                    <a:cubicBezTo>
                      <a:pt x="1979" y="2779"/>
                      <a:pt x="1979" y="2779"/>
                      <a:pt x="1979" y="2779"/>
                    </a:cubicBezTo>
                    <a:cubicBezTo>
                      <a:pt x="1980" y="2779"/>
                      <a:pt x="1981" y="2780"/>
                      <a:pt x="1981" y="2780"/>
                    </a:cubicBezTo>
                    <a:cubicBezTo>
                      <a:pt x="1982" y="2782"/>
                      <a:pt x="1982" y="2784"/>
                      <a:pt x="1982" y="2785"/>
                    </a:cubicBezTo>
                    <a:cubicBezTo>
                      <a:pt x="1982" y="2786"/>
                      <a:pt x="1982" y="2786"/>
                      <a:pt x="1982" y="2786"/>
                    </a:cubicBezTo>
                    <a:cubicBezTo>
                      <a:pt x="1981" y="2788"/>
                      <a:pt x="1981" y="2790"/>
                      <a:pt x="1981" y="2791"/>
                    </a:cubicBezTo>
                    <a:cubicBezTo>
                      <a:pt x="1985" y="2790"/>
                      <a:pt x="1990" y="2789"/>
                      <a:pt x="1993" y="2786"/>
                    </a:cubicBezTo>
                    <a:cubicBezTo>
                      <a:pt x="1994" y="2785"/>
                      <a:pt x="1995" y="2784"/>
                      <a:pt x="1996" y="2783"/>
                    </a:cubicBezTo>
                    <a:cubicBezTo>
                      <a:pt x="1997" y="2781"/>
                      <a:pt x="2000" y="2777"/>
                      <a:pt x="2006" y="2779"/>
                    </a:cubicBezTo>
                    <a:cubicBezTo>
                      <a:pt x="2008" y="2780"/>
                      <a:pt x="2008" y="2780"/>
                      <a:pt x="2008" y="2780"/>
                    </a:cubicBezTo>
                    <a:cubicBezTo>
                      <a:pt x="2010" y="2780"/>
                      <a:pt x="2011" y="2781"/>
                      <a:pt x="2012" y="2780"/>
                    </a:cubicBezTo>
                    <a:cubicBezTo>
                      <a:pt x="2012" y="2780"/>
                      <a:pt x="2012" y="2780"/>
                      <a:pt x="2013" y="2779"/>
                    </a:cubicBezTo>
                    <a:cubicBezTo>
                      <a:pt x="2014" y="2778"/>
                      <a:pt x="2014" y="2778"/>
                      <a:pt x="2014" y="2778"/>
                    </a:cubicBezTo>
                    <a:cubicBezTo>
                      <a:pt x="2016" y="2775"/>
                      <a:pt x="2018" y="2774"/>
                      <a:pt x="2022" y="2773"/>
                    </a:cubicBezTo>
                    <a:cubicBezTo>
                      <a:pt x="2022" y="2773"/>
                      <a:pt x="2023" y="2773"/>
                      <a:pt x="2023" y="2772"/>
                    </a:cubicBezTo>
                    <a:cubicBezTo>
                      <a:pt x="2023" y="2772"/>
                      <a:pt x="2023" y="2772"/>
                      <a:pt x="2023" y="2772"/>
                    </a:cubicBezTo>
                    <a:cubicBezTo>
                      <a:pt x="2020" y="2769"/>
                      <a:pt x="2019" y="2766"/>
                      <a:pt x="2020" y="2763"/>
                    </a:cubicBezTo>
                    <a:cubicBezTo>
                      <a:pt x="2021" y="2760"/>
                      <a:pt x="2023" y="2757"/>
                      <a:pt x="2026" y="2756"/>
                    </a:cubicBezTo>
                    <a:cubicBezTo>
                      <a:pt x="2030" y="2754"/>
                      <a:pt x="2031" y="2754"/>
                      <a:pt x="2033" y="2753"/>
                    </a:cubicBezTo>
                    <a:cubicBezTo>
                      <a:pt x="2034" y="2753"/>
                      <a:pt x="2035" y="2752"/>
                      <a:pt x="2037" y="2751"/>
                    </a:cubicBezTo>
                    <a:cubicBezTo>
                      <a:pt x="2039" y="2751"/>
                      <a:pt x="2040" y="2750"/>
                      <a:pt x="2041" y="2749"/>
                    </a:cubicBezTo>
                    <a:cubicBezTo>
                      <a:pt x="2043" y="2747"/>
                      <a:pt x="2045" y="2746"/>
                      <a:pt x="2047" y="2745"/>
                    </a:cubicBezTo>
                    <a:cubicBezTo>
                      <a:pt x="2049" y="2744"/>
                      <a:pt x="2051" y="2744"/>
                      <a:pt x="2053" y="2744"/>
                    </a:cubicBezTo>
                    <a:cubicBezTo>
                      <a:pt x="2055" y="2744"/>
                      <a:pt x="2057" y="2744"/>
                      <a:pt x="2058" y="2743"/>
                    </a:cubicBezTo>
                    <a:cubicBezTo>
                      <a:pt x="2062" y="2738"/>
                      <a:pt x="2070" y="2734"/>
                      <a:pt x="2075" y="2738"/>
                    </a:cubicBezTo>
                    <a:cubicBezTo>
                      <a:pt x="2079" y="2741"/>
                      <a:pt x="2082" y="2745"/>
                      <a:pt x="2083" y="2749"/>
                    </a:cubicBezTo>
                    <a:cubicBezTo>
                      <a:pt x="2084" y="2751"/>
                      <a:pt x="2084" y="2751"/>
                      <a:pt x="2086" y="2753"/>
                    </a:cubicBezTo>
                    <a:cubicBezTo>
                      <a:pt x="2086" y="2753"/>
                      <a:pt x="2086" y="2753"/>
                      <a:pt x="2086" y="2754"/>
                    </a:cubicBezTo>
                    <a:cubicBezTo>
                      <a:pt x="2089" y="2755"/>
                      <a:pt x="2091" y="2758"/>
                      <a:pt x="2090" y="2763"/>
                    </a:cubicBezTo>
                    <a:cubicBezTo>
                      <a:pt x="2090" y="2763"/>
                      <a:pt x="2090" y="2764"/>
                      <a:pt x="2090" y="2764"/>
                    </a:cubicBezTo>
                    <a:cubicBezTo>
                      <a:pt x="2090" y="2764"/>
                      <a:pt x="2091" y="2764"/>
                      <a:pt x="2091" y="2764"/>
                    </a:cubicBezTo>
                    <a:cubicBezTo>
                      <a:pt x="2098" y="2765"/>
                      <a:pt x="2107" y="2770"/>
                      <a:pt x="2111" y="2774"/>
                    </a:cubicBezTo>
                    <a:cubicBezTo>
                      <a:pt x="2115" y="2777"/>
                      <a:pt x="2115" y="2777"/>
                      <a:pt x="2116" y="2776"/>
                    </a:cubicBezTo>
                    <a:cubicBezTo>
                      <a:pt x="2117" y="2775"/>
                      <a:pt x="2117" y="2775"/>
                      <a:pt x="2117" y="2775"/>
                    </a:cubicBezTo>
                    <a:cubicBezTo>
                      <a:pt x="2121" y="2773"/>
                      <a:pt x="2124" y="2771"/>
                      <a:pt x="2130" y="2772"/>
                    </a:cubicBezTo>
                    <a:cubicBezTo>
                      <a:pt x="2140" y="2773"/>
                      <a:pt x="2142" y="2779"/>
                      <a:pt x="2143" y="2782"/>
                    </a:cubicBezTo>
                    <a:cubicBezTo>
                      <a:pt x="2143" y="2783"/>
                      <a:pt x="2143" y="2784"/>
                      <a:pt x="2147" y="2784"/>
                    </a:cubicBezTo>
                    <a:cubicBezTo>
                      <a:pt x="2150" y="2784"/>
                      <a:pt x="2150" y="2784"/>
                      <a:pt x="2153" y="2782"/>
                    </a:cubicBezTo>
                    <a:cubicBezTo>
                      <a:pt x="2154" y="2781"/>
                      <a:pt x="2154" y="2780"/>
                      <a:pt x="2155" y="2780"/>
                    </a:cubicBezTo>
                    <a:cubicBezTo>
                      <a:pt x="2158" y="2777"/>
                      <a:pt x="2161" y="2776"/>
                      <a:pt x="2166" y="2779"/>
                    </a:cubicBezTo>
                    <a:cubicBezTo>
                      <a:pt x="2167" y="2779"/>
                      <a:pt x="2169" y="2780"/>
                      <a:pt x="2170" y="2781"/>
                    </a:cubicBezTo>
                    <a:cubicBezTo>
                      <a:pt x="2189" y="2790"/>
                      <a:pt x="2190" y="2790"/>
                      <a:pt x="2190" y="2793"/>
                    </a:cubicBezTo>
                    <a:cubicBezTo>
                      <a:pt x="2190" y="2796"/>
                      <a:pt x="2186" y="2803"/>
                      <a:pt x="2183" y="2807"/>
                    </a:cubicBezTo>
                    <a:cubicBezTo>
                      <a:pt x="2182" y="2809"/>
                      <a:pt x="2182" y="2809"/>
                      <a:pt x="2182" y="2809"/>
                    </a:cubicBezTo>
                    <a:cubicBezTo>
                      <a:pt x="2179" y="2814"/>
                      <a:pt x="2176" y="2817"/>
                      <a:pt x="2172" y="2818"/>
                    </a:cubicBezTo>
                    <a:cubicBezTo>
                      <a:pt x="2172" y="2818"/>
                      <a:pt x="2172" y="2818"/>
                      <a:pt x="2171" y="2818"/>
                    </a:cubicBezTo>
                    <a:cubicBezTo>
                      <a:pt x="2171" y="2818"/>
                      <a:pt x="2171" y="2818"/>
                      <a:pt x="2171" y="2818"/>
                    </a:cubicBezTo>
                    <a:cubicBezTo>
                      <a:pt x="2171" y="2818"/>
                      <a:pt x="2170" y="2818"/>
                      <a:pt x="2169" y="2820"/>
                    </a:cubicBezTo>
                    <a:cubicBezTo>
                      <a:pt x="2166" y="2824"/>
                      <a:pt x="2166" y="2828"/>
                      <a:pt x="2167" y="2829"/>
                    </a:cubicBezTo>
                    <a:cubicBezTo>
                      <a:pt x="2170" y="2832"/>
                      <a:pt x="2175" y="2837"/>
                      <a:pt x="2175" y="2845"/>
                    </a:cubicBezTo>
                    <a:cubicBezTo>
                      <a:pt x="2175" y="2851"/>
                      <a:pt x="2175" y="2856"/>
                      <a:pt x="2174" y="2862"/>
                    </a:cubicBezTo>
                    <a:cubicBezTo>
                      <a:pt x="2174" y="2863"/>
                      <a:pt x="2174" y="2864"/>
                      <a:pt x="2174" y="2864"/>
                    </a:cubicBezTo>
                    <a:cubicBezTo>
                      <a:pt x="2177" y="2861"/>
                      <a:pt x="2182" y="2860"/>
                      <a:pt x="2187" y="2864"/>
                    </a:cubicBezTo>
                    <a:cubicBezTo>
                      <a:pt x="2189" y="2865"/>
                      <a:pt x="2190" y="2865"/>
                      <a:pt x="2192" y="2865"/>
                    </a:cubicBezTo>
                    <a:cubicBezTo>
                      <a:pt x="2193" y="2866"/>
                      <a:pt x="2194" y="2866"/>
                      <a:pt x="2195" y="2866"/>
                    </a:cubicBezTo>
                    <a:cubicBezTo>
                      <a:pt x="2196" y="2866"/>
                      <a:pt x="2197" y="2866"/>
                      <a:pt x="2197" y="2866"/>
                    </a:cubicBezTo>
                    <a:cubicBezTo>
                      <a:pt x="2197" y="2866"/>
                      <a:pt x="2197" y="2866"/>
                      <a:pt x="2197" y="2866"/>
                    </a:cubicBezTo>
                    <a:cubicBezTo>
                      <a:pt x="2199" y="2866"/>
                      <a:pt x="2201" y="2865"/>
                      <a:pt x="2203" y="2866"/>
                    </a:cubicBezTo>
                    <a:cubicBezTo>
                      <a:pt x="2205" y="2868"/>
                      <a:pt x="2205" y="2871"/>
                      <a:pt x="2205" y="2872"/>
                    </a:cubicBezTo>
                    <a:cubicBezTo>
                      <a:pt x="2205" y="2873"/>
                      <a:pt x="2205" y="2874"/>
                      <a:pt x="2205" y="2875"/>
                    </a:cubicBezTo>
                    <a:cubicBezTo>
                      <a:pt x="2205" y="2875"/>
                      <a:pt x="2205" y="2876"/>
                      <a:pt x="2205" y="2877"/>
                    </a:cubicBezTo>
                    <a:cubicBezTo>
                      <a:pt x="2209" y="2879"/>
                      <a:pt x="2213" y="2881"/>
                      <a:pt x="2215" y="2884"/>
                    </a:cubicBezTo>
                    <a:cubicBezTo>
                      <a:pt x="2216" y="2885"/>
                      <a:pt x="2217" y="2887"/>
                      <a:pt x="2218" y="2888"/>
                    </a:cubicBezTo>
                    <a:cubicBezTo>
                      <a:pt x="2223" y="2885"/>
                      <a:pt x="2227" y="2886"/>
                      <a:pt x="2230" y="2890"/>
                    </a:cubicBezTo>
                    <a:cubicBezTo>
                      <a:pt x="2230" y="2890"/>
                      <a:pt x="2230" y="2890"/>
                      <a:pt x="2230" y="2890"/>
                    </a:cubicBezTo>
                    <a:cubicBezTo>
                      <a:pt x="2231" y="2892"/>
                      <a:pt x="2232" y="2893"/>
                      <a:pt x="2232" y="2895"/>
                    </a:cubicBezTo>
                    <a:cubicBezTo>
                      <a:pt x="2235" y="2894"/>
                      <a:pt x="2238" y="2894"/>
                      <a:pt x="2241" y="2896"/>
                    </a:cubicBezTo>
                    <a:cubicBezTo>
                      <a:pt x="2242" y="2897"/>
                      <a:pt x="2244" y="2898"/>
                      <a:pt x="2244" y="2900"/>
                    </a:cubicBezTo>
                    <a:cubicBezTo>
                      <a:pt x="2245" y="2900"/>
                      <a:pt x="2246" y="2900"/>
                      <a:pt x="2247" y="2900"/>
                    </a:cubicBezTo>
                    <a:cubicBezTo>
                      <a:pt x="2248" y="2900"/>
                      <a:pt x="2249" y="2899"/>
                      <a:pt x="2252" y="2899"/>
                    </a:cubicBezTo>
                    <a:cubicBezTo>
                      <a:pt x="2256" y="2898"/>
                      <a:pt x="2261" y="2897"/>
                      <a:pt x="2264" y="2896"/>
                    </a:cubicBezTo>
                    <a:cubicBezTo>
                      <a:pt x="2266" y="2896"/>
                      <a:pt x="2266" y="2896"/>
                      <a:pt x="2267" y="2896"/>
                    </a:cubicBezTo>
                    <a:cubicBezTo>
                      <a:pt x="2267" y="2904"/>
                      <a:pt x="2267" y="2904"/>
                      <a:pt x="2267" y="2904"/>
                    </a:cubicBezTo>
                    <a:cubicBezTo>
                      <a:pt x="2267" y="2904"/>
                      <a:pt x="2266" y="2904"/>
                      <a:pt x="2266" y="2904"/>
                    </a:cubicBezTo>
                    <a:cubicBezTo>
                      <a:pt x="2263" y="2904"/>
                      <a:pt x="2257" y="2905"/>
                      <a:pt x="2253" y="2906"/>
                    </a:cubicBezTo>
                    <a:cubicBezTo>
                      <a:pt x="2251" y="2907"/>
                      <a:pt x="2249" y="2907"/>
                      <a:pt x="2248" y="2908"/>
                    </a:cubicBezTo>
                    <a:cubicBezTo>
                      <a:pt x="2242" y="2909"/>
                      <a:pt x="2240" y="2908"/>
                      <a:pt x="2239" y="2907"/>
                    </a:cubicBezTo>
                    <a:cubicBezTo>
                      <a:pt x="2238" y="2906"/>
                      <a:pt x="2237" y="2904"/>
                      <a:pt x="2237" y="2903"/>
                    </a:cubicBezTo>
                    <a:cubicBezTo>
                      <a:pt x="2237" y="2903"/>
                      <a:pt x="2237" y="2903"/>
                      <a:pt x="2237" y="2902"/>
                    </a:cubicBezTo>
                    <a:cubicBezTo>
                      <a:pt x="2235" y="2901"/>
                      <a:pt x="2234" y="2902"/>
                      <a:pt x="2234" y="2902"/>
                    </a:cubicBezTo>
                    <a:cubicBezTo>
                      <a:pt x="2231" y="2905"/>
                      <a:pt x="2228" y="2905"/>
                      <a:pt x="2227" y="2904"/>
                    </a:cubicBezTo>
                    <a:cubicBezTo>
                      <a:pt x="2225" y="2903"/>
                      <a:pt x="2223" y="2901"/>
                      <a:pt x="2224" y="2897"/>
                    </a:cubicBezTo>
                    <a:cubicBezTo>
                      <a:pt x="2224" y="2896"/>
                      <a:pt x="2224" y="2895"/>
                      <a:pt x="2224" y="2895"/>
                    </a:cubicBezTo>
                    <a:cubicBezTo>
                      <a:pt x="2224" y="2895"/>
                      <a:pt x="2224" y="2895"/>
                      <a:pt x="2224" y="2895"/>
                    </a:cubicBezTo>
                    <a:cubicBezTo>
                      <a:pt x="2223" y="2894"/>
                      <a:pt x="2223" y="2894"/>
                      <a:pt x="2223" y="2894"/>
                    </a:cubicBezTo>
                    <a:cubicBezTo>
                      <a:pt x="2223" y="2894"/>
                      <a:pt x="2223" y="2894"/>
                      <a:pt x="2222" y="2895"/>
                    </a:cubicBezTo>
                    <a:cubicBezTo>
                      <a:pt x="2216" y="2898"/>
                      <a:pt x="2211" y="2892"/>
                      <a:pt x="2209" y="2889"/>
                    </a:cubicBezTo>
                    <a:cubicBezTo>
                      <a:pt x="2207" y="2887"/>
                      <a:pt x="2203" y="2885"/>
                      <a:pt x="2201" y="2884"/>
                    </a:cubicBezTo>
                    <a:cubicBezTo>
                      <a:pt x="2200" y="2884"/>
                      <a:pt x="2200" y="2884"/>
                      <a:pt x="2200" y="2884"/>
                    </a:cubicBezTo>
                    <a:cubicBezTo>
                      <a:pt x="2196" y="2882"/>
                      <a:pt x="2197" y="2877"/>
                      <a:pt x="2197" y="2874"/>
                    </a:cubicBezTo>
                    <a:cubicBezTo>
                      <a:pt x="2196" y="2874"/>
                      <a:pt x="2195" y="2874"/>
                      <a:pt x="2194" y="2874"/>
                    </a:cubicBezTo>
                    <a:cubicBezTo>
                      <a:pt x="2193" y="2873"/>
                      <a:pt x="2192" y="2873"/>
                      <a:pt x="2191" y="2873"/>
                    </a:cubicBezTo>
                    <a:cubicBezTo>
                      <a:pt x="2188" y="2873"/>
                      <a:pt x="2185" y="2872"/>
                      <a:pt x="2182" y="2870"/>
                    </a:cubicBezTo>
                    <a:cubicBezTo>
                      <a:pt x="2181" y="2869"/>
                      <a:pt x="2181" y="2869"/>
                      <a:pt x="2180" y="2869"/>
                    </a:cubicBezTo>
                    <a:cubicBezTo>
                      <a:pt x="2179" y="2871"/>
                      <a:pt x="2177" y="2874"/>
                      <a:pt x="2174" y="2874"/>
                    </a:cubicBezTo>
                    <a:cubicBezTo>
                      <a:pt x="2172" y="2874"/>
                      <a:pt x="2171" y="2873"/>
                      <a:pt x="2169" y="2872"/>
                    </a:cubicBezTo>
                    <a:cubicBezTo>
                      <a:pt x="2167" y="2869"/>
                      <a:pt x="2166" y="2867"/>
                      <a:pt x="2167" y="2860"/>
                    </a:cubicBezTo>
                    <a:cubicBezTo>
                      <a:pt x="2168" y="2855"/>
                      <a:pt x="2168" y="2851"/>
                      <a:pt x="2167" y="2845"/>
                    </a:cubicBezTo>
                    <a:cubicBezTo>
                      <a:pt x="2167" y="2840"/>
                      <a:pt x="2164" y="2837"/>
                      <a:pt x="2162" y="2835"/>
                    </a:cubicBezTo>
                    <a:cubicBezTo>
                      <a:pt x="2157" y="2830"/>
                      <a:pt x="2159" y="2822"/>
                      <a:pt x="2162" y="2816"/>
                    </a:cubicBezTo>
                    <a:cubicBezTo>
                      <a:pt x="2165" y="2811"/>
                      <a:pt x="2167" y="2810"/>
                      <a:pt x="2171" y="2810"/>
                    </a:cubicBezTo>
                    <a:cubicBezTo>
                      <a:pt x="2171" y="2810"/>
                      <a:pt x="2171" y="2810"/>
                      <a:pt x="2171" y="2810"/>
                    </a:cubicBezTo>
                    <a:cubicBezTo>
                      <a:pt x="2172" y="2810"/>
                      <a:pt x="2174" y="2807"/>
                      <a:pt x="2175" y="2805"/>
                    </a:cubicBezTo>
                    <a:cubicBezTo>
                      <a:pt x="2177" y="2803"/>
                      <a:pt x="2177" y="2803"/>
                      <a:pt x="2177" y="2803"/>
                    </a:cubicBezTo>
                    <a:cubicBezTo>
                      <a:pt x="2179" y="2800"/>
                      <a:pt x="2180" y="2797"/>
                      <a:pt x="2181" y="2795"/>
                    </a:cubicBezTo>
                    <a:cubicBezTo>
                      <a:pt x="2178" y="2793"/>
                      <a:pt x="2171" y="2790"/>
                      <a:pt x="2167" y="2788"/>
                    </a:cubicBezTo>
                    <a:cubicBezTo>
                      <a:pt x="2165" y="2787"/>
                      <a:pt x="2163" y="2786"/>
                      <a:pt x="2162" y="2785"/>
                    </a:cubicBezTo>
                    <a:cubicBezTo>
                      <a:pt x="2162" y="2785"/>
                      <a:pt x="2161" y="2785"/>
                      <a:pt x="2161" y="2785"/>
                    </a:cubicBezTo>
                    <a:cubicBezTo>
                      <a:pt x="2161" y="2785"/>
                      <a:pt x="2161" y="2785"/>
                      <a:pt x="2160" y="2785"/>
                    </a:cubicBezTo>
                    <a:cubicBezTo>
                      <a:pt x="2160" y="2786"/>
                      <a:pt x="2159" y="2787"/>
                      <a:pt x="2158" y="2787"/>
                    </a:cubicBezTo>
                    <a:cubicBezTo>
                      <a:pt x="2154" y="2791"/>
                      <a:pt x="2153" y="2792"/>
                      <a:pt x="2146" y="2792"/>
                    </a:cubicBezTo>
                    <a:cubicBezTo>
                      <a:pt x="2143" y="2792"/>
                      <a:pt x="2137" y="2791"/>
                      <a:pt x="2135" y="2784"/>
                    </a:cubicBezTo>
                    <a:cubicBezTo>
                      <a:pt x="2135" y="2781"/>
                      <a:pt x="2132" y="2780"/>
                      <a:pt x="2129" y="2780"/>
                    </a:cubicBezTo>
                    <a:cubicBezTo>
                      <a:pt x="2125" y="2779"/>
                      <a:pt x="2124" y="2780"/>
                      <a:pt x="2121" y="2782"/>
                    </a:cubicBezTo>
                    <a:cubicBezTo>
                      <a:pt x="2120" y="2783"/>
                      <a:pt x="2120" y="2783"/>
                      <a:pt x="2120" y="2783"/>
                    </a:cubicBezTo>
                    <a:cubicBezTo>
                      <a:pt x="2113" y="2787"/>
                      <a:pt x="2109" y="2782"/>
                      <a:pt x="2106" y="2779"/>
                    </a:cubicBezTo>
                    <a:cubicBezTo>
                      <a:pt x="2103" y="2776"/>
                      <a:pt x="2095" y="2772"/>
                      <a:pt x="2090" y="2772"/>
                    </a:cubicBezTo>
                    <a:cubicBezTo>
                      <a:pt x="2087" y="2772"/>
                      <a:pt x="2085" y="2772"/>
                      <a:pt x="2083" y="2770"/>
                    </a:cubicBezTo>
                    <a:cubicBezTo>
                      <a:pt x="2082" y="2768"/>
                      <a:pt x="2082" y="2766"/>
                      <a:pt x="2082" y="2765"/>
                    </a:cubicBezTo>
                    <a:cubicBezTo>
                      <a:pt x="2082" y="2764"/>
                      <a:pt x="2082" y="2763"/>
                      <a:pt x="2082" y="2762"/>
                    </a:cubicBezTo>
                    <a:cubicBezTo>
                      <a:pt x="2083" y="2761"/>
                      <a:pt x="2082" y="2760"/>
                      <a:pt x="2082" y="2760"/>
                    </a:cubicBezTo>
                    <a:cubicBezTo>
                      <a:pt x="2081" y="2759"/>
                      <a:pt x="2081" y="2759"/>
                      <a:pt x="2080" y="2758"/>
                    </a:cubicBezTo>
                    <a:cubicBezTo>
                      <a:pt x="2078" y="2756"/>
                      <a:pt x="2077" y="2755"/>
                      <a:pt x="2076" y="2751"/>
                    </a:cubicBezTo>
                    <a:cubicBezTo>
                      <a:pt x="2075" y="2749"/>
                      <a:pt x="2074" y="2747"/>
                      <a:pt x="2071" y="2744"/>
                    </a:cubicBezTo>
                    <a:cubicBezTo>
                      <a:pt x="2070" y="2744"/>
                      <a:pt x="2066" y="2745"/>
                      <a:pt x="2063" y="2748"/>
                    </a:cubicBezTo>
                    <a:cubicBezTo>
                      <a:pt x="2060" y="2752"/>
                      <a:pt x="2056" y="2752"/>
                      <a:pt x="2053" y="2752"/>
                    </a:cubicBezTo>
                    <a:cubicBezTo>
                      <a:pt x="2051" y="2752"/>
                      <a:pt x="2050" y="2752"/>
                      <a:pt x="2050" y="2752"/>
                    </a:cubicBezTo>
                    <a:cubicBezTo>
                      <a:pt x="2048" y="2753"/>
                      <a:pt x="2048" y="2753"/>
                      <a:pt x="2046" y="2754"/>
                    </a:cubicBezTo>
                    <a:cubicBezTo>
                      <a:pt x="2045" y="2756"/>
                      <a:pt x="2043" y="2757"/>
                      <a:pt x="2041" y="2758"/>
                    </a:cubicBezTo>
                    <a:cubicBezTo>
                      <a:pt x="2038" y="2760"/>
                      <a:pt x="2037" y="2760"/>
                      <a:pt x="2035" y="2761"/>
                    </a:cubicBezTo>
                    <a:cubicBezTo>
                      <a:pt x="2034" y="2761"/>
                      <a:pt x="2033" y="2761"/>
                      <a:pt x="2030" y="2763"/>
                    </a:cubicBezTo>
                    <a:cubicBezTo>
                      <a:pt x="2029" y="2763"/>
                      <a:pt x="2028" y="2764"/>
                      <a:pt x="2028" y="2764"/>
                    </a:cubicBezTo>
                    <a:cubicBezTo>
                      <a:pt x="2028" y="2765"/>
                      <a:pt x="2028" y="2766"/>
                      <a:pt x="2029" y="2768"/>
                    </a:cubicBezTo>
                    <a:cubicBezTo>
                      <a:pt x="2031" y="2771"/>
                      <a:pt x="2031" y="2773"/>
                      <a:pt x="2031" y="2775"/>
                    </a:cubicBezTo>
                    <a:cubicBezTo>
                      <a:pt x="2030" y="2777"/>
                      <a:pt x="2028" y="2779"/>
                      <a:pt x="2024" y="2780"/>
                    </a:cubicBezTo>
                    <a:cubicBezTo>
                      <a:pt x="2022" y="2781"/>
                      <a:pt x="2022" y="2781"/>
                      <a:pt x="2020" y="2783"/>
                    </a:cubicBezTo>
                    <a:cubicBezTo>
                      <a:pt x="2019" y="2784"/>
                      <a:pt x="2019" y="2784"/>
                      <a:pt x="2019" y="2784"/>
                    </a:cubicBezTo>
                    <a:cubicBezTo>
                      <a:pt x="2015" y="2789"/>
                      <a:pt x="2011" y="2788"/>
                      <a:pt x="2006" y="2787"/>
                    </a:cubicBezTo>
                    <a:cubicBezTo>
                      <a:pt x="2004" y="2787"/>
                      <a:pt x="2004" y="2787"/>
                      <a:pt x="2004" y="2787"/>
                    </a:cubicBezTo>
                    <a:cubicBezTo>
                      <a:pt x="2003" y="2786"/>
                      <a:pt x="2003" y="2787"/>
                      <a:pt x="2003" y="2787"/>
                    </a:cubicBezTo>
                    <a:cubicBezTo>
                      <a:pt x="2003" y="2787"/>
                      <a:pt x="2002" y="2787"/>
                      <a:pt x="2002" y="2788"/>
                    </a:cubicBezTo>
                    <a:cubicBezTo>
                      <a:pt x="2001" y="2789"/>
                      <a:pt x="2000" y="2791"/>
                      <a:pt x="1998" y="2792"/>
                    </a:cubicBezTo>
                    <a:cubicBezTo>
                      <a:pt x="1993" y="2797"/>
                      <a:pt x="1984" y="2799"/>
                      <a:pt x="1979" y="2798"/>
                    </a:cubicBezTo>
                    <a:cubicBezTo>
                      <a:pt x="1977" y="2798"/>
                      <a:pt x="1976" y="2798"/>
                      <a:pt x="1975" y="2796"/>
                    </a:cubicBezTo>
                    <a:cubicBezTo>
                      <a:pt x="1973" y="2793"/>
                      <a:pt x="1973" y="2790"/>
                      <a:pt x="1974" y="2786"/>
                    </a:cubicBezTo>
                    <a:cubicBezTo>
                      <a:pt x="1974" y="2786"/>
                      <a:pt x="1973" y="2786"/>
                      <a:pt x="1973" y="2786"/>
                    </a:cubicBezTo>
                    <a:cubicBezTo>
                      <a:pt x="1972" y="2786"/>
                      <a:pt x="1971" y="2786"/>
                      <a:pt x="1970" y="2786"/>
                    </a:cubicBezTo>
                    <a:cubicBezTo>
                      <a:pt x="1968" y="2785"/>
                      <a:pt x="1967" y="2785"/>
                      <a:pt x="1965" y="2787"/>
                    </a:cubicBezTo>
                    <a:cubicBezTo>
                      <a:pt x="1963" y="2789"/>
                      <a:pt x="1959" y="2800"/>
                      <a:pt x="1956" y="2810"/>
                    </a:cubicBezTo>
                    <a:cubicBezTo>
                      <a:pt x="1955" y="2812"/>
                      <a:pt x="1955" y="2812"/>
                      <a:pt x="1955" y="2812"/>
                    </a:cubicBezTo>
                    <a:cubicBezTo>
                      <a:pt x="1953" y="2812"/>
                      <a:pt x="1953" y="2812"/>
                      <a:pt x="1953" y="2812"/>
                    </a:cubicBezTo>
                    <a:cubicBezTo>
                      <a:pt x="1950" y="2813"/>
                      <a:pt x="1947" y="2810"/>
                      <a:pt x="1945" y="2807"/>
                    </a:cubicBezTo>
                    <a:cubicBezTo>
                      <a:pt x="1943" y="2804"/>
                      <a:pt x="1939" y="2801"/>
                      <a:pt x="1936" y="2799"/>
                    </a:cubicBezTo>
                    <a:cubicBezTo>
                      <a:pt x="1934" y="2797"/>
                      <a:pt x="1932" y="2795"/>
                      <a:pt x="1931" y="2794"/>
                    </a:cubicBezTo>
                    <a:cubicBezTo>
                      <a:pt x="1926" y="2787"/>
                      <a:pt x="1924" y="2786"/>
                      <a:pt x="1924" y="2786"/>
                    </a:cubicBezTo>
                    <a:cubicBezTo>
                      <a:pt x="1924" y="2786"/>
                      <a:pt x="1926" y="2786"/>
                      <a:pt x="1927" y="2786"/>
                    </a:cubicBezTo>
                    <a:cubicBezTo>
                      <a:pt x="1927" y="2785"/>
                      <a:pt x="1927" y="2783"/>
                      <a:pt x="1926" y="2782"/>
                    </a:cubicBezTo>
                    <a:cubicBezTo>
                      <a:pt x="1923" y="2785"/>
                      <a:pt x="1923" y="2785"/>
                      <a:pt x="1923" y="2785"/>
                    </a:cubicBezTo>
                    <a:cubicBezTo>
                      <a:pt x="1925" y="2788"/>
                      <a:pt x="1925" y="2788"/>
                      <a:pt x="1925" y="2788"/>
                    </a:cubicBezTo>
                    <a:cubicBezTo>
                      <a:pt x="1924" y="2789"/>
                      <a:pt x="1924" y="2789"/>
                      <a:pt x="1924" y="2789"/>
                    </a:cubicBezTo>
                    <a:cubicBezTo>
                      <a:pt x="1923" y="2790"/>
                      <a:pt x="1922" y="2792"/>
                      <a:pt x="1921" y="2796"/>
                    </a:cubicBezTo>
                    <a:cubicBezTo>
                      <a:pt x="1921" y="2797"/>
                      <a:pt x="1921" y="2797"/>
                      <a:pt x="1921" y="2797"/>
                    </a:cubicBezTo>
                    <a:cubicBezTo>
                      <a:pt x="1921" y="2802"/>
                      <a:pt x="1918" y="2803"/>
                      <a:pt x="1917" y="2804"/>
                    </a:cubicBezTo>
                    <a:cubicBezTo>
                      <a:pt x="1914" y="2805"/>
                      <a:pt x="1912" y="2804"/>
                      <a:pt x="1910" y="2803"/>
                    </a:cubicBezTo>
                    <a:cubicBezTo>
                      <a:pt x="1909" y="2802"/>
                      <a:pt x="1904" y="2798"/>
                      <a:pt x="1903" y="2789"/>
                    </a:cubicBezTo>
                    <a:cubicBezTo>
                      <a:pt x="1903" y="2787"/>
                      <a:pt x="1903" y="2786"/>
                      <a:pt x="1903" y="2786"/>
                    </a:cubicBezTo>
                    <a:cubicBezTo>
                      <a:pt x="1903" y="2786"/>
                      <a:pt x="1903" y="2786"/>
                      <a:pt x="1903" y="2786"/>
                    </a:cubicBezTo>
                    <a:cubicBezTo>
                      <a:pt x="1901" y="2786"/>
                      <a:pt x="1900" y="2786"/>
                      <a:pt x="1899" y="2788"/>
                    </a:cubicBezTo>
                    <a:cubicBezTo>
                      <a:pt x="1897" y="2791"/>
                      <a:pt x="1886" y="2807"/>
                      <a:pt x="1880" y="2812"/>
                    </a:cubicBezTo>
                    <a:cubicBezTo>
                      <a:pt x="1872" y="2816"/>
                      <a:pt x="1868" y="2814"/>
                      <a:pt x="1867" y="2814"/>
                    </a:cubicBezTo>
                    <a:cubicBezTo>
                      <a:pt x="1865" y="2813"/>
                      <a:pt x="1860" y="2809"/>
                      <a:pt x="1859" y="2804"/>
                    </a:cubicBezTo>
                    <a:cubicBezTo>
                      <a:pt x="1859" y="2801"/>
                      <a:pt x="1858" y="2799"/>
                      <a:pt x="1857" y="2799"/>
                    </a:cubicBezTo>
                    <a:cubicBezTo>
                      <a:pt x="1855" y="2798"/>
                      <a:pt x="1851" y="2796"/>
                      <a:pt x="1849" y="2793"/>
                    </a:cubicBezTo>
                    <a:cubicBezTo>
                      <a:pt x="1848" y="2791"/>
                      <a:pt x="1845" y="2790"/>
                      <a:pt x="1844" y="2789"/>
                    </a:cubicBezTo>
                    <a:cubicBezTo>
                      <a:pt x="1841" y="2789"/>
                      <a:pt x="1836" y="2789"/>
                      <a:pt x="1833" y="2786"/>
                    </a:cubicBezTo>
                    <a:cubicBezTo>
                      <a:pt x="1833" y="2786"/>
                      <a:pt x="1832" y="2785"/>
                      <a:pt x="1832" y="2784"/>
                    </a:cubicBezTo>
                    <a:cubicBezTo>
                      <a:pt x="1832" y="2784"/>
                      <a:pt x="1832" y="2784"/>
                      <a:pt x="1831" y="2784"/>
                    </a:cubicBezTo>
                    <a:cubicBezTo>
                      <a:pt x="1826" y="2786"/>
                      <a:pt x="1825" y="2788"/>
                      <a:pt x="1825" y="2788"/>
                    </a:cubicBezTo>
                    <a:cubicBezTo>
                      <a:pt x="1824" y="2790"/>
                      <a:pt x="1823" y="2791"/>
                      <a:pt x="1821" y="2794"/>
                    </a:cubicBezTo>
                    <a:cubicBezTo>
                      <a:pt x="1819" y="2798"/>
                      <a:pt x="1817" y="2801"/>
                      <a:pt x="1814" y="2805"/>
                    </a:cubicBezTo>
                    <a:cubicBezTo>
                      <a:pt x="1812" y="2808"/>
                      <a:pt x="1812" y="2808"/>
                      <a:pt x="1812" y="2808"/>
                    </a:cubicBezTo>
                    <a:cubicBezTo>
                      <a:pt x="1810" y="2810"/>
                      <a:pt x="1808" y="2811"/>
                      <a:pt x="1805" y="2811"/>
                    </a:cubicBezTo>
                    <a:cubicBezTo>
                      <a:pt x="1801" y="2812"/>
                      <a:pt x="1797" y="2810"/>
                      <a:pt x="1795" y="2808"/>
                    </a:cubicBezTo>
                    <a:cubicBezTo>
                      <a:pt x="1791" y="2808"/>
                      <a:pt x="1787" y="2807"/>
                      <a:pt x="1786" y="2807"/>
                    </a:cubicBezTo>
                    <a:cubicBezTo>
                      <a:pt x="1783" y="2807"/>
                      <a:pt x="1783" y="2807"/>
                      <a:pt x="1782" y="2808"/>
                    </a:cubicBezTo>
                    <a:cubicBezTo>
                      <a:pt x="1781" y="2810"/>
                      <a:pt x="1779" y="2811"/>
                      <a:pt x="1777" y="2811"/>
                    </a:cubicBezTo>
                    <a:cubicBezTo>
                      <a:pt x="1773" y="2811"/>
                      <a:pt x="1770" y="2807"/>
                      <a:pt x="1767" y="2801"/>
                    </a:cubicBezTo>
                    <a:cubicBezTo>
                      <a:pt x="1766" y="2801"/>
                      <a:pt x="1764" y="2802"/>
                      <a:pt x="1763" y="2803"/>
                    </a:cubicBezTo>
                    <a:cubicBezTo>
                      <a:pt x="1763" y="2807"/>
                      <a:pt x="1762" y="2814"/>
                      <a:pt x="1757" y="2818"/>
                    </a:cubicBezTo>
                    <a:cubicBezTo>
                      <a:pt x="1756" y="2818"/>
                      <a:pt x="1755" y="2819"/>
                      <a:pt x="1755" y="2819"/>
                    </a:cubicBezTo>
                    <a:cubicBezTo>
                      <a:pt x="1758" y="2824"/>
                      <a:pt x="1758" y="2827"/>
                      <a:pt x="1756" y="2830"/>
                    </a:cubicBezTo>
                    <a:cubicBezTo>
                      <a:pt x="1756" y="2830"/>
                      <a:pt x="1755" y="2830"/>
                      <a:pt x="1755" y="2830"/>
                    </a:cubicBezTo>
                    <a:cubicBezTo>
                      <a:pt x="1755" y="2830"/>
                      <a:pt x="1755" y="2830"/>
                      <a:pt x="1755" y="2830"/>
                    </a:cubicBezTo>
                    <a:cubicBezTo>
                      <a:pt x="1756" y="2832"/>
                      <a:pt x="1756" y="2832"/>
                      <a:pt x="1756" y="2832"/>
                    </a:cubicBezTo>
                    <a:cubicBezTo>
                      <a:pt x="1757" y="2832"/>
                      <a:pt x="1757" y="2834"/>
                      <a:pt x="1757" y="2836"/>
                    </a:cubicBezTo>
                    <a:cubicBezTo>
                      <a:pt x="1757" y="2837"/>
                      <a:pt x="1757" y="2838"/>
                      <a:pt x="1757" y="2838"/>
                    </a:cubicBezTo>
                    <a:cubicBezTo>
                      <a:pt x="1757" y="2840"/>
                      <a:pt x="1757" y="2840"/>
                      <a:pt x="1758" y="2841"/>
                    </a:cubicBezTo>
                    <a:cubicBezTo>
                      <a:pt x="1760" y="2842"/>
                      <a:pt x="1762" y="2845"/>
                      <a:pt x="1763" y="2848"/>
                    </a:cubicBezTo>
                    <a:cubicBezTo>
                      <a:pt x="1764" y="2849"/>
                      <a:pt x="1765" y="2850"/>
                      <a:pt x="1766" y="2851"/>
                    </a:cubicBezTo>
                    <a:cubicBezTo>
                      <a:pt x="1769" y="2855"/>
                      <a:pt x="1768" y="2860"/>
                      <a:pt x="1767" y="2867"/>
                    </a:cubicBezTo>
                    <a:cubicBezTo>
                      <a:pt x="1766" y="2869"/>
                      <a:pt x="1767" y="2869"/>
                      <a:pt x="1768" y="2870"/>
                    </a:cubicBezTo>
                    <a:cubicBezTo>
                      <a:pt x="1769" y="2870"/>
                      <a:pt x="1770" y="2872"/>
                      <a:pt x="1770" y="2875"/>
                    </a:cubicBezTo>
                    <a:cubicBezTo>
                      <a:pt x="1770" y="2880"/>
                      <a:pt x="1767" y="2882"/>
                      <a:pt x="1765" y="2883"/>
                    </a:cubicBezTo>
                    <a:cubicBezTo>
                      <a:pt x="1764" y="2884"/>
                      <a:pt x="1764" y="2884"/>
                      <a:pt x="1764" y="2884"/>
                    </a:cubicBezTo>
                    <a:cubicBezTo>
                      <a:pt x="1764" y="2884"/>
                      <a:pt x="1764" y="2885"/>
                      <a:pt x="1764" y="2885"/>
                    </a:cubicBezTo>
                    <a:cubicBezTo>
                      <a:pt x="1764" y="2889"/>
                      <a:pt x="1764" y="2890"/>
                      <a:pt x="1762" y="2897"/>
                    </a:cubicBezTo>
                    <a:cubicBezTo>
                      <a:pt x="1761" y="2900"/>
                      <a:pt x="1765" y="2902"/>
                      <a:pt x="1767" y="2903"/>
                    </a:cubicBezTo>
                    <a:cubicBezTo>
                      <a:pt x="1770" y="2904"/>
                      <a:pt x="1772" y="2906"/>
                      <a:pt x="1772" y="2908"/>
                    </a:cubicBezTo>
                    <a:cubicBezTo>
                      <a:pt x="1772" y="2911"/>
                      <a:pt x="1771" y="2914"/>
                      <a:pt x="1765" y="2917"/>
                    </a:cubicBezTo>
                    <a:cubicBezTo>
                      <a:pt x="1762" y="2919"/>
                      <a:pt x="1759" y="2920"/>
                      <a:pt x="1757" y="2920"/>
                    </a:cubicBezTo>
                    <a:close/>
                    <a:moveTo>
                      <a:pt x="2232" y="2899"/>
                    </a:moveTo>
                    <a:cubicBezTo>
                      <a:pt x="2232" y="2899"/>
                      <a:pt x="2232" y="2899"/>
                      <a:pt x="2232" y="2899"/>
                    </a:cubicBezTo>
                    <a:close/>
                    <a:moveTo>
                      <a:pt x="2228" y="2897"/>
                    </a:moveTo>
                    <a:cubicBezTo>
                      <a:pt x="2228" y="2897"/>
                      <a:pt x="2228" y="2897"/>
                      <a:pt x="2228" y="2897"/>
                    </a:cubicBezTo>
                    <a:close/>
                    <a:moveTo>
                      <a:pt x="1710" y="2871"/>
                    </a:moveTo>
                    <a:cubicBezTo>
                      <a:pt x="1710" y="2871"/>
                      <a:pt x="1710" y="2871"/>
                      <a:pt x="1710" y="2871"/>
                    </a:cubicBezTo>
                    <a:close/>
                    <a:moveTo>
                      <a:pt x="1715" y="2865"/>
                    </a:moveTo>
                    <a:cubicBezTo>
                      <a:pt x="1715" y="2865"/>
                      <a:pt x="1715" y="2865"/>
                      <a:pt x="1715" y="2865"/>
                    </a:cubicBezTo>
                    <a:cubicBezTo>
                      <a:pt x="1715" y="2865"/>
                      <a:pt x="1715" y="2865"/>
                      <a:pt x="1715" y="2865"/>
                    </a:cubicBezTo>
                    <a:close/>
                    <a:moveTo>
                      <a:pt x="1714" y="2865"/>
                    </a:moveTo>
                    <a:cubicBezTo>
                      <a:pt x="1714" y="2865"/>
                      <a:pt x="1715" y="2865"/>
                      <a:pt x="1715" y="2865"/>
                    </a:cubicBezTo>
                    <a:cubicBezTo>
                      <a:pt x="1715" y="2865"/>
                      <a:pt x="1715" y="2865"/>
                      <a:pt x="1715" y="2865"/>
                    </a:cubicBezTo>
                    <a:cubicBezTo>
                      <a:pt x="1715" y="2865"/>
                      <a:pt x="1714" y="2865"/>
                      <a:pt x="1714" y="2865"/>
                    </a:cubicBezTo>
                    <a:close/>
                    <a:moveTo>
                      <a:pt x="1976" y="2786"/>
                    </a:moveTo>
                    <a:cubicBezTo>
                      <a:pt x="1976" y="2786"/>
                      <a:pt x="1976" y="2786"/>
                      <a:pt x="1976" y="2786"/>
                    </a:cubicBezTo>
                    <a:cubicBezTo>
                      <a:pt x="1976" y="2784"/>
                      <a:pt x="1976" y="2784"/>
                      <a:pt x="1976" y="2784"/>
                    </a:cubicBezTo>
                    <a:cubicBezTo>
                      <a:pt x="1976" y="2786"/>
                      <a:pt x="1976" y="2786"/>
                      <a:pt x="1976" y="2786"/>
                    </a:cubicBezTo>
                    <a:cubicBezTo>
                      <a:pt x="1976" y="2786"/>
                      <a:pt x="1976" y="2786"/>
                      <a:pt x="1976" y="2786"/>
                    </a:cubicBezTo>
                    <a:cubicBezTo>
                      <a:pt x="1976" y="2786"/>
                      <a:pt x="1976" y="2786"/>
                      <a:pt x="1976" y="2786"/>
                    </a:cubicBezTo>
                    <a:close/>
                    <a:moveTo>
                      <a:pt x="2023" y="2772"/>
                    </a:moveTo>
                    <a:cubicBezTo>
                      <a:pt x="2023" y="2772"/>
                      <a:pt x="2023" y="2772"/>
                      <a:pt x="2023" y="2772"/>
                    </a:cubicBezTo>
                    <a:close/>
                    <a:moveTo>
                      <a:pt x="1450" y="2608"/>
                    </a:moveTo>
                    <a:cubicBezTo>
                      <a:pt x="1450" y="2608"/>
                      <a:pt x="1450" y="2608"/>
                      <a:pt x="1450" y="2608"/>
                    </a:cubicBezTo>
                    <a:cubicBezTo>
                      <a:pt x="1450" y="2608"/>
                      <a:pt x="1450" y="2608"/>
                      <a:pt x="1450" y="2608"/>
                    </a:cubicBezTo>
                    <a:close/>
                    <a:moveTo>
                      <a:pt x="1443" y="2588"/>
                    </a:moveTo>
                    <a:cubicBezTo>
                      <a:pt x="1443" y="2588"/>
                      <a:pt x="1443" y="2588"/>
                      <a:pt x="1443" y="2588"/>
                    </a:cubicBezTo>
                    <a:close/>
                    <a:moveTo>
                      <a:pt x="1551" y="2320"/>
                    </a:moveTo>
                    <a:cubicBezTo>
                      <a:pt x="1551" y="2320"/>
                      <a:pt x="1551" y="2320"/>
                      <a:pt x="1551" y="2320"/>
                    </a:cubicBezTo>
                    <a:cubicBezTo>
                      <a:pt x="1551" y="2320"/>
                      <a:pt x="1551" y="2320"/>
                      <a:pt x="1551" y="2320"/>
                    </a:cubicBezTo>
                    <a:close/>
                    <a:moveTo>
                      <a:pt x="1554" y="2318"/>
                    </a:moveTo>
                    <a:cubicBezTo>
                      <a:pt x="1554" y="2318"/>
                      <a:pt x="1554" y="2318"/>
                      <a:pt x="1554" y="2318"/>
                    </a:cubicBezTo>
                    <a:close/>
                    <a:moveTo>
                      <a:pt x="1546" y="2317"/>
                    </a:moveTo>
                    <a:cubicBezTo>
                      <a:pt x="1546" y="2317"/>
                      <a:pt x="1546" y="2317"/>
                      <a:pt x="1546" y="2317"/>
                    </a:cubicBezTo>
                    <a:close/>
                    <a:moveTo>
                      <a:pt x="1532" y="2305"/>
                    </a:moveTo>
                    <a:cubicBezTo>
                      <a:pt x="1532" y="2305"/>
                      <a:pt x="1532" y="2305"/>
                      <a:pt x="1532" y="2305"/>
                    </a:cubicBezTo>
                    <a:close/>
                    <a:moveTo>
                      <a:pt x="1424" y="2280"/>
                    </a:moveTo>
                    <a:cubicBezTo>
                      <a:pt x="1424" y="2280"/>
                      <a:pt x="1424" y="2280"/>
                      <a:pt x="1424" y="2280"/>
                    </a:cubicBezTo>
                    <a:cubicBezTo>
                      <a:pt x="1424" y="2280"/>
                      <a:pt x="1424" y="2280"/>
                      <a:pt x="1424" y="2280"/>
                    </a:cubicBezTo>
                    <a:close/>
                    <a:moveTo>
                      <a:pt x="1459" y="2277"/>
                    </a:moveTo>
                    <a:cubicBezTo>
                      <a:pt x="1459" y="2277"/>
                      <a:pt x="1459" y="2277"/>
                      <a:pt x="1459" y="2277"/>
                    </a:cubicBezTo>
                    <a:close/>
                    <a:moveTo>
                      <a:pt x="1483" y="2232"/>
                    </a:moveTo>
                    <a:cubicBezTo>
                      <a:pt x="1483" y="2232"/>
                      <a:pt x="1483" y="2232"/>
                      <a:pt x="1483" y="2232"/>
                    </a:cubicBezTo>
                    <a:close/>
                    <a:moveTo>
                      <a:pt x="948" y="2186"/>
                    </a:moveTo>
                    <a:cubicBezTo>
                      <a:pt x="948" y="2186"/>
                      <a:pt x="948" y="2186"/>
                      <a:pt x="948" y="2186"/>
                    </a:cubicBezTo>
                    <a:cubicBezTo>
                      <a:pt x="948" y="2186"/>
                      <a:pt x="948" y="2186"/>
                      <a:pt x="948" y="2186"/>
                    </a:cubicBezTo>
                    <a:close/>
                    <a:moveTo>
                      <a:pt x="662" y="2129"/>
                    </a:moveTo>
                    <a:cubicBezTo>
                      <a:pt x="662" y="2129"/>
                      <a:pt x="662" y="2129"/>
                      <a:pt x="662" y="2129"/>
                    </a:cubicBezTo>
                    <a:cubicBezTo>
                      <a:pt x="662" y="2129"/>
                      <a:pt x="662" y="2129"/>
                      <a:pt x="662" y="2129"/>
                    </a:cubicBezTo>
                    <a:close/>
                    <a:moveTo>
                      <a:pt x="606" y="2099"/>
                    </a:moveTo>
                    <a:cubicBezTo>
                      <a:pt x="606" y="2099"/>
                      <a:pt x="606" y="2099"/>
                      <a:pt x="606" y="2099"/>
                    </a:cubicBezTo>
                    <a:cubicBezTo>
                      <a:pt x="606" y="2099"/>
                      <a:pt x="606" y="2099"/>
                      <a:pt x="606" y="2099"/>
                    </a:cubicBezTo>
                    <a:close/>
                    <a:moveTo>
                      <a:pt x="406" y="1913"/>
                    </a:moveTo>
                    <a:cubicBezTo>
                      <a:pt x="406" y="1913"/>
                      <a:pt x="406" y="1913"/>
                      <a:pt x="406" y="1913"/>
                    </a:cubicBezTo>
                    <a:cubicBezTo>
                      <a:pt x="406" y="1913"/>
                      <a:pt x="406" y="1913"/>
                      <a:pt x="406" y="1913"/>
                    </a:cubicBezTo>
                    <a:close/>
                    <a:moveTo>
                      <a:pt x="403" y="1906"/>
                    </a:moveTo>
                    <a:cubicBezTo>
                      <a:pt x="403" y="1906"/>
                      <a:pt x="403" y="1906"/>
                      <a:pt x="403" y="1906"/>
                    </a:cubicBezTo>
                    <a:close/>
                    <a:moveTo>
                      <a:pt x="392" y="1902"/>
                    </a:moveTo>
                    <a:cubicBezTo>
                      <a:pt x="392" y="1902"/>
                      <a:pt x="392" y="1902"/>
                      <a:pt x="392" y="1902"/>
                    </a:cubicBezTo>
                    <a:cubicBezTo>
                      <a:pt x="392" y="1902"/>
                      <a:pt x="392" y="1902"/>
                      <a:pt x="392" y="1902"/>
                    </a:cubicBezTo>
                    <a:close/>
                    <a:moveTo>
                      <a:pt x="388" y="1894"/>
                    </a:moveTo>
                    <a:cubicBezTo>
                      <a:pt x="388" y="1894"/>
                      <a:pt x="388" y="1894"/>
                      <a:pt x="388" y="1894"/>
                    </a:cubicBezTo>
                    <a:close/>
                    <a:moveTo>
                      <a:pt x="316" y="1811"/>
                    </a:moveTo>
                    <a:cubicBezTo>
                      <a:pt x="316" y="1811"/>
                      <a:pt x="316" y="1811"/>
                      <a:pt x="316" y="1811"/>
                    </a:cubicBezTo>
                    <a:cubicBezTo>
                      <a:pt x="316" y="1811"/>
                      <a:pt x="316" y="1811"/>
                      <a:pt x="316" y="1811"/>
                    </a:cubicBezTo>
                    <a:close/>
                    <a:moveTo>
                      <a:pt x="254" y="1797"/>
                    </a:moveTo>
                    <a:cubicBezTo>
                      <a:pt x="254" y="1797"/>
                      <a:pt x="254" y="1797"/>
                      <a:pt x="254" y="1797"/>
                    </a:cubicBezTo>
                    <a:cubicBezTo>
                      <a:pt x="254" y="1797"/>
                      <a:pt x="254" y="1797"/>
                      <a:pt x="254" y="1797"/>
                    </a:cubicBezTo>
                    <a:close/>
                    <a:moveTo>
                      <a:pt x="254" y="1797"/>
                    </a:moveTo>
                    <a:cubicBezTo>
                      <a:pt x="254" y="1797"/>
                      <a:pt x="254" y="1797"/>
                      <a:pt x="254" y="1797"/>
                    </a:cubicBezTo>
                    <a:close/>
                    <a:moveTo>
                      <a:pt x="172" y="1714"/>
                    </a:moveTo>
                    <a:cubicBezTo>
                      <a:pt x="172" y="1714"/>
                      <a:pt x="172" y="1714"/>
                      <a:pt x="172" y="1714"/>
                    </a:cubicBezTo>
                    <a:cubicBezTo>
                      <a:pt x="172" y="1714"/>
                      <a:pt x="172" y="1714"/>
                      <a:pt x="172" y="1714"/>
                    </a:cubicBezTo>
                    <a:close/>
                    <a:moveTo>
                      <a:pt x="137" y="1674"/>
                    </a:moveTo>
                    <a:cubicBezTo>
                      <a:pt x="137" y="1674"/>
                      <a:pt x="137" y="1674"/>
                      <a:pt x="137" y="1674"/>
                    </a:cubicBezTo>
                    <a:cubicBezTo>
                      <a:pt x="137" y="1674"/>
                      <a:pt x="137" y="1674"/>
                      <a:pt x="137" y="1674"/>
                    </a:cubicBezTo>
                    <a:close/>
                    <a:moveTo>
                      <a:pt x="130" y="1658"/>
                    </a:moveTo>
                    <a:cubicBezTo>
                      <a:pt x="130" y="1658"/>
                      <a:pt x="130" y="1658"/>
                      <a:pt x="130" y="1658"/>
                    </a:cubicBezTo>
                    <a:close/>
                    <a:moveTo>
                      <a:pt x="142" y="1614"/>
                    </a:moveTo>
                    <a:cubicBezTo>
                      <a:pt x="142" y="1614"/>
                      <a:pt x="142" y="1614"/>
                      <a:pt x="142" y="1614"/>
                    </a:cubicBezTo>
                    <a:close/>
                    <a:moveTo>
                      <a:pt x="197" y="1472"/>
                    </a:moveTo>
                    <a:cubicBezTo>
                      <a:pt x="197" y="1472"/>
                      <a:pt x="197" y="1472"/>
                      <a:pt x="197" y="1472"/>
                    </a:cubicBezTo>
                    <a:cubicBezTo>
                      <a:pt x="197" y="1472"/>
                      <a:pt x="197" y="1472"/>
                      <a:pt x="197" y="1472"/>
                    </a:cubicBezTo>
                    <a:close/>
                    <a:moveTo>
                      <a:pt x="213" y="1407"/>
                    </a:moveTo>
                    <a:cubicBezTo>
                      <a:pt x="213" y="1407"/>
                      <a:pt x="213" y="1407"/>
                      <a:pt x="213" y="1407"/>
                    </a:cubicBezTo>
                    <a:close/>
                    <a:moveTo>
                      <a:pt x="31" y="1103"/>
                    </a:moveTo>
                    <a:cubicBezTo>
                      <a:pt x="31" y="1103"/>
                      <a:pt x="31" y="1103"/>
                      <a:pt x="31" y="1103"/>
                    </a:cubicBezTo>
                    <a:cubicBezTo>
                      <a:pt x="31" y="1103"/>
                      <a:pt x="31" y="1103"/>
                      <a:pt x="31" y="1103"/>
                    </a:cubicBezTo>
                    <a:close/>
                    <a:moveTo>
                      <a:pt x="4127" y="2832"/>
                    </a:moveTo>
                    <a:cubicBezTo>
                      <a:pt x="4120" y="2829"/>
                      <a:pt x="4120" y="2829"/>
                      <a:pt x="4120" y="2829"/>
                    </a:cubicBezTo>
                    <a:cubicBezTo>
                      <a:pt x="4122" y="2824"/>
                      <a:pt x="4122" y="2824"/>
                      <a:pt x="4122" y="2824"/>
                    </a:cubicBezTo>
                    <a:cubicBezTo>
                      <a:pt x="4127" y="2811"/>
                      <a:pt x="4132" y="2799"/>
                      <a:pt x="4135" y="2785"/>
                    </a:cubicBezTo>
                    <a:cubicBezTo>
                      <a:pt x="4136" y="2782"/>
                      <a:pt x="4137" y="2773"/>
                      <a:pt x="4138" y="2767"/>
                    </a:cubicBezTo>
                    <a:cubicBezTo>
                      <a:pt x="4146" y="2768"/>
                      <a:pt x="4146" y="2768"/>
                      <a:pt x="4146" y="2768"/>
                    </a:cubicBezTo>
                    <a:cubicBezTo>
                      <a:pt x="4145" y="2774"/>
                      <a:pt x="4144" y="2781"/>
                      <a:pt x="4143" y="2787"/>
                    </a:cubicBezTo>
                    <a:cubicBezTo>
                      <a:pt x="4139" y="2801"/>
                      <a:pt x="4134" y="2813"/>
                      <a:pt x="4129" y="2826"/>
                    </a:cubicBezTo>
                    <a:lnTo>
                      <a:pt x="4127" y="2832"/>
                    </a:lnTo>
                    <a:close/>
                    <a:moveTo>
                      <a:pt x="3823" y="2825"/>
                    </a:moveTo>
                    <a:cubicBezTo>
                      <a:pt x="3816" y="2822"/>
                      <a:pt x="3816" y="2822"/>
                      <a:pt x="3816" y="2822"/>
                    </a:cubicBezTo>
                    <a:cubicBezTo>
                      <a:pt x="3819" y="2816"/>
                      <a:pt x="3825" y="2801"/>
                      <a:pt x="3827" y="2795"/>
                    </a:cubicBezTo>
                    <a:cubicBezTo>
                      <a:pt x="3828" y="2789"/>
                      <a:pt x="3828" y="2774"/>
                      <a:pt x="3828" y="2768"/>
                    </a:cubicBezTo>
                    <a:cubicBezTo>
                      <a:pt x="3836" y="2768"/>
                      <a:pt x="3836" y="2768"/>
                      <a:pt x="3836" y="2768"/>
                    </a:cubicBezTo>
                    <a:cubicBezTo>
                      <a:pt x="3836" y="2769"/>
                      <a:pt x="3836" y="2789"/>
                      <a:pt x="3834" y="2797"/>
                    </a:cubicBezTo>
                    <a:cubicBezTo>
                      <a:pt x="3833" y="2805"/>
                      <a:pt x="3823" y="2824"/>
                      <a:pt x="3823" y="2825"/>
                    </a:cubicBezTo>
                    <a:close/>
                    <a:moveTo>
                      <a:pt x="4138" y="2687"/>
                    </a:moveTo>
                    <a:cubicBezTo>
                      <a:pt x="4134" y="2634"/>
                      <a:pt x="4134" y="2634"/>
                      <a:pt x="4134" y="2634"/>
                    </a:cubicBezTo>
                    <a:cubicBezTo>
                      <a:pt x="4142" y="2633"/>
                      <a:pt x="4142" y="2633"/>
                      <a:pt x="4142" y="2633"/>
                    </a:cubicBezTo>
                    <a:cubicBezTo>
                      <a:pt x="4146" y="2687"/>
                      <a:pt x="4146" y="2687"/>
                      <a:pt x="4146" y="2687"/>
                    </a:cubicBezTo>
                    <a:lnTo>
                      <a:pt x="4138" y="2687"/>
                    </a:lnTo>
                    <a:close/>
                    <a:moveTo>
                      <a:pt x="3815" y="2675"/>
                    </a:moveTo>
                    <a:cubicBezTo>
                      <a:pt x="3811" y="2662"/>
                      <a:pt x="3789" y="2630"/>
                      <a:pt x="3788" y="2630"/>
                    </a:cubicBezTo>
                    <a:cubicBezTo>
                      <a:pt x="3795" y="2626"/>
                      <a:pt x="3795" y="2626"/>
                      <a:pt x="3795" y="2626"/>
                    </a:cubicBezTo>
                    <a:cubicBezTo>
                      <a:pt x="3796" y="2627"/>
                      <a:pt x="3818" y="2658"/>
                      <a:pt x="3822" y="2672"/>
                    </a:cubicBezTo>
                    <a:lnTo>
                      <a:pt x="3815" y="2675"/>
                    </a:lnTo>
                    <a:close/>
                    <a:moveTo>
                      <a:pt x="3496" y="2670"/>
                    </a:moveTo>
                    <a:cubicBezTo>
                      <a:pt x="3488" y="2669"/>
                      <a:pt x="3488" y="2669"/>
                      <a:pt x="3488" y="2669"/>
                    </a:cubicBezTo>
                    <a:cubicBezTo>
                      <a:pt x="3501" y="2574"/>
                      <a:pt x="3501" y="2574"/>
                      <a:pt x="3501" y="2574"/>
                    </a:cubicBezTo>
                    <a:cubicBezTo>
                      <a:pt x="3509" y="2575"/>
                      <a:pt x="3509" y="2575"/>
                      <a:pt x="3509" y="2575"/>
                    </a:cubicBezTo>
                    <a:lnTo>
                      <a:pt x="3496" y="2670"/>
                    </a:lnTo>
                    <a:close/>
                    <a:moveTo>
                      <a:pt x="4151" y="2572"/>
                    </a:moveTo>
                    <a:cubicBezTo>
                      <a:pt x="4144" y="2569"/>
                      <a:pt x="4144" y="2569"/>
                      <a:pt x="4144" y="2569"/>
                    </a:cubicBezTo>
                    <a:cubicBezTo>
                      <a:pt x="4144" y="2568"/>
                      <a:pt x="4156" y="2536"/>
                      <a:pt x="4165" y="2520"/>
                    </a:cubicBezTo>
                    <a:cubicBezTo>
                      <a:pt x="4171" y="2524"/>
                      <a:pt x="4171" y="2524"/>
                      <a:pt x="4171" y="2524"/>
                    </a:cubicBezTo>
                    <a:cubicBezTo>
                      <a:pt x="4163" y="2539"/>
                      <a:pt x="4151" y="2571"/>
                      <a:pt x="4151" y="2572"/>
                    </a:cubicBezTo>
                    <a:close/>
                    <a:moveTo>
                      <a:pt x="4207" y="2466"/>
                    </a:moveTo>
                    <a:cubicBezTo>
                      <a:pt x="4201" y="2461"/>
                      <a:pt x="4201" y="2461"/>
                      <a:pt x="4201" y="2461"/>
                    </a:cubicBezTo>
                    <a:cubicBezTo>
                      <a:pt x="4234" y="2416"/>
                      <a:pt x="4234" y="2416"/>
                      <a:pt x="4234" y="2416"/>
                    </a:cubicBezTo>
                    <a:cubicBezTo>
                      <a:pt x="4240" y="2421"/>
                      <a:pt x="4240" y="2421"/>
                      <a:pt x="4240" y="2421"/>
                    </a:cubicBezTo>
                    <a:lnTo>
                      <a:pt x="4207" y="2466"/>
                    </a:lnTo>
                    <a:close/>
                    <a:moveTo>
                      <a:pt x="3749" y="2436"/>
                    </a:moveTo>
                    <a:cubicBezTo>
                      <a:pt x="3748" y="2435"/>
                      <a:pt x="3748" y="2434"/>
                      <a:pt x="3742" y="2434"/>
                    </a:cubicBezTo>
                    <a:cubicBezTo>
                      <a:pt x="3739" y="2434"/>
                      <a:pt x="3735" y="2433"/>
                      <a:pt x="3732" y="2432"/>
                    </a:cubicBezTo>
                    <a:cubicBezTo>
                      <a:pt x="3730" y="2432"/>
                      <a:pt x="3729" y="2432"/>
                      <a:pt x="3728" y="2431"/>
                    </a:cubicBezTo>
                    <a:cubicBezTo>
                      <a:pt x="3724" y="2431"/>
                      <a:pt x="3717" y="2425"/>
                      <a:pt x="3715" y="2421"/>
                    </a:cubicBezTo>
                    <a:cubicBezTo>
                      <a:pt x="3714" y="2420"/>
                      <a:pt x="3713" y="2419"/>
                      <a:pt x="3711" y="2418"/>
                    </a:cubicBezTo>
                    <a:cubicBezTo>
                      <a:pt x="3711" y="2418"/>
                      <a:pt x="3710" y="2418"/>
                      <a:pt x="3710" y="2418"/>
                    </a:cubicBezTo>
                    <a:cubicBezTo>
                      <a:pt x="3707" y="2416"/>
                      <a:pt x="3702" y="2411"/>
                      <a:pt x="3701" y="2408"/>
                    </a:cubicBezTo>
                    <a:cubicBezTo>
                      <a:pt x="3701" y="2407"/>
                      <a:pt x="3701" y="2407"/>
                      <a:pt x="3701" y="2406"/>
                    </a:cubicBezTo>
                    <a:cubicBezTo>
                      <a:pt x="3701" y="2405"/>
                      <a:pt x="3701" y="2402"/>
                      <a:pt x="3700" y="2401"/>
                    </a:cubicBezTo>
                    <a:cubicBezTo>
                      <a:pt x="3697" y="2397"/>
                      <a:pt x="3700" y="2393"/>
                      <a:pt x="3702" y="2390"/>
                    </a:cubicBezTo>
                    <a:cubicBezTo>
                      <a:pt x="3702" y="2389"/>
                      <a:pt x="3703" y="2389"/>
                      <a:pt x="3703" y="2389"/>
                    </a:cubicBezTo>
                    <a:cubicBezTo>
                      <a:pt x="3703" y="2388"/>
                      <a:pt x="3703" y="2388"/>
                      <a:pt x="3703" y="2388"/>
                    </a:cubicBezTo>
                    <a:cubicBezTo>
                      <a:pt x="3703" y="2388"/>
                      <a:pt x="3703" y="2388"/>
                      <a:pt x="3703" y="2388"/>
                    </a:cubicBezTo>
                    <a:cubicBezTo>
                      <a:pt x="3702" y="2387"/>
                      <a:pt x="3698" y="2385"/>
                      <a:pt x="3696" y="2385"/>
                    </a:cubicBezTo>
                    <a:cubicBezTo>
                      <a:pt x="3693" y="2385"/>
                      <a:pt x="3687" y="2382"/>
                      <a:pt x="3685" y="2381"/>
                    </a:cubicBezTo>
                    <a:cubicBezTo>
                      <a:pt x="3684" y="2380"/>
                      <a:pt x="3684" y="2380"/>
                      <a:pt x="3684" y="2380"/>
                    </a:cubicBezTo>
                    <a:cubicBezTo>
                      <a:pt x="3684" y="2379"/>
                      <a:pt x="3684" y="2379"/>
                      <a:pt x="3684" y="2379"/>
                    </a:cubicBezTo>
                    <a:cubicBezTo>
                      <a:pt x="3684" y="2379"/>
                      <a:pt x="3680" y="2373"/>
                      <a:pt x="3679" y="2368"/>
                    </a:cubicBezTo>
                    <a:cubicBezTo>
                      <a:pt x="3678" y="2367"/>
                      <a:pt x="3672" y="2361"/>
                      <a:pt x="3668" y="2357"/>
                    </a:cubicBezTo>
                    <a:cubicBezTo>
                      <a:pt x="3673" y="2351"/>
                      <a:pt x="3673" y="2351"/>
                      <a:pt x="3673" y="2351"/>
                    </a:cubicBezTo>
                    <a:cubicBezTo>
                      <a:pt x="3673" y="2351"/>
                      <a:pt x="3684" y="2361"/>
                      <a:pt x="3686" y="2366"/>
                    </a:cubicBezTo>
                    <a:cubicBezTo>
                      <a:pt x="3687" y="2369"/>
                      <a:pt x="3689" y="2373"/>
                      <a:pt x="3690" y="2375"/>
                    </a:cubicBezTo>
                    <a:cubicBezTo>
                      <a:pt x="3693" y="2376"/>
                      <a:pt x="3695" y="2378"/>
                      <a:pt x="3696" y="2378"/>
                    </a:cubicBezTo>
                    <a:cubicBezTo>
                      <a:pt x="3700" y="2378"/>
                      <a:pt x="3705" y="2379"/>
                      <a:pt x="3708" y="2382"/>
                    </a:cubicBezTo>
                    <a:cubicBezTo>
                      <a:pt x="3711" y="2384"/>
                      <a:pt x="3713" y="2387"/>
                      <a:pt x="3710" y="2393"/>
                    </a:cubicBezTo>
                    <a:cubicBezTo>
                      <a:pt x="3709" y="2393"/>
                      <a:pt x="3709" y="2394"/>
                      <a:pt x="3709" y="2394"/>
                    </a:cubicBezTo>
                    <a:cubicBezTo>
                      <a:pt x="3708" y="2395"/>
                      <a:pt x="3707" y="2396"/>
                      <a:pt x="3707" y="2397"/>
                    </a:cubicBezTo>
                    <a:cubicBezTo>
                      <a:pt x="3709" y="2400"/>
                      <a:pt x="3709" y="2403"/>
                      <a:pt x="3709" y="2405"/>
                    </a:cubicBezTo>
                    <a:cubicBezTo>
                      <a:pt x="3709" y="2406"/>
                      <a:pt x="3709" y="2406"/>
                      <a:pt x="3709" y="2407"/>
                    </a:cubicBezTo>
                    <a:cubicBezTo>
                      <a:pt x="3709" y="2407"/>
                      <a:pt x="3712" y="2410"/>
                      <a:pt x="3713" y="2411"/>
                    </a:cubicBezTo>
                    <a:cubicBezTo>
                      <a:pt x="3714" y="2411"/>
                      <a:pt x="3714" y="2411"/>
                      <a:pt x="3714" y="2411"/>
                    </a:cubicBezTo>
                    <a:cubicBezTo>
                      <a:pt x="3717" y="2412"/>
                      <a:pt x="3720" y="2414"/>
                      <a:pt x="3722" y="2418"/>
                    </a:cubicBezTo>
                    <a:cubicBezTo>
                      <a:pt x="3723" y="2420"/>
                      <a:pt x="3727" y="2423"/>
                      <a:pt x="3729" y="2424"/>
                    </a:cubicBezTo>
                    <a:cubicBezTo>
                      <a:pt x="3730" y="2424"/>
                      <a:pt x="3732" y="2424"/>
                      <a:pt x="3734" y="2425"/>
                    </a:cubicBezTo>
                    <a:cubicBezTo>
                      <a:pt x="3736" y="2425"/>
                      <a:pt x="3740" y="2426"/>
                      <a:pt x="3742" y="2426"/>
                    </a:cubicBezTo>
                    <a:cubicBezTo>
                      <a:pt x="3745" y="2426"/>
                      <a:pt x="3753" y="2426"/>
                      <a:pt x="3756" y="2434"/>
                    </a:cubicBezTo>
                    <a:lnTo>
                      <a:pt x="3749" y="2436"/>
                    </a:lnTo>
                    <a:close/>
                    <a:moveTo>
                      <a:pt x="3704" y="2388"/>
                    </a:moveTo>
                    <a:cubicBezTo>
                      <a:pt x="3704" y="2388"/>
                      <a:pt x="3704" y="2388"/>
                      <a:pt x="3704" y="2388"/>
                    </a:cubicBezTo>
                    <a:close/>
                    <a:moveTo>
                      <a:pt x="3418" y="1193"/>
                    </a:moveTo>
                    <a:cubicBezTo>
                      <a:pt x="3411" y="1190"/>
                      <a:pt x="3411" y="1190"/>
                      <a:pt x="3411" y="1190"/>
                    </a:cubicBezTo>
                    <a:cubicBezTo>
                      <a:pt x="3411" y="1190"/>
                      <a:pt x="3411" y="1190"/>
                      <a:pt x="3411" y="1189"/>
                    </a:cubicBezTo>
                    <a:cubicBezTo>
                      <a:pt x="3411" y="1189"/>
                      <a:pt x="3411" y="1188"/>
                      <a:pt x="3411" y="1186"/>
                    </a:cubicBezTo>
                    <a:cubicBezTo>
                      <a:pt x="3412" y="1183"/>
                      <a:pt x="3413" y="1181"/>
                      <a:pt x="3414" y="1180"/>
                    </a:cubicBezTo>
                    <a:cubicBezTo>
                      <a:pt x="3414" y="1179"/>
                      <a:pt x="3415" y="1179"/>
                      <a:pt x="3415" y="1178"/>
                    </a:cubicBezTo>
                    <a:cubicBezTo>
                      <a:pt x="3415" y="1177"/>
                      <a:pt x="3416" y="1176"/>
                      <a:pt x="3416" y="1175"/>
                    </a:cubicBezTo>
                    <a:cubicBezTo>
                      <a:pt x="3418" y="1172"/>
                      <a:pt x="3420" y="1167"/>
                      <a:pt x="3423" y="1164"/>
                    </a:cubicBezTo>
                    <a:cubicBezTo>
                      <a:pt x="3425" y="1162"/>
                      <a:pt x="3431" y="1155"/>
                      <a:pt x="3434" y="1151"/>
                    </a:cubicBezTo>
                    <a:cubicBezTo>
                      <a:pt x="3436" y="1149"/>
                      <a:pt x="3437" y="1148"/>
                      <a:pt x="3438" y="1147"/>
                    </a:cubicBezTo>
                    <a:cubicBezTo>
                      <a:pt x="3438" y="1147"/>
                      <a:pt x="3438" y="1146"/>
                      <a:pt x="3439" y="1146"/>
                    </a:cubicBezTo>
                    <a:cubicBezTo>
                      <a:pt x="3440" y="1144"/>
                      <a:pt x="3442" y="1142"/>
                      <a:pt x="3446" y="1141"/>
                    </a:cubicBezTo>
                    <a:cubicBezTo>
                      <a:pt x="3447" y="1140"/>
                      <a:pt x="3448" y="1140"/>
                      <a:pt x="3449" y="1139"/>
                    </a:cubicBezTo>
                    <a:cubicBezTo>
                      <a:pt x="3449" y="1137"/>
                      <a:pt x="3449" y="1132"/>
                      <a:pt x="3456" y="1130"/>
                    </a:cubicBezTo>
                    <a:cubicBezTo>
                      <a:pt x="3458" y="1129"/>
                      <a:pt x="3458" y="1129"/>
                      <a:pt x="3459" y="1128"/>
                    </a:cubicBezTo>
                    <a:cubicBezTo>
                      <a:pt x="3460" y="1126"/>
                      <a:pt x="3460" y="1126"/>
                      <a:pt x="3460" y="1126"/>
                    </a:cubicBezTo>
                    <a:cubicBezTo>
                      <a:pt x="3461" y="1125"/>
                      <a:pt x="3461" y="1125"/>
                      <a:pt x="3461" y="1124"/>
                    </a:cubicBezTo>
                    <a:cubicBezTo>
                      <a:pt x="3464" y="1120"/>
                      <a:pt x="3466" y="1118"/>
                      <a:pt x="3472" y="1120"/>
                    </a:cubicBezTo>
                    <a:cubicBezTo>
                      <a:pt x="3472" y="1118"/>
                      <a:pt x="3474" y="1116"/>
                      <a:pt x="3477" y="1115"/>
                    </a:cubicBezTo>
                    <a:cubicBezTo>
                      <a:pt x="3477" y="1115"/>
                      <a:pt x="3477" y="1115"/>
                      <a:pt x="3477" y="1115"/>
                    </a:cubicBezTo>
                    <a:cubicBezTo>
                      <a:pt x="3478" y="1115"/>
                      <a:pt x="3478" y="1114"/>
                      <a:pt x="3478" y="1114"/>
                    </a:cubicBezTo>
                    <a:cubicBezTo>
                      <a:pt x="3479" y="1110"/>
                      <a:pt x="3482" y="1109"/>
                      <a:pt x="3486" y="1109"/>
                    </a:cubicBezTo>
                    <a:cubicBezTo>
                      <a:pt x="3486" y="1104"/>
                      <a:pt x="3490" y="1099"/>
                      <a:pt x="3493" y="1098"/>
                    </a:cubicBezTo>
                    <a:cubicBezTo>
                      <a:pt x="3493" y="1097"/>
                      <a:pt x="3493" y="1097"/>
                      <a:pt x="3493" y="1097"/>
                    </a:cubicBezTo>
                    <a:cubicBezTo>
                      <a:pt x="3495" y="1095"/>
                      <a:pt x="3499" y="1092"/>
                      <a:pt x="3506" y="1092"/>
                    </a:cubicBezTo>
                    <a:cubicBezTo>
                      <a:pt x="3507" y="1092"/>
                      <a:pt x="3508" y="1092"/>
                      <a:pt x="3508" y="1092"/>
                    </a:cubicBezTo>
                    <a:cubicBezTo>
                      <a:pt x="3508" y="1092"/>
                      <a:pt x="3508" y="1092"/>
                      <a:pt x="3508" y="1091"/>
                    </a:cubicBezTo>
                    <a:cubicBezTo>
                      <a:pt x="3508" y="1091"/>
                      <a:pt x="3509" y="1090"/>
                      <a:pt x="3509" y="1089"/>
                    </a:cubicBezTo>
                    <a:cubicBezTo>
                      <a:pt x="3509" y="1088"/>
                      <a:pt x="3509" y="1087"/>
                      <a:pt x="3509" y="1087"/>
                    </a:cubicBezTo>
                    <a:cubicBezTo>
                      <a:pt x="3509" y="1086"/>
                      <a:pt x="3509" y="1085"/>
                      <a:pt x="3510" y="1084"/>
                    </a:cubicBezTo>
                    <a:cubicBezTo>
                      <a:pt x="3510" y="1084"/>
                      <a:pt x="3511" y="1084"/>
                      <a:pt x="3511" y="1083"/>
                    </a:cubicBezTo>
                    <a:cubicBezTo>
                      <a:pt x="3512" y="1082"/>
                      <a:pt x="3512" y="1082"/>
                      <a:pt x="3513" y="1081"/>
                    </a:cubicBezTo>
                    <a:cubicBezTo>
                      <a:pt x="3513" y="1081"/>
                      <a:pt x="3513" y="1081"/>
                      <a:pt x="3514" y="1080"/>
                    </a:cubicBezTo>
                    <a:cubicBezTo>
                      <a:pt x="3514" y="1079"/>
                      <a:pt x="3514" y="1079"/>
                      <a:pt x="3514" y="1079"/>
                    </a:cubicBezTo>
                    <a:cubicBezTo>
                      <a:pt x="3514" y="1078"/>
                      <a:pt x="3514" y="1077"/>
                      <a:pt x="3515" y="1075"/>
                    </a:cubicBezTo>
                    <a:cubicBezTo>
                      <a:pt x="3516" y="1074"/>
                      <a:pt x="3518" y="1072"/>
                      <a:pt x="3519" y="1070"/>
                    </a:cubicBezTo>
                    <a:cubicBezTo>
                      <a:pt x="3521" y="1068"/>
                      <a:pt x="3523" y="1066"/>
                      <a:pt x="3523" y="1065"/>
                    </a:cubicBezTo>
                    <a:cubicBezTo>
                      <a:pt x="3524" y="1064"/>
                      <a:pt x="3524" y="1063"/>
                      <a:pt x="3525" y="1063"/>
                    </a:cubicBezTo>
                    <a:cubicBezTo>
                      <a:pt x="3525" y="1062"/>
                      <a:pt x="3525" y="1062"/>
                      <a:pt x="3525" y="1061"/>
                    </a:cubicBezTo>
                    <a:cubicBezTo>
                      <a:pt x="3525" y="1058"/>
                      <a:pt x="3526" y="1057"/>
                      <a:pt x="3527" y="1055"/>
                    </a:cubicBezTo>
                    <a:cubicBezTo>
                      <a:pt x="3527" y="1054"/>
                      <a:pt x="3527" y="1054"/>
                      <a:pt x="3528" y="1052"/>
                    </a:cubicBezTo>
                    <a:cubicBezTo>
                      <a:pt x="3530" y="1049"/>
                      <a:pt x="3532" y="1046"/>
                      <a:pt x="3534" y="1045"/>
                    </a:cubicBezTo>
                    <a:cubicBezTo>
                      <a:pt x="3534" y="1044"/>
                      <a:pt x="3533" y="1043"/>
                      <a:pt x="3534" y="1041"/>
                    </a:cubicBezTo>
                    <a:cubicBezTo>
                      <a:pt x="3534" y="1041"/>
                      <a:pt x="3534" y="1040"/>
                      <a:pt x="3534" y="1039"/>
                    </a:cubicBezTo>
                    <a:cubicBezTo>
                      <a:pt x="3534" y="1038"/>
                      <a:pt x="3534" y="1038"/>
                      <a:pt x="3534" y="1037"/>
                    </a:cubicBezTo>
                    <a:cubicBezTo>
                      <a:pt x="3535" y="1035"/>
                      <a:pt x="3535" y="1034"/>
                      <a:pt x="3534" y="1031"/>
                    </a:cubicBezTo>
                    <a:cubicBezTo>
                      <a:pt x="3532" y="1027"/>
                      <a:pt x="3533" y="1023"/>
                      <a:pt x="3536" y="1019"/>
                    </a:cubicBezTo>
                    <a:cubicBezTo>
                      <a:pt x="3537" y="1017"/>
                      <a:pt x="3538" y="1016"/>
                      <a:pt x="3539" y="1015"/>
                    </a:cubicBezTo>
                    <a:cubicBezTo>
                      <a:pt x="3540" y="1015"/>
                      <a:pt x="3540" y="1014"/>
                      <a:pt x="3541" y="1014"/>
                    </a:cubicBezTo>
                    <a:cubicBezTo>
                      <a:pt x="3541" y="1012"/>
                      <a:pt x="3541" y="1010"/>
                      <a:pt x="3542" y="1009"/>
                    </a:cubicBezTo>
                    <a:cubicBezTo>
                      <a:pt x="3545" y="1007"/>
                      <a:pt x="3548" y="1008"/>
                      <a:pt x="3550" y="1008"/>
                    </a:cubicBezTo>
                    <a:cubicBezTo>
                      <a:pt x="3550" y="1008"/>
                      <a:pt x="3550" y="1008"/>
                      <a:pt x="3550" y="1008"/>
                    </a:cubicBezTo>
                    <a:cubicBezTo>
                      <a:pt x="3550" y="1008"/>
                      <a:pt x="3551" y="1008"/>
                      <a:pt x="3551" y="1007"/>
                    </a:cubicBezTo>
                    <a:cubicBezTo>
                      <a:pt x="3553" y="1004"/>
                      <a:pt x="3556" y="1001"/>
                      <a:pt x="3562" y="1003"/>
                    </a:cubicBezTo>
                    <a:cubicBezTo>
                      <a:pt x="3562" y="1004"/>
                      <a:pt x="3562" y="1004"/>
                      <a:pt x="3563" y="1004"/>
                    </a:cubicBezTo>
                    <a:cubicBezTo>
                      <a:pt x="3566" y="1005"/>
                      <a:pt x="3572" y="1008"/>
                      <a:pt x="3571" y="1013"/>
                    </a:cubicBezTo>
                    <a:cubicBezTo>
                      <a:pt x="3572" y="1013"/>
                      <a:pt x="3573" y="1014"/>
                      <a:pt x="3573" y="1014"/>
                    </a:cubicBezTo>
                    <a:cubicBezTo>
                      <a:pt x="3574" y="1015"/>
                      <a:pt x="3575" y="1015"/>
                      <a:pt x="3575" y="1015"/>
                    </a:cubicBezTo>
                    <a:cubicBezTo>
                      <a:pt x="3575" y="1016"/>
                      <a:pt x="3575" y="1016"/>
                      <a:pt x="3575" y="1016"/>
                    </a:cubicBezTo>
                    <a:cubicBezTo>
                      <a:pt x="3577" y="1017"/>
                      <a:pt x="3579" y="1019"/>
                      <a:pt x="3578" y="1021"/>
                    </a:cubicBezTo>
                    <a:cubicBezTo>
                      <a:pt x="3581" y="1021"/>
                      <a:pt x="3583" y="1021"/>
                      <a:pt x="3584" y="1022"/>
                    </a:cubicBezTo>
                    <a:cubicBezTo>
                      <a:pt x="3586" y="1023"/>
                      <a:pt x="3586" y="1024"/>
                      <a:pt x="3586" y="1025"/>
                    </a:cubicBezTo>
                    <a:cubicBezTo>
                      <a:pt x="3587" y="1025"/>
                      <a:pt x="3588" y="1025"/>
                      <a:pt x="3591" y="1024"/>
                    </a:cubicBezTo>
                    <a:cubicBezTo>
                      <a:pt x="3592" y="1024"/>
                      <a:pt x="3593" y="1024"/>
                      <a:pt x="3594" y="1023"/>
                    </a:cubicBezTo>
                    <a:cubicBezTo>
                      <a:pt x="3598" y="1022"/>
                      <a:pt x="3601" y="1021"/>
                      <a:pt x="3604" y="1023"/>
                    </a:cubicBezTo>
                    <a:cubicBezTo>
                      <a:pt x="3605" y="1024"/>
                      <a:pt x="3605" y="1024"/>
                      <a:pt x="3606" y="1024"/>
                    </a:cubicBezTo>
                    <a:cubicBezTo>
                      <a:pt x="3607" y="1025"/>
                      <a:pt x="3608" y="1026"/>
                      <a:pt x="3610" y="1025"/>
                    </a:cubicBezTo>
                    <a:cubicBezTo>
                      <a:pt x="3613" y="1024"/>
                      <a:pt x="3616" y="1024"/>
                      <a:pt x="3618" y="1025"/>
                    </a:cubicBezTo>
                    <a:cubicBezTo>
                      <a:pt x="3620" y="1025"/>
                      <a:pt x="3620" y="1025"/>
                      <a:pt x="3620" y="1025"/>
                    </a:cubicBezTo>
                    <a:cubicBezTo>
                      <a:pt x="3621" y="1023"/>
                      <a:pt x="3621" y="1023"/>
                      <a:pt x="3621" y="1023"/>
                    </a:cubicBezTo>
                    <a:cubicBezTo>
                      <a:pt x="3623" y="1022"/>
                      <a:pt x="3624" y="1021"/>
                      <a:pt x="3627" y="1020"/>
                    </a:cubicBezTo>
                    <a:cubicBezTo>
                      <a:pt x="3630" y="1019"/>
                      <a:pt x="3636" y="1020"/>
                      <a:pt x="3640" y="1024"/>
                    </a:cubicBezTo>
                    <a:cubicBezTo>
                      <a:pt x="3640" y="1024"/>
                      <a:pt x="3640" y="1024"/>
                      <a:pt x="3640" y="1024"/>
                    </a:cubicBezTo>
                    <a:cubicBezTo>
                      <a:pt x="3641" y="1023"/>
                      <a:pt x="3641" y="1022"/>
                      <a:pt x="3642" y="1021"/>
                    </a:cubicBezTo>
                    <a:cubicBezTo>
                      <a:pt x="3642" y="1021"/>
                      <a:pt x="3642" y="1021"/>
                      <a:pt x="3643" y="1019"/>
                    </a:cubicBezTo>
                    <a:cubicBezTo>
                      <a:pt x="3643" y="1017"/>
                      <a:pt x="3643" y="1017"/>
                      <a:pt x="3644" y="1015"/>
                    </a:cubicBezTo>
                    <a:cubicBezTo>
                      <a:pt x="3644" y="1014"/>
                      <a:pt x="3644" y="1014"/>
                      <a:pt x="3644" y="1012"/>
                    </a:cubicBezTo>
                    <a:cubicBezTo>
                      <a:pt x="3645" y="1009"/>
                      <a:pt x="3645" y="1006"/>
                      <a:pt x="3644" y="1005"/>
                    </a:cubicBezTo>
                    <a:cubicBezTo>
                      <a:pt x="3644" y="1005"/>
                      <a:pt x="3642" y="1004"/>
                      <a:pt x="3641" y="1003"/>
                    </a:cubicBezTo>
                    <a:cubicBezTo>
                      <a:pt x="3639" y="1002"/>
                      <a:pt x="3637" y="1001"/>
                      <a:pt x="3635" y="1000"/>
                    </a:cubicBezTo>
                    <a:cubicBezTo>
                      <a:pt x="3633" y="998"/>
                      <a:pt x="3632" y="996"/>
                      <a:pt x="3630" y="993"/>
                    </a:cubicBezTo>
                    <a:cubicBezTo>
                      <a:pt x="3629" y="991"/>
                      <a:pt x="3628" y="989"/>
                      <a:pt x="3627" y="987"/>
                    </a:cubicBezTo>
                    <a:cubicBezTo>
                      <a:pt x="3626" y="985"/>
                      <a:pt x="3625" y="984"/>
                      <a:pt x="3625" y="984"/>
                    </a:cubicBezTo>
                    <a:cubicBezTo>
                      <a:pt x="3623" y="983"/>
                      <a:pt x="3621" y="982"/>
                      <a:pt x="3620" y="980"/>
                    </a:cubicBezTo>
                    <a:cubicBezTo>
                      <a:pt x="3618" y="978"/>
                      <a:pt x="3617" y="975"/>
                      <a:pt x="3618" y="972"/>
                    </a:cubicBezTo>
                    <a:cubicBezTo>
                      <a:pt x="3619" y="969"/>
                      <a:pt x="3622" y="966"/>
                      <a:pt x="3625" y="966"/>
                    </a:cubicBezTo>
                    <a:cubicBezTo>
                      <a:pt x="3637" y="965"/>
                      <a:pt x="3642" y="965"/>
                      <a:pt x="3644" y="966"/>
                    </a:cubicBezTo>
                    <a:cubicBezTo>
                      <a:pt x="3645" y="965"/>
                      <a:pt x="3647" y="965"/>
                      <a:pt x="3648" y="965"/>
                    </a:cubicBezTo>
                    <a:cubicBezTo>
                      <a:pt x="3650" y="965"/>
                      <a:pt x="3652" y="965"/>
                      <a:pt x="3653" y="965"/>
                    </a:cubicBezTo>
                    <a:cubicBezTo>
                      <a:pt x="3656" y="965"/>
                      <a:pt x="3657" y="965"/>
                      <a:pt x="3659" y="963"/>
                    </a:cubicBezTo>
                    <a:cubicBezTo>
                      <a:pt x="3663" y="959"/>
                      <a:pt x="3673" y="956"/>
                      <a:pt x="3679" y="958"/>
                    </a:cubicBezTo>
                    <a:cubicBezTo>
                      <a:pt x="3679" y="958"/>
                      <a:pt x="3680" y="956"/>
                      <a:pt x="3681" y="954"/>
                    </a:cubicBezTo>
                    <a:cubicBezTo>
                      <a:pt x="3682" y="951"/>
                      <a:pt x="3685" y="948"/>
                      <a:pt x="3687" y="945"/>
                    </a:cubicBezTo>
                    <a:cubicBezTo>
                      <a:pt x="3689" y="944"/>
                      <a:pt x="3690" y="942"/>
                      <a:pt x="3691" y="941"/>
                    </a:cubicBezTo>
                    <a:cubicBezTo>
                      <a:pt x="3692" y="939"/>
                      <a:pt x="3691" y="936"/>
                      <a:pt x="3691" y="933"/>
                    </a:cubicBezTo>
                    <a:cubicBezTo>
                      <a:pt x="3691" y="926"/>
                      <a:pt x="3693" y="923"/>
                      <a:pt x="3698" y="918"/>
                    </a:cubicBezTo>
                    <a:cubicBezTo>
                      <a:pt x="3703" y="914"/>
                      <a:pt x="3707" y="914"/>
                      <a:pt x="3709" y="914"/>
                    </a:cubicBezTo>
                    <a:cubicBezTo>
                      <a:pt x="3711" y="914"/>
                      <a:pt x="3713" y="916"/>
                      <a:pt x="3715" y="917"/>
                    </a:cubicBezTo>
                    <a:cubicBezTo>
                      <a:pt x="3716" y="914"/>
                      <a:pt x="3718" y="911"/>
                      <a:pt x="3721" y="911"/>
                    </a:cubicBezTo>
                    <a:cubicBezTo>
                      <a:pt x="3721" y="911"/>
                      <a:pt x="3721" y="911"/>
                      <a:pt x="3721" y="911"/>
                    </a:cubicBezTo>
                    <a:cubicBezTo>
                      <a:pt x="3721" y="909"/>
                      <a:pt x="3722" y="907"/>
                      <a:pt x="3722" y="904"/>
                    </a:cubicBezTo>
                    <a:cubicBezTo>
                      <a:pt x="3722" y="899"/>
                      <a:pt x="3722" y="885"/>
                      <a:pt x="3722" y="876"/>
                    </a:cubicBezTo>
                    <a:cubicBezTo>
                      <a:pt x="3722" y="873"/>
                      <a:pt x="3722" y="873"/>
                      <a:pt x="3722" y="873"/>
                    </a:cubicBezTo>
                    <a:cubicBezTo>
                      <a:pt x="3721" y="864"/>
                      <a:pt x="3726" y="857"/>
                      <a:pt x="3729" y="856"/>
                    </a:cubicBezTo>
                    <a:cubicBezTo>
                      <a:pt x="3732" y="855"/>
                      <a:pt x="3734" y="856"/>
                      <a:pt x="3735" y="858"/>
                    </a:cubicBezTo>
                    <a:cubicBezTo>
                      <a:pt x="3735" y="858"/>
                      <a:pt x="3736" y="859"/>
                      <a:pt x="3736" y="859"/>
                    </a:cubicBezTo>
                    <a:cubicBezTo>
                      <a:pt x="3736" y="859"/>
                      <a:pt x="3736" y="859"/>
                      <a:pt x="3737" y="859"/>
                    </a:cubicBezTo>
                    <a:cubicBezTo>
                      <a:pt x="3737" y="859"/>
                      <a:pt x="3737" y="859"/>
                      <a:pt x="3737" y="858"/>
                    </a:cubicBezTo>
                    <a:cubicBezTo>
                      <a:pt x="3739" y="857"/>
                      <a:pt x="3741" y="855"/>
                      <a:pt x="3744" y="856"/>
                    </a:cubicBezTo>
                    <a:cubicBezTo>
                      <a:pt x="3747" y="857"/>
                      <a:pt x="3747" y="860"/>
                      <a:pt x="3747" y="862"/>
                    </a:cubicBezTo>
                    <a:cubicBezTo>
                      <a:pt x="3747" y="862"/>
                      <a:pt x="3747" y="862"/>
                      <a:pt x="3747" y="862"/>
                    </a:cubicBezTo>
                    <a:cubicBezTo>
                      <a:pt x="3748" y="862"/>
                      <a:pt x="3750" y="862"/>
                      <a:pt x="3751" y="862"/>
                    </a:cubicBezTo>
                    <a:cubicBezTo>
                      <a:pt x="3753" y="862"/>
                      <a:pt x="3755" y="863"/>
                      <a:pt x="3755" y="864"/>
                    </a:cubicBezTo>
                    <a:cubicBezTo>
                      <a:pt x="3757" y="867"/>
                      <a:pt x="3756" y="870"/>
                      <a:pt x="3755" y="873"/>
                    </a:cubicBezTo>
                    <a:cubicBezTo>
                      <a:pt x="3755" y="874"/>
                      <a:pt x="3755" y="874"/>
                      <a:pt x="3755" y="875"/>
                    </a:cubicBezTo>
                    <a:cubicBezTo>
                      <a:pt x="3756" y="877"/>
                      <a:pt x="3761" y="882"/>
                      <a:pt x="3767" y="886"/>
                    </a:cubicBezTo>
                    <a:cubicBezTo>
                      <a:pt x="3767" y="886"/>
                      <a:pt x="3767" y="886"/>
                      <a:pt x="3767" y="886"/>
                    </a:cubicBezTo>
                    <a:cubicBezTo>
                      <a:pt x="3768" y="887"/>
                      <a:pt x="3769" y="888"/>
                      <a:pt x="3770" y="888"/>
                    </a:cubicBezTo>
                    <a:cubicBezTo>
                      <a:pt x="3770" y="888"/>
                      <a:pt x="3771" y="887"/>
                      <a:pt x="3771" y="886"/>
                    </a:cubicBezTo>
                    <a:cubicBezTo>
                      <a:pt x="3773" y="885"/>
                      <a:pt x="3774" y="885"/>
                      <a:pt x="3776" y="885"/>
                    </a:cubicBezTo>
                    <a:cubicBezTo>
                      <a:pt x="3776" y="886"/>
                      <a:pt x="3777" y="886"/>
                      <a:pt x="3777" y="886"/>
                    </a:cubicBezTo>
                    <a:cubicBezTo>
                      <a:pt x="3777" y="886"/>
                      <a:pt x="3777" y="886"/>
                      <a:pt x="3777" y="885"/>
                    </a:cubicBezTo>
                    <a:cubicBezTo>
                      <a:pt x="3776" y="884"/>
                      <a:pt x="3775" y="883"/>
                      <a:pt x="3774" y="881"/>
                    </a:cubicBezTo>
                    <a:cubicBezTo>
                      <a:pt x="3770" y="883"/>
                      <a:pt x="3766" y="883"/>
                      <a:pt x="3763" y="880"/>
                    </a:cubicBezTo>
                    <a:cubicBezTo>
                      <a:pt x="3761" y="879"/>
                      <a:pt x="3761" y="877"/>
                      <a:pt x="3761" y="876"/>
                    </a:cubicBezTo>
                    <a:cubicBezTo>
                      <a:pt x="3761" y="873"/>
                      <a:pt x="3763" y="871"/>
                      <a:pt x="3765" y="870"/>
                    </a:cubicBezTo>
                    <a:cubicBezTo>
                      <a:pt x="3766" y="870"/>
                      <a:pt x="3766" y="869"/>
                      <a:pt x="3767" y="869"/>
                    </a:cubicBezTo>
                    <a:cubicBezTo>
                      <a:pt x="3768" y="868"/>
                      <a:pt x="3768" y="868"/>
                      <a:pt x="3768" y="867"/>
                    </a:cubicBezTo>
                    <a:cubicBezTo>
                      <a:pt x="3770" y="866"/>
                      <a:pt x="3771" y="864"/>
                      <a:pt x="3775" y="863"/>
                    </a:cubicBezTo>
                    <a:cubicBezTo>
                      <a:pt x="3778" y="863"/>
                      <a:pt x="3781" y="861"/>
                      <a:pt x="3783" y="859"/>
                    </a:cubicBezTo>
                    <a:cubicBezTo>
                      <a:pt x="3787" y="855"/>
                      <a:pt x="3792" y="855"/>
                      <a:pt x="3794" y="854"/>
                    </a:cubicBezTo>
                    <a:cubicBezTo>
                      <a:pt x="3795" y="854"/>
                      <a:pt x="3798" y="852"/>
                      <a:pt x="3799" y="850"/>
                    </a:cubicBezTo>
                    <a:cubicBezTo>
                      <a:pt x="3801" y="848"/>
                      <a:pt x="3800" y="848"/>
                      <a:pt x="3800" y="847"/>
                    </a:cubicBezTo>
                    <a:cubicBezTo>
                      <a:pt x="3798" y="843"/>
                      <a:pt x="3800" y="835"/>
                      <a:pt x="3802" y="833"/>
                    </a:cubicBezTo>
                    <a:cubicBezTo>
                      <a:pt x="3803" y="831"/>
                      <a:pt x="3803" y="831"/>
                      <a:pt x="3803" y="829"/>
                    </a:cubicBezTo>
                    <a:cubicBezTo>
                      <a:pt x="3803" y="829"/>
                      <a:pt x="3803" y="829"/>
                      <a:pt x="3803" y="829"/>
                    </a:cubicBezTo>
                    <a:cubicBezTo>
                      <a:pt x="3803" y="825"/>
                      <a:pt x="3802" y="824"/>
                      <a:pt x="3802" y="824"/>
                    </a:cubicBezTo>
                    <a:cubicBezTo>
                      <a:pt x="3799" y="821"/>
                      <a:pt x="3802" y="816"/>
                      <a:pt x="3803" y="812"/>
                    </a:cubicBezTo>
                    <a:cubicBezTo>
                      <a:pt x="3804" y="810"/>
                      <a:pt x="3804" y="805"/>
                      <a:pt x="3804" y="802"/>
                    </a:cubicBezTo>
                    <a:cubicBezTo>
                      <a:pt x="3804" y="802"/>
                      <a:pt x="3803" y="800"/>
                      <a:pt x="3801" y="800"/>
                    </a:cubicBezTo>
                    <a:cubicBezTo>
                      <a:pt x="3799" y="800"/>
                      <a:pt x="3797" y="800"/>
                      <a:pt x="3795" y="798"/>
                    </a:cubicBezTo>
                    <a:cubicBezTo>
                      <a:pt x="3793" y="796"/>
                      <a:pt x="3794" y="793"/>
                      <a:pt x="3794" y="790"/>
                    </a:cubicBezTo>
                    <a:cubicBezTo>
                      <a:pt x="3794" y="790"/>
                      <a:pt x="3794" y="789"/>
                      <a:pt x="3794" y="788"/>
                    </a:cubicBezTo>
                    <a:cubicBezTo>
                      <a:pt x="3794" y="782"/>
                      <a:pt x="3793" y="780"/>
                      <a:pt x="3792" y="777"/>
                    </a:cubicBezTo>
                    <a:cubicBezTo>
                      <a:pt x="3791" y="776"/>
                      <a:pt x="3791" y="776"/>
                      <a:pt x="3791" y="776"/>
                    </a:cubicBezTo>
                    <a:cubicBezTo>
                      <a:pt x="3789" y="773"/>
                      <a:pt x="3788" y="770"/>
                      <a:pt x="3789" y="764"/>
                    </a:cubicBezTo>
                    <a:cubicBezTo>
                      <a:pt x="3790" y="762"/>
                      <a:pt x="3790" y="761"/>
                      <a:pt x="3789" y="760"/>
                    </a:cubicBezTo>
                    <a:cubicBezTo>
                      <a:pt x="3789" y="760"/>
                      <a:pt x="3789" y="759"/>
                      <a:pt x="3789" y="757"/>
                    </a:cubicBezTo>
                    <a:cubicBezTo>
                      <a:pt x="3789" y="757"/>
                      <a:pt x="3789" y="757"/>
                      <a:pt x="3789" y="756"/>
                    </a:cubicBezTo>
                    <a:cubicBezTo>
                      <a:pt x="3788" y="755"/>
                      <a:pt x="3788" y="751"/>
                      <a:pt x="3792" y="747"/>
                    </a:cubicBezTo>
                    <a:cubicBezTo>
                      <a:pt x="3792" y="747"/>
                      <a:pt x="3792" y="745"/>
                      <a:pt x="3792" y="744"/>
                    </a:cubicBezTo>
                    <a:cubicBezTo>
                      <a:pt x="3783" y="725"/>
                      <a:pt x="3783" y="725"/>
                      <a:pt x="3783" y="725"/>
                    </a:cubicBezTo>
                    <a:cubicBezTo>
                      <a:pt x="3783" y="725"/>
                      <a:pt x="3783" y="725"/>
                      <a:pt x="3783" y="725"/>
                    </a:cubicBezTo>
                    <a:cubicBezTo>
                      <a:pt x="3783" y="725"/>
                      <a:pt x="3766" y="695"/>
                      <a:pt x="3763" y="691"/>
                    </a:cubicBezTo>
                    <a:cubicBezTo>
                      <a:pt x="3763" y="691"/>
                      <a:pt x="3763" y="690"/>
                      <a:pt x="3763" y="690"/>
                    </a:cubicBezTo>
                    <a:cubicBezTo>
                      <a:pt x="3763" y="690"/>
                      <a:pt x="3763" y="690"/>
                      <a:pt x="3762" y="690"/>
                    </a:cubicBezTo>
                    <a:cubicBezTo>
                      <a:pt x="3762" y="691"/>
                      <a:pt x="3761" y="691"/>
                      <a:pt x="3760" y="691"/>
                    </a:cubicBezTo>
                    <a:cubicBezTo>
                      <a:pt x="3758" y="691"/>
                      <a:pt x="3756" y="690"/>
                      <a:pt x="3756" y="688"/>
                    </a:cubicBezTo>
                    <a:cubicBezTo>
                      <a:pt x="3754" y="686"/>
                      <a:pt x="3755" y="682"/>
                      <a:pt x="3761" y="673"/>
                    </a:cubicBezTo>
                    <a:cubicBezTo>
                      <a:pt x="3764" y="668"/>
                      <a:pt x="3767" y="667"/>
                      <a:pt x="3771" y="668"/>
                    </a:cubicBezTo>
                    <a:cubicBezTo>
                      <a:pt x="3771" y="668"/>
                      <a:pt x="3771" y="668"/>
                      <a:pt x="3771" y="668"/>
                    </a:cubicBezTo>
                    <a:cubicBezTo>
                      <a:pt x="3771" y="668"/>
                      <a:pt x="3772" y="668"/>
                      <a:pt x="3772" y="668"/>
                    </a:cubicBezTo>
                    <a:cubicBezTo>
                      <a:pt x="3774" y="666"/>
                      <a:pt x="3776" y="666"/>
                      <a:pt x="3778" y="666"/>
                    </a:cubicBezTo>
                    <a:cubicBezTo>
                      <a:pt x="3779" y="666"/>
                      <a:pt x="3780" y="666"/>
                      <a:pt x="3782" y="666"/>
                    </a:cubicBezTo>
                    <a:cubicBezTo>
                      <a:pt x="3786" y="664"/>
                      <a:pt x="3786" y="664"/>
                      <a:pt x="3786" y="663"/>
                    </a:cubicBezTo>
                    <a:cubicBezTo>
                      <a:pt x="3786" y="659"/>
                      <a:pt x="3786" y="658"/>
                      <a:pt x="3789" y="654"/>
                    </a:cubicBezTo>
                    <a:cubicBezTo>
                      <a:pt x="3791" y="652"/>
                      <a:pt x="3792" y="650"/>
                      <a:pt x="3792" y="648"/>
                    </a:cubicBezTo>
                    <a:cubicBezTo>
                      <a:pt x="3792" y="648"/>
                      <a:pt x="3792" y="647"/>
                      <a:pt x="3792" y="647"/>
                    </a:cubicBezTo>
                    <a:cubicBezTo>
                      <a:pt x="3793" y="644"/>
                      <a:pt x="3793" y="640"/>
                      <a:pt x="3796" y="637"/>
                    </a:cubicBezTo>
                    <a:cubicBezTo>
                      <a:pt x="3799" y="633"/>
                      <a:pt x="3800" y="631"/>
                      <a:pt x="3800" y="631"/>
                    </a:cubicBezTo>
                    <a:cubicBezTo>
                      <a:pt x="3800" y="629"/>
                      <a:pt x="3801" y="625"/>
                      <a:pt x="3805" y="624"/>
                    </a:cubicBezTo>
                    <a:cubicBezTo>
                      <a:pt x="3807" y="623"/>
                      <a:pt x="3809" y="624"/>
                      <a:pt x="3811" y="626"/>
                    </a:cubicBezTo>
                    <a:cubicBezTo>
                      <a:pt x="3812" y="627"/>
                      <a:pt x="3813" y="628"/>
                      <a:pt x="3817" y="630"/>
                    </a:cubicBezTo>
                    <a:cubicBezTo>
                      <a:pt x="3820" y="631"/>
                      <a:pt x="3825" y="631"/>
                      <a:pt x="3830" y="632"/>
                    </a:cubicBezTo>
                    <a:cubicBezTo>
                      <a:pt x="3834" y="632"/>
                      <a:pt x="3834" y="632"/>
                      <a:pt x="3834" y="632"/>
                    </a:cubicBezTo>
                    <a:cubicBezTo>
                      <a:pt x="3836" y="632"/>
                      <a:pt x="3842" y="633"/>
                      <a:pt x="3848" y="633"/>
                    </a:cubicBezTo>
                    <a:cubicBezTo>
                      <a:pt x="3855" y="634"/>
                      <a:pt x="3863" y="635"/>
                      <a:pt x="3868" y="635"/>
                    </a:cubicBezTo>
                    <a:cubicBezTo>
                      <a:pt x="3871" y="636"/>
                      <a:pt x="3873" y="636"/>
                      <a:pt x="3875" y="636"/>
                    </a:cubicBezTo>
                    <a:cubicBezTo>
                      <a:pt x="3878" y="635"/>
                      <a:pt x="3880" y="634"/>
                      <a:pt x="3881" y="633"/>
                    </a:cubicBezTo>
                    <a:cubicBezTo>
                      <a:pt x="3884" y="628"/>
                      <a:pt x="3884" y="624"/>
                      <a:pt x="3884" y="623"/>
                    </a:cubicBezTo>
                    <a:cubicBezTo>
                      <a:pt x="3876" y="618"/>
                      <a:pt x="3877" y="609"/>
                      <a:pt x="3878" y="606"/>
                    </a:cubicBezTo>
                    <a:cubicBezTo>
                      <a:pt x="3878" y="605"/>
                      <a:pt x="3878" y="604"/>
                      <a:pt x="3878" y="602"/>
                    </a:cubicBezTo>
                    <a:cubicBezTo>
                      <a:pt x="3879" y="597"/>
                      <a:pt x="3879" y="591"/>
                      <a:pt x="3884" y="587"/>
                    </a:cubicBezTo>
                    <a:cubicBezTo>
                      <a:pt x="3886" y="585"/>
                      <a:pt x="3886" y="585"/>
                      <a:pt x="3886" y="585"/>
                    </a:cubicBezTo>
                    <a:cubicBezTo>
                      <a:pt x="3889" y="582"/>
                      <a:pt x="3890" y="582"/>
                      <a:pt x="3891" y="578"/>
                    </a:cubicBezTo>
                    <a:cubicBezTo>
                      <a:pt x="3891" y="578"/>
                      <a:pt x="3891" y="578"/>
                      <a:pt x="3891" y="577"/>
                    </a:cubicBezTo>
                    <a:cubicBezTo>
                      <a:pt x="3891" y="576"/>
                      <a:pt x="3891" y="575"/>
                      <a:pt x="3891" y="574"/>
                    </a:cubicBezTo>
                    <a:cubicBezTo>
                      <a:pt x="3890" y="572"/>
                      <a:pt x="3890" y="570"/>
                      <a:pt x="3891" y="568"/>
                    </a:cubicBezTo>
                    <a:cubicBezTo>
                      <a:pt x="3891" y="567"/>
                      <a:pt x="3891" y="567"/>
                      <a:pt x="3891" y="567"/>
                    </a:cubicBezTo>
                    <a:cubicBezTo>
                      <a:pt x="3891" y="567"/>
                      <a:pt x="3891" y="566"/>
                      <a:pt x="3891" y="566"/>
                    </a:cubicBezTo>
                    <a:cubicBezTo>
                      <a:pt x="3888" y="563"/>
                      <a:pt x="3888" y="559"/>
                      <a:pt x="3890" y="556"/>
                    </a:cubicBezTo>
                    <a:cubicBezTo>
                      <a:pt x="3891" y="554"/>
                      <a:pt x="3893" y="554"/>
                      <a:pt x="3894" y="554"/>
                    </a:cubicBezTo>
                    <a:cubicBezTo>
                      <a:pt x="3894" y="554"/>
                      <a:pt x="3895" y="553"/>
                      <a:pt x="3895" y="553"/>
                    </a:cubicBezTo>
                    <a:cubicBezTo>
                      <a:pt x="3895" y="552"/>
                      <a:pt x="3896" y="549"/>
                      <a:pt x="3898" y="546"/>
                    </a:cubicBezTo>
                    <a:cubicBezTo>
                      <a:pt x="3899" y="544"/>
                      <a:pt x="3900" y="541"/>
                      <a:pt x="3899" y="538"/>
                    </a:cubicBezTo>
                    <a:cubicBezTo>
                      <a:pt x="3895" y="533"/>
                      <a:pt x="3897" y="527"/>
                      <a:pt x="3902" y="523"/>
                    </a:cubicBezTo>
                    <a:cubicBezTo>
                      <a:pt x="3904" y="521"/>
                      <a:pt x="3904" y="517"/>
                      <a:pt x="3903" y="516"/>
                    </a:cubicBezTo>
                    <a:cubicBezTo>
                      <a:pt x="3903" y="515"/>
                      <a:pt x="3903" y="515"/>
                      <a:pt x="3903" y="515"/>
                    </a:cubicBezTo>
                    <a:cubicBezTo>
                      <a:pt x="3903" y="513"/>
                      <a:pt x="3903" y="511"/>
                      <a:pt x="3902" y="509"/>
                    </a:cubicBezTo>
                    <a:cubicBezTo>
                      <a:pt x="3900" y="507"/>
                      <a:pt x="3899" y="504"/>
                      <a:pt x="3898" y="501"/>
                    </a:cubicBezTo>
                    <a:cubicBezTo>
                      <a:pt x="3897" y="497"/>
                      <a:pt x="3899" y="489"/>
                      <a:pt x="3901" y="485"/>
                    </a:cubicBezTo>
                    <a:cubicBezTo>
                      <a:pt x="3903" y="481"/>
                      <a:pt x="3903" y="480"/>
                      <a:pt x="3902" y="478"/>
                    </a:cubicBezTo>
                    <a:cubicBezTo>
                      <a:pt x="3902" y="476"/>
                      <a:pt x="3902" y="475"/>
                      <a:pt x="3901" y="472"/>
                    </a:cubicBezTo>
                    <a:cubicBezTo>
                      <a:pt x="3901" y="469"/>
                      <a:pt x="3900" y="466"/>
                      <a:pt x="3900" y="462"/>
                    </a:cubicBezTo>
                    <a:cubicBezTo>
                      <a:pt x="3898" y="452"/>
                      <a:pt x="3900" y="444"/>
                      <a:pt x="3905" y="440"/>
                    </a:cubicBezTo>
                    <a:cubicBezTo>
                      <a:pt x="3906" y="439"/>
                      <a:pt x="3904" y="435"/>
                      <a:pt x="3902" y="433"/>
                    </a:cubicBezTo>
                    <a:cubicBezTo>
                      <a:pt x="3898" y="429"/>
                      <a:pt x="3901" y="421"/>
                      <a:pt x="3903" y="416"/>
                    </a:cubicBezTo>
                    <a:cubicBezTo>
                      <a:pt x="3907" y="410"/>
                      <a:pt x="3914" y="405"/>
                      <a:pt x="3917" y="405"/>
                    </a:cubicBezTo>
                    <a:cubicBezTo>
                      <a:pt x="3918" y="404"/>
                      <a:pt x="3918" y="404"/>
                      <a:pt x="3918" y="404"/>
                    </a:cubicBezTo>
                    <a:cubicBezTo>
                      <a:pt x="3918" y="404"/>
                      <a:pt x="3918" y="404"/>
                      <a:pt x="3919" y="404"/>
                    </a:cubicBezTo>
                    <a:cubicBezTo>
                      <a:pt x="3919" y="404"/>
                      <a:pt x="3919" y="404"/>
                      <a:pt x="3919" y="403"/>
                    </a:cubicBezTo>
                    <a:cubicBezTo>
                      <a:pt x="3919" y="402"/>
                      <a:pt x="3919" y="401"/>
                      <a:pt x="3919" y="401"/>
                    </a:cubicBezTo>
                    <a:cubicBezTo>
                      <a:pt x="3919" y="399"/>
                      <a:pt x="3919" y="398"/>
                      <a:pt x="3920" y="396"/>
                    </a:cubicBezTo>
                    <a:cubicBezTo>
                      <a:pt x="3920" y="395"/>
                      <a:pt x="3921" y="394"/>
                      <a:pt x="3922" y="393"/>
                    </a:cubicBezTo>
                    <a:cubicBezTo>
                      <a:pt x="3922" y="391"/>
                      <a:pt x="3923" y="390"/>
                      <a:pt x="3924" y="386"/>
                    </a:cubicBezTo>
                    <a:cubicBezTo>
                      <a:pt x="3924" y="381"/>
                      <a:pt x="3924" y="380"/>
                      <a:pt x="3923" y="379"/>
                    </a:cubicBezTo>
                    <a:cubicBezTo>
                      <a:pt x="3922" y="379"/>
                      <a:pt x="3922" y="379"/>
                      <a:pt x="3921" y="378"/>
                    </a:cubicBezTo>
                    <a:cubicBezTo>
                      <a:pt x="3920" y="378"/>
                      <a:pt x="3918" y="377"/>
                      <a:pt x="3917" y="374"/>
                    </a:cubicBezTo>
                    <a:cubicBezTo>
                      <a:pt x="3917" y="374"/>
                      <a:pt x="3917" y="373"/>
                      <a:pt x="3917" y="372"/>
                    </a:cubicBezTo>
                    <a:cubicBezTo>
                      <a:pt x="3917" y="372"/>
                      <a:pt x="3917" y="372"/>
                      <a:pt x="3917" y="372"/>
                    </a:cubicBezTo>
                    <a:cubicBezTo>
                      <a:pt x="3911" y="371"/>
                      <a:pt x="3909" y="366"/>
                      <a:pt x="3908" y="363"/>
                    </a:cubicBezTo>
                    <a:cubicBezTo>
                      <a:pt x="3907" y="359"/>
                      <a:pt x="3907" y="356"/>
                      <a:pt x="3910" y="352"/>
                    </a:cubicBezTo>
                    <a:cubicBezTo>
                      <a:pt x="3910" y="350"/>
                      <a:pt x="3910" y="348"/>
                      <a:pt x="3910" y="345"/>
                    </a:cubicBezTo>
                    <a:cubicBezTo>
                      <a:pt x="3910" y="345"/>
                      <a:pt x="3910" y="344"/>
                      <a:pt x="3909" y="343"/>
                    </a:cubicBezTo>
                    <a:cubicBezTo>
                      <a:pt x="3909" y="339"/>
                      <a:pt x="3910" y="336"/>
                      <a:pt x="3912" y="332"/>
                    </a:cubicBezTo>
                    <a:cubicBezTo>
                      <a:pt x="3913" y="331"/>
                      <a:pt x="3914" y="329"/>
                      <a:pt x="3916" y="327"/>
                    </a:cubicBezTo>
                    <a:cubicBezTo>
                      <a:pt x="3914" y="328"/>
                      <a:pt x="3911" y="328"/>
                      <a:pt x="3906" y="328"/>
                    </a:cubicBezTo>
                    <a:cubicBezTo>
                      <a:pt x="3904" y="327"/>
                      <a:pt x="3904" y="327"/>
                      <a:pt x="3903" y="328"/>
                    </a:cubicBezTo>
                    <a:cubicBezTo>
                      <a:pt x="3902" y="329"/>
                      <a:pt x="3900" y="330"/>
                      <a:pt x="3897" y="331"/>
                    </a:cubicBezTo>
                    <a:cubicBezTo>
                      <a:pt x="3895" y="332"/>
                      <a:pt x="3894" y="332"/>
                      <a:pt x="3893" y="332"/>
                    </a:cubicBezTo>
                    <a:cubicBezTo>
                      <a:pt x="3891" y="333"/>
                      <a:pt x="3891" y="333"/>
                      <a:pt x="3888" y="333"/>
                    </a:cubicBezTo>
                    <a:cubicBezTo>
                      <a:pt x="3887" y="334"/>
                      <a:pt x="3886" y="334"/>
                      <a:pt x="3885" y="336"/>
                    </a:cubicBezTo>
                    <a:cubicBezTo>
                      <a:pt x="3884" y="337"/>
                      <a:pt x="3883" y="338"/>
                      <a:pt x="3881" y="338"/>
                    </a:cubicBezTo>
                    <a:cubicBezTo>
                      <a:pt x="3881" y="339"/>
                      <a:pt x="3880" y="339"/>
                      <a:pt x="3880" y="340"/>
                    </a:cubicBezTo>
                    <a:cubicBezTo>
                      <a:pt x="3878" y="341"/>
                      <a:pt x="3877" y="341"/>
                      <a:pt x="3875" y="342"/>
                    </a:cubicBezTo>
                    <a:cubicBezTo>
                      <a:pt x="3875" y="342"/>
                      <a:pt x="3875" y="343"/>
                      <a:pt x="3874" y="344"/>
                    </a:cubicBezTo>
                    <a:cubicBezTo>
                      <a:pt x="3873" y="349"/>
                      <a:pt x="3871" y="350"/>
                      <a:pt x="3866" y="351"/>
                    </a:cubicBezTo>
                    <a:cubicBezTo>
                      <a:pt x="3863" y="351"/>
                      <a:pt x="3861" y="354"/>
                      <a:pt x="3861" y="355"/>
                    </a:cubicBezTo>
                    <a:cubicBezTo>
                      <a:pt x="3860" y="358"/>
                      <a:pt x="3859" y="360"/>
                      <a:pt x="3855" y="361"/>
                    </a:cubicBezTo>
                    <a:cubicBezTo>
                      <a:pt x="3855" y="361"/>
                      <a:pt x="3855" y="362"/>
                      <a:pt x="3854" y="364"/>
                    </a:cubicBezTo>
                    <a:cubicBezTo>
                      <a:pt x="3853" y="371"/>
                      <a:pt x="3846" y="371"/>
                      <a:pt x="3843" y="370"/>
                    </a:cubicBezTo>
                    <a:cubicBezTo>
                      <a:pt x="3843" y="370"/>
                      <a:pt x="3842" y="370"/>
                      <a:pt x="3842" y="370"/>
                    </a:cubicBezTo>
                    <a:cubicBezTo>
                      <a:pt x="3841" y="371"/>
                      <a:pt x="3841" y="371"/>
                      <a:pt x="3840" y="372"/>
                    </a:cubicBezTo>
                    <a:cubicBezTo>
                      <a:pt x="3837" y="375"/>
                      <a:pt x="3832" y="374"/>
                      <a:pt x="3829" y="374"/>
                    </a:cubicBezTo>
                    <a:cubicBezTo>
                      <a:pt x="3828" y="374"/>
                      <a:pt x="3827" y="374"/>
                      <a:pt x="3827" y="374"/>
                    </a:cubicBezTo>
                    <a:cubicBezTo>
                      <a:pt x="3826" y="374"/>
                      <a:pt x="3823" y="377"/>
                      <a:pt x="3823" y="379"/>
                    </a:cubicBezTo>
                    <a:cubicBezTo>
                      <a:pt x="3821" y="385"/>
                      <a:pt x="3818" y="386"/>
                      <a:pt x="3815" y="387"/>
                    </a:cubicBezTo>
                    <a:cubicBezTo>
                      <a:pt x="3815" y="387"/>
                      <a:pt x="3815" y="387"/>
                      <a:pt x="3814" y="387"/>
                    </a:cubicBezTo>
                    <a:cubicBezTo>
                      <a:pt x="3814" y="387"/>
                      <a:pt x="3814" y="388"/>
                      <a:pt x="3814" y="388"/>
                    </a:cubicBezTo>
                    <a:cubicBezTo>
                      <a:pt x="3814" y="390"/>
                      <a:pt x="3814" y="390"/>
                      <a:pt x="3814" y="390"/>
                    </a:cubicBezTo>
                    <a:cubicBezTo>
                      <a:pt x="3814" y="392"/>
                      <a:pt x="3813" y="394"/>
                      <a:pt x="3812" y="395"/>
                    </a:cubicBezTo>
                    <a:cubicBezTo>
                      <a:pt x="3810" y="396"/>
                      <a:pt x="3807" y="396"/>
                      <a:pt x="3806" y="395"/>
                    </a:cubicBezTo>
                    <a:cubicBezTo>
                      <a:pt x="3805" y="395"/>
                      <a:pt x="3805" y="395"/>
                      <a:pt x="3805" y="395"/>
                    </a:cubicBezTo>
                    <a:cubicBezTo>
                      <a:pt x="3805" y="395"/>
                      <a:pt x="3805" y="396"/>
                      <a:pt x="3805" y="396"/>
                    </a:cubicBezTo>
                    <a:cubicBezTo>
                      <a:pt x="3805" y="397"/>
                      <a:pt x="3805" y="398"/>
                      <a:pt x="3805" y="399"/>
                    </a:cubicBezTo>
                    <a:cubicBezTo>
                      <a:pt x="3804" y="401"/>
                      <a:pt x="3804" y="404"/>
                      <a:pt x="3804" y="406"/>
                    </a:cubicBezTo>
                    <a:cubicBezTo>
                      <a:pt x="3805" y="411"/>
                      <a:pt x="3805" y="413"/>
                      <a:pt x="3802" y="416"/>
                    </a:cubicBezTo>
                    <a:cubicBezTo>
                      <a:pt x="3800" y="419"/>
                      <a:pt x="3795" y="420"/>
                      <a:pt x="3789" y="418"/>
                    </a:cubicBezTo>
                    <a:cubicBezTo>
                      <a:pt x="3788" y="417"/>
                      <a:pt x="3788" y="417"/>
                      <a:pt x="3788" y="417"/>
                    </a:cubicBezTo>
                    <a:cubicBezTo>
                      <a:pt x="3787" y="418"/>
                      <a:pt x="3787" y="418"/>
                      <a:pt x="3787" y="419"/>
                    </a:cubicBezTo>
                    <a:cubicBezTo>
                      <a:pt x="3786" y="419"/>
                      <a:pt x="3786" y="419"/>
                      <a:pt x="3786" y="419"/>
                    </a:cubicBezTo>
                    <a:cubicBezTo>
                      <a:pt x="3785" y="422"/>
                      <a:pt x="3783" y="423"/>
                      <a:pt x="3780" y="424"/>
                    </a:cubicBezTo>
                    <a:cubicBezTo>
                      <a:pt x="3779" y="424"/>
                      <a:pt x="3778" y="424"/>
                      <a:pt x="3778" y="424"/>
                    </a:cubicBezTo>
                    <a:cubicBezTo>
                      <a:pt x="3776" y="424"/>
                      <a:pt x="3773" y="424"/>
                      <a:pt x="3773" y="425"/>
                    </a:cubicBezTo>
                    <a:cubicBezTo>
                      <a:pt x="3771" y="426"/>
                      <a:pt x="3770" y="426"/>
                      <a:pt x="3768" y="427"/>
                    </a:cubicBezTo>
                    <a:cubicBezTo>
                      <a:pt x="3767" y="427"/>
                      <a:pt x="3767" y="428"/>
                      <a:pt x="3766" y="428"/>
                    </a:cubicBezTo>
                    <a:cubicBezTo>
                      <a:pt x="3764" y="429"/>
                      <a:pt x="3760" y="429"/>
                      <a:pt x="3756" y="429"/>
                    </a:cubicBezTo>
                    <a:cubicBezTo>
                      <a:pt x="3755" y="429"/>
                      <a:pt x="3755" y="429"/>
                      <a:pt x="3754" y="429"/>
                    </a:cubicBezTo>
                    <a:cubicBezTo>
                      <a:pt x="3753" y="429"/>
                      <a:pt x="3753" y="429"/>
                      <a:pt x="3751" y="431"/>
                    </a:cubicBezTo>
                    <a:cubicBezTo>
                      <a:pt x="3751" y="432"/>
                      <a:pt x="3751" y="432"/>
                      <a:pt x="3751" y="432"/>
                    </a:cubicBezTo>
                    <a:cubicBezTo>
                      <a:pt x="3747" y="436"/>
                      <a:pt x="3740" y="433"/>
                      <a:pt x="3737" y="431"/>
                    </a:cubicBezTo>
                    <a:cubicBezTo>
                      <a:pt x="3736" y="430"/>
                      <a:pt x="3735" y="429"/>
                      <a:pt x="3729" y="430"/>
                    </a:cubicBezTo>
                    <a:cubicBezTo>
                      <a:pt x="3723" y="431"/>
                      <a:pt x="3723" y="432"/>
                      <a:pt x="3722" y="435"/>
                    </a:cubicBezTo>
                    <a:cubicBezTo>
                      <a:pt x="3722" y="435"/>
                      <a:pt x="3722" y="435"/>
                      <a:pt x="3722" y="435"/>
                    </a:cubicBezTo>
                    <a:cubicBezTo>
                      <a:pt x="3719" y="440"/>
                      <a:pt x="3712" y="442"/>
                      <a:pt x="3708" y="441"/>
                    </a:cubicBezTo>
                    <a:cubicBezTo>
                      <a:pt x="3707" y="440"/>
                      <a:pt x="3700" y="437"/>
                      <a:pt x="3699" y="433"/>
                    </a:cubicBezTo>
                    <a:cubicBezTo>
                      <a:pt x="3698" y="431"/>
                      <a:pt x="3697" y="427"/>
                      <a:pt x="3696" y="425"/>
                    </a:cubicBezTo>
                    <a:cubicBezTo>
                      <a:pt x="3694" y="423"/>
                      <a:pt x="3683" y="414"/>
                      <a:pt x="3680" y="412"/>
                    </a:cubicBezTo>
                    <a:cubicBezTo>
                      <a:pt x="3678" y="411"/>
                      <a:pt x="3676" y="409"/>
                      <a:pt x="3675" y="406"/>
                    </a:cubicBezTo>
                    <a:cubicBezTo>
                      <a:pt x="3675" y="402"/>
                      <a:pt x="3675" y="399"/>
                      <a:pt x="3677" y="397"/>
                    </a:cubicBezTo>
                    <a:cubicBezTo>
                      <a:pt x="3678" y="396"/>
                      <a:pt x="3678" y="393"/>
                      <a:pt x="3679" y="391"/>
                    </a:cubicBezTo>
                    <a:cubicBezTo>
                      <a:pt x="3679" y="390"/>
                      <a:pt x="3679" y="389"/>
                      <a:pt x="3679" y="387"/>
                    </a:cubicBezTo>
                    <a:cubicBezTo>
                      <a:pt x="3679" y="387"/>
                      <a:pt x="3679" y="385"/>
                      <a:pt x="3677" y="383"/>
                    </a:cubicBezTo>
                    <a:cubicBezTo>
                      <a:pt x="3676" y="382"/>
                      <a:pt x="3676" y="382"/>
                      <a:pt x="3676" y="382"/>
                    </a:cubicBezTo>
                    <a:cubicBezTo>
                      <a:pt x="3674" y="380"/>
                      <a:pt x="3674" y="378"/>
                      <a:pt x="3674" y="373"/>
                    </a:cubicBezTo>
                    <a:cubicBezTo>
                      <a:pt x="3672" y="376"/>
                      <a:pt x="3669" y="376"/>
                      <a:pt x="3668" y="375"/>
                    </a:cubicBezTo>
                    <a:cubicBezTo>
                      <a:pt x="3665" y="374"/>
                      <a:pt x="3663" y="371"/>
                      <a:pt x="3663" y="367"/>
                    </a:cubicBezTo>
                    <a:cubicBezTo>
                      <a:pt x="3663" y="366"/>
                      <a:pt x="3662" y="364"/>
                      <a:pt x="3662" y="364"/>
                    </a:cubicBezTo>
                    <a:cubicBezTo>
                      <a:pt x="3656" y="362"/>
                      <a:pt x="3657" y="357"/>
                      <a:pt x="3657" y="355"/>
                    </a:cubicBezTo>
                    <a:cubicBezTo>
                      <a:pt x="3657" y="352"/>
                      <a:pt x="3658" y="349"/>
                      <a:pt x="3659" y="346"/>
                    </a:cubicBezTo>
                    <a:cubicBezTo>
                      <a:pt x="3659" y="345"/>
                      <a:pt x="3659" y="344"/>
                      <a:pt x="3660" y="343"/>
                    </a:cubicBezTo>
                    <a:cubicBezTo>
                      <a:pt x="3658" y="343"/>
                      <a:pt x="3656" y="342"/>
                      <a:pt x="3654" y="342"/>
                    </a:cubicBezTo>
                    <a:cubicBezTo>
                      <a:pt x="3653" y="341"/>
                      <a:pt x="3652" y="341"/>
                      <a:pt x="3651" y="340"/>
                    </a:cubicBezTo>
                    <a:cubicBezTo>
                      <a:pt x="3649" y="339"/>
                      <a:pt x="3648" y="339"/>
                      <a:pt x="3647" y="339"/>
                    </a:cubicBezTo>
                    <a:cubicBezTo>
                      <a:pt x="3647" y="339"/>
                      <a:pt x="3647" y="339"/>
                      <a:pt x="3647" y="339"/>
                    </a:cubicBezTo>
                    <a:cubicBezTo>
                      <a:pt x="3643" y="344"/>
                      <a:pt x="3636" y="341"/>
                      <a:pt x="3633" y="340"/>
                    </a:cubicBezTo>
                    <a:cubicBezTo>
                      <a:pt x="3629" y="339"/>
                      <a:pt x="3625" y="335"/>
                      <a:pt x="3621" y="333"/>
                    </a:cubicBezTo>
                    <a:cubicBezTo>
                      <a:pt x="3621" y="332"/>
                      <a:pt x="3621" y="332"/>
                      <a:pt x="3621" y="332"/>
                    </a:cubicBezTo>
                    <a:cubicBezTo>
                      <a:pt x="3620" y="331"/>
                      <a:pt x="3619" y="330"/>
                      <a:pt x="3617" y="329"/>
                    </a:cubicBezTo>
                    <a:cubicBezTo>
                      <a:pt x="3616" y="327"/>
                      <a:pt x="3613" y="324"/>
                      <a:pt x="3611" y="323"/>
                    </a:cubicBezTo>
                    <a:cubicBezTo>
                      <a:pt x="3610" y="322"/>
                      <a:pt x="3609" y="322"/>
                      <a:pt x="3608" y="322"/>
                    </a:cubicBezTo>
                    <a:cubicBezTo>
                      <a:pt x="3604" y="322"/>
                      <a:pt x="3602" y="319"/>
                      <a:pt x="3601" y="317"/>
                    </a:cubicBezTo>
                    <a:cubicBezTo>
                      <a:pt x="3601" y="317"/>
                      <a:pt x="3600" y="316"/>
                      <a:pt x="3600" y="316"/>
                    </a:cubicBezTo>
                    <a:cubicBezTo>
                      <a:pt x="3600" y="315"/>
                      <a:pt x="3599" y="315"/>
                      <a:pt x="3599" y="315"/>
                    </a:cubicBezTo>
                    <a:cubicBezTo>
                      <a:pt x="3597" y="316"/>
                      <a:pt x="3595" y="316"/>
                      <a:pt x="3593" y="315"/>
                    </a:cubicBezTo>
                    <a:cubicBezTo>
                      <a:pt x="3590" y="313"/>
                      <a:pt x="3589" y="310"/>
                      <a:pt x="3589" y="306"/>
                    </a:cubicBezTo>
                    <a:cubicBezTo>
                      <a:pt x="3588" y="306"/>
                      <a:pt x="3585" y="305"/>
                      <a:pt x="3584" y="305"/>
                    </a:cubicBezTo>
                    <a:cubicBezTo>
                      <a:pt x="3584" y="305"/>
                      <a:pt x="3584" y="305"/>
                      <a:pt x="3584" y="305"/>
                    </a:cubicBezTo>
                    <a:cubicBezTo>
                      <a:pt x="3584" y="308"/>
                      <a:pt x="3583" y="310"/>
                      <a:pt x="3581" y="311"/>
                    </a:cubicBezTo>
                    <a:cubicBezTo>
                      <a:pt x="3579" y="312"/>
                      <a:pt x="3576" y="312"/>
                      <a:pt x="3574" y="311"/>
                    </a:cubicBezTo>
                    <a:cubicBezTo>
                      <a:pt x="3574" y="311"/>
                      <a:pt x="3574" y="311"/>
                      <a:pt x="3574" y="311"/>
                    </a:cubicBezTo>
                    <a:cubicBezTo>
                      <a:pt x="3574" y="311"/>
                      <a:pt x="3573" y="311"/>
                      <a:pt x="3573" y="311"/>
                    </a:cubicBezTo>
                    <a:cubicBezTo>
                      <a:pt x="3571" y="313"/>
                      <a:pt x="3571" y="313"/>
                      <a:pt x="3571" y="313"/>
                    </a:cubicBezTo>
                    <a:cubicBezTo>
                      <a:pt x="3569" y="314"/>
                      <a:pt x="3566" y="316"/>
                      <a:pt x="3563" y="315"/>
                    </a:cubicBezTo>
                    <a:cubicBezTo>
                      <a:pt x="3559" y="314"/>
                      <a:pt x="3558" y="310"/>
                      <a:pt x="3557" y="308"/>
                    </a:cubicBezTo>
                    <a:cubicBezTo>
                      <a:pt x="3557" y="306"/>
                      <a:pt x="3556" y="306"/>
                      <a:pt x="3549" y="307"/>
                    </a:cubicBezTo>
                    <a:cubicBezTo>
                      <a:pt x="3548" y="308"/>
                      <a:pt x="3548" y="308"/>
                      <a:pt x="3548" y="308"/>
                    </a:cubicBezTo>
                    <a:cubicBezTo>
                      <a:pt x="3544" y="309"/>
                      <a:pt x="3542" y="307"/>
                      <a:pt x="3541" y="306"/>
                    </a:cubicBezTo>
                    <a:cubicBezTo>
                      <a:pt x="3539" y="305"/>
                      <a:pt x="3539" y="303"/>
                      <a:pt x="3539" y="301"/>
                    </a:cubicBezTo>
                    <a:cubicBezTo>
                      <a:pt x="3537" y="302"/>
                      <a:pt x="3535" y="301"/>
                      <a:pt x="3534" y="301"/>
                    </a:cubicBezTo>
                    <a:cubicBezTo>
                      <a:pt x="3532" y="300"/>
                      <a:pt x="3532" y="300"/>
                      <a:pt x="3531" y="300"/>
                    </a:cubicBezTo>
                    <a:cubicBezTo>
                      <a:pt x="3527" y="303"/>
                      <a:pt x="3523" y="304"/>
                      <a:pt x="3519" y="306"/>
                    </a:cubicBezTo>
                    <a:cubicBezTo>
                      <a:pt x="3516" y="307"/>
                      <a:pt x="3513" y="308"/>
                      <a:pt x="3510" y="310"/>
                    </a:cubicBezTo>
                    <a:cubicBezTo>
                      <a:pt x="3506" y="312"/>
                      <a:pt x="3499" y="312"/>
                      <a:pt x="3495" y="306"/>
                    </a:cubicBezTo>
                    <a:cubicBezTo>
                      <a:pt x="3495" y="306"/>
                      <a:pt x="3495" y="306"/>
                      <a:pt x="3495" y="306"/>
                    </a:cubicBezTo>
                    <a:cubicBezTo>
                      <a:pt x="3494" y="307"/>
                      <a:pt x="3493" y="308"/>
                      <a:pt x="3491" y="308"/>
                    </a:cubicBezTo>
                    <a:cubicBezTo>
                      <a:pt x="3488" y="309"/>
                      <a:pt x="3485" y="308"/>
                      <a:pt x="3483" y="306"/>
                    </a:cubicBezTo>
                    <a:cubicBezTo>
                      <a:pt x="3481" y="305"/>
                      <a:pt x="3474" y="300"/>
                      <a:pt x="3474" y="293"/>
                    </a:cubicBezTo>
                    <a:cubicBezTo>
                      <a:pt x="3473" y="293"/>
                      <a:pt x="3471" y="294"/>
                      <a:pt x="3470" y="293"/>
                    </a:cubicBezTo>
                    <a:cubicBezTo>
                      <a:pt x="3466" y="293"/>
                      <a:pt x="3462" y="291"/>
                      <a:pt x="3463" y="281"/>
                    </a:cubicBezTo>
                    <a:cubicBezTo>
                      <a:pt x="3463" y="280"/>
                      <a:pt x="3463" y="280"/>
                      <a:pt x="3463" y="280"/>
                    </a:cubicBezTo>
                    <a:cubicBezTo>
                      <a:pt x="3463" y="279"/>
                      <a:pt x="3463" y="278"/>
                      <a:pt x="3463" y="277"/>
                    </a:cubicBezTo>
                    <a:cubicBezTo>
                      <a:pt x="3463" y="277"/>
                      <a:pt x="3463" y="277"/>
                      <a:pt x="3463" y="277"/>
                    </a:cubicBezTo>
                    <a:cubicBezTo>
                      <a:pt x="3463" y="277"/>
                      <a:pt x="3462" y="277"/>
                      <a:pt x="3462" y="277"/>
                    </a:cubicBezTo>
                    <a:cubicBezTo>
                      <a:pt x="3462" y="276"/>
                      <a:pt x="3462" y="276"/>
                      <a:pt x="3462" y="276"/>
                    </a:cubicBezTo>
                    <a:cubicBezTo>
                      <a:pt x="3458" y="272"/>
                      <a:pt x="3460" y="267"/>
                      <a:pt x="3462" y="258"/>
                    </a:cubicBezTo>
                    <a:cubicBezTo>
                      <a:pt x="3463" y="255"/>
                      <a:pt x="3462" y="253"/>
                      <a:pt x="3462" y="253"/>
                    </a:cubicBezTo>
                    <a:cubicBezTo>
                      <a:pt x="3460" y="253"/>
                      <a:pt x="3458" y="252"/>
                      <a:pt x="3456" y="252"/>
                    </a:cubicBezTo>
                    <a:cubicBezTo>
                      <a:pt x="3454" y="251"/>
                      <a:pt x="3452" y="249"/>
                      <a:pt x="3450" y="248"/>
                    </a:cubicBezTo>
                    <a:cubicBezTo>
                      <a:pt x="3447" y="246"/>
                      <a:pt x="3446" y="243"/>
                      <a:pt x="3445" y="240"/>
                    </a:cubicBezTo>
                    <a:cubicBezTo>
                      <a:pt x="3445" y="238"/>
                      <a:pt x="3444" y="237"/>
                      <a:pt x="3443" y="236"/>
                    </a:cubicBezTo>
                    <a:cubicBezTo>
                      <a:pt x="3439" y="232"/>
                      <a:pt x="3441" y="227"/>
                      <a:pt x="3443" y="223"/>
                    </a:cubicBezTo>
                    <a:cubicBezTo>
                      <a:pt x="3443" y="223"/>
                      <a:pt x="3443" y="223"/>
                      <a:pt x="3443" y="223"/>
                    </a:cubicBezTo>
                    <a:cubicBezTo>
                      <a:pt x="3443" y="223"/>
                      <a:pt x="3443" y="220"/>
                      <a:pt x="3441" y="217"/>
                    </a:cubicBezTo>
                    <a:cubicBezTo>
                      <a:pt x="3440" y="215"/>
                      <a:pt x="3437" y="213"/>
                      <a:pt x="3436" y="211"/>
                    </a:cubicBezTo>
                    <a:cubicBezTo>
                      <a:pt x="3435" y="210"/>
                      <a:pt x="3434" y="210"/>
                      <a:pt x="3433" y="209"/>
                    </a:cubicBezTo>
                    <a:cubicBezTo>
                      <a:pt x="3432" y="208"/>
                      <a:pt x="3430" y="205"/>
                      <a:pt x="3429" y="203"/>
                    </a:cubicBezTo>
                    <a:cubicBezTo>
                      <a:pt x="3428" y="202"/>
                      <a:pt x="3428" y="201"/>
                      <a:pt x="3428" y="201"/>
                    </a:cubicBezTo>
                    <a:cubicBezTo>
                      <a:pt x="3427" y="199"/>
                      <a:pt x="3427" y="198"/>
                      <a:pt x="3426" y="197"/>
                    </a:cubicBezTo>
                    <a:cubicBezTo>
                      <a:pt x="3425" y="196"/>
                      <a:pt x="3422" y="194"/>
                      <a:pt x="3420" y="193"/>
                    </a:cubicBezTo>
                    <a:cubicBezTo>
                      <a:pt x="3417" y="192"/>
                      <a:pt x="3415" y="191"/>
                      <a:pt x="3413" y="190"/>
                    </a:cubicBezTo>
                    <a:cubicBezTo>
                      <a:pt x="3409" y="186"/>
                      <a:pt x="3408" y="181"/>
                      <a:pt x="3408" y="180"/>
                    </a:cubicBezTo>
                    <a:cubicBezTo>
                      <a:pt x="3408" y="179"/>
                      <a:pt x="3408" y="176"/>
                      <a:pt x="3409" y="173"/>
                    </a:cubicBezTo>
                    <a:cubicBezTo>
                      <a:pt x="3406" y="173"/>
                      <a:pt x="3403" y="173"/>
                      <a:pt x="3402" y="172"/>
                    </a:cubicBezTo>
                    <a:cubicBezTo>
                      <a:pt x="3400" y="171"/>
                      <a:pt x="3399" y="169"/>
                      <a:pt x="3399" y="168"/>
                    </a:cubicBezTo>
                    <a:cubicBezTo>
                      <a:pt x="3399" y="165"/>
                      <a:pt x="3399" y="162"/>
                      <a:pt x="3403" y="158"/>
                    </a:cubicBezTo>
                    <a:cubicBezTo>
                      <a:pt x="3402" y="157"/>
                      <a:pt x="3402" y="157"/>
                      <a:pt x="3402" y="157"/>
                    </a:cubicBezTo>
                    <a:cubicBezTo>
                      <a:pt x="3398" y="155"/>
                      <a:pt x="3398" y="151"/>
                      <a:pt x="3398" y="149"/>
                    </a:cubicBezTo>
                    <a:cubicBezTo>
                      <a:pt x="3394" y="149"/>
                      <a:pt x="3390" y="145"/>
                      <a:pt x="3390" y="138"/>
                    </a:cubicBezTo>
                    <a:cubicBezTo>
                      <a:pt x="3389" y="134"/>
                      <a:pt x="3388" y="132"/>
                      <a:pt x="3388" y="131"/>
                    </a:cubicBezTo>
                    <a:cubicBezTo>
                      <a:pt x="3386" y="130"/>
                      <a:pt x="3381" y="127"/>
                      <a:pt x="3379" y="124"/>
                    </a:cubicBezTo>
                    <a:cubicBezTo>
                      <a:pt x="3379" y="123"/>
                      <a:pt x="3377" y="121"/>
                      <a:pt x="3376" y="119"/>
                    </a:cubicBezTo>
                    <a:cubicBezTo>
                      <a:pt x="3374" y="118"/>
                      <a:pt x="3373" y="116"/>
                      <a:pt x="3372" y="115"/>
                    </a:cubicBezTo>
                    <a:cubicBezTo>
                      <a:pt x="3369" y="111"/>
                      <a:pt x="3369" y="105"/>
                      <a:pt x="3373" y="102"/>
                    </a:cubicBezTo>
                    <a:cubicBezTo>
                      <a:pt x="3373" y="101"/>
                      <a:pt x="3373" y="100"/>
                      <a:pt x="3373" y="99"/>
                    </a:cubicBezTo>
                    <a:cubicBezTo>
                      <a:pt x="3372" y="99"/>
                      <a:pt x="3371" y="99"/>
                      <a:pt x="3370" y="99"/>
                    </a:cubicBezTo>
                    <a:cubicBezTo>
                      <a:pt x="3365" y="98"/>
                      <a:pt x="3361" y="98"/>
                      <a:pt x="3361" y="94"/>
                    </a:cubicBezTo>
                    <a:cubicBezTo>
                      <a:pt x="3361" y="93"/>
                      <a:pt x="3361" y="93"/>
                      <a:pt x="3361" y="93"/>
                    </a:cubicBezTo>
                    <a:cubicBezTo>
                      <a:pt x="3360" y="92"/>
                      <a:pt x="3359" y="88"/>
                      <a:pt x="3363" y="85"/>
                    </a:cubicBezTo>
                    <a:cubicBezTo>
                      <a:pt x="3363" y="84"/>
                      <a:pt x="3363" y="84"/>
                      <a:pt x="3363" y="83"/>
                    </a:cubicBezTo>
                    <a:cubicBezTo>
                      <a:pt x="3363" y="83"/>
                      <a:pt x="3361" y="81"/>
                      <a:pt x="3358" y="80"/>
                    </a:cubicBezTo>
                    <a:cubicBezTo>
                      <a:pt x="3357" y="80"/>
                      <a:pt x="3357" y="80"/>
                      <a:pt x="3357" y="80"/>
                    </a:cubicBezTo>
                    <a:cubicBezTo>
                      <a:pt x="3356" y="79"/>
                      <a:pt x="3350" y="76"/>
                      <a:pt x="3347" y="70"/>
                    </a:cubicBezTo>
                    <a:cubicBezTo>
                      <a:pt x="3346" y="69"/>
                      <a:pt x="3346" y="69"/>
                      <a:pt x="3346" y="69"/>
                    </a:cubicBezTo>
                    <a:cubicBezTo>
                      <a:pt x="3346" y="69"/>
                      <a:pt x="3345" y="69"/>
                      <a:pt x="3345" y="69"/>
                    </a:cubicBezTo>
                    <a:cubicBezTo>
                      <a:pt x="3344" y="70"/>
                      <a:pt x="3341" y="71"/>
                      <a:pt x="3339" y="70"/>
                    </a:cubicBezTo>
                    <a:cubicBezTo>
                      <a:pt x="3337" y="69"/>
                      <a:pt x="3335" y="67"/>
                      <a:pt x="3334" y="64"/>
                    </a:cubicBezTo>
                    <a:cubicBezTo>
                      <a:pt x="3332" y="60"/>
                      <a:pt x="3335" y="57"/>
                      <a:pt x="3336" y="55"/>
                    </a:cubicBezTo>
                    <a:cubicBezTo>
                      <a:pt x="3336" y="55"/>
                      <a:pt x="3336" y="55"/>
                      <a:pt x="3337" y="54"/>
                    </a:cubicBezTo>
                    <a:cubicBezTo>
                      <a:pt x="3337" y="54"/>
                      <a:pt x="3338" y="53"/>
                      <a:pt x="3338" y="52"/>
                    </a:cubicBezTo>
                    <a:cubicBezTo>
                      <a:pt x="3338" y="53"/>
                      <a:pt x="3337" y="53"/>
                      <a:pt x="3337" y="53"/>
                    </a:cubicBezTo>
                    <a:cubicBezTo>
                      <a:pt x="3336" y="53"/>
                      <a:pt x="3336" y="53"/>
                      <a:pt x="3336" y="53"/>
                    </a:cubicBezTo>
                    <a:cubicBezTo>
                      <a:pt x="3331" y="53"/>
                      <a:pt x="3328" y="49"/>
                      <a:pt x="3326" y="46"/>
                    </a:cubicBezTo>
                    <a:cubicBezTo>
                      <a:pt x="3326" y="45"/>
                      <a:pt x="3325" y="45"/>
                      <a:pt x="3325" y="45"/>
                    </a:cubicBezTo>
                    <a:cubicBezTo>
                      <a:pt x="3325" y="45"/>
                      <a:pt x="3324" y="45"/>
                      <a:pt x="3324" y="46"/>
                    </a:cubicBezTo>
                    <a:cubicBezTo>
                      <a:pt x="3323" y="46"/>
                      <a:pt x="3323" y="47"/>
                      <a:pt x="3322" y="47"/>
                    </a:cubicBezTo>
                    <a:cubicBezTo>
                      <a:pt x="3320" y="49"/>
                      <a:pt x="3316" y="48"/>
                      <a:pt x="3314" y="46"/>
                    </a:cubicBezTo>
                    <a:cubicBezTo>
                      <a:pt x="3311" y="43"/>
                      <a:pt x="3311" y="40"/>
                      <a:pt x="3314" y="37"/>
                    </a:cubicBezTo>
                    <a:cubicBezTo>
                      <a:pt x="3314" y="37"/>
                      <a:pt x="3314" y="37"/>
                      <a:pt x="3314" y="37"/>
                    </a:cubicBezTo>
                    <a:cubicBezTo>
                      <a:pt x="3314" y="37"/>
                      <a:pt x="3314" y="36"/>
                      <a:pt x="3313" y="34"/>
                    </a:cubicBezTo>
                    <a:cubicBezTo>
                      <a:pt x="3313" y="34"/>
                      <a:pt x="3313" y="33"/>
                      <a:pt x="3313" y="33"/>
                    </a:cubicBezTo>
                    <a:cubicBezTo>
                      <a:pt x="3312" y="33"/>
                      <a:pt x="3308" y="33"/>
                      <a:pt x="3306" y="33"/>
                    </a:cubicBezTo>
                    <a:cubicBezTo>
                      <a:pt x="3302" y="33"/>
                      <a:pt x="3300" y="33"/>
                      <a:pt x="3293" y="29"/>
                    </a:cubicBezTo>
                    <a:cubicBezTo>
                      <a:pt x="3285" y="25"/>
                      <a:pt x="3283" y="25"/>
                      <a:pt x="3278" y="25"/>
                    </a:cubicBezTo>
                    <a:cubicBezTo>
                      <a:pt x="3276" y="25"/>
                      <a:pt x="3276" y="25"/>
                      <a:pt x="3275" y="27"/>
                    </a:cubicBezTo>
                    <a:cubicBezTo>
                      <a:pt x="3275" y="28"/>
                      <a:pt x="3275" y="29"/>
                      <a:pt x="3274" y="30"/>
                    </a:cubicBezTo>
                    <a:cubicBezTo>
                      <a:pt x="3273" y="32"/>
                      <a:pt x="3271" y="33"/>
                      <a:pt x="3269" y="33"/>
                    </a:cubicBezTo>
                    <a:cubicBezTo>
                      <a:pt x="3267" y="34"/>
                      <a:pt x="3264" y="33"/>
                      <a:pt x="3260" y="30"/>
                    </a:cubicBezTo>
                    <a:cubicBezTo>
                      <a:pt x="3258" y="28"/>
                      <a:pt x="3257" y="28"/>
                      <a:pt x="3253" y="30"/>
                    </a:cubicBezTo>
                    <a:cubicBezTo>
                      <a:pt x="3246" y="33"/>
                      <a:pt x="3241" y="25"/>
                      <a:pt x="3237" y="20"/>
                    </a:cubicBezTo>
                    <a:cubicBezTo>
                      <a:pt x="3236" y="19"/>
                      <a:pt x="3236" y="19"/>
                      <a:pt x="3235" y="18"/>
                    </a:cubicBezTo>
                    <a:cubicBezTo>
                      <a:pt x="3234" y="17"/>
                      <a:pt x="3231" y="18"/>
                      <a:pt x="3231" y="18"/>
                    </a:cubicBezTo>
                    <a:cubicBezTo>
                      <a:pt x="3227" y="21"/>
                      <a:pt x="3222" y="20"/>
                      <a:pt x="3219" y="17"/>
                    </a:cubicBezTo>
                    <a:cubicBezTo>
                      <a:pt x="3218" y="17"/>
                      <a:pt x="3217" y="16"/>
                      <a:pt x="3216" y="15"/>
                    </a:cubicBezTo>
                    <a:cubicBezTo>
                      <a:pt x="3213" y="14"/>
                      <a:pt x="3209" y="12"/>
                      <a:pt x="3207" y="10"/>
                    </a:cubicBezTo>
                    <a:cubicBezTo>
                      <a:pt x="3204" y="8"/>
                      <a:pt x="3200" y="9"/>
                      <a:pt x="3199" y="10"/>
                    </a:cubicBezTo>
                    <a:cubicBezTo>
                      <a:pt x="3197" y="12"/>
                      <a:pt x="3194" y="13"/>
                      <a:pt x="3192" y="11"/>
                    </a:cubicBezTo>
                    <a:cubicBezTo>
                      <a:pt x="3189" y="14"/>
                      <a:pt x="3184" y="13"/>
                      <a:pt x="3181" y="12"/>
                    </a:cubicBezTo>
                    <a:cubicBezTo>
                      <a:pt x="3180" y="11"/>
                      <a:pt x="3179" y="11"/>
                      <a:pt x="3179" y="11"/>
                    </a:cubicBezTo>
                    <a:cubicBezTo>
                      <a:pt x="3177" y="12"/>
                      <a:pt x="3176" y="13"/>
                      <a:pt x="3174" y="15"/>
                    </a:cubicBezTo>
                    <a:cubicBezTo>
                      <a:pt x="3172" y="16"/>
                      <a:pt x="3172" y="16"/>
                      <a:pt x="3172" y="16"/>
                    </a:cubicBezTo>
                    <a:cubicBezTo>
                      <a:pt x="3169" y="18"/>
                      <a:pt x="3166" y="18"/>
                      <a:pt x="3164" y="18"/>
                    </a:cubicBezTo>
                    <a:cubicBezTo>
                      <a:pt x="3164" y="18"/>
                      <a:pt x="3163" y="18"/>
                      <a:pt x="3163" y="18"/>
                    </a:cubicBezTo>
                    <a:cubicBezTo>
                      <a:pt x="3159" y="22"/>
                      <a:pt x="3152" y="23"/>
                      <a:pt x="3150" y="23"/>
                    </a:cubicBezTo>
                    <a:cubicBezTo>
                      <a:pt x="3149" y="23"/>
                      <a:pt x="3148" y="23"/>
                      <a:pt x="3147" y="23"/>
                    </a:cubicBezTo>
                    <a:cubicBezTo>
                      <a:pt x="3145" y="24"/>
                      <a:pt x="3144" y="24"/>
                      <a:pt x="3141" y="24"/>
                    </a:cubicBezTo>
                    <a:cubicBezTo>
                      <a:pt x="3137" y="25"/>
                      <a:pt x="3134" y="25"/>
                      <a:pt x="3126" y="23"/>
                    </a:cubicBezTo>
                    <a:cubicBezTo>
                      <a:pt x="3122" y="22"/>
                      <a:pt x="3120" y="23"/>
                      <a:pt x="3118" y="26"/>
                    </a:cubicBezTo>
                    <a:cubicBezTo>
                      <a:pt x="3117" y="26"/>
                      <a:pt x="3117" y="26"/>
                      <a:pt x="3117" y="26"/>
                    </a:cubicBezTo>
                    <a:cubicBezTo>
                      <a:pt x="3115" y="29"/>
                      <a:pt x="3113" y="31"/>
                      <a:pt x="3106" y="31"/>
                    </a:cubicBezTo>
                    <a:cubicBezTo>
                      <a:pt x="3102" y="32"/>
                      <a:pt x="3101" y="32"/>
                      <a:pt x="3099" y="33"/>
                    </a:cubicBezTo>
                    <a:cubicBezTo>
                      <a:pt x="3098" y="34"/>
                      <a:pt x="3097" y="34"/>
                      <a:pt x="3095" y="35"/>
                    </a:cubicBezTo>
                    <a:cubicBezTo>
                      <a:pt x="3091" y="37"/>
                      <a:pt x="3087" y="39"/>
                      <a:pt x="3083" y="41"/>
                    </a:cubicBezTo>
                    <a:cubicBezTo>
                      <a:pt x="3081" y="42"/>
                      <a:pt x="3079" y="43"/>
                      <a:pt x="3077" y="44"/>
                    </a:cubicBezTo>
                    <a:cubicBezTo>
                      <a:pt x="3072" y="47"/>
                      <a:pt x="3064" y="48"/>
                      <a:pt x="3051" y="48"/>
                    </a:cubicBezTo>
                    <a:cubicBezTo>
                      <a:pt x="3047" y="48"/>
                      <a:pt x="3046" y="49"/>
                      <a:pt x="3046" y="49"/>
                    </a:cubicBezTo>
                    <a:cubicBezTo>
                      <a:pt x="3046" y="49"/>
                      <a:pt x="3046" y="49"/>
                      <a:pt x="3046" y="49"/>
                    </a:cubicBezTo>
                    <a:cubicBezTo>
                      <a:pt x="3046" y="49"/>
                      <a:pt x="3046" y="50"/>
                      <a:pt x="3046" y="50"/>
                    </a:cubicBezTo>
                    <a:cubicBezTo>
                      <a:pt x="3046" y="51"/>
                      <a:pt x="3046" y="51"/>
                      <a:pt x="3045" y="52"/>
                    </a:cubicBezTo>
                    <a:cubicBezTo>
                      <a:pt x="3045" y="55"/>
                      <a:pt x="3044" y="56"/>
                      <a:pt x="3042" y="59"/>
                    </a:cubicBezTo>
                    <a:cubicBezTo>
                      <a:pt x="3042" y="59"/>
                      <a:pt x="3041" y="60"/>
                      <a:pt x="3040" y="62"/>
                    </a:cubicBezTo>
                    <a:cubicBezTo>
                      <a:pt x="3038" y="64"/>
                      <a:pt x="3036" y="67"/>
                      <a:pt x="3034" y="69"/>
                    </a:cubicBezTo>
                    <a:cubicBezTo>
                      <a:pt x="3030" y="72"/>
                      <a:pt x="3027" y="76"/>
                      <a:pt x="3026" y="79"/>
                    </a:cubicBezTo>
                    <a:cubicBezTo>
                      <a:pt x="3022" y="85"/>
                      <a:pt x="3021" y="86"/>
                      <a:pt x="3018" y="89"/>
                    </a:cubicBezTo>
                    <a:cubicBezTo>
                      <a:pt x="3017" y="90"/>
                      <a:pt x="3017" y="90"/>
                      <a:pt x="3017" y="90"/>
                    </a:cubicBezTo>
                    <a:cubicBezTo>
                      <a:pt x="3016" y="90"/>
                      <a:pt x="3016" y="90"/>
                      <a:pt x="3016" y="91"/>
                    </a:cubicBezTo>
                    <a:cubicBezTo>
                      <a:pt x="3019" y="94"/>
                      <a:pt x="3019" y="96"/>
                      <a:pt x="3017" y="99"/>
                    </a:cubicBezTo>
                    <a:cubicBezTo>
                      <a:pt x="3017" y="100"/>
                      <a:pt x="3016" y="100"/>
                      <a:pt x="3016" y="101"/>
                    </a:cubicBezTo>
                    <a:cubicBezTo>
                      <a:pt x="3016" y="101"/>
                      <a:pt x="3015" y="103"/>
                      <a:pt x="3015" y="103"/>
                    </a:cubicBezTo>
                    <a:cubicBezTo>
                      <a:pt x="3015" y="103"/>
                      <a:pt x="3016" y="103"/>
                      <a:pt x="3016" y="103"/>
                    </a:cubicBezTo>
                    <a:cubicBezTo>
                      <a:pt x="3016" y="104"/>
                      <a:pt x="3016" y="104"/>
                      <a:pt x="3016" y="104"/>
                    </a:cubicBezTo>
                    <a:cubicBezTo>
                      <a:pt x="3017" y="103"/>
                      <a:pt x="3020" y="103"/>
                      <a:pt x="3024" y="100"/>
                    </a:cubicBezTo>
                    <a:cubicBezTo>
                      <a:pt x="3032" y="95"/>
                      <a:pt x="3039" y="99"/>
                      <a:pt x="3043" y="102"/>
                    </a:cubicBezTo>
                    <a:cubicBezTo>
                      <a:pt x="3044" y="102"/>
                      <a:pt x="3044" y="103"/>
                      <a:pt x="3045" y="103"/>
                    </a:cubicBezTo>
                    <a:cubicBezTo>
                      <a:pt x="3049" y="105"/>
                      <a:pt x="3051" y="108"/>
                      <a:pt x="3051" y="111"/>
                    </a:cubicBezTo>
                    <a:cubicBezTo>
                      <a:pt x="3051" y="112"/>
                      <a:pt x="3051" y="112"/>
                      <a:pt x="3051" y="112"/>
                    </a:cubicBezTo>
                    <a:cubicBezTo>
                      <a:pt x="3051" y="115"/>
                      <a:pt x="3051" y="117"/>
                      <a:pt x="3049" y="123"/>
                    </a:cubicBezTo>
                    <a:cubicBezTo>
                      <a:pt x="3048" y="127"/>
                      <a:pt x="3048" y="127"/>
                      <a:pt x="3048" y="127"/>
                    </a:cubicBezTo>
                    <a:cubicBezTo>
                      <a:pt x="3049" y="128"/>
                      <a:pt x="3050" y="128"/>
                      <a:pt x="3051" y="129"/>
                    </a:cubicBezTo>
                    <a:cubicBezTo>
                      <a:pt x="3057" y="131"/>
                      <a:pt x="3056" y="139"/>
                      <a:pt x="3056" y="144"/>
                    </a:cubicBezTo>
                    <a:cubicBezTo>
                      <a:pt x="3056" y="146"/>
                      <a:pt x="3056" y="147"/>
                      <a:pt x="3056" y="148"/>
                    </a:cubicBezTo>
                    <a:cubicBezTo>
                      <a:pt x="3057" y="153"/>
                      <a:pt x="3057" y="155"/>
                      <a:pt x="3055" y="158"/>
                    </a:cubicBezTo>
                    <a:cubicBezTo>
                      <a:pt x="3054" y="160"/>
                      <a:pt x="3051" y="163"/>
                      <a:pt x="3044" y="169"/>
                    </a:cubicBezTo>
                    <a:cubicBezTo>
                      <a:pt x="3042" y="171"/>
                      <a:pt x="3039" y="173"/>
                      <a:pt x="3038" y="174"/>
                    </a:cubicBezTo>
                    <a:cubicBezTo>
                      <a:pt x="3037" y="175"/>
                      <a:pt x="3037" y="175"/>
                      <a:pt x="3037" y="175"/>
                    </a:cubicBezTo>
                    <a:cubicBezTo>
                      <a:pt x="3033" y="180"/>
                      <a:pt x="3029" y="185"/>
                      <a:pt x="3027" y="187"/>
                    </a:cubicBezTo>
                    <a:cubicBezTo>
                      <a:pt x="3026" y="187"/>
                      <a:pt x="3026" y="187"/>
                      <a:pt x="3025" y="188"/>
                    </a:cubicBezTo>
                    <a:cubicBezTo>
                      <a:pt x="3024" y="189"/>
                      <a:pt x="3023" y="190"/>
                      <a:pt x="3023" y="190"/>
                    </a:cubicBezTo>
                    <a:cubicBezTo>
                      <a:pt x="3023" y="191"/>
                      <a:pt x="3023" y="192"/>
                      <a:pt x="3023" y="193"/>
                    </a:cubicBezTo>
                    <a:cubicBezTo>
                      <a:pt x="3023" y="194"/>
                      <a:pt x="3023" y="196"/>
                      <a:pt x="3023" y="198"/>
                    </a:cubicBezTo>
                    <a:cubicBezTo>
                      <a:pt x="3022" y="200"/>
                      <a:pt x="3022" y="202"/>
                      <a:pt x="3021" y="203"/>
                    </a:cubicBezTo>
                    <a:cubicBezTo>
                      <a:pt x="3021" y="204"/>
                      <a:pt x="3021" y="205"/>
                      <a:pt x="3021" y="205"/>
                    </a:cubicBezTo>
                    <a:cubicBezTo>
                      <a:pt x="3021" y="208"/>
                      <a:pt x="3021" y="212"/>
                      <a:pt x="3018" y="214"/>
                    </a:cubicBezTo>
                    <a:cubicBezTo>
                      <a:pt x="3018" y="215"/>
                      <a:pt x="3018" y="215"/>
                      <a:pt x="3018" y="216"/>
                    </a:cubicBezTo>
                    <a:cubicBezTo>
                      <a:pt x="3018" y="219"/>
                      <a:pt x="3017" y="220"/>
                      <a:pt x="3015" y="222"/>
                    </a:cubicBezTo>
                    <a:cubicBezTo>
                      <a:pt x="3015" y="222"/>
                      <a:pt x="3014" y="222"/>
                      <a:pt x="3014" y="223"/>
                    </a:cubicBezTo>
                    <a:cubicBezTo>
                      <a:pt x="3014" y="223"/>
                      <a:pt x="3014" y="223"/>
                      <a:pt x="3014" y="223"/>
                    </a:cubicBezTo>
                    <a:cubicBezTo>
                      <a:pt x="3014" y="224"/>
                      <a:pt x="3014" y="224"/>
                      <a:pt x="3014" y="224"/>
                    </a:cubicBezTo>
                    <a:cubicBezTo>
                      <a:pt x="3014" y="228"/>
                      <a:pt x="3012" y="229"/>
                      <a:pt x="3010" y="231"/>
                    </a:cubicBezTo>
                    <a:cubicBezTo>
                      <a:pt x="3010" y="232"/>
                      <a:pt x="3010" y="234"/>
                      <a:pt x="3011" y="235"/>
                    </a:cubicBezTo>
                    <a:cubicBezTo>
                      <a:pt x="3012" y="243"/>
                      <a:pt x="3005" y="250"/>
                      <a:pt x="3001" y="254"/>
                    </a:cubicBezTo>
                    <a:cubicBezTo>
                      <a:pt x="3001" y="254"/>
                      <a:pt x="3001" y="254"/>
                      <a:pt x="3001" y="254"/>
                    </a:cubicBezTo>
                    <a:cubicBezTo>
                      <a:pt x="2999" y="256"/>
                      <a:pt x="2998" y="258"/>
                      <a:pt x="2998" y="262"/>
                    </a:cubicBezTo>
                    <a:cubicBezTo>
                      <a:pt x="2999" y="265"/>
                      <a:pt x="2999" y="269"/>
                      <a:pt x="2997" y="273"/>
                    </a:cubicBezTo>
                    <a:cubicBezTo>
                      <a:pt x="2996" y="276"/>
                      <a:pt x="2994" y="278"/>
                      <a:pt x="2992" y="280"/>
                    </a:cubicBezTo>
                    <a:cubicBezTo>
                      <a:pt x="2991" y="282"/>
                      <a:pt x="2989" y="284"/>
                      <a:pt x="2989" y="285"/>
                    </a:cubicBezTo>
                    <a:cubicBezTo>
                      <a:pt x="2987" y="288"/>
                      <a:pt x="2987" y="290"/>
                      <a:pt x="2987" y="292"/>
                    </a:cubicBezTo>
                    <a:cubicBezTo>
                      <a:pt x="2988" y="298"/>
                      <a:pt x="2984" y="302"/>
                      <a:pt x="2982" y="303"/>
                    </a:cubicBezTo>
                    <a:cubicBezTo>
                      <a:pt x="2983" y="303"/>
                      <a:pt x="2983" y="303"/>
                      <a:pt x="2984" y="303"/>
                    </a:cubicBezTo>
                    <a:cubicBezTo>
                      <a:pt x="2985" y="303"/>
                      <a:pt x="2986" y="303"/>
                      <a:pt x="2987" y="303"/>
                    </a:cubicBezTo>
                    <a:cubicBezTo>
                      <a:pt x="2988" y="303"/>
                      <a:pt x="2992" y="302"/>
                      <a:pt x="2994" y="305"/>
                    </a:cubicBezTo>
                    <a:cubicBezTo>
                      <a:pt x="2995" y="307"/>
                      <a:pt x="2994" y="310"/>
                      <a:pt x="2994" y="311"/>
                    </a:cubicBezTo>
                    <a:cubicBezTo>
                      <a:pt x="2993" y="312"/>
                      <a:pt x="2993" y="312"/>
                      <a:pt x="2993" y="312"/>
                    </a:cubicBezTo>
                    <a:cubicBezTo>
                      <a:pt x="2993" y="314"/>
                      <a:pt x="2993" y="314"/>
                      <a:pt x="2993" y="317"/>
                    </a:cubicBezTo>
                    <a:cubicBezTo>
                      <a:pt x="2995" y="323"/>
                      <a:pt x="2991" y="328"/>
                      <a:pt x="2989" y="331"/>
                    </a:cubicBezTo>
                    <a:cubicBezTo>
                      <a:pt x="2988" y="332"/>
                      <a:pt x="2986" y="333"/>
                      <a:pt x="2985" y="334"/>
                    </a:cubicBezTo>
                    <a:cubicBezTo>
                      <a:pt x="2983" y="336"/>
                      <a:pt x="2981" y="337"/>
                      <a:pt x="2981" y="339"/>
                    </a:cubicBezTo>
                    <a:cubicBezTo>
                      <a:pt x="2978" y="345"/>
                      <a:pt x="2974" y="345"/>
                      <a:pt x="2970" y="345"/>
                    </a:cubicBezTo>
                    <a:cubicBezTo>
                      <a:pt x="2968" y="344"/>
                      <a:pt x="2968" y="344"/>
                      <a:pt x="2968" y="344"/>
                    </a:cubicBezTo>
                    <a:cubicBezTo>
                      <a:pt x="2967" y="344"/>
                      <a:pt x="2965" y="344"/>
                      <a:pt x="2964" y="345"/>
                    </a:cubicBezTo>
                    <a:cubicBezTo>
                      <a:pt x="2963" y="347"/>
                      <a:pt x="2961" y="347"/>
                      <a:pt x="2958" y="347"/>
                    </a:cubicBezTo>
                    <a:cubicBezTo>
                      <a:pt x="2956" y="348"/>
                      <a:pt x="2954" y="348"/>
                      <a:pt x="2952" y="349"/>
                    </a:cubicBezTo>
                    <a:cubicBezTo>
                      <a:pt x="2948" y="350"/>
                      <a:pt x="2948" y="350"/>
                      <a:pt x="2947" y="352"/>
                    </a:cubicBezTo>
                    <a:cubicBezTo>
                      <a:pt x="2946" y="354"/>
                      <a:pt x="2946" y="355"/>
                      <a:pt x="2944" y="356"/>
                    </a:cubicBezTo>
                    <a:cubicBezTo>
                      <a:pt x="2944" y="357"/>
                      <a:pt x="2944" y="357"/>
                      <a:pt x="2944" y="357"/>
                    </a:cubicBezTo>
                    <a:cubicBezTo>
                      <a:pt x="2941" y="361"/>
                      <a:pt x="2935" y="368"/>
                      <a:pt x="2933" y="371"/>
                    </a:cubicBezTo>
                    <a:cubicBezTo>
                      <a:pt x="2933" y="372"/>
                      <a:pt x="2931" y="376"/>
                      <a:pt x="2919" y="380"/>
                    </a:cubicBezTo>
                    <a:cubicBezTo>
                      <a:pt x="2917" y="381"/>
                      <a:pt x="2917" y="381"/>
                      <a:pt x="2917" y="381"/>
                    </a:cubicBezTo>
                    <a:cubicBezTo>
                      <a:pt x="2917" y="380"/>
                      <a:pt x="2917" y="380"/>
                      <a:pt x="2917" y="380"/>
                    </a:cubicBezTo>
                    <a:cubicBezTo>
                      <a:pt x="2914" y="381"/>
                      <a:pt x="2911" y="382"/>
                      <a:pt x="2909" y="383"/>
                    </a:cubicBezTo>
                    <a:cubicBezTo>
                      <a:pt x="2904" y="387"/>
                      <a:pt x="2898" y="386"/>
                      <a:pt x="2893" y="380"/>
                    </a:cubicBezTo>
                    <a:cubicBezTo>
                      <a:pt x="2891" y="379"/>
                      <a:pt x="2885" y="379"/>
                      <a:pt x="2881" y="380"/>
                    </a:cubicBezTo>
                    <a:cubicBezTo>
                      <a:pt x="2879" y="380"/>
                      <a:pt x="2877" y="380"/>
                      <a:pt x="2876" y="380"/>
                    </a:cubicBezTo>
                    <a:cubicBezTo>
                      <a:pt x="2870" y="380"/>
                      <a:pt x="2859" y="375"/>
                      <a:pt x="2849" y="367"/>
                    </a:cubicBezTo>
                    <a:cubicBezTo>
                      <a:pt x="2846" y="365"/>
                      <a:pt x="2845" y="364"/>
                      <a:pt x="2845" y="364"/>
                    </a:cubicBezTo>
                    <a:cubicBezTo>
                      <a:pt x="2845" y="364"/>
                      <a:pt x="2845" y="365"/>
                      <a:pt x="2845" y="365"/>
                    </a:cubicBezTo>
                    <a:cubicBezTo>
                      <a:pt x="2844" y="365"/>
                      <a:pt x="2844" y="365"/>
                      <a:pt x="2844" y="365"/>
                    </a:cubicBezTo>
                    <a:cubicBezTo>
                      <a:pt x="2839" y="380"/>
                      <a:pt x="2824" y="419"/>
                      <a:pt x="2823" y="422"/>
                    </a:cubicBezTo>
                    <a:cubicBezTo>
                      <a:pt x="2822" y="427"/>
                      <a:pt x="2815" y="443"/>
                      <a:pt x="2813" y="448"/>
                    </a:cubicBezTo>
                    <a:cubicBezTo>
                      <a:pt x="2812" y="449"/>
                      <a:pt x="2812" y="449"/>
                      <a:pt x="2813" y="451"/>
                    </a:cubicBezTo>
                    <a:cubicBezTo>
                      <a:pt x="2813" y="453"/>
                      <a:pt x="2814" y="455"/>
                      <a:pt x="2814" y="457"/>
                    </a:cubicBezTo>
                    <a:cubicBezTo>
                      <a:pt x="2813" y="463"/>
                      <a:pt x="2803" y="474"/>
                      <a:pt x="2802" y="476"/>
                    </a:cubicBezTo>
                    <a:cubicBezTo>
                      <a:pt x="2801" y="476"/>
                      <a:pt x="2800" y="479"/>
                      <a:pt x="2800" y="481"/>
                    </a:cubicBezTo>
                    <a:cubicBezTo>
                      <a:pt x="2800" y="484"/>
                      <a:pt x="2801" y="495"/>
                      <a:pt x="2801" y="498"/>
                    </a:cubicBezTo>
                    <a:cubicBezTo>
                      <a:pt x="2801" y="504"/>
                      <a:pt x="2797" y="508"/>
                      <a:pt x="2791" y="511"/>
                    </a:cubicBezTo>
                    <a:cubicBezTo>
                      <a:pt x="2789" y="512"/>
                      <a:pt x="2788" y="513"/>
                      <a:pt x="2788" y="514"/>
                    </a:cubicBezTo>
                    <a:cubicBezTo>
                      <a:pt x="2787" y="517"/>
                      <a:pt x="2787" y="525"/>
                      <a:pt x="2787" y="530"/>
                    </a:cubicBezTo>
                    <a:cubicBezTo>
                      <a:pt x="2787" y="532"/>
                      <a:pt x="2787" y="534"/>
                      <a:pt x="2787" y="534"/>
                    </a:cubicBezTo>
                    <a:cubicBezTo>
                      <a:pt x="2788" y="534"/>
                      <a:pt x="2788" y="534"/>
                      <a:pt x="2788" y="534"/>
                    </a:cubicBezTo>
                    <a:cubicBezTo>
                      <a:pt x="2788" y="535"/>
                      <a:pt x="2788" y="535"/>
                      <a:pt x="2788" y="535"/>
                    </a:cubicBezTo>
                    <a:cubicBezTo>
                      <a:pt x="2791" y="538"/>
                      <a:pt x="2800" y="547"/>
                      <a:pt x="2802" y="549"/>
                    </a:cubicBezTo>
                    <a:cubicBezTo>
                      <a:pt x="2803" y="550"/>
                      <a:pt x="2803" y="550"/>
                      <a:pt x="2803" y="550"/>
                    </a:cubicBezTo>
                    <a:cubicBezTo>
                      <a:pt x="2804" y="551"/>
                      <a:pt x="2806" y="552"/>
                      <a:pt x="2807" y="553"/>
                    </a:cubicBezTo>
                    <a:cubicBezTo>
                      <a:pt x="2808" y="551"/>
                      <a:pt x="2811" y="547"/>
                      <a:pt x="2812" y="545"/>
                    </a:cubicBezTo>
                    <a:cubicBezTo>
                      <a:pt x="2813" y="543"/>
                      <a:pt x="2815" y="541"/>
                      <a:pt x="2816" y="539"/>
                    </a:cubicBezTo>
                    <a:cubicBezTo>
                      <a:pt x="2819" y="534"/>
                      <a:pt x="2825" y="535"/>
                      <a:pt x="2830" y="536"/>
                    </a:cubicBezTo>
                    <a:cubicBezTo>
                      <a:pt x="2832" y="536"/>
                      <a:pt x="2834" y="536"/>
                      <a:pt x="2836" y="536"/>
                    </a:cubicBezTo>
                    <a:cubicBezTo>
                      <a:pt x="2843" y="536"/>
                      <a:pt x="2843" y="536"/>
                      <a:pt x="2845" y="535"/>
                    </a:cubicBezTo>
                    <a:cubicBezTo>
                      <a:pt x="2845" y="534"/>
                      <a:pt x="2845" y="534"/>
                      <a:pt x="2845" y="534"/>
                    </a:cubicBezTo>
                    <a:cubicBezTo>
                      <a:pt x="2849" y="531"/>
                      <a:pt x="2855" y="531"/>
                      <a:pt x="2855" y="531"/>
                    </a:cubicBezTo>
                    <a:cubicBezTo>
                      <a:pt x="2856" y="531"/>
                      <a:pt x="2856" y="531"/>
                      <a:pt x="2856" y="531"/>
                    </a:cubicBezTo>
                    <a:cubicBezTo>
                      <a:pt x="2858" y="532"/>
                      <a:pt x="2862" y="533"/>
                      <a:pt x="2865" y="533"/>
                    </a:cubicBezTo>
                    <a:cubicBezTo>
                      <a:pt x="2870" y="532"/>
                      <a:pt x="2872" y="534"/>
                      <a:pt x="2874" y="536"/>
                    </a:cubicBezTo>
                    <a:cubicBezTo>
                      <a:pt x="2875" y="537"/>
                      <a:pt x="2875" y="537"/>
                      <a:pt x="2875" y="537"/>
                    </a:cubicBezTo>
                    <a:cubicBezTo>
                      <a:pt x="2876" y="537"/>
                      <a:pt x="2877" y="538"/>
                      <a:pt x="2879" y="539"/>
                    </a:cubicBezTo>
                    <a:cubicBezTo>
                      <a:pt x="2882" y="541"/>
                      <a:pt x="2887" y="543"/>
                      <a:pt x="2889" y="546"/>
                    </a:cubicBezTo>
                    <a:cubicBezTo>
                      <a:pt x="2891" y="549"/>
                      <a:pt x="2893" y="550"/>
                      <a:pt x="2894" y="550"/>
                    </a:cubicBezTo>
                    <a:cubicBezTo>
                      <a:pt x="2896" y="549"/>
                      <a:pt x="2899" y="545"/>
                      <a:pt x="2901" y="541"/>
                    </a:cubicBezTo>
                    <a:cubicBezTo>
                      <a:pt x="2904" y="537"/>
                      <a:pt x="2912" y="524"/>
                      <a:pt x="2915" y="519"/>
                    </a:cubicBezTo>
                    <a:cubicBezTo>
                      <a:pt x="2919" y="514"/>
                      <a:pt x="2923" y="516"/>
                      <a:pt x="2925" y="516"/>
                    </a:cubicBezTo>
                    <a:cubicBezTo>
                      <a:pt x="2926" y="517"/>
                      <a:pt x="2927" y="517"/>
                      <a:pt x="2928" y="516"/>
                    </a:cubicBezTo>
                    <a:cubicBezTo>
                      <a:pt x="2932" y="514"/>
                      <a:pt x="2938" y="512"/>
                      <a:pt x="2943" y="514"/>
                    </a:cubicBezTo>
                    <a:cubicBezTo>
                      <a:pt x="2944" y="515"/>
                      <a:pt x="2946" y="515"/>
                      <a:pt x="2954" y="515"/>
                    </a:cubicBezTo>
                    <a:cubicBezTo>
                      <a:pt x="2955" y="515"/>
                      <a:pt x="2956" y="516"/>
                      <a:pt x="2957" y="516"/>
                    </a:cubicBezTo>
                    <a:cubicBezTo>
                      <a:pt x="2957" y="516"/>
                      <a:pt x="2958" y="516"/>
                      <a:pt x="2958" y="516"/>
                    </a:cubicBezTo>
                    <a:cubicBezTo>
                      <a:pt x="2961" y="516"/>
                      <a:pt x="2963" y="516"/>
                      <a:pt x="2965" y="518"/>
                    </a:cubicBezTo>
                    <a:cubicBezTo>
                      <a:pt x="2967" y="520"/>
                      <a:pt x="2969" y="523"/>
                      <a:pt x="2969" y="526"/>
                    </a:cubicBezTo>
                    <a:cubicBezTo>
                      <a:pt x="2970" y="527"/>
                      <a:pt x="2975" y="534"/>
                      <a:pt x="2978" y="536"/>
                    </a:cubicBezTo>
                    <a:cubicBezTo>
                      <a:pt x="2979" y="537"/>
                      <a:pt x="2985" y="539"/>
                      <a:pt x="2988" y="540"/>
                    </a:cubicBezTo>
                    <a:cubicBezTo>
                      <a:pt x="2993" y="541"/>
                      <a:pt x="2996" y="542"/>
                      <a:pt x="2998" y="543"/>
                    </a:cubicBezTo>
                    <a:cubicBezTo>
                      <a:pt x="3002" y="545"/>
                      <a:pt x="3003" y="549"/>
                      <a:pt x="3004" y="551"/>
                    </a:cubicBezTo>
                    <a:cubicBezTo>
                      <a:pt x="3004" y="551"/>
                      <a:pt x="3004" y="552"/>
                      <a:pt x="3004" y="552"/>
                    </a:cubicBezTo>
                    <a:cubicBezTo>
                      <a:pt x="3004" y="552"/>
                      <a:pt x="3006" y="554"/>
                      <a:pt x="3007" y="555"/>
                    </a:cubicBezTo>
                    <a:cubicBezTo>
                      <a:pt x="3010" y="558"/>
                      <a:pt x="3012" y="559"/>
                      <a:pt x="3013" y="561"/>
                    </a:cubicBezTo>
                    <a:cubicBezTo>
                      <a:pt x="3014" y="562"/>
                      <a:pt x="3014" y="562"/>
                      <a:pt x="3015" y="562"/>
                    </a:cubicBezTo>
                    <a:cubicBezTo>
                      <a:pt x="3016" y="562"/>
                      <a:pt x="3018" y="563"/>
                      <a:pt x="3033" y="576"/>
                    </a:cubicBezTo>
                    <a:cubicBezTo>
                      <a:pt x="3041" y="583"/>
                      <a:pt x="3043" y="587"/>
                      <a:pt x="3044" y="592"/>
                    </a:cubicBezTo>
                    <a:cubicBezTo>
                      <a:pt x="3044" y="594"/>
                      <a:pt x="3044" y="596"/>
                      <a:pt x="3048" y="600"/>
                    </a:cubicBezTo>
                    <a:cubicBezTo>
                      <a:pt x="3048" y="600"/>
                      <a:pt x="3048" y="601"/>
                      <a:pt x="3049" y="601"/>
                    </a:cubicBezTo>
                    <a:cubicBezTo>
                      <a:pt x="3051" y="603"/>
                      <a:pt x="3055" y="608"/>
                      <a:pt x="3056" y="615"/>
                    </a:cubicBezTo>
                    <a:cubicBezTo>
                      <a:pt x="3056" y="622"/>
                      <a:pt x="3055" y="625"/>
                      <a:pt x="3051" y="627"/>
                    </a:cubicBezTo>
                    <a:cubicBezTo>
                      <a:pt x="3050" y="627"/>
                      <a:pt x="3050" y="627"/>
                      <a:pt x="3050" y="627"/>
                    </a:cubicBezTo>
                    <a:cubicBezTo>
                      <a:pt x="3049" y="628"/>
                      <a:pt x="3049" y="628"/>
                      <a:pt x="3049" y="628"/>
                    </a:cubicBezTo>
                    <a:cubicBezTo>
                      <a:pt x="3048" y="628"/>
                      <a:pt x="3048" y="628"/>
                      <a:pt x="3048" y="628"/>
                    </a:cubicBezTo>
                    <a:cubicBezTo>
                      <a:pt x="3048" y="628"/>
                      <a:pt x="3048" y="628"/>
                      <a:pt x="3048" y="629"/>
                    </a:cubicBezTo>
                    <a:cubicBezTo>
                      <a:pt x="3046" y="632"/>
                      <a:pt x="3044" y="634"/>
                      <a:pt x="3041" y="636"/>
                    </a:cubicBezTo>
                    <a:cubicBezTo>
                      <a:pt x="3041" y="636"/>
                      <a:pt x="3040" y="636"/>
                      <a:pt x="3040" y="637"/>
                    </a:cubicBezTo>
                    <a:cubicBezTo>
                      <a:pt x="3037" y="639"/>
                      <a:pt x="3034" y="641"/>
                      <a:pt x="3028" y="640"/>
                    </a:cubicBezTo>
                    <a:cubicBezTo>
                      <a:pt x="3022" y="639"/>
                      <a:pt x="3021" y="640"/>
                      <a:pt x="3020" y="641"/>
                    </a:cubicBezTo>
                    <a:cubicBezTo>
                      <a:pt x="3017" y="642"/>
                      <a:pt x="3014" y="642"/>
                      <a:pt x="3009" y="641"/>
                    </a:cubicBezTo>
                    <a:cubicBezTo>
                      <a:pt x="3008" y="641"/>
                      <a:pt x="3008" y="641"/>
                      <a:pt x="3008" y="641"/>
                    </a:cubicBezTo>
                    <a:cubicBezTo>
                      <a:pt x="3005" y="640"/>
                      <a:pt x="3001" y="638"/>
                      <a:pt x="2999" y="634"/>
                    </a:cubicBezTo>
                    <a:cubicBezTo>
                      <a:pt x="2999" y="634"/>
                      <a:pt x="2999" y="634"/>
                      <a:pt x="2999" y="634"/>
                    </a:cubicBezTo>
                    <a:cubicBezTo>
                      <a:pt x="2995" y="635"/>
                      <a:pt x="2993" y="634"/>
                      <a:pt x="2991" y="631"/>
                    </a:cubicBezTo>
                    <a:cubicBezTo>
                      <a:pt x="2991" y="632"/>
                      <a:pt x="2990" y="633"/>
                      <a:pt x="2990" y="633"/>
                    </a:cubicBezTo>
                    <a:cubicBezTo>
                      <a:pt x="2989" y="637"/>
                      <a:pt x="2986" y="639"/>
                      <a:pt x="2982" y="637"/>
                    </a:cubicBezTo>
                    <a:cubicBezTo>
                      <a:pt x="2982" y="637"/>
                      <a:pt x="2982" y="637"/>
                      <a:pt x="2981" y="637"/>
                    </a:cubicBezTo>
                    <a:cubicBezTo>
                      <a:pt x="2980" y="637"/>
                      <a:pt x="2976" y="637"/>
                      <a:pt x="2975" y="638"/>
                    </a:cubicBezTo>
                    <a:cubicBezTo>
                      <a:pt x="2971" y="639"/>
                      <a:pt x="2968" y="638"/>
                      <a:pt x="2964" y="636"/>
                    </a:cubicBezTo>
                    <a:cubicBezTo>
                      <a:pt x="2962" y="635"/>
                      <a:pt x="2962" y="636"/>
                      <a:pt x="2961" y="636"/>
                    </a:cubicBezTo>
                    <a:cubicBezTo>
                      <a:pt x="2959" y="638"/>
                      <a:pt x="2956" y="639"/>
                      <a:pt x="2955" y="639"/>
                    </a:cubicBezTo>
                    <a:cubicBezTo>
                      <a:pt x="2954" y="639"/>
                      <a:pt x="2953" y="639"/>
                      <a:pt x="2953" y="639"/>
                    </a:cubicBezTo>
                    <a:cubicBezTo>
                      <a:pt x="2952" y="640"/>
                      <a:pt x="2952" y="640"/>
                      <a:pt x="2952" y="640"/>
                    </a:cubicBezTo>
                    <a:cubicBezTo>
                      <a:pt x="2950" y="641"/>
                      <a:pt x="2949" y="643"/>
                      <a:pt x="2946" y="644"/>
                    </a:cubicBezTo>
                    <a:cubicBezTo>
                      <a:pt x="2944" y="644"/>
                      <a:pt x="2940" y="647"/>
                      <a:pt x="2936" y="651"/>
                    </a:cubicBezTo>
                    <a:cubicBezTo>
                      <a:pt x="2931" y="658"/>
                      <a:pt x="2926" y="658"/>
                      <a:pt x="2923" y="656"/>
                    </a:cubicBezTo>
                    <a:cubicBezTo>
                      <a:pt x="2922" y="656"/>
                      <a:pt x="2921" y="655"/>
                      <a:pt x="2919" y="654"/>
                    </a:cubicBezTo>
                    <a:cubicBezTo>
                      <a:pt x="2918" y="653"/>
                      <a:pt x="2916" y="652"/>
                      <a:pt x="2913" y="651"/>
                    </a:cubicBezTo>
                    <a:cubicBezTo>
                      <a:pt x="2913" y="651"/>
                      <a:pt x="2913" y="650"/>
                      <a:pt x="2912" y="651"/>
                    </a:cubicBezTo>
                    <a:cubicBezTo>
                      <a:pt x="2912" y="651"/>
                      <a:pt x="2911" y="652"/>
                      <a:pt x="2910" y="655"/>
                    </a:cubicBezTo>
                    <a:cubicBezTo>
                      <a:pt x="2909" y="657"/>
                      <a:pt x="2909" y="658"/>
                      <a:pt x="2909" y="661"/>
                    </a:cubicBezTo>
                    <a:cubicBezTo>
                      <a:pt x="2909" y="662"/>
                      <a:pt x="2909" y="663"/>
                      <a:pt x="2909" y="664"/>
                    </a:cubicBezTo>
                    <a:cubicBezTo>
                      <a:pt x="2908" y="670"/>
                      <a:pt x="2905" y="672"/>
                      <a:pt x="2902" y="672"/>
                    </a:cubicBezTo>
                    <a:cubicBezTo>
                      <a:pt x="2901" y="673"/>
                      <a:pt x="2901" y="673"/>
                      <a:pt x="2900" y="673"/>
                    </a:cubicBezTo>
                    <a:cubicBezTo>
                      <a:pt x="2896" y="675"/>
                      <a:pt x="2891" y="674"/>
                      <a:pt x="2885" y="674"/>
                    </a:cubicBezTo>
                    <a:cubicBezTo>
                      <a:pt x="2884" y="674"/>
                      <a:pt x="2883" y="674"/>
                      <a:pt x="2883" y="674"/>
                    </a:cubicBezTo>
                    <a:cubicBezTo>
                      <a:pt x="2881" y="674"/>
                      <a:pt x="2880" y="673"/>
                      <a:pt x="2879" y="673"/>
                    </a:cubicBezTo>
                    <a:cubicBezTo>
                      <a:pt x="2878" y="673"/>
                      <a:pt x="2877" y="672"/>
                      <a:pt x="2876" y="673"/>
                    </a:cubicBezTo>
                    <a:cubicBezTo>
                      <a:pt x="2876" y="673"/>
                      <a:pt x="2875" y="673"/>
                      <a:pt x="2875" y="673"/>
                    </a:cubicBezTo>
                    <a:cubicBezTo>
                      <a:pt x="2873" y="674"/>
                      <a:pt x="2870" y="676"/>
                      <a:pt x="2866" y="677"/>
                    </a:cubicBezTo>
                    <a:cubicBezTo>
                      <a:pt x="2860" y="679"/>
                      <a:pt x="2859" y="681"/>
                      <a:pt x="2857" y="684"/>
                    </a:cubicBezTo>
                    <a:cubicBezTo>
                      <a:pt x="2855" y="688"/>
                      <a:pt x="2848" y="702"/>
                      <a:pt x="2844" y="707"/>
                    </a:cubicBezTo>
                    <a:cubicBezTo>
                      <a:pt x="2841" y="711"/>
                      <a:pt x="2842" y="712"/>
                      <a:pt x="2842" y="715"/>
                    </a:cubicBezTo>
                    <a:cubicBezTo>
                      <a:pt x="2843" y="718"/>
                      <a:pt x="2844" y="722"/>
                      <a:pt x="2843" y="727"/>
                    </a:cubicBezTo>
                    <a:cubicBezTo>
                      <a:pt x="2842" y="731"/>
                      <a:pt x="2839" y="737"/>
                      <a:pt x="2828" y="739"/>
                    </a:cubicBezTo>
                    <a:cubicBezTo>
                      <a:pt x="2826" y="739"/>
                      <a:pt x="2825" y="739"/>
                      <a:pt x="2825" y="739"/>
                    </a:cubicBezTo>
                    <a:cubicBezTo>
                      <a:pt x="2825" y="740"/>
                      <a:pt x="2825" y="740"/>
                      <a:pt x="2824" y="740"/>
                    </a:cubicBezTo>
                    <a:cubicBezTo>
                      <a:pt x="2824" y="742"/>
                      <a:pt x="2823" y="743"/>
                      <a:pt x="2820" y="746"/>
                    </a:cubicBezTo>
                    <a:cubicBezTo>
                      <a:pt x="2814" y="753"/>
                      <a:pt x="2805" y="759"/>
                      <a:pt x="2802" y="761"/>
                    </a:cubicBezTo>
                    <a:cubicBezTo>
                      <a:pt x="2800" y="762"/>
                      <a:pt x="2798" y="763"/>
                      <a:pt x="2795" y="763"/>
                    </a:cubicBezTo>
                    <a:cubicBezTo>
                      <a:pt x="2794" y="764"/>
                      <a:pt x="2793" y="765"/>
                      <a:pt x="2791" y="765"/>
                    </a:cubicBezTo>
                    <a:cubicBezTo>
                      <a:pt x="2787" y="767"/>
                      <a:pt x="2780" y="767"/>
                      <a:pt x="2775" y="767"/>
                    </a:cubicBezTo>
                    <a:cubicBezTo>
                      <a:pt x="2768" y="767"/>
                      <a:pt x="2766" y="768"/>
                      <a:pt x="2766" y="768"/>
                    </a:cubicBezTo>
                    <a:cubicBezTo>
                      <a:pt x="2763" y="770"/>
                      <a:pt x="2760" y="769"/>
                      <a:pt x="2756" y="768"/>
                    </a:cubicBezTo>
                    <a:cubicBezTo>
                      <a:pt x="2754" y="768"/>
                      <a:pt x="2752" y="767"/>
                      <a:pt x="2751" y="767"/>
                    </a:cubicBezTo>
                    <a:cubicBezTo>
                      <a:pt x="2748" y="766"/>
                      <a:pt x="2745" y="765"/>
                      <a:pt x="2743" y="765"/>
                    </a:cubicBezTo>
                    <a:cubicBezTo>
                      <a:pt x="2740" y="766"/>
                      <a:pt x="2738" y="769"/>
                      <a:pt x="2737" y="773"/>
                    </a:cubicBezTo>
                    <a:cubicBezTo>
                      <a:pt x="2737" y="779"/>
                      <a:pt x="2734" y="785"/>
                      <a:pt x="2731" y="788"/>
                    </a:cubicBezTo>
                    <a:cubicBezTo>
                      <a:pt x="2729" y="789"/>
                      <a:pt x="2718" y="801"/>
                      <a:pt x="2715" y="805"/>
                    </a:cubicBezTo>
                    <a:cubicBezTo>
                      <a:pt x="2712" y="810"/>
                      <a:pt x="2706" y="811"/>
                      <a:pt x="2702" y="812"/>
                    </a:cubicBezTo>
                    <a:cubicBezTo>
                      <a:pt x="2701" y="812"/>
                      <a:pt x="2700" y="813"/>
                      <a:pt x="2700" y="813"/>
                    </a:cubicBezTo>
                    <a:cubicBezTo>
                      <a:pt x="2698" y="813"/>
                      <a:pt x="2692" y="818"/>
                      <a:pt x="2690" y="822"/>
                    </a:cubicBezTo>
                    <a:cubicBezTo>
                      <a:pt x="2686" y="829"/>
                      <a:pt x="2678" y="830"/>
                      <a:pt x="2673" y="828"/>
                    </a:cubicBezTo>
                    <a:cubicBezTo>
                      <a:pt x="2672" y="828"/>
                      <a:pt x="2671" y="827"/>
                      <a:pt x="2670" y="827"/>
                    </a:cubicBezTo>
                    <a:cubicBezTo>
                      <a:pt x="2669" y="826"/>
                      <a:pt x="2668" y="825"/>
                      <a:pt x="2664" y="825"/>
                    </a:cubicBezTo>
                    <a:cubicBezTo>
                      <a:pt x="2660" y="825"/>
                      <a:pt x="2657" y="825"/>
                      <a:pt x="2654" y="825"/>
                    </a:cubicBezTo>
                    <a:cubicBezTo>
                      <a:pt x="2651" y="825"/>
                      <a:pt x="2648" y="826"/>
                      <a:pt x="2643" y="825"/>
                    </a:cubicBezTo>
                    <a:cubicBezTo>
                      <a:pt x="2635" y="825"/>
                      <a:pt x="2627" y="823"/>
                      <a:pt x="2621" y="821"/>
                    </a:cubicBezTo>
                    <a:cubicBezTo>
                      <a:pt x="2618" y="820"/>
                      <a:pt x="2613" y="816"/>
                      <a:pt x="2606" y="810"/>
                    </a:cubicBezTo>
                    <a:cubicBezTo>
                      <a:pt x="2603" y="808"/>
                      <a:pt x="2600" y="806"/>
                      <a:pt x="2598" y="805"/>
                    </a:cubicBezTo>
                    <a:cubicBezTo>
                      <a:pt x="2597" y="804"/>
                      <a:pt x="2596" y="804"/>
                      <a:pt x="2592" y="804"/>
                    </a:cubicBezTo>
                    <a:cubicBezTo>
                      <a:pt x="2590" y="804"/>
                      <a:pt x="2588" y="805"/>
                      <a:pt x="2586" y="805"/>
                    </a:cubicBezTo>
                    <a:cubicBezTo>
                      <a:pt x="2583" y="805"/>
                      <a:pt x="2580" y="804"/>
                      <a:pt x="2578" y="804"/>
                    </a:cubicBezTo>
                    <a:cubicBezTo>
                      <a:pt x="2576" y="804"/>
                      <a:pt x="2574" y="804"/>
                      <a:pt x="2573" y="804"/>
                    </a:cubicBezTo>
                    <a:cubicBezTo>
                      <a:pt x="2572" y="805"/>
                      <a:pt x="2565" y="810"/>
                      <a:pt x="2561" y="814"/>
                    </a:cubicBezTo>
                    <a:cubicBezTo>
                      <a:pt x="2559" y="816"/>
                      <a:pt x="2558" y="819"/>
                      <a:pt x="2557" y="825"/>
                    </a:cubicBezTo>
                    <a:cubicBezTo>
                      <a:pt x="2556" y="826"/>
                      <a:pt x="2556" y="828"/>
                      <a:pt x="2555" y="830"/>
                    </a:cubicBezTo>
                    <a:cubicBezTo>
                      <a:pt x="2553" y="837"/>
                      <a:pt x="2553" y="843"/>
                      <a:pt x="2552" y="846"/>
                    </a:cubicBezTo>
                    <a:cubicBezTo>
                      <a:pt x="2552" y="847"/>
                      <a:pt x="2552" y="847"/>
                      <a:pt x="2552" y="847"/>
                    </a:cubicBezTo>
                    <a:cubicBezTo>
                      <a:pt x="2552" y="851"/>
                      <a:pt x="2549" y="859"/>
                      <a:pt x="2545" y="864"/>
                    </a:cubicBezTo>
                    <a:cubicBezTo>
                      <a:pt x="2545" y="864"/>
                      <a:pt x="2545" y="865"/>
                      <a:pt x="2547" y="867"/>
                    </a:cubicBezTo>
                    <a:cubicBezTo>
                      <a:pt x="2548" y="868"/>
                      <a:pt x="2548" y="869"/>
                      <a:pt x="2549" y="870"/>
                    </a:cubicBezTo>
                    <a:cubicBezTo>
                      <a:pt x="2552" y="874"/>
                      <a:pt x="2552" y="876"/>
                      <a:pt x="2552" y="880"/>
                    </a:cubicBezTo>
                    <a:cubicBezTo>
                      <a:pt x="2552" y="880"/>
                      <a:pt x="2552" y="880"/>
                      <a:pt x="2552" y="880"/>
                    </a:cubicBezTo>
                    <a:cubicBezTo>
                      <a:pt x="2552" y="880"/>
                      <a:pt x="2552" y="880"/>
                      <a:pt x="2552" y="881"/>
                    </a:cubicBezTo>
                    <a:cubicBezTo>
                      <a:pt x="2553" y="881"/>
                      <a:pt x="2555" y="883"/>
                      <a:pt x="2555" y="886"/>
                    </a:cubicBezTo>
                    <a:cubicBezTo>
                      <a:pt x="2555" y="887"/>
                      <a:pt x="2557" y="889"/>
                      <a:pt x="2560" y="891"/>
                    </a:cubicBezTo>
                    <a:cubicBezTo>
                      <a:pt x="2566" y="895"/>
                      <a:pt x="2570" y="900"/>
                      <a:pt x="2572" y="902"/>
                    </a:cubicBezTo>
                    <a:cubicBezTo>
                      <a:pt x="2576" y="906"/>
                      <a:pt x="2578" y="910"/>
                      <a:pt x="2578" y="917"/>
                    </a:cubicBezTo>
                    <a:cubicBezTo>
                      <a:pt x="2578" y="924"/>
                      <a:pt x="2576" y="926"/>
                      <a:pt x="2574" y="927"/>
                    </a:cubicBezTo>
                    <a:cubicBezTo>
                      <a:pt x="2573" y="928"/>
                      <a:pt x="2573" y="928"/>
                      <a:pt x="2573" y="928"/>
                    </a:cubicBezTo>
                    <a:cubicBezTo>
                      <a:pt x="2573" y="928"/>
                      <a:pt x="2572" y="929"/>
                      <a:pt x="2571" y="929"/>
                    </a:cubicBezTo>
                    <a:cubicBezTo>
                      <a:pt x="2570" y="930"/>
                      <a:pt x="2570" y="930"/>
                      <a:pt x="2568" y="932"/>
                    </a:cubicBezTo>
                    <a:cubicBezTo>
                      <a:pt x="2567" y="933"/>
                      <a:pt x="2567" y="934"/>
                      <a:pt x="2566" y="934"/>
                    </a:cubicBezTo>
                    <a:cubicBezTo>
                      <a:pt x="2565" y="936"/>
                      <a:pt x="2564" y="936"/>
                      <a:pt x="2562" y="941"/>
                    </a:cubicBezTo>
                    <a:cubicBezTo>
                      <a:pt x="2558" y="949"/>
                      <a:pt x="2551" y="947"/>
                      <a:pt x="2547" y="947"/>
                    </a:cubicBezTo>
                    <a:cubicBezTo>
                      <a:pt x="2546" y="947"/>
                      <a:pt x="2545" y="946"/>
                      <a:pt x="2545" y="946"/>
                    </a:cubicBezTo>
                    <a:cubicBezTo>
                      <a:pt x="2544" y="947"/>
                      <a:pt x="2544" y="947"/>
                      <a:pt x="2543" y="947"/>
                    </a:cubicBezTo>
                    <a:cubicBezTo>
                      <a:pt x="2542" y="948"/>
                      <a:pt x="2541" y="949"/>
                      <a:pt x="2539" y="950"/>
                    </a:cubicBezTo>
                    <a:cubicBezTo>
                      <a:pt x="2535" y="953"/>
                      <a:pt x="2531" y="956"/>
                      <a:pt x="2523" y="958"/>
                    </a:cubicBezTo>
                    <a:cubicBezTo>
                      <a:pt x="2518" y="958"/>
                      <a:pt x="2515" y="963"/>
                      <a:pt x="2513" y="966"/>
                    </a:cubicBezTo>
                    <a:cubicBezTo>
                      <a:pt x="2512" y="968"/>
                      <a:pt x="2511" y="969"/>
                      <a:pt x="2509" y="971"/>
                    </a:cubicBezTo>
                    <a:cubicBezTo>
                      <a:pt x="2507" y="974"/>
                      <a:pt x="2503" y="977"/>
                      <a:pt x="2501" y="984"/>
                    </a:cubicBezTo>
                    <a:cubicBezTo>
                      <a:pt x="2496" y="995"/>
                      <a:pt x="2485" y="1006"/>
                      <a:pt x="2482" y="1009"/>
                    </a:cubicBezTo>
                    <a:cubicBezTo>
                      <a:pt x="2481" y="1010"/>
                      <a:pt x="2480" y="1011"/>
                      <a:pt x="2480" y="1012"/>
                    </a:cubicBezTo>
                    <a:cubicBezTo>
                      <a:pt x="2478" y="1013"/>
                      <a:pt x="2477" y="1015"/>
                      <a:pt x="2474" y="1016"/>
                    </a:cubicBezTo>
                    <a:cubicBezTo>
                      <a:pt x="2473" y="1016"/>
                      <a:pt x="2473" y="1016"/>
                      <a:pt x="2472" y="1017"/>
                    </a:cubicBezTo>
                    <a:cubicBezTo>
                      <a:pt x="2471" y="1017"/>
                      <a:pt x="2471" y="1017"/>
                      <a:pt x="2468" y="1019"/>
                    </a:cubicBezTo>
                    <a:cubicBezTo>
                      <a:pt x="2464" y="1024"/>
                      <a:pt x="2455" y="1026"/>
                      <a:pt x="2444" y="1026"/>
                    </a:cubicBezTo>
                    <a:cubicBezTo>
                      <a:pt x="2438" y="1026"/>
                      <a:pt x="2438" y="1026"/>
                      <a:pt x="2436" y="1030"/>
                    </a:cubicBezTo>
                    <a:cubicBezTo>
                      <a:pt x="2435" y="1031"/>
                      <a:pt x="2434" y="1033"/>
                      <a:pt x="2432" y="1035"/>
                    </a:cubicBezTo>
                    <a:cubicBezTo>
                      <a:pt x="2425" y="1043"/>
                      <a:pt x="2419" y="1044"/>
                      <a:pt x="2415" y="1045"/>
                    </a:cubicBezTo>
                    <a:cubicBezTo>
                      <a:pt x="2414" y="1045"/>
                      <a:pt x="2413" y="1045"/>
                      <a:pt x="2413" y="1045"/>
                    </a:cubicBezTo>
                    <a:cubicBezTo>
                      <a:pt x="2410" y="1046"/>
                      <a:pt x="2405" y="1046"/>
                      <a:pt x="2399" y="1046"/>
                    </a:cubicBezTo>
                    <a:cubicBezTo>
                      <a:pt x="2398" y="1046"/>
                      <a:pt x="2397" y="1046"/>
                      <a:pt x="2396" y="1046"/>
                    </a:cubicBezTo>
                    <a:cubicBezTo>
                      <a:pt x="2394" y="1046"/>
                      <a:pt x="2392" y="1046"/>
                      <a:pt x="2391" y="1045"/>
                    </a:cubicBezTo>
                    <a:cubicBezTo>
                      <a:pt x="2390" y="1045"/>
                      <a:pt x="2387" y="1045"/>
                      <a:pt x="2387" y="1045"/>
                    </a:cubicBezTo>
                    <a:cubicBezTo>
                      <a:pt x="2383" y="1048"/>
                      <a:pt x="2375" y="1050"/>
                      <a:pt x="2372" y="1048"/>
                    </a:cubicBezTo>
                    <a:cubicBezTo>
                      <a:pt x="2370" y="1047"/>
                      <a:pt x="2362" y="1045"/>
                      <a:pt x="2359" y="1045"/>
                    </a:cubicBezTo>
                    <a:cubicBezTo>
                      <a:pt x="2358" y="1045"/>
                      <a:pt x="2353" y="1044"/>
                      <a:pt x="2348" y="1044"/>
                    </a:cubicBezTo>
                    <a:cubicBezTo>
                      <a:pt x="2343" y="1044"/>
                      <a:pt x="2338" y="1044"/>
                      <a:pt x="2337" y="1044"/>
                    </a:cubicBezTo>
                    <a:cubicBezTo>
                      <a:pt x="2333" y="1043"/>
                      <a:pt x="2328" y="1044"/>
                      <a:pt x="2326" y="1046"/>
                    </a:cubicBezTo>
                    <a:cubicBezTo>
                      <a:pt x="2322" y="1050"/>
                      <a:pt x="2317" y="1050"/>
                      <a:pt x="2312" y="1050"/>
                    </a:cubicBezTo>
                    <a:cubicBezTo>
                      <a:pt x="2311" y="1050"/>
                      <a:pt x="2309" y="1050"/>
                      <a:pt x="2308" y="1050"/>
                    </a:cubicBezTo>
                    <a:cubicBezTo>
                      <a:pt x="2303" y="1052"/>
                      <a:pt x="2291" y="1050"/>
                      <a:pt x="2287" y="1046"/>
                    </a:cubicBezTo>
                    <a:cubicBezTo>
                      <a:pt x="2287" y="1046"/>
                      <a:pt x="2284" y="1045"/>
                      <a:pt x="2280" y="1045"/>
                    </a:cubicBezTo>
                    <a:cubicBezTo>
                      <a:pt x="2279" y="1045"/>
                      <a:pt x="2276" y="1047"/>
                      <a:pt x="2273" y="1051"/>
                    </a:cubicBezTo>
                    <a:cubicBezTo>
                      <a:pt x="2270" y="1056"/>
                      <a:pt x="2264" y="1056"/>
                      <a:pt x="2259" y="1056"/>
                    </a:cubicBezTo>
                    <a:cubicBezTo>
                      <a:pt x="2258" y="1056"/>
                      <a:pt x="2256" y="1056"/>
                      <a:pt x="2255" y="1056"/>
                    </a:cubicBezTo>
                    <a:cubicBezTo>
                      <a:pt x="2251" y="1057"/>
                      <a:pt x="2235" y="1062"/>
                      <a:pt x="2226" y="1064"/>
                    </a:cubicBezTo>
                    <a:cubicBezTo>
                      <a:pt x="2226" y="1065"/>
                      <a:pt x="2183" y="1083"/>
                      <a:pt x="2174" y="1087"/>
                    </a:cubicBezTo>
                    <a:cubicBezTo>
                      <a:pt x="2165" y="1091"/>
                      <a:pt x="2141" y="1104"/>
                      <a:pt x="2135" y="1107"/>
                    </a:cubicBezTo>
                    <a:cubicBezTo>
                      <a:pt x="2128" y="1111"/>
                      <a:pt x="2123" y="1113"/>
                      <a:pt x="2119" y="1112"/>
                    </a:cubicBezTo>
                    <a:cubicBezTo>
                      <a:pt x="2117" y="1112"/>
                      <a:pt x="2105" y="1112"/>
                      <a:pt x="2093" y="1113"/>
                    </a:cubicBezTo>
                    <a:cubicBezTo>
                      <a:pt x="2089" y="1113"/>
                      <a:pt x="2089" y="1113"/>
                      <a:pt x="2089" y="1113"/>
                    </a:cubicBezTo>
                    <a:cubicBezTo>
                      <a:pt x="2089" y="1096"/>
                      <a:pt x="2089" y="1096"/>
                      <a:pt x="2089" y="1096"/>
                    </a:cubicBezTo>
                    <a:cubicBezTo>
                      <a:pt x="2083" y="1096"/>
                      <a:pt x="2070" y="1097"/>
                      <a:pt x="2066" y="1097"/>
                    </a:cubicBezTo>
                    <a:cubicBezTo>
                      <a:pt x="2065" y="1097"/>
                      <a:pt x="2065" y="1097"/>
                      <a:pt x="2065" y="1097"/>
                    </a:cubicBezTo>
                    <a:cubicBezTo>
                      <a:pt x="2058" y="1098"/>
                      <a:pt x="2047" y="1098"/>
                      <a:pt x="2037" y="1096"/>
                    </a:cubicBezTo>
                    <a:cubicBezTo>
                      <a:pt x="2029" y="1095"/>
                      <a:pt x="2015" y="1086"/>
                      <a:pt x="1996" y="1074"/>
                    </a:cubicBezTo>
                    <a:cubicBezTo>
                      <a:pt x="1989" y="1069"/>
                      <a:pt x="1984" y="1065"/>
                      <a:pt x="1981" y="1064"/>
                    </a:cubicBezTo>
                    <a:cubicBezTo>
                      <a:pt x="1972" y="1059"/>
                      <a:pt x="1962" y="1058"/>
                      <a:pt x="1948" y="1057"/>
                    </a:cubicBezTo>
                    <a:cubicBezTo>
                      <a:pt x="1931" y="1055"/>
                      <a:pt x="1926" y="1039"/>
                      <a:pt x="1924" y="1030"/>
                    </a:cubicBezTo>
                    <a:cubicBezTo>
                      <a:pt x="1922" y="1023"/>
                      <a:pt x="1916" y="1023"/>
                      <a:pt x="1915" y="1023"/>
                    </a:cubicBezTo>
                    <a:cubicBezTo>
                      <a:pt x="1914" y="1023"/>
                      <a:pt x="1914" y="1023"/>
                      <a:pt x="1914" y="1023"/>
                    </a:cubicBezTo>
                    <a:cubicBezTo>
                      <a:pt x="1914" y="1023"/>
                      <a:pt x="1914" y="1023"/>
                      <a:pt x="1914" y="1023"/>
                    </a:cubicBezTo>
                    <a:cubicBezTo>
                      <a:pt x="1912" y="1022"/>
                      <a:pt x="1879" y="1012"/>
                      <a:pt x="1873" y="1010"/>
                    </a:cubicBezTo>
                    <a:cubicBezTo>
                      <a:pt x="1871" y="1009"/>
                      <a:pt x="1871" y="1009"/>
                      <a:pt x="1871" y="1009"/>
                    </a:cubicBezTo>
                    <a:cubicBezTo>
                      <a:pt x="1867" y="1007"/>
                      <a:pt x="1858" y="1003"/>
                      <a:pt x="1855" y="1003"/>
                    </a:cubicBezTo>
                    <a:cubicBezTo>
                      <a:pt x="1852" y="1003"/>
                      <a:pt x="1846" y="1002"/>
                      <a:pt x="1839" y="1001"/>
                    </a:cubicBezTo>
                    <a:cubicBezTo>
                      <a:pt x="1837" y="1000"/>
                      <a:pt x="1835" y="1000"/>
                      <a:pt x="1834" y="1000"/>
                    </a:cubicBezTo>
                    <a:cubicBezTo>
                      <a:pt x="1829" y="999"/>
                      <a:pt x="1824" y="1000"/>
                      <a:pt x="1823" y="1002"/>
                    </a:cubicBezTo>
                    <a:cubicBezTo>
                      <a:pt x="1819" y="1004"/>
                      <a:pt x="1817" y="1004"/>
                      <a:pt x="1815" y="1003"/>
                    </a:cubicBezTo>
                    <a:cubicBezTo>
                      <a:pt x="1815" y="1003"/>
                      <a:pt x="1814" y="1003"/>
                      <a:pt x="1814" y="1003"/>
                    </a:cubicBezTo>
                    <a:cubicBezTo>
                      <a:pt x="1813" y="1003"/>
                      <a:pt x="1811" y="1003"/>
                      <a:pt x="1809" y="1002"/>
                    </a:cubicBezTo>
                    <a:cubicBezTo>
                      <a:pt x="1806" y="1002"/>
                      <a:pt x="1803" y="1001"/>
                      <a:pt x="1801" y="1001"/>
                    </a:cubicBezTo>
                    <a:cubicBezTo>
                      <a:pt x="1796" y="1002"/>
                      <a:pt x="1763" y="1002"/>
                      <a:pt x="1758" y="1002"/>
                    </a:cubicBezTo>
                    <a:cubicBezTo>
                      <a:pt x="1753" y="1002"/>
                      <a:pt x="1745" y="1000"/>
                      <a:pt x="1739" y="998"/>
                    </a:cubicBezTo>
                    <a:cubicBezTo>
                      <a:pt x="1737" y="998"/>
                      <a:pt x="1732" y="997"/>
                      <a:pt x="1727" y="996"/>
                    </a:cubicBezTo>
                    <a:cubicBezTo>
                      <a:pt x="1719" y="995"/>
                      <a:pt x="1711" y="993"/>
                      <a:pt x="1707" y="992"/>
                    </a:cubicBezTo>
                    <a:cubicBezTo>
                      <a:pt x="1698" y="990"/>
                      <a:pt x="1638" y="971"/>
                      <a:pt x="1631" y="968"/>
                    </a:cubicBezTo>
                    <a:cubicBezTo>
                      <a:pt x="1627" y="967"/>
                      <a:pt x="1626" y="967"/>
                      <a:pt x="1624" y="967"/>
                    </a:cubicBezTo>
                    <a:cubicBezTo>
                      <a:pt x="1622" y="967"/>
                      <a:pt x="1621" y="968"/>
                      <a:pt x="1618" y="968"/>
                    </a:cubicBezTo>
                    <a:cubicBezTo>
                      <a:pt x="1614" y="968"/>
                      <a:pt x="1608" y="967"/>
                      <a:pt x="1601" y="966"/>
                    </a:cubicBezTo>
                    <a:cubicBezTo>
                      <a:pt x="1594" y="966"/>
                      <a:pt x="1585" y="965"/>
                      <a:pt x="1582" y="965"/>
                    </a:cubicBezTo>
                    <a:cubicBezTo>
                      <a:pt x="1576" y="966"/>
                      <a:pt x="1569" y="962"/>
                      <a:pt x="1565" y="957"/>
                    </a:cubicBezTo>
                    <a:cubicBezTo>
                      <a:pt x="1564" y="955"/>
                      <a:pt x="1563" y="953"/>
                      <a:pt x="1563" y="951"/>
                    </a:cubicBezTo>
                    <a:cubicBezTo>
                      <a:pt x="1563" y="947"/>
                      <a:pt x="1561" y="943"/>
                      <a:pt x="1560" y="939"/>
                    </a:cubicBezTo>
                    <a:cubicBezTo>
                      <a:pt x="1560" y="939"/>
                      <a:pt x="1560" y="939"/>
                      <a:pt x="1560" y="939"/>
                    </a:cubicBezTo>
                    <a:cubicBezTo>
                      <a:pt x="1559" y="936"/>
                      <a:pt x="1546" y="917"/>
                      <a:pt x="1543" y="915"/>
                    </a:cubicBezTo>
                    <a:cubicBezTo>
                      <a:pt x="1540" y="912"/>
                      <a:pt x="1540" y="906"/>
                      <a:pt x="1540" y="898"/>
                    </a:cubicBezTo>
                    <a:cubicBezTo>
                      <a:pt x="1540" y="896"/>
                      <a:pt x="1540" y="896"/>
                      <a:pt x="1540" y="896"/>
                    </a:cubicBezTo>
                    <a:cubicBezTo>
                      <a:pt x="1540" y="892"/>
                      <a:pt x="1537" y="882"/>
                      <a:pt x="1536" y="879"/>
                    </a:cubicBezTo>
                    <a:cubicBezTo>
                      <a:pt x="1534" y="876"/>
                      <a:pt x="1533" y="869"/>
                      <a:pt x="1532" y="859"/>
                    </a:cubicBezTo>
                    <a:cubicBezTo>
                      <a:pt x="1531" y="854"/>
                      <a:pt x="1531" y="850"/>
                      <a:pt x="1530" y="848"/>
                    </a:cubicBezTo>
                    <a:cubicBezTo>
                      <a:pt x="1529" y="844"/>
                      <a:pt x="1529" y="843"/>
                      <a:pt x="1529" y="842"/>
                    </a:cubicBezTo>
                    <a:cubicBezTo>
                      <a:pt x="1529" y="842"/>
                      <a:pt x="1528" y="842"/>
                      <a:pt x="1528" y="842"/>
                    </a:cubicBezTo>
                    <a:cubicBezTo>
                      <a:pt x="1528" y="842"/>
                      <a:pt x="1527" y="842"/>
                      <a:pt x="1526" y="842"/>
                    </a:cubicBezTo>
                    <a:cubicBezTo>
                      <a:pt x="1523" y="841"/>
                      <a:pt x="1520" y="841"/>
                      <a:pt x="1518" y="839"/>
                    </a:cubicBezTo>
                    <a:cubicBezTo>
                      <a:pt x="1514" y="836"/>
                      <a:pt x="1515" y="832"/>
                      <a:pt x="1517" y="828"/>
                    </a:cubicBezTo>
                    <a:cubicBezTo>
                      <a:pt x="1517" y="827"/>
                      <a:pt x="1517" y="826"/>
                      <a:pt x="1518" y="825"/>
                    </a:cubicBezTo>
                    <a:cubicBezTo>
                      <a:pt x="1518" y="824"/>
                      <a:pt x="1518" y="824"/>
                      <a:pt x="1518" y="824"/>
                    </a:cubicBezTo>
                    <a:cubicBezTo>
                      <a:pt x="1519" y="820"/>
                      <a:pt x="1520" y="817"/>
                      <a:pt x="1521" y="815"/>
                    </a:cubicBezTo>
                    <a:cubicBezTo>
                      <a:pt x="1517" y="815"/>
                      <a:pt x="1508" y="814"/>
                      <a:pt x="1505" y="814"/>
                    </a:cubicBezTo>
                    <a:cubicBezTo>
                      <a:pt x="1504" y="814"/>
                      <a:pt x="1504" y="814"/>
                      <a:pt x="1504" y="814"/>
                    </a:cubicBezTo>
                    <a:cubicBezTo>
                      <a:pt x="1499" y="814"/>
                      <a:pt x="1498" y="814"/>
                      <a:pt x="1494" y="811"/>
                    </a:cubicBezTo>
                    <a:cubicBezTo>
                      <a:pt x="1489" y="808"/>
                      <a:pt x="1478" y="798"/>
                      <a:pt x="1475" y="793"/>
                    </a:cubicBezTo>
                    <a:cubicBezTo>
                      <a:pt x="1474" y="792"/>
                      <a:pt x="1471" y="790"/>
                      <a:pt x="1469" y="788"/>
                    </a:cubicBezTo>
                    <a:cubicBezTo>
                      <a:pt x="1465" y="786"/>
                      <a:pt x="1462" y="784"/>
                      <a:pt x="1461" y="781"/>
                    </a:cubicBezTo>
                    <a:cubicBezTo>
                      <a:pt x="1460" y="779"/>
                      <a:pt x="1453" y="768"/>
                      <a:pt x="1451" y="766"/>
                    </a:cubicBezTo>
                    <a:cubicBezTo>
                      <a:pt x="1450" y="764"/>
                      <a:pt x="1444" y="760"/>
                      <a:pt x="1441" y="758"/>
                    </a:cubicBezTo>
                    <a:cubicBezTo>
                      <a:pt x="1435" y="754"/>
                      <a:pt x="1432" y="751"/>
                      <a:pt x="1430" y="750"/>
                    </a:cubicBezTo>
                    <a:cubicBezTo>
                      <a:pt x="1429" y="749"/>
                      <a:pt x="1426" y="746"/>
                      <a:pt x="1423" y="743"/>
                    </a:cubicBezTo>
                    <a:cubicBezTo>
                      <a:pt x="1417" y="737"/>
                      <a:pt x="1414" y="735"/>
                      <a:pt x="1413" y="734"/>
                    </a:cubicBezTo>
                    <a:cubicBezTo>
                      <a:pt x="1412" y="733"/>
                      <a:pt x="1407" y="731"/>
                      <a:pt x="1405" y="731"/>
                    </a:cubicBezTo>
                    <a:cubicBezTo>
                      <a:pt x="1402" y="731"/>
                      <a:pt x="1398" y="731"/>
                      <a:pt x="1395" y="727"/>
                    </a:cubicBezTo>
                    <a:cubicBezTo>
                      <a:pt x="1395" y="726"/>
                      <a:pt x="1390" y="725"/>
                      <a:pt x="1388" y="725"/>
                    </a:cubicBezTo>
                    <a:cubicBezTo>
                      <a:pt x="1384" y="725"/>
                      <a:pt x="1377" y="722"/>
                      <a:pt x="1375" y="721"/>
                    </a:cubicBezTo>
                    <a:cubicBezTo>
                      <a:pt x="1373" y="720"/>
                      <a:pt x="1368" y="718"/>
                      <a:pt x="1367" y="718"/>
                    </a:cubicBezTo>
                    <a:cubicBezTo>
                      <a:pt x="1362" y="721"/>
                      <a:pt x="1354" y="719"/>
                      <a:pt x="1353" y="719"/>
                    </a:cubicBezTo>
                    <a:cubicBezTo>
                      <a:pt x="1352" y="719"/>
                      <a:pt x="1351" y="719"/>
                      <a:pt x="1350" y="719"/>
                    </a:cubicBezTo>
                    <a:cubicBezTo>
                      <a:pt x="1348" y="718"/>
                      <a:pt x="1346" y="717"/>
                      <a:pt x="1344" y="718"/>
                    </a:cubicBezTo>
                    <a:cubicBezTo>
                      <a:pt x="1338" y="718"/>
                      <a:pt x="1335" y="716"/>
                      <a:pt x="1331" y="713"/>
                    </a:cubicBezTo>
                    <a:cubicBezTo>
                      <a:pt x="1329" y="712"/>
                      <a:pt x="1329" y="712"/>
                      <a:pt x="1329" y="712"/>
                    </a:cubicBezTo>
                    <a:cubicBezTo>
                      <a:pt x="1326" y="710"/>
                      <a:pt x="1314" y="709"/>
                      <a:pt x="1309" y="710"/>
                    </a:cubicBezTo>
                    <a:cubicBezTo>
                      <a:pt x="1303" y="710"/>
                      <a:pt x="1294" y="706"/>
                      <a:pt x="1293" y="701"/>
                    </a:cubicBezTo>
                    <a:cubicBezTo>
                      <a:pt x="1293" y="701"/>
                      <a:pt x="1292" y="699"/>
                      <a:pt x="1288" y="698"/>
                    </a:cubicBezTo>
                    <a:cubicBezTo>
                      <a:pt x="1287" y="698"/>
                      <a:pt x="1285" y="698"/>
                      <a:pt x="1284" y="697"/>
                    </a:cubicBezTo>
                    <a:cubicBezTo>
                      <a:pt x="1281" y="697"/>
                      <a:pt x="1279" y="697"/>
                      <a:pt x="1277" y="696"/>
                    </a:cubicBezTo>
                    <a:cubicBezTo>
                      <a:pt x="1274" y="695"/>
                      <a:pt x="1271" y="692"/>
                      <a:pt x="1269" y="688"/>
                    </a:cubicBezTo>
                    <a:cubicBezTo>
                      <a:pt x="1268" y="687"/>
                      <a:pt x="1268" y="687"/>
                      <a:pt x="1268" y="687"/>
                    </a:cubicBezTo>
                    <a:cubicBezTo>
                      <a:pt x="1267" y="687"/>
                      <a:pt x="1265" y="688"/>
                      <a:pt x="1264" y="689"/>
                    </a:cubicBezTo>
                    <a:cubicBezTo>
                      <a:pt x="1263" y="689"/>
                      <a:pt x="1262" y="689"/>
                      <a:pt x="1261" y="690"/>
                    </a:cubicBezTo>
                    <a:cubicBezTo>
                      <a:pt x="1259" y="690"/>
                      <a:pt x="1257" y="690"/>
                      <a:pt x="1256" y="689"/>
                    </a:cubicBezTo>
                    <a:cubicBezTo>
                      <a:pt x="1253" y="687"/>
                      <a:pt x="1252" y="682"/>
                      <a:pt x="1252" y="674"/>
                    </a:cubicBezTo>
                    <a:cubicBezTo>
                      <a:pt x="1252" y="668"/>
                      <a:pt x="1249" y="663"/>
                      <a:pt x="1248" y="661"/>
                    </a:cubicBezTo>
                    <a:cubicBezTo>
                      <a:pt x="1248" y="661"/>
                      <a:pt x="1248" y="660"/>
                      <a:pt x="1248" y="660"/>
                    </a:cubicBezTo>
                    <a:cubicBezTo>
                      <a:pt x="1247" y="658"/>
                      <a:pt x="1244" y="652"/>
                      <a:pt x="1246" y="648"/>
                    </a:cubicBezTo>
                    <a:cubicBezTo>
                      <a:pt x="1247" y="647"/>
                      <a:pt x="1247" y="647"/>
                      <a:pt x="1248" y="645"/>
                    </a:cubicBezTo>
                    <a:cubicBezTo>
                      <a:pt x="1249" y="643"/>
                      <a:pt x="1250" y="639"/>
                      <a:pt x="1253" y="634"/>
                    </a:cubicBezTo>
                    <a:cubicBezTo>
                      <a:pt x="1257" y="627"/>
                      <a:pt x="1263" y="621"/>
                      <a:pt x="1266" y="618"/>
                    </a:cubicBezTo>
                    <a:cubicBezTo>
                      <a:pt x="1268" y="617"/>
                      <a:pt x="1268" y="617"/>
                      <a:pt x="1268" y="617"/>
                    </a:cubicBezTo>
                    <a:cubicBezTo>
                      <a:pt x="1269" y="616"/>
                      <a:pt x="1270" y="615"/>
                      <a:pt x="1272" y="614"/>
                    </a:cubicBezTo>
                    <a:cubicBezTo>
                      <a:pt x="1273" y="613"/>
                      <a:pt x="1275" y="612"/>
                      <a:pt x="1276" y="611"/>
                    </a:cubicBezTo>
                    <a:cubicBezTo>
                      <a:pt x="1276" y="609"/>
                      <a:pt x="1276" y="600"/>
                      <a:pt x="1275" y="596"/>
                    </a:cubicBezTo>
                    <a:cubicBezTo>
                      <a:pt x="1275" y="595"/>
                      <a:pt x="1275" y="593"/>
                      <a:pt x="1275" y="592"/>
                    </a:cubicBezTo>
                    <a:cubicBezTo>
                      <a:pt x="1275" y="591"/>
                      <a:pt x="1275" y="591"/>
                      <a:pt x="1275" y="591"/>
                    </a:cubicBezTo>
                    <a:cubicBezTo>
                      <a:pt x="1275" y="588"/>
                      <a:pt x="1275" y="586"/>
                      <a:pt x="1276" y="584"/>
                    </a:cubicBezTo>
                    <a:cubicBezTo>
                      <a:pt x="1276" y="583"/>
                      <a:pt x="1277" y="581"/>
                      <a:pt x="1281" y="577"/>
                    </a:cubicBezTo>
                    <a:cubicBezTo>
                      <a:pt x="1282" y="575"/>
                      <a:pt x="1284" y="573"/>
                      <a:pt x="1285" y="572"/>
                    </a:cubicBezTo>
                    <a:cubicBezTo>
                      <a:pt x="1287" y="569"/>
                      <a:pt x="1288" y="567"/>
                      <a:pt x="1288" y="566"/>
                    </a:cubicBezTo>
                    <a:cubicBezTo>
                      <a:pt x="1285" y="562"/>
                      <a:pt x="1288" y="559"/>
                      <a:pt x="1290" y="554"/>
                    </a:cubicBezTo>
                    <a:cubicBezTo>
                      <a:pt x="1291" y="553"/>
                      <a:pt x="1289" y="551"/>
                      <a:pt x="1288" y="550"/>
                    </a:cubicBezTo>
                    <a:cubicBezTo>
                      <a:pt x="1287" y="549"/>
                      <a:pt x="1287" y="549"/>
                      <a:pt x="1287" y="549"/>
                    </a:cubicBezTo>
                    <a:cubicBezTo>
                      <a:pt x="1285" y="546"/>
                      <a:pt x="1284" y="543"/>
                      <a:pt x="1285" y="537"/>
                    </a:cubicBezTo>
                    <a:cubicBezTo>
                      <a:pt x="1286" y="534"/>
                      <a:pt x="1283" y="530"/>
                      <a:pt x="1281" y="527"/>
                    </a:cubicBezTo>
                    <a:cubicBezTo>
                      <a:pt x="1281" y="527"/>
                      <a:pt x="1281" y="527"/>
                      <a:pt x="1281" y="527"/>
                    </a:cubicBezTo>
                    <a:cubicBezTo>
                      <a:pt x="1280" y="526"/>
                      <a:pt x="1279" y="525"/>
                      <a:pt x="1278" y="524"/>
                    </a:cubicBezTo>
                    <a:cubicBezTo>
                      <a:pt x="1276" y="521"/>
                      <a:pt x="1273" y="518"/>
                      <a:pt x="1273" y="513"/>
                    </a:cubicBezTo>
                    <a:cubicBezTo>
                      <a:pt x="1272" y="510"/>
                      <a:pt x="1270" y="507"/>
                      <a:pt x="1269" y="504"/>
                    </a:cubicBezTo>
                    <a:cubicBezTo>
                      <a:pt x="1266" y="500"/>
                      <a:pt x="1267" y="493"/>
                      <a:pt x="1269" y="485"/>
                    </a:cubicBezTo>
                    <a:cubicBezTo>
                      <a:pt x="1270" y="480"/>
                      <a:pt x="1267" y="476"/>
                      <a:pt x="1266" y="475"/>
                    </a:cubicBezTo>
                    <a:cubicBezTo>
                      <a:pt x="1264" y="472"/>
                      <a:pt x="1264" y="467"/>
                      <a:pt x="1265" y="463"/>
                    </a:cubicBezTo>
                    <a:cubicBezTo>
                      <a:pt x="1265" y="462"/>
                      <a:pt x="1263" y="460"/>
                      <a:pt x="1260" y="459"/>
                    </a:cubicBezTo>
                    <a:cubicBezTo>
                      <a:pt x="1257" y="457"/>
                      <a:pt x="1253" y="455"/>
                      <a:pt x="1251" y="454"/>
                    </a:cubicBezTo>
                    <a:cubicBezTo>
                      <a:pt x="1248" y="451"/>
                      <a:pt x="1249" y="447"/>
                      <a:pt x="1250" y="443"/>
                    </a:cubicBezTo>
                    <a:cubicBezTo>
                      <a:pt x="1250" y="442"/>
                      <a:pt x="1250" y="441"/>
                      <a:pt x="1250" y="440"/>
                    </a:cubicBezTo>
                    <a:cubicBezTo>
                      <a:pt x="1250" y="440"/>
                      <a:pt x="1250" y="440"/>
                      <a:pt x="1250" y="440"/>
                    </a:cubicBezTo>
                    <a:cubicBezTo>
                      <a:pt x="1249" y="443"/>
                      <a:pt x="1247" y="444"/>
                      <a:pt x="1244" y="445"/>
                    </a:cubicBezTo>
                    <a:cubicBezTo>
                      <a:pt x="1241" y="447"/>
                      <a:pt x="1238" y="444"/>
                      <a:pt x="1236" y="442"/>
                    </a:cubicBezTo>
                    <a:cubicBezTo>
                      <a:pt x="1235" y="442"/>
                      <a:pt x="1235" y="442"/>
                      <a:pt x="1235" y="441"/>
                    </a:cubicBezTo>
                    <a:cubicBezTo>
                      <a:pt x="1233" y="440"/>
                      <a:pt x="1230" y="437"/>
                      <a:pt x="1229" y="435"/>
                    </a:cubicBezTo>
                    <a:cubicBezTo>
                      <a:pt x="1226" y="433"/>
                      <a:pt x="1225" y="426"/>
                      <a:pt x="1225" y="424"/>
                    </a:cubicBezTo>
                    <a:cubicBezTo>
                      <a:pt x="1225" y="423"/>
                      <a:pt x="1225" y="423"/>
                      <a:pt x="1225" y="423"/>
                    </a:cubicBezTo>
                    <a:cubicBezTo>
                      <a:pt x="1223" y="424"/>
                      <a:pt x="1220" y="425"/>
                      <a:pt x="1217" y="422"/>
                    </a:cubicBezTo>
                    <a:cubicBezTo>
                      <a:pt x="1217" y="422"/>
                      <a:pt x="1215" y="421"/>
                      <a:pt x="1215" y="421"/>
                    </a:cubicBezTo>
                    <a:cubicBezTo>
                      <a:pt x="1213" y="422"/>
                      <a:pt x="1211" y="425"/>
                      <a:pt x="1207" y="424"/>
                    </a:cubicBezTo>
                    <a:cubicBezTo>
                      <a:pt x="1203" y="423"/>
                      <a:pt x="1199" y="422"/>
                      <a:pt x="1196" y="420"/>
                    </a:cubicBezTo>
                    <a:cubicBezTo>
                      <a:pt x="1193" y="418"/>
                      <a:pt x="1193" y="415"/>
                      <a:pt x="1192" y="414"/>
                    </a:cubicBezTo>
                    <a:cubicBezTo>
                      <a:pt x="1192" y="413"/>
                      <a:pt x="1192" y="413"/>
                      <a:pt x="1192" y="413"/>
                    </a:cubicBezTo>
                    <a:cubicBezTo>
                      <a:pt x="1191" y="412"/>
                      <a:pt x="1189" y="412"/>
                      <a:pt x="1188" y="411"/>
                    </a:cubicBezTo>
                    <a:cubicBezTo>
                      <a:pt x="1186" y="410"/>
                      <a:pt x="1184" y="409"/>
                      <a:pt x="1183" y="408"/>
                    </a:cubicBezTo>
                    <a:cubicBezTo>
                      <a:pt x="1182" y="408"/>
                      <a:pt x="1182" y="406"/>
                      <a:pt x="1180" y="404"/>
                    </a:cubicBezTo>
                    <a:cubicBezTo>
                      <a:pt x="1180" y="403"/>
                      <a:pt x="1179" y="401"/>
                      <a:pt x="1179" y="401"/>
                    </a:cubicBezTo>
                    <a:cubicBezTo>
                      <a:pt x="1178" y="400"/>
                      <a:pt x="1177" y="399"/>
                      <a:pt x="1175" y="398"/>
                    </a:cubicBezTo>
                    <a:cubicBezTo>
                      <a:pt x="1173" y="396"/>
                      <a:pt x="1171" y="394"/>
                      <a:pt x="1170" y="393"/>
                    </a:cubicBezTo>
                    <a:cubicBezTo>
                      <a:pt x="1168" y="390"/>
                      <a:pt x="1168" y="387"/>
                      <a:pt x="1169" y="385"/>
                    </a:cubicBezTo>
                    <a:cubicBezTo>
                      <a:pt x="1169" y="383"/>
                      <a:pt x="1169" y="380"/>
                      <a:pt x="1169" y="379"/>
                    </a:cubicBezTo>
                    <a:cubicBezTo>
                      <a:pt x="1168" y="380"/>
                      <a:pt x="1166" y="380"/>
                      <a:pt x="1165" y="380"/>
                    </a:cubicBezTo>
                    <a:cubicBezTo>
                      <a:pt x="1163" y="379"/>
                      <a:pt x="1161" y="378"/>
                      <a:pt x="1160" y="373"/>
                    </a:cubicBezTo>
                    <a:cubicBezTo>
                      <a:pt x="1159" y="372"/>
                      <a:pt x="1159" y="371"/>
                      <a:pt x="1159" y="370"/>
                    </a:cubicBezTo>
                    <a:cubicBezTo>
                      <a:pt x="1158" y="366"/>
                      <a:pt x="1158" y="365"/>
                      <a:pt x="1157" y="365"/>
                    </a:cubicBezTo>
                    <a:cubicBezTo>
                      <a:pt x="1153" y="364"/>
                      <a:pt x="1150" y="362"/>
                      <a:pt x="1149" y="361"/>
                    </a:cubicBezTo>
                    <a:cubicBezTo>
                      <a:pt x="1148" y="360"/>
                      <a:pt x="1148" y="359"/>
                      <a:pt x="1147" y="359"/>
                    </a:cubicBezTo>
                    <a:cubicBezTo>
                      <a:pt x="1146" y="359"/>
                      <a:pt x="1146" y="359"/>
                      <a:pt x="1146" y="359"/>
                    </a:cubicBezTo>
                    <a:cubicBezTo>
                      <a:pt x="1144" y="358"/>
                      <a:pt x="1141" y="356"/>
                      <a:pt x="1141" y="353"/>
                    </a:cubicBezTo>
                    <a:cubicBezTo>
                      <a:pt x="1140" y="350"/>
                      <a:pt x="1142" y="347"/>
                      <a:pt x="1142" y="346"/>
                    </a:cubicBezTo>
                    <a:cubicBezTo>
                      <a:pt x="1145" y="343"/>
                      <a:pt x="1145" y="340"/>
                      <a:pt x="1144" y="340"/>
                    </a:cubicBezTo>
                    <a:cubicBezTo>
                      <a:pt x="1142" y="338"/>
                      <a:pt x="1140" y="335"/>
                      <a:pt x="1138" y="331"/>
                    </a:cubicBezTo>
                    <a:cubicBezTo>
                      <a:pt x="1137" y="330"/>
                      <a:pt x="1136" y="328"/>
                      <a:pt x="1136" y="327"/>
                    </a:cubicBezTo>
                    <a:cubicBezTo>
                      <a:pt x="1135" y="326"/>
                      <a:pt x="1134" y="325"/>
                      <a:pt x="1133" y="324"/>
                    </a:cubicBezTo>
                    <a:cubicBezTo>
                      <a:pt x="1132" y="323"/>
                      <a:pt x="1132" y="321"/>
                      <a:pt x="1131" y="321"/>
                    </a:cubicBezTo>
                    <a:cubicBezTo>
                      <a:pt x="1129" y="320"/>
                      <a:pt x="1129" y="318"/>
                      <a:pt x="1129" y="316"/>
                    </a:cubicBezTo>
                    <a:cubicBezTo>
                      <a:pt x="1129" y="314"/>
                      <a:pt x="1129" y="311"/>
                      <a:pt x="1132" y="309"/>
                    </a:cubicBezTo>
                    <a:cubicBezTo>
                      <a:pt x="1136" y="306"/>
                      <a:pt x="1137" y="304"/>
                      <a:pt x="1137" y="303"/>
                    </a:cubicBezTo>
                    <a:cubicBezTo>
                      <a:pt x="1137" y="302"/>
                      <a:pt x="1137" y="302"/>
                      <a:pt x="1137" y="302"/>
                    </a:cubicBezTo>
                    <a:cubicBezTo>
                      <a:pt x="1137" y="302"/>
                      <a:pt x="1136" y="300"/>
                      <a:pt x="1136" y="299"/>
                    </a:cubicBezTo>
                    <a:cubicBezTo>
                      <a:pt x="1136" y="297"/>
                      <a:pt x="1138" y="296"/>
                      <a:pt x="1139" y="295"/>
                    </a:cubicBezTo>
                    <a:cubicBezTo>
                      <a:pt x="1138" y="295"/>
                      <a:pt x="1138" y="294"/>
                      <a:pt x="1138" y="294"/>
                    </a:cubicBezTo>
                    <a:cubicBezTo>
                      <a:pt x="1137" y="293"/>
                      <a:pt x="1134" y="293"/>
                      <a:pt x="1132" y="294"/>
                    </a:cubicBezTo>
                    <a:cubicBezTo>
                      <a:pt x="1131" y="294"/>
                      <a:pt x="1131" y="294"/>
                      <a:pt x="1131" y="294"/>
                    </a:cubicBezTo>
                    <a:cubicBezTo>
                      <a:pt x="1129" y="294"/>
                      <a:pt x="1125" y="295"/>
                      <a:pt x="1122" y="296"/>
                    </a:cubicBezTo>
                    <a:cubicBezTo>
                      <a:pt x="1117" y="297"/>
                      <a:pt x="1111" y="294"/>
                      <a:pt x="1107" y="291"/>
                    </a:cubicBezTo>
                    <a:cubicBezTo>
                      <a:pt x="1106" y="291"/>
                      <a:pt x="1106" y="291"/>
                      <a:pt x="1106" y="291"/>
                    </a:cubicBezTo>
                    <a:cubicBezTo>
                      <a:pt x="1103" y="288"/>
                      <a:pt x="1099" y="285"/>
                      <a:pt x="1093" y="285"/>
                    </a:cubicBezTo>
                    <a:cubicBezTo>
                      <a:pt x="1088" y="285"/>
                      <a:pt x="1086" y="286"/>
                      <a:pt x="1084" y="288"/>
                    </a:cubicBezTo>
                    <a:cubicBezTo>
                      <a:pt x="1083" y="289"/>
                      <a:pt x="1082" y="289"/>
                      <a:pt x="1082" y="290"/>
                    </a:cubicBezTo>
                    <a:cubicBezTo>
                      <a:pt x="1080" y="292"/>
                      <a:pt x="1078" y="294"/>
                      <a:pt x="1075" y="293"/>
                    </a:cubicBezTo>
                    <a:cubicBezTo>
                      <a:pt x="1074" y="293"/>
                      <a:pt x="1074" y="293"/>
                      <a:pt x="1074" y="293"/>
                    </a:cubicBezTo>
                    <a:cubicBezTo>
                      <a:pt x="1074" y="294"/>
                      <a:pt x="1074" y="294"/>
                      <a:pt x="1074" y="294"/>
                    </a:cubicBezTo>
                    <a:cubicBezTo>
                      <a:pt x="1074" y="296"/>
                      <a:pt x="1075" y="297"/>
                      <a:pt x="1077" y="299"/>
                    </a:cubicBezTo>
                    <a:cubicBezTo>
                      <a:pt x="1079" y="300"/>
                      <a:pt x="1080" y="302"/>
                      <a:pt x="1080" y="304"/>
                    </a:cubicBezTo>
                    <a:cubicBezTo>
                      <a:pt x="1080" y="306"/>
                      <a:pt x="1079" y="308"/>
                      <a:pt x="1077" y="310"/>
                    </a:cubicBezTo>
                    <a:cubicBezTo>
                      <a:pt x="1076" y="311"/>
                      <a:pt x="1075" y="311"/>
                      <a:pt x="1075" y="313"/>
                    </a:cubicBezTo>
                    <a:cubicBezTo>
                      <a:pt x="1075" y="314"/>
                      <a:pt x="1075" y="315"/>
                      <a:pt x="1074" y="317"/>
                    </a:cubicBezTo>
                    <a:cubicBezTo>
                      <a:pt x="1073" y="321"/>
                      <a:pt x="1071" y="322"/>
                      <a:pt x="1068" y="325"/>
                    </a:cubicBezTo>
                    <a:cubicBezTo>
                      <a:pt x="1067" y="325"/>
                      <a:pt x="1066" y="326"/>
                      <a:pt x="1064" y="328"/>
                    </a:cubicBezTo>
                    <a:cubicBezTo>
                      <a:pt x="1058" y="333"/>
                      <a:pt x="1053" y="336"/>
                      <a:pt x="1047" y="336"/>
                    </a:cubicBezTo>
                    <a:cubicBezTo>
                      <a:pt x="1045" y="336"/>
                      <a:pt x="1044" y="336"/>
                      <a:pt x="1043" y="337"/>
                    </a:cubicBezTo>
                    <a:cubicBezTo>
                      <a:pt x="1039" y="337"/>
                      <a:pt x="1033" y="338"/>
                      <a:pt x="1026" y="336"/>
                    </a:cubicBezTo>
                    <a:cubicBezTo>
                      <a:pt x="1018" y="333"/>
                      <a:pt x="1017" y="333"/>
                      <a:pt x="1015" y="333"/>
                    </a:cubicBezTo>
                    <a:cubicBezTo>
                      <a:pt x="1014" y="333"/>
                      <a:pt x="1013" y="333"/>
                      <a:pt x="1012" y="333"/>
                    </a:cubicBezTo>
                    <a:cubicBezTo>
                      <a:pt x="1010" y="333"/>
                      <a:pt x="1006" y="332"/>
                      <a:pt x="1005" y="334"/>
                    </a:cubicBezTo>
                    <a:cubicBezTo>
                      <a:pt x="1004" y="335"/>
                      <a:pt x="1001" y="341"/>
                      <a:pt x="998" y="346"/>
                    </a:cubicBezTo>
                    <a:cubicBezTo>
                      <a:pt x="995" y="350"/>
                      <a:pt x="993" y="355"/>
                      <a:pt x="991" y="357"/>
                    </a:cubicBezTo>
                    <a:cubicBezTo>
                      <a:pt x="989" y="360"/>
                      <a:pt x="989" y="361"/>
                      <a:pt x="990" y="363"/>
                    </a:cubicBezTo>
                    <a:cubicBezTo>
                      <a:pt x="992" y="367"/>
                      <a:pt x="991" y="374"/>
                      <a:pt x="990" y="379"/>
                    </a:cubicBezTo>
                    <a:cubicBezTo>
                      <a:pt x="989" y="382"/>
                      <a:pt x="987" y="389"/>
                      <a:pt x="985" y="396"/>
                    </a:cubicBezTo>
                    <a:cubicBezTo>
                      <a:pt x="984" y="401"/>
                      <a:pt x="984" y="403"/>
                      <a:pt x="984" y="408"/>
                    </a:cubicBezTo>
                    <a:cubicBezTo>
                      <a:pt x="984" y="410"/>
                      <a:pt x="984" y="410"/>
                      <a:pt x="984" y="410"/>
                    </a:cubicBezTo>
                    <a:cubicBezTo>
                      <a:pt x="984" y="416"/>
                      <a:pt x="983" y="426"/>
                      <a:pt x="980" y="432"/>
                    </a:cubicBezTo>
                    <a:cubicBezTo>
                      <a:pt x="980" y="432"/>
                      <a:pt x="980" y="433"/>
                      <a:pt x="980" y="434"/>
                    </a:cubicBezTo>
                    <a:cubicBezTo>
                      <a:pt x="978" y="439"/>
                      <a:pt x="975" y="447"/>
                      <a:pt x="963" y="447"/>
                    </a:cubicBezTo>
                    <a:cubicBezTo>
                      <a:pt x="958" y="447"/>
                      <a:pt x="952" y="448"/>
                      <a:pt x="943" y="449"/>
                    </a:cubicBezTo>
                    <a:cubicBezTo>
                      <a:pt x="942" y="449"/>
                      <a:pt x="940" y="450"/>
                      <a:pt x="939" y="451"/>
                    </a:cubicBezTo>
                    <a:cubicBezTo>
                      <a:pt x="933" y="453"/>
                      <a:pt x="927" y="455"/>
                      <a:pt x="924" y="450"/>
                    </a:cubicBezTo>
                    <a:cubicBezTo>
                      <a:pt x="921" y="444"/>
                      <a:pt x="919" y="441"/>
                      <a:pt x="904" y="439"/>
                    </a:cubicBezTo>
                    <a:cubicBezTo>
                      <a:pt x="903" y="439"/>
                      <a:pt x="900" y="439"/>
                      <a:pt x="899" y="436"/>
                    </a:cubicBezTo>
                    <a:cubicBezTo>
                      <a:pt x="898" y="435"/>
                      <a:pt x="893" y="434"/>
                      <a:pt x="889" y="434"/>
                    </a:cubicBezTo>
                    <a:cubicBezTo>
                      <a:pt x="888" y="435"/>
                      <a:pt x="888" y="435"/>
                      <a:pt x="888" y="435"/>
                    </a:cubicBezTo>
                    <a:cubicBezTo>
                      <a:pt x="883" y="435"/>
                      <a:pt x="877" y="435"/>
                      <a:pt x="872" y="431"/>
                    </a:cubicBezTo>
                    <a:cubicBezTo>
                      <a:pt x="871" y="430"/>
                      <a:pt x="870" y="430"/>
                      <a:pt x="869" y="430"/>
                    </a:cubicBezTo>
                    <a:cubicBezTo>
                      <a:pt x="868" y="430"/>
                      <a:pt x="868" y="430"/>
                      <a:pt x="867" y="429"/>
                    </a:cubicBezTo>
                    <a:cubicBezTo>
                      <a:pt x="864" y="429"/>
                      <a:pt x="861" y="427"/>
                      <a:pt x="854" y="422"/>
                    </a:cubicBezTo>
                    <a:cubicBezTo>
                      <a:pt x="853" y="421"/>
                      <a:pt x="853" y="421"/>
                      <a:pt x="853" y="421"/>
                    </a:cubicBezTo>
                    <a:cubicBezTo>
                      <a:pt x="850" y="419"/>
                      <a:pt x="847" y="416"/>
                      <a:pt x="844" y="413"/>
                    </a:cubicBezTo>
                    <a:cubicBezTo>
                      <a:pt x="842" y="411"/>
                      <a:pt x="840" y="408"/>
                      <a:pt x="839" y="407"/>
                    </a:cubicBezTo>
                    <a:cubicBezTo>
                      <a:pt x="835" y="404"/>
                      <a:pt x="829" y="399"/>
                      <a:pt x="827" y="397"/>
                    </a:cubicBezTo>
                    <a:cubicBezTo>
                      <a:pt x="826" y="397"/>
                      <a:pt x="826" y="396"/>
                      <a:pt x="825" y="396"/>
                    </a:cubicBezTo>
                    <a:cubicBezTo>
                      <a:pt x="822" y="400"/>
                      <a:pt x="818" y="407"/>
                      <a:pt x="816" y="409"/>
                    </a:cubicBezTo>
                    <a:cubicBezTo>
                      <a:pt x="814" y="410"/>
                      <a:pt x="814" y="410"/>
                      <a:pt x="814" y="410"/>
                    </a:cubicBezTo>
                    <a:cubicBezTo>
                      <a:pt x="811" y="414"/>
                      <a:pt x="808" y="417"/>
                      <a:pt x="806" y="418"/>
                    </a:cubicBezTo>
                    <a:cubicBezTo>
                      <a:pt x="806" y="419"/>
                      <a:pt x="805" y="420"/>
                      <a:pt x="805" y="421"/>
                    </a:cubicBezTo>
                    <a:cubicBezTo>
                      <a:pt x="805" y="422"/>
                      <a:pt x="804" y="423"/>
                      <a:pt x="804" y="423"/>
                    </a:cubicBezTo>
                    <a:cubicBezTo>
                      <a:pt x="803" y="426"/>
                      <a:pt x="802" y="427"/>
                      <a:pt x="799" y="430"/>
                    </a:cubicBezTo>
                    <a:cubicBezTo>
                      <a:pt x="797" y="432"/>
                      <a:pt x="795" y="434"/>
                      <a:pt x="794" y="436"/>
                    </a:cubicBezTo>
                    <a:cubicBezTo>
                      <a:pt x="794" y="436"/>
                      <a:pt x="794" y="438"/>
                      <a:pt x="793" y="440"/>
                    </a:cubicBezTo>
                    <a:cubicBezTo>
                      <a:pt x="792" y="443"/>
                      <a:pt x="791" y="448"/>
                      <a:pt x="789" y="451"/>
                    </a:cubicBezTo>
                    <a:cubicBezTo>
                      <a:pt x="789" y="451"/>
                      <a:pt x="779" y="466"/>
                      <a:pt x="774" y="469"/>
                    </a:cubicBezTo>
                    <a:cubicBezTo>
                      <a:pt x="772" y="471"/>
                      <a:pt x="767" y="478"/>
                      <a:pt x="765" y="482"/>
                    </a:cubicBezTo>
                    <a:cubicBezTo>
                      <a:pt x="764" y="483"/>
                      <a:pt x="764" y="484"/>
                      <a:pt x="763" y="484"/>
                    </a:cubicBezTo>
                    <a:cubicBezTo>
                      <a:pt x="761" y="488"/>
                      <a:pt x="759" y="491"/>
                      <a:pt x="757" y="493"/>
                    </a:cubicBezTo>
                    <a:cubicBezTo>
                      <a:pt x="755" y="494"/>
                      <a:pt x="754" y="496"/>
                      <a:pt x="754" y="498"/>
                    </a:cubicBezTo>
                    <a:cubicBezTo>
                      <a:pt x="754" y="503"/>
                      <a:pt x="752" y="505"/>
                      <a:pt x="751" y="506"/>
                    </a:cubicBezTo>
                    <a:cubicBezTo>
                      <a:pt x="750" y="507"/>
                      <a:pt x="750" y="507"/>
                      <a:pt x="750" y="507"/>
                    </a:cubicBezTo>
                    <a:cubicBezTo>
                      <a:pt x="745" y="513"/>
                      <a:pt x="743" y="518"/>
                      <a:pt x="742" y="520"/>
                    </a:cubicBezTo>
                    <a:cubicBezTo>
                      <a:pt x="742" y="522"/>
                      <a:pt x="744" y="527"/>
                      <a:pt x="746" y="529"/>
                    </a:cubicBezTo>
                    <a:cubicBezTo>
                      <a:pt x="749" y="534"/>
                      <a:pt x="752" y="544"/>
                      <a:pt x="751" y="549"/>
                    </a:cubicBezTo>
                    <a:cubicBezTo>
                      <a:pt x="751" y="552"/>
                      <a:pt x="750" y="554"/>
                      <a:pt x="749" y="555"/>
                    </a:cubicBezTo>
                    <a:cubicBezTo>
                      <a:pt x="747" y="557"/>
                      <a:pt x="744" y="556"/>
                      <a:pt x="743" y="556"/>
                    </a:cubicBezTo>
                    <a:cubicBezTo>
                      <a:pt x="743" y="556"/>
                      <a:pt x="743" y="556"/>
                      <a:pt x="742" y="556"/>
                    </a:cubicBezTo>
                    <a:cubicBezTo>
                      <a:pt x="740" y="556"/>
                      <a:pt x="738" y="556"/>
                      <a:pt x="735" y="555"/>
                    </a:cubicBezTo>
                    <a:cubicBezTo>
                      <a:pt x="733" y="554"/>
                      <a:pt x="731" y="553"/>
                      <a:pt x="729" y="553"/>
                    </a:cubicBezTo>
                    <a:cubicBezTo>
                      <a:pt x="728" y="553"/>
                      <a:pt x="728" y="553"/>
                      <a:pt x="728" y="553"/>
                    </a:cubicBezTo>
                    <a:cubicBezTo>
                      <a:pt x="721" y="551"/>
                      <a:pt x="715" y="550"/>
                      <a:pt x="712" y="546"/>
                    </a:cubicBezTo>
                    <a:cubicBezTo>
                      <a:pt x="711" y="545"/>
                      <a:pt x="711" y="544"/>
                      <a:pt x="710" y="543"/>
                    </a:cubicBezTo>
                    <a:cubicBezTo>
                      <a:pt x="709" y="541"/>
                      <a:pt x="705" y="535"/>
                      <a:pt x="703" y="535"/>
                    </a:cubicBezTo>
                    <a:cubicBezTo>
                      <a:pt x="696" y="532"/>
                      <a:pt x="691" y="532"/>
                      <a:pt x="689" y="534"/>
                    </a:cubicBezTo>
                    <a:cubicBezTo>
                      <a:pt x="682" y="540"/>
                      <a:pt x="676" y="538"/>
                      <a:pt x="673" y="537"/>
                    </a:cubicBezTo>
                    <a:cubicBezTo>
                      <a:pt x="669" y="536"/>
                      <a:pt x="660" y="535"/>
                      <a:pt x="657" y="536"/>
                    </a:cubicBezTo>
                    <a:cubicBezTo>
                      <a:pt x="651" y="540"/>
                      <a:pt x="646" y="538"/>
                      <a:pt x="644" y="538"/>
                    </a:cubicBezTo>
                    <a:cubicBezTo>
                      <a:pt x="643" y="537"/>
                      <a:pt x="638" y="535"/>
                      <a:pt x="635" y="533"/>
                    </a:cubicBezTo>
                    <a:cubicBezTo>
                      <a:pt x="635" y="533"/>
                      <a:pt x="635" y="533"/>
                      <a:pt x="635" y="534"/>
                    </a:cubicBezTo>
                    <a:cubicBezTo>
                      <a:pt x="633" y="536"/>
                      <a:pt x="629" y="538"/>
                      <a:pt x="624" y="536"/>
                    </a:cubicBezTo>
                    <a:cubicBezTo>
                      <a:pt x="623" y="536"/>
                      <a:pt x="622" y="534"/>
                      <a:pt x="621" y="533"/>
                    </a:cubicBezTo>
                    <a:cubicBezTo>
                      <a:pt x="621" y="533"/>
                      <a:pt x="620" y="532"/>
                      <a:pt x="620" y="532"/>
                    </a:cubicBezTo>
                    <a:cubicBezTo>
                      <a:pt x="620" y="532"/>
                      <a:pt x="619" y="532"/>
                      <a:pt x="618" y="532"/>
                    </a:cubicBezTo>
                    <a:cubicBezTo>
                      <a:pt x="617" y="533"/>
                      <a:pt x="615" y="535"/>
                      <a:pt x="611" y="534"/>
                    </a:cubicBezTo>
                    <a:cubicBezTo>
                      <a:pt x="606" y="533"/>
                      <a:pt x="601" y="533"/>
                      <a:pt x="598" y="533"/>
                    </a:cubicBezTo>
                    <a:cubicBezTo>
                      <a:pt x="593" y="535"/>
                      <a:pt x="591" y="535"/>
                      <a:pt x="587" y="534"/>
                    </a:cubicBezTo>
                    <a:cubicBezTo>
                      <a:pt x="586" y="534"/>
                      <a:pt x="586" y="534"/>
                      <a:pt x="586" y="534"/>
                    </a:cubicBezTo>
                    <a:cubicBezTo>
                      <a:pt x="584" y="534"/>
                      <a:pt x="583" y="535"/>
                      <a:pt x="581" y="536"/>
                    </a:cubicBezTo>
                    <a:cubicBezTo>
                      <a:pt x="581" y="536"/>
                      <a:pt x="581" y="536"/>
                      <a:pt x="581" y="536"/>
                    </a:cubicBezTo>
                    <a:cubicBezTo>
                      <a:pt x="584" y="538"/>
                      <a:pt x="584" y="541"/>
                      <a:pt x="584" y="543"/>
                    </a:cubicBezTo>
                    <a:cubicBezTo>
                      <a:pt x="584" y="543"/>
                      <a:pt x="584" y="544"/>
                      <a:pt x="584" y="544"/>
                    </a:cubicBezTo>
                    <a:cubicBezTo>
                      <a:pt x="584" y="544"/>
                      <a:pt x="584" y="544"/>
                      <a:pt x="585" y="544"/>
                    </a:cubicBezTo>
                    <a:cubicBezTo>
                      <a:pt x="586" y="545"/>
                      <a:pt x="586" y="545"/>
                      <a:pt x="586" y="545"/>
                    </a:cubicBezTo>
                    <a:cubicBezTo>
                      <a:pt x="586" y="545"/>
                      <a:pt x="586" y="545"/>
                      <a:pt x="586" y="545"/>
                    </a:cubicBezTo>
                    <a:cubicBezTo>
                      <a:pt x="586" y="545"/>
                      <a:pt x="586" y="545"/>
                      <a:pt x="586" y="545"/>
                    </a:cubicBezTo>
                    <a:cubicBezTo>
                      <a:pt x="587" y="544"/>
                      <a:pt x="587" y="544"/>
                      <a:pt x="587" y="544"/>
                    </a:cubicBezTo>
                    <a:cubicBezTo>
                      <a:pt x="591" y="543"/>
                      <a:pt x="593" y="545"/>
                      <a:pt x="594" y="546"/>
                    </a:cubicBezTo>
                    <a:cubicBezTo>
                      <a:pt x="596" y="548"/>
                      <a:pt x="597" y="550"/>
                      <a:pt x="597" y="551"/>
                    </a:cubicBezTo>
                    <a:cubicBezTo>
                      <a:pt x="597" y="551"/>
                      <a:pt x="597" y="552"/>
                      <a:pt x="597" y="552"/>
                    </a:cubicBezTo>
                    <a:cubicBezTo>
                      <a:pt x="600" y="555"/>
                      <a:pt x="600" y="556"/>
                      <a:pt x="601" y="566"/>
                    </a:cubicBezTo>
                    <a:cubicBezTo>
                      <a:pt x="602" y="577"/>
                      <a:pt x="597" y="593"/>
                      <a:pt x="594" y="600"/>
                    </a:cubicBezTo>
                    <a:cubicBezTo>
                      <a:pt x="592" y="604"/>
                      <a:pt x="593" y="611"/>
                      <a:pt x="594" y="618"/>
                    </a:cubicBezTo>
                    <a:cubicBezTo>
                      <a:pt x="594" y="622"/>
                      <a:pt x="594" y="625"/>
                      <a:pt x="594" y="628"/>
                    </a:cubicBezTo>
                    <a:cubicBezTo>
                      <a:pt x="595" y="637"/>
                      <a:pt x="593" y="644"/>
                      <a:pt x="592" y="646"/>
                    </a:cubicBezTo>
                    <a:cubicBezTo>
                      <a:pt x="592" y="647"/>
                      <a:pt x="593" y="650"/>
                      <a:pt x="594" y="654"/>
                    </a:cubicBezTo>
                    <a:cubicBezTo>
                      <a:pt x="595" y="660"/>
                      <a:pt x="596" y="665"/>
                      <a:pt x="595" y="669"/>
                    </a:cubicBezTo>
                    <a:cubicBezTo>
                      <a:pt x="595" y="669"/>
                      <a:pt x="595" y="670"/>
                      <a:pt x="595" y="671"/>
                    </a:cubicBezTo>
                    <a:cubicBezTo>
                      <a:pt x="596" y="673"/>
                      <a:pt x="596" y="675"/>
                      <a:pt x="595" y="679"/>
                    </a:cubicBezTo>
                    <a:cubicBezTo>
                      <a:pt x="594" y="683"/>
                      <a:pt x="592" y="685"/>
                      <a:pt x="591" y="686"/>
                    </a:cubicBezTo>
                    <a:cubicBezTo>
                      <a:pt x="591" y="687"/>
                      <a:pt x="591" y="687"/>
                      <a:pt x="591" y="688"/>
                    </a:cubicBezTo>
                    <a:cubicBezTo>
                      <a:pt x="591" y="688"/>
                      <a:pt x="591" y="688"/>
                      <a:pt x="591" y="688"/>
                    </a:cubicBezTo>
                    <a:cubicBezTo>
                      <a:pt x="591" y="688"/>
                      <a:pt x="591" y="688"/>
                      <a:pt x="591" y="689"/>
                    </a:cubicBezTo>
                    <a:cubicBezTo>
                      <a:pt x="593" y="693"/>
                      <a:pt x="593" y="699"/>
                      <a:pt x="592" y="702"/>
                    </a:cubicBezTo>
                    <a:cubicBezTo>
                      <a:pt x="591" y="706"/>
                      <a:pt x="585" y="709"/>
                      <a:pt x="580" y="707"/>
                    </a:cubicBezTo>
                    <a:cubicBezTo>
                      <a:pt x="578" y="706"/>
                      <a:pt x="576" y="707"/>
                      <a:pt x="574" y="708"/>
                    </a:cubicBezTo>
                    <a:cubicBezTo>
                      <a:pt x="573" y="708"/>
                      <a:pt x="573" y="709"/>
                      <a:pt x="572" y="709"/>
                    </a:cubicBezTo>
                    <a:cubicBezTo>
                      <a:pt x="570" y="710"/>
                      <a:pt x="568" y="710"/>
                      <a:pt x="566" y="710"/>
                    </a:cubicBezTo>
                    <a:cubicBezTo>
                      <a:pt x="566" y="710"/>
                      <a:pt x="566" y="710"/>
                      <a:pt x="566" y="710"/>
                    </a:cubicBezTo>
                    <a:cubicBezTo>
                      <a:pt x="566" y="710"/>
                      <a:pt x="566" y="710"/>
                      <a:pt x="566" y="710"/>
                    </a:cubicBezTo>
                    <a:cubicBezTo>
                      <a:pt x="566" y="712"/>
                      <a:pt x="565" y="713"/>
                      <a:pt x="564" y="715"/>
                    </a:cubicBezTo>
                    <a:cubicBezTo>
                      <a:pt x="566" y="717"/>
                      <a:pt x="567" y="722"/>
                      <a:pt x="565" y="725"/>
                    </a:cubicBezTo>
                    <a:cubicBezTo>
                      <a:pt x="564" y="727"/>
                      <a:pt x="561" y="727"/>
                      <a:pt x="557" y="727"/>
                    </a:cubicBezTo>
                    <a:cubicBezTo>
                      <a:pt x="557" y="727"/>
                      <a:pt x="557" y="727"/>
                      <a:pt x="556" y="727"/>
                    </a:cubicBezTo>
                    <a:cubicBezTo>
                      <a:pt x="556" y="728"/>
                      <a:pt x="555" y="728"/>
                      <a:pt x="553" y="728"/>
                    </a:cubicBezTo>
                    <a:cubicBezTo>
                      <a:pt x="552" y="728"/>
                      <a:pt x="549" y="728"/>
                      <a:pt x="547" y="727"/>
                    </a:cubicBezTo>
                    <a:cubicBezTo>
                      <a:pt x="547" y="727"/>
                      <a:pt x="547" y="727"/>
                      <a:pt x="547" y="727"/>
                    </a:cubicBezTo>
                    <a:cubicBezTo>
                      <a:pt x="546" y="729"/>
                      <a:pt x="544" y="731"/>
                      <a:pt x="542" y="733"/>
                    </a:cubicBezTo>
                    <a:cubicBezTo>
                      <a:pt x="541" y="734"/>
                      <a:pt x="540" y="734"/>
                      <a:pt x="540" y="735"/>
                    </a:cubicBezTo>
                    <a:cubicBezTo>
                      <a:pt x="540" y="735"/>
                      <a:pt x="539" y="735"/>
                      <a:pt x="539" y="736"/>
                    </a:cubicBezTo>
                    <a:cubicBezTo>
                      <a:pt x="539" y="736"/>
                      <a:pt x="539" y="737"/>
                      <a:pt x="539" y="738"/>
                    </a:cubicBezTo>
                    <a:cubicBezTo>
                      <a:pt x="539" y="740"/>
                      <a:pt x="540" y="741"/>
                      <a:pt x="540" y="743"/>
                    </a:cubicBezTo>
                    <a:cubicBezTo>
                      <a:pt x="540" y="744"/>
                      <a:pt x="540" y="745"/>
                      <a:pt x="540" y="746"/>
                    </a:cubicBezTo>
                    <a:cubicBezTo>
                      <a:pt x="543" y="747"/>
                      <a:pt x="543" y="747"/>
                      <a:pt x="543" y="747"/>
                    </a:cubicBezTo>
                    <a:cubicBezTo>
                      <a:pt x="541" y="751"/>
                      <a:pt x="541" y="751"/>
                      <a:pt x="541" y="751"/>
                    </a:cubicBezTo>
                    <a:cubicBezTo>
                      <a:pt x="540" y="751"/>
                      <a:pt x="538" y="755"/>
                      <a:pt x="536" y="759"/>
                    </a:cubicBezTo>
                    <a:cubicBezTo>
                      <a:pt x="535" y="760"/>
                      <a:pt x="535" y="762"/>
                      <a:pt x="535" y="764"/>
                    </a:cubicBezTo>
                    <a:cubicBezTo>
                      <a:pt x="535" y="765"/>
                      <a:pt x="535" y="767"/>
                      <a:pt x="534" y="768"/>
                    </a:cubicBezTo>
                    <a:cubicBezTo>
                      <a:pt x="534" y="770"/>
                      <a:pt x="533" y="771"/>
                      <a:pt x="531" y="772"/>
                    </a:cubicBezTo>
                    <a:cubicBezTo>
                      <a:pt x="531" y="772"/>
                      <a:pt x="531" y="772"/>
                      <a:pt x="531" y="773"/>
                    </a:cubicBezTo>
                    <a:cubicBezTo>
                      <a:pt x="530" y="773"/>
                      <a:pt x="530" y="774"/>
                      <a:pt x="530" y="774"/>
                    </a:cubicBezTo>
                    <a:cubicBezTo>
                      <a:pt x="528" y="777"/>
                      <a:pt x="526" y="779"/>
                      <a:pt x="520" y="779"/>
                    </a:cubicBezTo>
                    <a:cubicBezTo>
                      <a:pt x="517" y="779"/>
                      <a:pt x="514" y="781"/>
                      <a:pt x="511" y="784"/>
                    </a:cubicBezTo>
                    <a:cubicBezTo>
                      <a:pt x="510" y="785"/>
                      <a:pt x="509" y="786"/>
                      <a:pt x="508" y="786"/>
                    </a:cubicBezTo>
                    <a:cubicBezTo>
                      <a:pt x="506" y="788"/>
                      <a:pt x="505" y="789"/>
                      <a:pt x="504" y="789"/>
                    </a:cubicBezTo>
                    <a:cubicBezTo>
                      <a:pt x="502" y="790"/>
                      <a:pt x="501" y="791"/>
                      <a:pt x="500" y="793"/>
                    </a:cubicBezTo>
                    <a:cubicBezTo>
                      <a:pt x="496" y="797"/>
                      <a:pt x="494" y="798"/>
                      <a:pt x="489" y="797"/>
                    </a:cubicBezTo>
                    <a:cubicBezTo>
                      <a:pt x="489" y="797"/>
                      <a:pt x="488" y="797"/>
                      <a:pt x="487" y="796"/>
                    </a:cubicBezTo>
                    <a:cubicBezTo>
                      <a:pt x="486" y="796"/>
                      <a:pt x="485" y="796"/>
                      <a:pt x="484" y="796"/>
                    </a:cubicBezTo>
                    <a:cubicBezTo>
                      <a:pt x="482" y="797"/>
                      <a:pt x="477" y="799"/>
                      <a:pt x="474" y="798"/>
                    </a:cubicBezTo>
                    <a:cubicBezTo>
                      <a:pt x="473" y="798"/>
                      <a:pt x="473" y="798"/>
                      <a:pt x="472" y="797"/>
                    </a:cubicBezTo>
                    <a:cubicBezTo>
                      <a:pt x="470" y="796"/>
                      <a:pt x="469" y="796"/>
                      <a:pt x="468" y="796"/>
                    </a:cubicBezTo>
                    <a:cubicBezTo>
                      <a:pt x="467" y="797"/>
                      <a:pt x="465" y="797"/>
                      <a:pt x="464" y="797"/>
                    </a:cubicBezTo>
                    <a:cubicBezTo>
                      <a:pt x="463" y="797"/>
                      <a:pt x="462" y="797"/>
                      <a:pt x="462" y="797"/>
                    </a:cubicBezTo>
                    <a:cubicBezTo>
                      <a:pt x="460" y="801"/>
                      <a:pt x="454" y="801"/>
                      <a:pt x="449" y="802"/>
                    </a:cubicBezTo>
                    <a:cubicBezTo>
                      <a:pt x="448" y="802"/>
                      <a:pt x="447" y="802"/>
                      <a:pt x="446" y="802"/>
                    </a:cubicBezTo>
                    <a:cubicBezTo>
                      <a:pt x="445" y="802"/>
                      <a:pt x="445" y="802"/>
                      <a:pt x="445" y="802"/>
                    </a:cubicBezTo>
                    <a:cubicBezTo>
                      <a:pt x="442" y="802"/>
                      <a:pt x="435" y="803"/>
                      <a:pt x="434" y="804"/>
                    </a:cubicBezTo>
                    <a:cubicBezTo>
                      <a:pt x="432" y="805"/>
                      <a:pt x="426" y="809"/>
                      <a:pt x="420" y="807"/>
                    </a:cubicBezTo>
                    <a:cubicBezTo>
                      <a:pt x="419" y="807"/>
                      <a:pt x="419" y="807"/>
                      <a:pt x="418" y="808"/>
                    </a:cubicBezTo>
                    <a:cubicBezTo>
                      <a:pt x="417" y="809"/>
                      <a:pt x="416" y="810"/>
                      <a:pt x="415" y="810"/>
                    </a:cubicBezTo>
                    <a:cubicBezTo>
                      <a:pt x="413" y="812"/>
                      <a:pt x="409" y="812"/>
                      <a:pt x="405" y="813"/>
                    </a:cubicBezTo>
                    <a:cubicBezTo>
                      <a:pt x="404" y="813"/>
                      <a:pt x="403" y="813"/>
                      <a:pt x="402" y="813"/>
                    </a:cubicBezTo>
                    <a:cubicBezTo>
                      <a:pt x="396" y="814"/>
                      <a:pt x="385" y="815"/>
                      <a:pt x="381" y="812"/>
                    </a:cubicBezTo>
                    <a:cubicBezTo>
                      <a:pt x="379" y="811"/>
                      <a:pt x="369" y="810"/>
                      <a:pt x="327" y="822"/>
                    </a:cubicBezTo>
                    <a:cubicBezTo>
                      <a:pt x="325" y="823"/>
                      <a:pt x="324" y="823"/>
                      <a:pt x="323" y="824"/>
                    </a:cubicBezTo>
                    <a:cubicBezTo>
                      <a:pt x="315" y="826"/>
                      <a:pt x="308" y="824"/>
                      <a:pt x="306" y="824"/>
                    </a:cubicBezTo>
                    <a:cubicBezTo>
                      <a:pt x="305" y="823"/>
                      <a:pt x="304" y="823"/>
                      <a:pt x="303" y="822"/>
                    </a:cubicBezTo>
                    <a:cubicBezTo>
                      <a:pt x="301" y="822"/>
                      <a:pt x="298" y="821"/>
                      <a:pt x="296" y="820"/>
                    </a:cubicBezTo>
                    <a:cubicBezTo>
                      <a:pt x="294" y="818"/>
                      <a:pt x="292" y="816"/>
                      <a:pt x="292" y="814"/>
                    </a:cubicBezTo>
                    <a:cubicBezTo>
                      <a:pt x="291" y="813"/>
                      <a:pt x="290" y="813"/>
                      <a:pt x="290" y="813"/>
                    </a:cubicBezTo>
                    <a:cubicBezTo>
                      <a:pt x="287" y="816"/>
                      <a:pt x="285" y="816"/>
                      <a:pt x="283" y="816"/>
                    </a:cubicBezTo>
                    <a:cubicBezTo>
                      <a:pt x="283" y="817"/>
                      <a:pt x="282" y="818"/>
                      <a:pt x="281" y="818"/>
                    </a:cubicBezTo>
                    <a:cubicBezTo>
                      <a:pt x="279" y="820"/>
                      <a:pt x="277" y="820"/>
                      <a:pt x="275" y="819"/>
                    </a:cubicBezTo>
                    <a:cubicBezTo>
                      <a:pt x="275" y="820"/>
                      <a:pt x="275" y="820"/>
                      <a:pt x="275" y="820"/>
                    </a:cubicBezTo>
                    <a:cubicBezTo>
                      <a:pt x="274" y="821"/>
                      <a:pt x="274" y="822"/>
                      <a:pt x="273" y="822"/>
                    </a:cubicBezTo>
                    <a:cubicBezTo>
                      <a:pt x="274" y="822"/>
                      <a:pt x="273" y="823"/>
                      <a:pt x="273" y="823"/>
                    </a:cubicBezTo>
                    <a:cubicBezTo>
                      <a:pt x="273" y="825"/>
                      <a:pt x="271" y="828"/>
                      <a:pt x="268" y="830"/>
                    </a:cubicBezTo>
                    <a:cubicBezTo>
                      <a:pt x="268" y="831"/>
                      <a:pt x="267" y="831"/>
                      <a:pt x="266" y="831"/>
                    </a:cubicBezTo>
                    <a:cubicBezTo>
                      <a:pt x="264" y="833"/>
                      <a:pt x="263" y="834"/>
                      <a:pt x="262" y="835"/>
                    </a:cubicBezTo>
                    <a:cubicBezTo>
                      <a:pt x="261" y="839"/>
                      <a:pt x="256" y="847"/>
                      <a:pt x="252" y="851"/>
                    </a:cubicBezTo>
                    <a:cubicBezTo>
                      <a:pt x="250" y="853"/>
                      <a:pt x="250" y="853"/>
                      <a:pt x="250" y="853"/>
                    </a:cubicBezTo>
                    <a:cubicBezTo>
                      <a:pt x="248" y="856"/>
                      <a:pt x="246" y="858"/>
                      <a:pt x="243" y="859"/>
                    </a:cubicBezTo>
                    <a:cubicBezTo>
                      <a:pt x="239" y="861"/>
                      <a:pt x="232" y="861"/>
                      <a:pt x="229" y="860"/>
                    </a:cubicBezTo>
                    <a:cubicBezTo>
                      <a:pt x="226" y="858"/>
                      <a:pt x="226" y="856"/>
                      <a:pt x="226" y="855"/>
                    </a:cubicBezTo>
                    <a:cubicBezTo>
                      <a:pt x="226" y="855"/>
                      <a:pt x="225" y="855"/>
                      <a:pt x="225" y="855"/>
                    </a:cubicBezTo>
                    <a:cubicBezTo>
                      <a:pt x="225" y="855"/>
                      <a:pt x="225" y="855"/>
                      <a:pt x="225" y="855"/>
                    </a:cubicBezTo>
                    <a:cubicBezTo>
                      <a:pt x="224" y="855"/>
                      <a:pt x="223" y="855"/>
                      <a:pt x="223" y="855"/>
                    </a:cubicBezTo>
                    <a:cubicBezTo>
                      <a:pt x="220" y="856"/>
                      <a:pt x="217" y="855"/>
                      <a:pt x="216" y="854"/>
                    </a:cubicBezTo>
                    <a:cubicBezTo>
                      <a:pt x="215" y="854"/>
                      <a:pt x="213" y="854"/>
                      <a:pt x="213" y="854"/>
                    </a:cubicBezTo>
                    <a:cubicBezTo>
                      <a:pt x="211" y="855"/>
                      <a:pt x="209" y="855"/>
                      <a:pt x="207" y="854"/>
                    </a:cubicBezTo>
                    <a:cubicBezTo>
                      <a:pt x="207" y="854"/>
                      <a:pt x="206" y="854"/>
                      <a:pt x="206" y="855"/>
                    </a:cubicBezTo>
                    <a:cubicBezTo>
                      <a:pt x="201" y="858"/>
                      <a:pt x="195" y="856"/>
                      <a:pt x="193" y="853"/>
                    </a:cubicBezTo>
                    <a:cubicBezTo>
                      <a:pt x="193" y="853"/>
                      <a:pt x="192" y="853"/>
                      <a:pt x="189" y="853"/>
                    </a:cubicBezTo>
                    <a:cubicBezTo>
                      <a:pt x="183" y="852"/>
                      <a:pt x="183" y="847"/>
                      <a:pt x="184" y="844"/>
                    </a:cubicBezTo>
                    <a:cubicBezTo>
                      <a:pt x="184" y="843"/>
                      <a:pt x="184" y="843"/>
                      <a:pt x="183" y="843"/>
                    </a:cubicBezTo>
                    <a:cubicBezTo>
                      <a:pt x="183" y="840"/>
                      <a:pt x="184" y="838"/>
                      <a:pt x="186" y="836"/>
                    </a:cubicBezTo>
                    <a:cubicBezTo>
                      <a:pt x="187" y="836"/>
                      <a:pt x="187" y="835"/>
                      <a:pt x="188" y="835"/>
                    </a:cubicBezTo>
                    <a:cubicBezTo>
                      <a:pt x="188" y="834"/>
                      <a:pt x="188" y="834"/>
                      <a:pt x="188" y="834"/>
                    </a:cubicBezTo>
                    <a:cubicBezTo>
                      <a:pt x="186" y="832"/>
                      <a:pt x="186" y="829"/>
                      <a:pt x="187" y="828"/>
                    </a:cubicBezTo>
                    <a:cubicBezTo>
                      <a:pt x="187" y="827"/>
                      <a:pt x="187" y="827"/>
                      <a:pt x="187" y="826"/>
                    </a:cubicBezTo>
                    <a:cubicBezTo>
                      <a:pt x="187" y="825"/>
                      <a:pt x="187" y="823"/>
                      <a:pt x="188" y="821"/>
                    </a:cubicBezTo>
                    <a:cubicBezTo>
                      <a:pt x="188" y="820"/>
                      <a:pt x="188" y="819"/>
                      <a:pt x="188" y="819"/>
                    </a:cubicBezTo>
                    <a:cubicBezTo>
                      <a:pt x="187" y="819"/>
                      <a:pt x="181" y="822"/>
                      <a:pt x="175" y="825"/>
                    </a:cubicBezTo>
                    <a:cubicBezTo>
                      <a:pt x="171" y="827"/>
                      <a:pt x="164" y="827"/>
                      <a:pt x="159" y="827"/>
                    </a:cubicBezTo>
                    <a:cubicBezTo>
                      <a:pt x="157" y="827"/>
                      <a:pt x="157" y="827"/>
                      <a:pt x="157" y="827"/>
                    </a:cubicBezTo>
                    <a:cubicBezTo>
                      <a:pt x="152" y="827"/>
                      <a:pt x="143" y="823"/>
                      <a:pt x="141" y="817"/>
                    </a:cubicBezTo>
                    <a:cubicBezTo>
                      <a:pt x="141" y="817"/>
                      <a:pt x="141" y="817"/>
                      <a:pt x="141" y="817"/>
                    </a:cubicBezTo>
                    <a:cubicBezTo>
                      <a:pt x="140" y="816"/>
                      <a:pt x="140" y="816"/>
                      <a:pt x="140" y="815"/>
                    </a:cubicBezTo>
                    <a:cubicBezTo>
                      <a:pt x="139" y="815"/>
                      <a:pt x="139" y="816"/>
                      <a:pt x="139" y="816"/>
                    </a:cubicBezTo>
                    <a:cubicBezTo>
                      <a:pt x="139" y="816"/>
                      <a:pt x="139" y="817"/>
                      <a:pt x="139" y="817"/>
                    </a:cubicBezTo>
                    <a:cubicBezTo>
                      <a:pt x="139" y="818"/>
                      <a:pt x="139" y="818"/>
                      <a:pt x="140" y="819"/>
                    </a:cubicBezTo>
                    <a:cubicBezTo>
                      <a:pt x="140" y="819"/>
                      <a:pt x="141" y="820"/>
                      <a:pt x="142" y="822"/>
                    </a:cubicBezTo>
                    <a:cubicBezTo>
                      <a:pt x="142" y="822"/>
                      <a:pt x="142" y="823"/>
                      <a:pt x="143" y="823"/>
                    </a:cubicBezTo>
                    <a:cubicBezTo>
                      <a:pt x="145" y="826"/>
                      <a:pt x="143" y="828"/>
                      <a:pt x="142" y="830"/>
                    </a:cubicBezTo>
                    <a:cubicBezTo>
                      <a:pt x="140" y="831"/>
                      <a:pt x="138" y="832"/>
                      <a:pt x="136" y="831"/>
                    </a:cubicBezTo>
                    <a:cubicBezTo>
                      <a:pt x="134" y="831"/>
                      <a:pt x="131" y="829"/>
                      <a:pt x="129" y="826"/>
                    </a:cubicBezTo>
                    <a:cubicBezTo>
                      <a:pt x="129" y="826"/>
                      <a:pt x="128" y="825"/>
                      <a:pt x="125" y="826"/>
                    </a:cubicBezTo>
                    <a:cubicBezTo>
                      <a:pt x="123" y="827"/>
                      <a:pt x="121" y="827"/>
                      <a:pt x="119" y="828"/>
                    </a:cubicBezTo>
                    <a:cubicBezTo>
                      <a:pt x="117" y="828"/>
                      <a:pt x="115" y="828"/>
                      <a:pt x="115" y="828"/>
                    </a:cubicBezTo>
                    <a:cubicBezTo>
                      <a:pt x="114" y="829"/>
                      <a:pt x="113" y="830"/>
                      <a:pt x="112" y="831"/>
                    </a:cubicBezTo>
                    <a:cubicBezTo>
                      <a:pt x="110" y="833"/>
                      <a:pt x="107" y="835"/>
                      <a:pt x="104" y="836"/>
                    </a:cubicBezTo>
                    <a:cubicBezTo>
                      <a:pt x="98" y="839"/>
                      <a:pt x="92" y="838"/>
                      <a:pt x="89" y="834"/>
                    </a:cubicBezTo>
                    <a:cubicBezTo>
                      <a:pt x="88" y="834"/>
                      <a:pt x="87" y="833"/>
                      <a:pt x="87" y="832"/>
                    </a:cubicBezTo>
                    <a:cubicBezTo>
                      <a:pt x="83" y="832"/>
                      <a:pt x="76" y="832"/>
                      <a:pt x="72" y="831"/>
                    </a:cubicBezTo>
                    <a:cubicBezTo>
                      <a:pt x="72" y="831"/>
                      <a:pt x="71" y="831"/>
                      <a:pt x="70" y="830"/>
                    </a:cubicBezTo>
                    <a:cubicBezTo>
                      <a:pt x="70" y="830"/>
                      <a:pt x="70" y="830"/>
                      <a:pt x="70" y="830"/>
                    </a:cubicBezTo>
                    <a:cubicBezTo>
                      <a:pt x="70" y="832"/>
                      <a:pt x="70" y="833"/>
                      <a:pt x="69" y="833"/>
                    </a:cubicBezTo>
                    <a:cubicBezTo>
                      <a:pt x="68" y="838"/>
                      <a:pt x="66" y="842"/>
                      <a:pt x="61" y="845"/>
                    </a:cubicBezTo>
                    <a:cubicBezTo>
                      <a:pt x="57" y="847"/>
                      <a:pt x="55" y="849"/>
                      <a:pt x="55" y="850"/>
                    </a:cubicBezTo>
                    <a:cubicBezTo>
                      <a:pt x="56" y="851"/>
                      <a:pt x="56" y="852"/>
                      <a:pt x="56" y="852"/>
                    </a:cubicBezTo>
                    <a:cubicBezTo>
                      <a:pt x="57" y="855"/>
                      <a:pt x="57" y="856"/>
                      <a:pt x="55" y="860"/>
                    </a:cubicBezTo>
                    <a:cubicBezTo>
                      <a:pt x="54" y="864"/>
                      <a:pt x="51" y="866"/>
                      <a:pt x="48" y="869"/>
                    </a:cubicBezTo>
                    <a:cubicBezTo>
                      <a:pt x="46" y="870"/>
                      <a:pt x="46" y="870"/>
                      <a:pt x="46" y="870"/>
                    </a:cubicBezTo>
                    <a:cubicBezTo>
                      <a:pt x="42" y="873"/>
                      <a:pt x="36" y="875"/>
                      <a:pt x="32" y="874"/>
                    </a:cubicBezTo>
                    <a:cubicBezTo>
                      <a:pt x="30" y="874"/>
                      <a:pt x="30" y="874"/>
                      <a:pt x="28" y="875"/>
                    </a:cubicBezTo>
                    <a:cubicBezTo>
                      <a:pt x="27" y="875"/>
                      <a:pt x="26" y="876"/>
                      <a:pt x="26" y="876"/>
                    </a:cubicBezTo>
                    <a:cubicBezTo>
                      <a:pt x="22" y="877"/>
                      <a:pt x="19" y="879"/>
                      <a:pt x="18" y="881"/>
                    </a:cubicBezTo>
                    <a:cubicBezTo>
                      <a:pt x="17" y="882"/>
                      <a:pt x="17" y="882"/>
                      <a:pt x="18" y="883"/>
                    </a:cubicBezTo>
                    <a:cubicBezTo>
                      <a:pt x="21" y="884"/>
                      <a:pt x="27" y="891"/>
                      <a:pt x="26" y="898"/>
                    </a:cubicBezTo>
                    <a:cubicBezTo>
                      <a:pt x="26" y="901"/>
                      <a:pt x="26" y="905"/>
                      <a:pt x="27" y="907"/>
                    </a:cubicBezTo>
                    <a:cubicBezTo>
                      <a:pt x="27" y="908"/>
                      <a:pt x="27" y="908"/>
                      <a:pt x="27" y="908"/>
                    </a:cubicBezTo>
                    <a:cubicBezTo>
                      <a:pt x="29" y="910"/>
                      <a:pt x="33" y="913"/>
                      <a:pt x="31" y="918"/>
                    </a:cubicBezTo>
                    <a:cubicBezTo>
                      <a:pt x="30" y="923"/>
                      <a:pt x="27" y="926"/>
                      <a:pt x="22" y="926"/>
                    </a:cubicBezTo>
                    <a:cubicBezTo>
                      <a:pt x="21" y="926"/>
                      <a:pt x="20" y="926"/>
                      <a:pt x="19" y="926"/>
                    </a:cubicBezTo>
                    <a:cubicBezTo>
                      <a:pt x="17" y="925"/>
                      <a:pt x="15" y="925"/>
                      <a:pt x="13" y="926"/>
                    </a:cubicBezTo>
                    <a:cubicBezTo>
                      <a:pt x="10" y="928"/>
                      <a:pt x="9" y="929"/>
                      <a:pt x="8" y="929"/>
                    </a:cubicBezTo>
                    <a:cubicBezTo>
                      <a:pt x="10" y="932"/>
                      <a:pt x="15" y="938"/>
                      <a:pt x="16" y="942"/>
                    </a:cubicBezTo>
                    <a:cubicBezTo>
                      <a:pt x="16" y="943"/>
                      <a:pt x="16" y="944"/>
                      <a:pt x="16" y="945"/>
                    </a:cubicBezTo>
                    <a:cubicBezTo>
                      <a:pt x="16" y="946"/>
                      <a:pt x="16" y="946"/>
                      <a:pt x="17" y="946"/>
                    </a:cubicBezTo>
                    <a:cubicBezTo>
                      <a:pt x="17" y="947"/>
                      <a:pt x="17" y="948"/>
                      <a:pt x="17" y="948"/>
                    </a:cubicBezTo>
                    <a:cubicBezTo>
                      <a:pt x="10" y="951"/>
                      <a:pt x="10" y="951"/>
                      <a:pt x="10" y="951"/>
                    </a:cubicBezTo>
                    <a:cubicBezTo>
                      <a:pt x="9" y="950"/>
                      <a:pt x="9" y="948"/>
                      <a:pt x="9" y="947"/>
                    </a:cubicBezTo>
                    <a:cubicBezTo>
                      <a:pt x="9" y="947"/>
                      <a:pt x="9" y="946"/>
                      <a:pt x="9" y="946"/>
                    </a:cubicBezTo>
                    <a:cubicBezTo>
                      <a:pt x="9" y="945"/>
                      <a:pt x="9" y="944"/>
                      <a:pt x="8" y="944"/>
                    </a:cubicBezTo>
                    <a:cubicBezTo>
                      <a:pt x="8" y="942"/>
                      <a:pt x="4" y="936"/>
                      <a:pt x="2" y="933"/>
                    </a:cubicBezTo>
                    <a:cubicBezTo>
                      <a:pt x="0" y="932"/>
                      <a:pt x="0" y="930"/>
                      <a:pt x="0" y="928"/>
                    </a:cubicBezTo>
                    <a:cubicBezTo>
                      <a:pt x="1" y="925"/>
                      <a:pt x="4" y="922"/>
                      <a:pt x="9" y="919"/>
                    </a:cubicBezTo>
                    <a:cubicBezTo>
                      <a:pt x="14" y="917"/>
                      <a:pt x="18" y="918"/>
                      <a:pt x="20" y="918"/>
                    </a:cubicBezTo>
                    <a:cubicBezTo>
                      <a:pt x="21" y="918"/>
                      <a:pt x="22" y="918"/>
                      <a:pt x="22" y="918"/>
                    </a:cubicBezTo>
                    <a:cubicBezTo>
                      <a:pt x="23" y="918"/>
                      <a:pt x="23" y="917"/>
                      <a:pt x="24" y="916"/>
                    </a:cubicBezTo>
                    <a:cubicBezTo>
                      <a:pt x="23" y="915"/>
                      <a:pt x="22" y="914"/>
                      <a:pt x="21" y="913"/>
                    </a:cubicBezTo>
                    <a:cubicBezTo>
                      <a:pt x="20" y="912"/>
                      <a:pt x="19" y="911"/>
                      <a:pt x="19" y="910"/>
                    </a:cubicBezTo>
                    <a:cubicBezTo>
                      <a:pt x="19" y="909"/>
                      <a:pt x="18" y="901"/>
                      <a:pt x="18" y="897"/>
                    </a:cubicBezTo>
                    <a:cubicBezTo>
                      <a:pt x="19" y="895"/>
                      <a:pt x="16" y="890"/>
                      <a:pt x="14" y="889"/>
                    </a:cubicBezTo>
                    <a:cubicBezTo>
                      <a:pt x="9" y="885"/>
                      <a:pt x="9" y="881"/>
                      <a:pt x="12" y="876"/>
                    </a:cubicBezTo>
                    <a:cubicBezTo>
                      <a:pt x="14" y="873"/>
                      <a:pt x="17" y="871"/>
                      <a:pt x="23" y="869"/>
                    </a:cubicBezTo>
                    <a:cubicBezTo>
                      <a:pt x="24" y="868"/>
                      <a:pt x="24" y="868"/>
                      <a:pt x="25" y="868"/>
                    </a:cubicBezTo>
                    <a:cubicBezTo>
                      <a:pt x="27" y="867"/>
                      <a:pt x="29" y="866"/>
                      <a:pt x="33" y="867"/>
                    </a:cubicBezTo>
                    <a:cubicBezTo>
                      <a:pt x="34" y="867"/>
                      <a:pt x="39" y="866"/>
                      <a:pt x="41" y="864"/>
                    </a:cubicBezTo>
                    <a:cubicBezTo>
                      <a:pt x="42" y="863"/>
                      <a:pt x="43" y="863"/>
                      <a:pt x="43" y="862"/>
                    </a:cubicBezTo>
                    <a:cubicBezTo>
                      <a:pt x="46" y="861"/>
                      <a:pt x="47" y="859"/>
                      <a:pt x="48" y="857"/>
                    </a:cubicBezTo>
                    <a:cubicBezTo>
                      <a:pt x="49" y="856"/>
                      <a:pt x="49" y="856"/>
                      <a:pt x="49" y="855"/>
                    </a:cubicBezTo>
                    <a:cubicBezTo>
                      <a:pt x="49" y="855"/>
                      <a:pt x="49" y="855"/>
                      <a:pt x="49" y="855"/>
                    </a:cubicBezTo>
                    <a:cubicBezTo>
                      <a:pt x="49" y="854"/>
                      <a:pt x="48" y="854"/>
                      <a:pt x="48" y="852"/>
                    </a:cubicBezTo>
                    <a:cubicBezTo>
                      <a:pt x="46" y="847"/>
                      <a:pt x="50" y="842"/>
                      <a:pt x="57" y="838"/>
                    </a:cubicBezTo>
                    <a:cubicBezTo>
                      <a:pt x="59" y="837"/>
                      <a:pt x="61" y="834"/>
                      <a:pt x="62" y="831"/>
                    </a:cubicBezTo>
                    <a:cubicBezTo>
                      <a:pt x="62" y="831"/>
                      <a:pt x="62" y="830"/>
                      <a:pt x="62" y="828"/>
                    </a:cubicBezTo>
                    <a:cubicBezTo>
                      <a:pt x="62" y="827"/>
                      <a:pt x="62" y="826"/>
                      <a:pt x="61" y="826"/>
                    </a:cubicBezTo>
                    <a:cubicBezTo>
                      <a:pt x="60" y="822"/>
                      <a:pt x="62" y="821"/>
                      <a:pt x="63" y="820"/>
                    </a:cubicBezTo>
                    <a:cubicBezTo>
                      <a:pt x="64" y="820"/>
                      <a:pt x="66" y="819"/>
                      <a:pt x="68" y="822"/>
                    </a:cubicBezTo>
                    <a:cubicBezTo>
                      <a:pt x="68" y="822"/>
                      <a:pt x="69" y="822"/>
                      <a:pt x="69" y="822"/>
                    </a:cubicBezTo>
                    <a:cubicBezTo>
                      <a:pt x="70" y="822"/>
                      <a:pt x="71" y="823"/>
                      <a:pt x="72" y="823"/>
                    </a:cubicBezTo>
                    <a:cubicBezTo>
                      <a:pt x="73" y="823"/>
                      <a:pt x="74" y="823"/>
                      <a:pt x="75" y="824"/>
                    </a:cubicBezTo>
                    <a:cubicBezTo>
                      <a:pt x="77" y="824"/>
                      <a:pt x="85" y="824"/>
                      <a:pt x="86" y="824"/>
                    </a:cubicBezTo>
                    <a:cubicBezTo>
                      <a:pt x="89" y="823"/>
                      <a:pt x="92" y="824"/>
                      <a:pt x="94" y="828"/>
                    </a:cubicBezTo>
                    <a:cubicBezTo>
                      <a:pt x="94" y="828"/>
                      <a:pt x="94" y="829"/>
                      <a:pt x="94" y="829"/>
                    </a:cubicBezTo>
                    <a:cubicBezTo>
                      <a:pt x="95" y="830"/>
                      <a:pt x="98" y="831"/>
                      <a:pt x="100" y="830"/>
                    </a:cubicBezTo>
                    <a:cubicBezTo>
                      <a:pt x="103" y="828"/>
                      <a:pt x="105" y="826"/>
                      <a:pt x="107" y="825"/>
                    </a:cubicBezTo>
                    <a:cubicBezTo>
                      <a:pt x="108" y="824"/>
                      <a:pt x="109" y="823"/>
                      <a:pt x="110" y="822"/>
                    </a:cubicBezTo>
                    <a:cubicBezTo>
                      <a:pt x="113" y="820"/>
                      <a:pt x="115" y="820"/>
                      <a:pt x="118" y="820"/>
                    </a:cubicBezTo>
                    <a:cubicBezTo>
                      <a:pt x="120" y="820"/>
                      <a:pt x="121" y="820"/>
                      <a:pt x="123" y="819"/>
                    </a:cubicBezTo>
                    <a:cubicBezTo>
                      <a:pt x="126" y="818"/>
                      <a:pt x="129" y="818"/>
                      <a:pt x="131" y="818"/>
                    </a:cubicBezTo>
                    <a:cubicBezTo>
                      <a:pt x="131" y="816"/>
                      <a:pt x="131" y="814"/>
                      <a:pt x="132" y="813"/>
                    </a:cubicBezTo>
                    <a:cubicBezTo>
                      <a:pt x="133" y="810"/>
                      <a:pt x="136" y="808"/>
                      <a:pt x="138" y="808"/>
                    </a:cubicBezTo>
                    <a:cubicBezTo>
                      <a:pt x="145" y="806"/>
                      <a:pt x="147" y="810"/>
                      <a:pt x="148" y="814"/>
                    </a:cubicBezTo>
                    <a:cubicBezTo>
                      <a:pt x="148" y="814"/>
                      <a:pt x="148" y="814"/>
                      <a:pt x="148" y="814"/>
                    </a:cubicBezTo>
                    <a:cubicBezTo>
                      <a:pt x="149" y="816"/>
                      <a:pt x="154" y="819"/>
                      <a:pt x="157" y="819"/>
                    </a:cubicBezTo>
                    <a:cubicBezTo>
                      <a:pt x="159" y="819"/>
                      <a:pt x="159" y="819"/>
                      <a:pt x="159" y="819"/>
                    </a:cubicBezTo>
                    <a:cubicBezTo>
                      <a:pt x="163" y="819"/>
                      <a:pt x="169" y="819"/>
                      <a:pt x="172" y="818"/>
                    </a:cubicBezTo>
                    <a:cubicBezTo>
                      <a:pt x="175" y="816"/>
                      <a:pt x="184" y="811"/>
                      <a:pt x="189" y="812"/>
                    </a:cubicBezTo>
                    <a:cubicBezTo>
                      <a:pt x="191" y="812"/>
                      <a:pt x="193" y="813"/>
                      <a:pt x="195" y="815"/>
                    </a:cubicBezTo>
                    <a:cubicBezTo>
                      <a:pt x="196" y="818"/>
                      <a:pt x="196" y="821"/>
                      <a:pt x="195" y="824"/>
                    </a:cubicBezTo>
                    <a:cubicBezTo>
                      <a:pt x="195" y="825"/>
                      <a:pt x="195" y="825"/>
                      <a:pt x="195" y="826"/>
                    </a:cubicBezTo>
                    <a:cubicBezTo>
                      <a:pt x="195" y="827"/>
                      <a:pt x="195" y="828"/>
                      <a:pt x="194" y="828"/>
                    </a:cubicBezTo>
                    <a:cubicBezTo>
                      <a:pt x="195" y="829"/>
                      <a:pt x="196" y="830"/>
                      <a:pt x="196" y="833"/>
                    </a:cubicBezTo>
                    <a:cubicBezTo>
                      <a:pt x="197" y="837"/>
                      <a:pt x="195" y="838"/>
                      <a:pt x="193" y="840"/>
                    </a:cubicBezTo>
                    <a:cubicBezTo>
                      <a:pt x="192" y="841"/>
                      <a:pt x="192" y="841"/>
                      <a:pt x="192" y="841"/>
                    </a:cubicBezTo>
                    <a:cubicBezTo>
                      <a:pt x="192" y="842"/>
                      <a:pt x="191" y="842"/>
                      <a:pt x="191" y="842"/>
                    </a:cubicBezTo>
                    <a:cubicBezTo>
                      <a:pt x="191" y="843"/>
                      <a:pt x="191" y="844"/>
                      <a:pt x="191" y="845"/>
                    </a:cubicBezTo>
                    <a:cubicBezTo>
                      <a:pt x="191" y="845"/>
                      <a:pt x="191" y="845"/>
                      <a:pt x="191" y="845"/>
                    </a:cubicBezTo>
                    <a:cubicBezTo>
                      <a:pt x="195" y="846"/>
                      <a:pt x="197" y="847"/>
                      <a:pt x="199" y="848"/>
                    </a:cubicBezTo>
                    <a:cubicBezTo>
                      <a:pt x="199" y="848"/>
                      <a:pt x="200" y="849"/>
                      <a:pt x="201" y="848"/>
                    </a:cubicBezTo>
                    <a:cubicBezTo>
                      <a:pt x="204" y="846"/>
                      <a:pt x="205" y="846"/>
                      <a:pt x="205" y="846"/>
                    </a:cubicBezTo>
                    <a:cubicBezTo>
                      <a:pt x="207" y="845"/>
                      <a:pt x="207" y="845"/>
                      <a:pt x="207" y="845"/>
                    </a:cubicBezTo>
                    <a:cubicBezTo>
                      <a:pt x="209" y="846"/>
                      <a:pt x="209" y="846"/>
                      <a:pt x="209" y="846"/>
                    </a:cubicBezTo>
                    <a:cubicBezTo>
                      <a:pt x="210" y="846"/>
                      <a:pt x="210" y="847"/>
                      <a:pt x="211" y="847"/>
                    </a:cubicBezTo>
                    <a:cubicBezTo>
                      <a:pt x="213" y="846"/>
                      <a:pt x="216" y="846"/>
                      <a:pt x="218" y="846"/>
                    </a:cubicBezTo>
                    <a:cubicBezTo>
                      <a:pt x="220" y="846"/>
                      <a:pt x="220" y="846"/>
                      <a:pt x="220" y="846"/>
                    </a:cubicBezTo>
                    <a:cubicBezTo>
                      <a:pt x="221" y="847"/>
                      <a:pt x="221" y="847"/>
                      <a:pt x="221" y="847"/>
                    </a:cubicBezTo>
                    <a:cubicBezTo>
                      <a:pt x="223" y="847"/>
                      <a:pt x="224" y="847"/>
                      <a:pt x="225" y="847"/>
                    </a:cubicBezTo>
                    <a:cubicBezTo>
                      <a:pt x="229" y="847"/>
                      <a:pt x="232" y="849"/>
                      <a:pt x="233" y="853"/>
                    </a:cubicBezTo>
                    <a:cubicBezTo>
                      <a:pt x="235" y="853"/>
                      <a:pt x="238" y="853"/>
                      <a:pt x="239" y="852"/>
                    </a:cubicBezTo>
                    <a:cubicBezTo>
                      <a:pt x="241" y="851"/>
                      <a:pt x="242" y="850"/>
                      <a:pt x="244" y="848"/>
                    </a:cubicBezTo>
                    <a:cubicBezTo>
                      <a:pt x="246" y="846"/>
                      <a:pt x="246" y="846"/>
                      <a:pt x="246" y="846"/>
                    </a:cubicBezTo>
                    <a:cubicBezTo>
                      <a:pt x="249" y="842"/>
                      <a:pt x="254" y="835"/>
                      <a:pt x="255" y="832"/>
                    </a:cubicBezTo>
                    <a:cubicBezTo>
                      <a:pt x="257" y="828"/>
                      <a:pt x="260" y="826"/>
                      <a:pt x="263" y="825"/>
                    </a:cubicBezTo>
                    <a:cubicBezTo>
                      <a:pt x="263" y="824"/>
                      <a:pt x="263" y="824"/>
                      <a:pt x="264" y="824"/>
                    </a:cubicBezTo>
                    <a:cubicBezTo>
                      <a:pt x="265" y="823"/>
                      <a:pt x="265" y="822"/>
                      <a:pt x="266" y="820"/>
                    </a:cubicBezTo>
                    <a:cubicBezTo>
                      <a:pt x="266" y="819"/>
                      <a:pt x="267" y="818"/>
                      <a:pt x="267" y="817"/>
                    </a:cubicBezTo>
                    <a:cubicBezTo>
                      <a:pt x="268" y="817"/>
                      <a:pt x="268" y="817"/>
                      <a:pt x="268" y="816"/>
                    </a:cubicBezTo>
                    <a:cubicBezTo>
                      <a:pt x="269" y="814"/>
                      <a:pt x="272" y="810"/>
                      <a:pt x="276" y="811"/>
                    </a:cubicBezTo>
                    <a:cubicBezTo>
                      <a:pt x="276" y="812"/>
                      <a:pt x="276" y="812"/>
                      <a:pt x="276" y="812"/>
                    </a:cubicBezTo>
                    <a:cubicBezTo>
                      <a:pt x="277" y="812"/>
                      <a:pt x="277" y="812"/>
                      <a:pt x="277" y="812"/>
                    </a:cubicBezTo>
                    <a:cubicBezTo>
                      <a:pt x="277" y="811"/>
                      <a:pt x="277" y="811"/>
                      <a:pt x="277" y="811"/>
                    </a:cubicBezTo>
                    <a:cubicBezTo>
                      <a:pt x="278" y="811"/>
                      <a:pt x="279" y="809"/>
                      <a:pt x="281" y="809"/>
                    </a:cubicBezTo>
                    <a:cubicBezTo>
                      <a:pt x="282" y="809"/>
                      <a:pt x="282" y="809"/>
                      <a:pt x="282" y="809"/>
                    </a:cubicBezTo>
                    <a:cubicBezTo>
                      <a:pt x="283" y="809"/>
                      <a:pt x="283" y="809"/>
                      <a:pt x="284" y="808"/>
                    </a:cubicBezTo>
                    <a:cubicBezTo>
                      <a:pt x="287" y="805"/>
                      <a:pt x="292" y="805"/>
                      <a:pt x="295" y="807"/>
                    </a:cubicBezTo>
                    <a:cubicBezTo>
                      <a:pt x="299" y="808"/>
                      <a:pt x="300" y="811"/>
                      <a:pt x="300" y="812"/>
                    </a:cubicBezTo>
                    <a:cubicBezTo>
                      <a:pt x="300" y="812"/>
                      <a:pt x="300" y="812"/>
                      <a:pt x="300" y="812"/>
                    </a:cubicBezTo>
                    <a:cubicBezTo>
                      <a:pt x="300" y="813"/>
                      <a:pt x="301" y="813"/>
                      <a:pt x="301" y="814"/>
                    </a:cubicBezTo>
                    <a:cubicBezTo>
                      <a:pt x="302" y="814"/>
                      <a:pt x="303" y="814"/>
                      <a:pt x="304" y="815"/>
                    </a:cubicBezTo>
                    <a:cubicBezTo>
                      <a:pt x="306" y="815"/>
                      <a:pt x="308" y="816"/>
                      <a:pt x="310" y="817"/>
                    </a:cubicBezTo>
                    <a:cubicBezTo>
                      <a:pt x="311" y="817"/>
                      <a:pt x="315" y="817"/>
                      <a:pt x="321" y="816"/>
                    </a:cubicBezTo>
                    <a:cubicBezTo>
                      <a:pt x="322" y="816"/>
                      <a:pt x="323" y="815"/>
                      <a:pt x="325" y="815"/>
                    </a:cubicBezTo>
                    <a:cubicBezTo>
                      <a:pt x="364" y="804"/>
                      <a:pt x="381" y="801"/>
                      <a:pt x="386" y="806"/>
                    </a:cubicBezTo>
                    <a:cubicBezTo>
                      <a:pt x="388" y="807"/>
                      <a:pt x="395" y="806"/>
                      <a:pt x="401" y="805"/>
                    </a:cubicBezTo>
                    <a:cubicBezTo>
                      <a:pt x="402" y="805"/>
                      <a:pt x="403" y="805"/>
                      <a:pt x="404" y="805"/>
                    </a:cubicBezTo>
                    <a:cubicBezTo>
                      <a:pt x="406" y="805"/>
                      <a:pt x="410" y="804"/>
                      <a:pt x="411" y="804"/>
                    </a:cubicBezTo>
                    <a:cubicBezTo>
                      <a:pt x="412" y="803"/>
                      <a:pt x="412" y="803"/>
                      <a:pt x="413" y="802"/>
                    </a:cubicBezTo>
                    <a:cubicBezTo>
                      <a:pt x="414" y="801"/>
                      <a:pt x="417" y="799"/>
                      <a:pt x="422" y="800"/>
                    </a:cubicBezTo>
                    <a:cubicBezTo>
                      <a:pt x="423" y="800"/>
                      <a:pt x="425" y="800"/>
                      <a:pt x="430" y="797"/>
                    </a:cubicBezTo>
                    <a:cubicBezTo>
                      <a:pt x="432" y="796"/>
                      <a:pt x="437" y="795"/>
                      <a:pt x="444" y="794"/>
                    </a:cubicBezTo>
                    <a:cubicBezTo>
                      <a:pt x="445" y="794"/>
                      <a:pt x="445" y="794"/>
                      <a:pt x="445" y="794"/>
                    </a:cubicBezTo>
                    <a:cubicBezTo>
                      <a:pt x="446" y="794"/>
                      <a:pt x="447" y="794"/>
                      <a:pt x="448" y="794"/>
                    </a:cubicBezTo>
                    <a:cubicBezTo>
                      <a:pt x="451" y="794"/>
                      <a:pt x="455" y="793"/>
                      <a:pt x="456" y="792"/>
                    </a:cubicBezTo>
                    <a:cubicBezTo>
                      <a:pt x="458" y="789"/>
                      <a:pt x="461" y="789"/>
                      <a:pt x="464" y="789"/>
                    </a:cubicBezTo>
                    <a:cubicBezTo>
                      <a:pt x="465" y="789"/>
                      <a:pt x="466" y="789"/>
                      <a:pt x="467" y="789"/>
                    </a:cubicBezTo>
                    <a:cubicBezTo>
                      <a:pt x="470" y="788"/>
                      <a:pt x="474" y="789"/>
                      <a:pt x="475" y="790"/>
                    </a:cubicBezTo>
                    <a:cubicBezTo>
                      <a:pt x="476" y="790"/>
                      <a:pt x="476" y="791"/>
                      <a:pt x="476" y="791"/>
                    </a:cubicBezTo>
                    <a:cubicBezTo>
                      <a:pt x="477" y="791"/>
                      <a:pt x="479" y="790"/>
                      <a:pt x="480" y="789"/>
                    </a:cubicBezTo>
                    <a:cubicBezTo>
                      <a:pt x="483" y="787"/>
                      <a:pt x="487" y="788"/>
                      <a:pt x="489" y="789"/>
                    </a:cubicBezTo>
                    <a:cubicBezTo>
                      <a:pt x="490" y="789"/>
                      <a:pt x="491" y="789"/>
                      <a:pt x="491" y="789"/>
                    </a:cubicBezTo>
                    <a:cubicBezTo>
                      <a:pt x="492" y="790"/>
                      <a:pt x="492" y="790"/>
                      <a:pt x="492" y="790"/>
                    </a:cubicBezTo>
                    <a:cubicBezTo>
                      <a:pt x="492" y="790"/>
                      <a:pt x="492" y="789"/>
                      <a:pt x="494" y="788"/>
                    </a:cubicBezTo>
                    <a:cubicBezTo>
                      <a:pt x="496" y="785"/>
                      <a:pt x="498" y="784"/>
                      <a:pt x="500" y="783"/>
                    </a:cubicBezTo>
                    <a:cubicBezTo>
                      <a:pt x="501" y="782"/>
                      <a:pt x="502" y="781"/>
                      <a:pt x="503" y="780"/>
                    </a:cubicBezTo>
                    <a:cubicBezTo>
                      <a:pt x="504" y="779"/>
                      <a:pt x="505" y="779"/>
                      <a:pt x="506" y="778"/>
                    </a:cubicBezTo>
                    <a:cubicBezTo>
                      <a:pt x="510" y="775"/>
                      <a:pt x="514" y="771"/>
                      <a:pt x="520" y="771"/>
                    </a:cubicBezTo>
                    <a:cubicBezTo>
                      <a:pt x="522" y="771"/>
                      <a:pt x="522" y="771"/>
                      <a:pt x="523" y="770"/>
                    </a:cubicBezTo>
                    <a:cubicBezTo>
                      <a:pt x="524" y="769"/>
                      <a:pt x="524" y="768"/>
                      <a:pt x="525" y="768"/>
                    </a:cubicBezTo>
                    <a:cubicBezTo>
                      <a:pt x="526" y="767"/>
                      <a:pt x="526" y="766"/>
                      <a:pt x="527" y="766"/>
                    </a:cubicBezTo>
                    <a:cubicBezTo>
                      <a:pt x="527" y="765"/>
                      <a:pt x="527" y="764"/>
                      <a:pt x="527" y="763"/>
                    </a:cubicBezTo>
                    <a:cubicBezTo>
                      <a:pt x="527" y="761"/>
                      <a:pt x="528" y="758"/>
                      <a:pt x="529" y="755"/>
                    </a:cubicBezTo>
                    <a:cubicBezTo>
                      <a:pt x="530" y="753"/>
                      <a:pt x="532" y="750"/>
                      <a:pt x="533" y="749"/>
                    </a:cubicBezTo>
                    <a:cubicBezTo>
                      <a:pt x="532" y="747"/>
                      <a:pt x="532" y="745"/>
                      <a:pt x="532" y="743"/>
                    </a:cubicBezTo>
                    <a:cubicBezTo>
                      <a:pt x="532" y="742"/>
                      <a:pt x="532" y="740"/>
                      <a:pt x="532" y="739"/>
                    </a:cubicBezTo>
                    <a:cubicBezTo>
                      <a:pt x="531" y="735"/>
                      <a:pt x="531" y="732"/>
                      <a:pt x="533" y="730"/>
                    </a:cubicBezTo>
                    <a:cubicBezTo>
                      <a:pt x="534" y="730"/>
                      <a:pt x="534" y="730"/>
                      <a:pt x="534" y="730"/>
                    </a:cubicBezTo>
                    <a:cubicBezTo>
                      <a:pt x="534" y="729"/>
                      <a:pt x="534" y="729"/>
                      <a:pt x="535" y="729"/>
                    </a:cubicBezTo>
                    <a:cubicBezTo>
                      <a:pt x="535" y="728"/>
                      <a:pt x="536" y="728"/>
                      <a:pt x="537" y="727"/>
                    </a:cubicBezTo>
                    <a:cubicBezTo>
                      <a:pt x="539" y="725"/>
                      <a:pt x="540" y="723"/>
                      <a:pt x="541" y="722"/>
                    </a:cubicBezTo>
                    <a:cubicBezTo>
                      <a:pt x="541" y="720"/>
                      <a:pt x="541" y="720"/>
                      <a:pt x="541" y="720"/>
                    </a:cubicBezTo>
                    <a:cubicBezTo>
                      <a:pt x="543" y="720"/>
                      <a:pt x="543" y="720"/>
                      <a:pt x="543" y="720"/>
                    </a:cubicBezTo>
                    <a:cubicBezTo>
                      <a:pt x="544" y="719"/>
                      <a:pt x="547" y="718"/>
                      <a:pt x="551" y="720"/>
                    </a:cubicBezTo>
                    <a:cubicBezTo>
                      <a:pt x="551" y="720"/>
                      <a:pt x="552" y="720"/>
                      <a:pt x="553" y="720"/>
                    </a:cubicBezTo>
                    <a:cubicBezTo>
                      <a:pt x="553" y="720"/>
                      <a:pt x="553" y="720"/>
                      <a:pt x="554" y="720"/>
                    </a:cubicBezTo>
                    <a:cubicBezTo>
                      <a:pt x="555" y="720"/>
                      <a:pt x="556" y="719"/>
                      <a:pt x="558" y="719"/>
                    </a:cubicBezTo>
                    <a:cubicBezTo>
                      <a:pt x="558" y="719"/>
                      <a:pt x="557" y="718"/>
                      <a:pt x="557" y="718"/>
                    </a:cubicBezTo>
                    <a:cubicBezTo>
                      <a:pt x="556" y="716"/>
                      <a:pt x="555" y="714"/>
                      <a:pt x="557" y="711"/>
                    </a:cubicBezTo>
                    <a:cubicBezTo>
                      <a:pt x="556" y="710"/>
                      <a:pt x="555" y="709"/>
                      <a:pt x="556" y="708"/>
                    </a:cubicBezTo>
                    <a:cubicBezTo>
                      <a:pt x="556" y="705"/>
                      <a:pt x="558" y="704"/>
                      <a:pt x="560" y="703"/>
                    </a:cubicBezTo>
                    <a:cubicBezTo>
                      <a:pt x="561" y="703"/>
                      <a:pt x="561" y="703"/>
                      <a:pt x="561" y="703"/>
                    </a:cubicBezTo>
                    <a:cubicBezTo>
                      <a:pt x="562" y="702"/>
                      <a:pt x="565" y="702"/>
                      <a:pt x="566" y="702"/>
                    </a:cubicBezTo>
                    <a:cubicBezTo>
                      <a:pt x="568" y="702"/>
                      <a:pt x="569" y="702"/>
                      <a:pt x="569" y="702"/>
                    </a:cubicBezTo>
                    <a:cubicBezTo>
                      <a:pt x="570" y="701"/>
                      <a:pt x="570" y="701"/>
                      <a:pt x="571" y="701"/>
                    </a:cubicBezTo>
                    <a:cubicBezTo>
                      <a:pt x="574" y="700"/>
                      <a:pt x="578" y="698"/>
                      <a:pt x="582" y="699"/>
                    </a:cubicBezTo>
                    <a:cubicBezTo>
                      <a:pt x="583" y="700"/>
                      <a:pt x="585" y="699"/>
                      <a:pt x="585" y="699"/>
                    </a:cubicBezTo>
                    <a:cubicBezTo>
                      <a:pt x="585" y="698"/>
                      <a:pt x="585" y="694"/>
                      <a:pt x="584" y="693"/>
                    </a:cubicBezTo>
                    <a:cubicBezTo>
                      <a:pt x="583" y="690"/>
                      <a:pt x="582" y="688"/>
                      <a:pt x="583" y="685"/>
                    </a:cubicBezTo>
                    <a:cubicBezTo>
                      <a:pt x="584" y="684"/>
                      <a:pt x="584" y="683"/>
                      <a:pt x="585" y="682"/>
                    </a:cubicBezTo>
                    <a:cubicBezTo>
                      <a:pt x="585" y="681"/>
                      <a:pt x="587" y="679"/>
                      <a:pt x="587" y="677"/>
                    </a:cubicBezTo>
                    <a:cubicBezTo>
                      <a:pt x="588" y="675"/>
                      <a:pt x="588" y="673"/>
                      <a:pt x="588" y="672"/>
                    </a:cubicBezTo>
                    <a:cubicBezTo>
                      <a:pt x="588" y="671"/>
                      <a:pt x="587" y="669"/>
                      <a:pt x="588" y="668"/>
                    </a:cubicBezTo>
                    <a:cubicBezTo>
                      <a:pt x="588" y="665"/>
                      <a:pt x="587" y="661"/>
                      <a:pt x="586" y="656"/>
                    </a:cubicBezTo>
                    <a:cubicBezTo>
                      <a:pt x="585" y="650"/>
                      <a:pt x="584" y="646"/>
                      <a:pt x="584" y="646"/>
                    </a:cubicBezTo>
                    <a:cubicBezTo>
                      <a:pt x="584" y="645"/>
                      <a:pt x="584" y="645"/>
                      <a:pt x="584" y="645"/>
                    </a:cubicBezTo>
                    <a:cubicBezTo>
                      <a:pt x="584" y="644"/>
                      <a:pt x="584" y="644"/>
                      <a:pt x="584" y="644"/>
                    </a:cubicBezTo>
                    <a:cubicBezTo>
                      <a:pt x="584" y="644"/>
                      <a:pt x="587" y="637"/>
                      <a:pt x="587" y="628"/>
                    </a:cubicBezTo>
                    <a:cubicBezTo>
                      <a:pt x="587" y="626"/>
                      <a:pt x="586" y="622"/>
                      <a:pt x="586" y="619"/>
                    </a:cubicBezTo>
                    <a:cubicBezTo>
                      <a:pt x="585" y="611"/>
                      <a:pt x="584" y="602"/>
                      <a:pt x="587" y="596"/>
                    </a:cubicBezTo>
                    <a:cubicBezTo>
                      <a:pt x="590" y="590"/>
                      <a:pt x="594" y="575"/>
                      <a:pt x="593" y="567"/>
                    </a:cubicBezTo>
                    <a:cubicBezTo>
                      <a:pt x="593" y="559"/>
                      <a:pt x="592" y="558"/>
                      <a:pt x="591" y="557"/>
                    </a:cubicBezTo>
                    <a:cubicBezTo>
                      <a:pt x="590" y="555"/>
                      <a:pt x="590" y="554"/>
                      <a:pt x="589" y="553"/>
                    </a:cubicBezTo>
                    <a:cubicBezTo>
                      <a:pt x="589" y="552"/>
                      <a:pt x="589" y="552"/>
                      <a:pt x="589" y="552"/>
                    </a:cubicBezTo>
                    <a:cubicBezTo>
                      <a:pt x="589" y="552"/>
                      <a:pt x="589" y="552"/>
                      <a:pt x="589" y="552"/>
                    </a:cubicBezTo>
                    <a:cubicBezTo>
                      <a:pt x="589" y="552"/>
                      <a:pt x="589" y="552"/>
                      <a:pt x="589" y="552"/>
                    </a:cubicBezTo>
                    <a:cubicBezTo>
                      <a:pt x="586" y="553"/>
                      <a:pt x="584" y="553"/>
                      <a:pt x="581" y="552"/>
                    </a:cubicBezTo>
                    <a:cubicBezTo>
                      <a:pt x="581" y="551"/>
                      <a:pt x="581" y="551"/>
                      <a:pt x="581" y="551"/>
                    </a:cubicBezTo>
                    <a:cubicBezTo>
                      <a:pt x="579" y="550"/>
                      <a:pt x="576" y="549"/>
                      <a:pt x="576" y="545"/>
                    </a:cubicBezTo>
                    <a:cubicBezTo>
                      <a:pt x="576" y="544"/>
                      <a:pt x="576" y="543"/>
                      <a:pt x="576" y="543"/>
                    </a:cubicBezTo>
                    <a:cubicBezTo>
                      <a:pt x="576" y="543"/>
                      <a:pt x="576" y="543"/>
                      <a:pt x="576" y="543"/>
                    </a:cubicBezTo>
                    <a:cubicBezTo>
                      <a:pt x="574" y="542"/>
                      <a:pt x="572" y="540"/>
                      <a:pt x="572" y="538"/>
                    </a:cubicBezTo>
                    <a:cubicBezTo>
                      <a:pt x="572" y="534"/>
                      <a:pt x="574" y="531"/>
                      <a:pt x="577" y="530"/>
                    </a:cubicBezTo>
                    <a:cubicBezTo>
                      <a:pt x="577" y="529"/>
                      <a:pt x="577" y="529"/>
                      <a:pt x="577" y="529"/>
                    </a:cubicBezTo>
                    <a:cubicBezTo>
                      <a:pt x="579" y="528"/>
                      <a:pt x="582" y="526"/>
                      <a:pt x="587" y="527"/>
                    </a:cubicBezTo>
                    <a:cubicBezTo>
                      <a:pt x="587" y="527"/>
                      <a:pt x="587" y="527"/>
                      <a:pt x="587" y="527"/>
                    </a:cubicBezTo>
                    <a:cubicBezTo>
                      <a:pt x="591" y="527"/>
                      <a:pt x="592" y="527"/>
                      <a:pt x="596" y="526"/>
                    </a:cubicBezTo>
                    <a:cubicBezTo>
                      <a:pt x="602" y="524"/>
                      <a:pt x="608" y="525"/>
                      <a:pt x="613" y="527"/>
                    </a:cubicBezTo>
                    <a:cubicBezTo>
                      <a:pt x="613" y="527"/>
                      <a:pt x="614" y="526"/>
                      <a:pt x="614" y="526"/>
                    </a:cubicBezTo>
                    <a:cubicBezTo>
                      <a:pt x="615" y="525"/>
                      <a:pt x="617" y="524"/>
                      <a:pt x="619" y="524"/>
                    </a:cubicBezTo>
                    <a:cubicBezTo>
                      <a:pt x="623" y="523"/>
                      <a:pt x="626" y="527"/>
                      <a:pt x="627" y="529"/>
                    </a:cubicBezTo>
                    <a:cubicBezTo>
                      <a:pt x="627" y="529"/>
                      <a:pt x="627" y="529"/>
                      <a:pt x="627" y="529"/>
                    </a:cubicBezTo>
                    <a:cubicBezTo>
                      <a:pt x="628" y="529"/>
                      <a:pt x="628" y="529"/>
                      <a:pt x="629" y="528"/>
                    </a:cubicBezTo>
                    <a:cubicBezTo>
                      <a:pt x="631" y="526"/>
                      <a:pt x="634" y="525"/>
                      <a:pt x="636" y="525"/>
                    </a:cubicBezTo>
                    <a:cubicBezTo>
                      <a:pt x="638" y="525"/>
                      <a:pt x="640" y="526"/>
                      <a:pt x="641" y="527"/>
                    </a:cubicBezTo>
                    <a:cubicBezTo>
                      <a:pt x="641" y="528"/>
                      <a:pt x="645" y="530"/>
                      <a:pt x="647" y="530"/>
                    </a:cubicBezTo>
                    <a:cubicBezTo>
                      <a:pt x="648" y="531"/>
                      <a:pt x="650" y="532"/>
                      <a:pt x="653" y="530"/>
                    </a:cubicBezTo>
                    <a:cubicBezTo>
                      <a:pt x="660" y="525"/>
                      <a:pt x="675" y="530"/>
                      <a:pt x="675" y="530"/>
                    </a:cubicBezTo>
                    <a:cubicBezTo>
                      <a:pt x="678" y="531"/>
                      <a:pt x="680" y="531"/>
                      <a:pt x="684" y="528"/>
                    </a:cubicBezTo>
                    <a:cubicBezTo>
                      <a:pt x="690" y="522"/>
                      <a:pt x="701" y="526"/>
                      <a:pt x="705" y="527"/>
                    </a:cubicBezTo>
                    <a:cubicBezTo>
                      <a:pt x="710" y="529"/>
                      <a:pt x="713" y="533"/>
                      <a:pt x="717" y="539"/>
                    </a:cubicBezTo>
                    <a:cubicBezTo>
                      <a:pt x="717" y="540"/>
                      <a:pt x="718" y="541"/>
                      <a:pt x="718" y="541"/>
                    </a:cubicBezTo>
                    <a:cubicBezTo>
                      <a:pt x="720" y="543"/>
                      <a:pt x="725" y="544"/>
                      <a:pt x="730" y="545"/>
                    </a:cubicBezTo>
                    <a:cubicBezTo>
                      <a:pt x="730" y="545"/>
                      <a:pt x="730" y="545"/>
                      <a:pt x="730" y="545"/>
                    </a:cubicBezTo>
                    <a:cubicBezTo>
                      <a:pt x="733" y="546"/>
                      <a:pt x="736" y="547"/>
                      <a:pt x="738" y="547"/>
                    </a:cubicBezTo>
                    <a:cubicBezTo>
                      <a:pt x="739" y="548"/>
                      <a:pt x="740" y="548"/>
                      <a:pt x="741" y="548"/>
                    </a:cubicBezTo>
                    <a:cubicBezTo>
                      <a:pt x="742" y="548"/>
                      <a:pt x="743" y="548"/>
                      <a:pt x="743" y="548"/>
                    </a:cubicBezTo>
                    <a:cubicBezTo>
                      <a:pt x="744" y="544"/>
                      <a:pt x="742" y="536"/>
                      <a:pt x="740" y="534"/>
                    </a:cubicBezTo>
                    <a:cubicBezTo>
                      <a:pt x="736" y="530"/>
                      <a:pt x="735" y="524"/>
                      <a:pt x="735" y="520"/>
                    </a:cubicBezTo>
                    <a:cubicBezTo>
                      <a:pt x="735" y="515"/>
                      <a:pt x="739" y="508"/>
                      <a:pt x="744" y="503"/>
                    </a:cubicBezTo>
                    <a:cubicBezTo>
                      <a:pt x="744" y="502"/>
                      <a:pt x="744" y="502"/>
                      <a:pt x="745" y="501"/>
                    </a:cubicBezTo>
                    <a:cubicBezTo>
                      <a:pt x="746" y="500"/>
                      <a:pt x="746" y="500"/>
                      <a:pt x="746" y="498"/>
                    </a:cubicBezTo>
                    <a:cubicBezTo>
                      <a:pt x="746" y="494"/>
                      <a:pt x="749" y="489"/>
                      <a:pt x="752" y="487"/>
                    </a:cubicBezTo>
                    <a:cubicBezTo>
                      <a:pt x="753" y="486"/>
                      <a:pt x="755" y="483"/>
                      <a:pt x="757" y="480"/>
                    </a:cubicBezTo>
                    <a:cubicBezTo>
                      <a:pt x="757" y="479"/>
                      <a:pt x="758" y="478"/>
                      <a:pt x="759" y="477"/>
                    </a:cubicBezTo>
                    <a:cubicBezTo>
                      <a:pt x="762" y="472"/>
                      <a:pt x="766" y="466"/>
                      <a:pt x="770" y="463"/>
                    </a:cubicBezTo>
                    <a:cubicBezTo>
                      <a:pt x="772" y="461"/>
                      <a:pt x="779" y="452"/>
                      <a:pt x="782" y="447"/>
                    </a:cubicBezTo>
                    <a:cubicBezTo>
                      <a:pt x="784" y="445"/>
                      <a:pt x="785" y="440"/>
                      <a:pt x="786" y="437"/>
                    </a:cubicBezTo>
                    <a:cubicBezTo>
                      <a:pt x="787" y="435"/>
                      <a:pt x="787" y="433"/>
                      <a:pt x="787" y="432"/>
                    </a:cubicBezTo>
                    <a:cubicBezTo>
                      <a:pt x="789" y="430"/>
                      <a:pt x="791" y="427"/>
                      <a:pt x="793" y="425"/>
                    </a:cubicBezTo>
                    <a:cubicBezTo>
                      <a:pt x="796" y="422"/>
                      <a:pt x="797" y="421"/>
                      <a:pt x="797" y="420"/>
                    </a:cubicBezTo>
                    <a:cubicBezTo>
                      <a:pt x="797" y="420"/>
                      <a:pt x="797" y="419"/>
                      <a:pt x="798" y="418"/>
                    </a:cubicBezTo>
                    <a:cubicBezTo>
                      <a:pt x="799" y="415"/>
                      <a:pt x="800" y="411"/>
                      <a:pt x="803" y="411"/>
                    </a:cubicBezTo>
                    <a:cubicBezTo>
                      <a:pt x="804" y="410"/>
                      <a:pt x="807" y="407"/>
                      <a:pt x="809" y="405"/>
                    </a:cubicBezTo>
                    <a:cubicBezTo>
                      <a:pt x="810" y="404"/>
                      <a:pt x="810" y="404"/>
                      <a:pt x="810" y="404"/>
                    </a:cubicBezTo>
                    <a:cubicBezTo>
                      <a:pt x="812" y="401"/>
                      <a:pt x="819" y="391"/>
                      <a:pt x="820" y="389"/>
                    </a:cubicBezTo>
                    <a:cubicBezTo>
                      <a:pt x="820" y="388"/>
                      <a:pt x="820" y="388"/>
                      <a:pt x="820" y="388"/>
                    </a:cubicBezTo>
                    <a:cubicBezTo>
                      <a:pt x="822" y="387"/>
                      <a:pt x="822" y="387"/>
                      <a:pt x="822" y="387"/>
                    </a:cubicBezTo>
                    <a:cubicBezTo>
                      <a:pt x="825" y="386"/>
                      <a:pt x="831" y="391"/>
                      <a:pt x="831" y="391"/>
                    </a:cubicBezTo>
                    <a:cubicBezTo>
                      <a:pt x="834" y="393"/>
                      <a:pt x="840" y="398"/>
                      <a:pt x="844" y="401"/>
                    </a:cubicBezTo>
                    <a:cubicBezTo>
                      <a:pt x="846" y="403"/>
                      <a:pt x="848" y="405"/>
                      <a:pt x="850" y="407"/>
                    </a:cubicBezTo>
                    <a:cubicBezTo>
                      <a:pt x="852" y="410"/>
                      <a:pt x="855" y="414"/>
                      <a:pt x="857" y="415"/>
                    </a:cubicBezTo>
                    <a:cubicBezTo>
                      <a:pt x="858" y="416"/>
                      <a:pt x="858" y="416"/>
                      <a:pt x="858" y="416"/>
                    </a:cubicBezTo>
                    <a:cubicBezTo>
                      <a:pt x="861" y="417"/>
                      <a:pt x="867" y="421"/>
                      <a:pt x="868" y="422"/>
                    </a:cubicBezTo>
                    <a:cubicBezTo>
                      <a:pt x="869" y="422"/>
                      <a:pt x="869" y="422"/>
                      <a:pt x="869" y="422"/>
                    </a:cubicBezTo>
                    <a:cubicBezTo>
                      <a:pt x="872" y="422"/>
                      <a:pt x="874" y="422"/>
                      <a:pt x="878" y="426"/>
                    </a:cubicBezTo>
                    <a:cubicBezTo>
                      <a:pt x="879" y="427"/>
                      <a:pt x="884" y="427"/>
                      <a:pt x="887" y="427"/>
                    </a:cubicBezTo>
                    <a:cubicBezTo>
                      <a:pt x="889" y="427"/>
                      <a:pt x="889" y="427"/>
                      <a:pt x="889" y="427"/>
                    </a:cubicBezTo>
                    <a:cubicBezTo>
                      <a:pt x="892" y="427"/>
                      <a:pt x="902" y="427"/>
                      <a:pt x="905" y="431"/>
                    </a:cubicBezTo>
                    <a:cubicBezTo>
                      <a:pt x="906" y="431"/>
                      <a:pt x="906" y="431"/>
                      <a:pt x="906" y="431"/>
                    </a:cubicBezTo>
                    <a:cubicBezTo>
                      <a:pt x="921" y="433"/>
                      <a:pt x="926" y="438"/>
                      <a:pt x="930" y="445"/>
                    </a:cubicBezTo>
                    <a:cubicBezTo>
                      <a:pt x="932" y="445"/>
                      <a:pt x="935" y="444"/>
                      <a:pt x="936" y="443"/>
                    </a:cubicBezTo>
                    <a:cubicBezTo>
                      <a:pt x="939" y="442"/>
                      <a:pt x="940" y="442"/>
                      <a:pt x="942" y="442"/>
                    </a:cubicBezTo>
                    <a:cubicBezTo>
                      <a:pt x="951" y="440"/>
                      <a:pt x="958" y="439"/>
                      <a:pt x="963" y="439"/>
                    </a:cubicBezTo>
                    <a:cubicBezTo>
                      <a:pt x="969" y="439"/>
                      <a:pt x="970" y="436"/>
                      <a:pt x="972" y="431"/>
                    </a:cubicBezTo>
                    <a:cubicBezTo>
                      <a:pt x="973" y="430"/>
                      <a:pt x="973" y="429"/>
                      <a:pt x="973" y="428"/>
                    </a:cubicBezTo>
                    <a:cubicBezTo>
                      <a:pt x="975" y="425"/>
                      <a:pt x="976" y="418"/>
                      <a:pt x="976" y="410"/>
                    </a:cubicBezTo>
                    <a:cubicBezTo>
                      <a:pt x="976" y="408"/>
                      <a:pt x="976" y="408"/>
                      <a:pt x="976" y="408"/>
                    </a:cubicBezTo>
                    <a:cubicBezTo>
                      <a:pt x="976" y="402"/>
                      <a:pt x="976" y="400"/>
                      <a:pt x="978" y="394"/>
                    </a:cubicBezTo>
                    <a:cubicBezTo>
                      <a:pt x="980" y="387"/>
                      <a:pt x="982" y="380"/>
                      <a:pt x="983" y="376"/>
                    </a:cubicBezTo>
                    <a:cubicBezTo>
                      <a:pt x="984" y="373"/>
                      <a:pt x="984" y="367"/>
                      <a:pt x="983" y="366"/>
                    </a:cubicBezTo>
                    <a:cubicBezTo>
                      <a:pt x="982" y="362"/>
                      <a:pt x="981" y="358"/>
                      <a:pt x="985" y="352"/>
                    </a:cubicBezTo>
                    <a:cubicBezTo>
                      <a:pt x="986" y="351"/>
                      <a:pt x="989" y="346"/>
                      <a:pt x="991" y="342"/>
                    </a:cubicBezTo>
                    <a:cubicBezTo>
                      <a:pt x="994" y="336"/>
                      <a:pt x="997" y="331"/>
                      <a:pt x="999" y="329"/>
                    </a:cubicBezTo>
                    <a:cubicBezTo>
                      <a:pt x="1003" y="324"/>
                      <a:pt x="1009" y="325"/>
                      <a:pt x="1013" y="325"/>
                    </a:cubicBezTo>
                    <a:cubicBezTo>
                      <a:pt x="1013" y="325"/>
                      <a:pt x="1014" y="326"/>
                      <a:pt x="1015" y="326"/>
                    </a:cubicBezTo>
                    <a:cubicBezTo>
                      <a:pt x="1018" y="326"/>
                      <a:pt x="1020" y="326"/>
                      <a:pt x="1028" y="328"/>
                    </a:cubicBezTo>
                    <a:cubicBezTo>
                      <a:pt x="1034" y="330"/>
                      <a:pt x="1038" y="329"/>
                      <a:pt x="1042" y="329"/>
                    </a:cubicBezTo>
                    <a:cubicBezTo>
                      <a:pt x="1043" y="329"/>
                      <a:pt x="1045" y="328"/>
                      <a:pt x="1046" y="328"/>
                    </a:cubicBezTo>
                    <a:cubicBezTo>
                      <a:pt x="1051" y="328"/>
                      <a:pt x="1054" y="326"/>
                      <a:pt x="1059" y="322"/>
                    </a:cubicBezTo>
                    <a:cubicBezTo>
                      <a:pt x="1061" y="321"/>
                      <a:pt x="1062" y="319"/>
                      <a:pt x="1063" y="319"/>
                    </a:cubicBezTo>
                    <a:cubicBezTo>
                      <a:pt x="1066" y="317"/>
                      <a:pt x="1066" y="316"/>
                      <a:pt x="1067" y="314"/>
                    </a:cubicBezTo>
                    <a:cubicBezTo>
                      <a:pt x="1067" y="313"/>
                      <a:pt x="1067" y="312"/>
                      <a:pt x="1067" y="312"/>
                    </a:cubicBezTo>
                    <a:cubicBezTo>
                      <a:pt x="1068" y="309"/>
                      <a:pt x="1069" y="307"/>
                      <a:pt x="1071" y="304"/>
                    </a:cubicBezTo>
                    <a:cubicBezTo>
                      <a:pt x="1069" y="302"/>
                      <a:pt x="1067" y="299"/>
                      <a:pt x="1067" y="295"/>
                    </a:cubicBezTo>
                    <a:cubicBezTo>
                      <a:pt x="1066" y="291"/>
                      <a:pt x="1067" y="289"/>
                      <a:pt x="1069" y="288"/>
                    </a:cubicBezTo>
                    <a:cubicBezTo>
                      <a:pt x="1070" y="286"/>
                      <a:pt x="1072" y="286"/>
                      <a:pt x="1075" y="286"/>
                    </a:cubicBezTo>
                    <a:cubicBezTo>
                      <a:pt x="1075" y="285"/>
                      <a:pt x="1076" y="285"/>
                      <a:pt x="1076" y="285"/>
                    </a:cubicBezTo>
                    <a:cubicBezTo>
                      <a:pt x="1077" y="284"/>
                      <a:pt x="1078" y="282"/>
                      <a:pt x="1079" y="282"/>
                    </a:cubicBezTo>
                    <a:cubicBezTo>
                      <a:pt x="1082" y="280"/>
                      <a:pt x="1086" y="277"/>
                      <a:pt x="1093" y="277"/>
                    </a:cubicBezTo>
                    <a:cubicBezTo>
                      <a:pt x="1101" y="277"/>
                      <a:pt x="1107" y="282"/>
                      <a:pt x="1111" y="284"/>
                    </a:cubicBezTo>
                    <a:cubicBezTo>
                      <a:pt x="1112" y="285"/>
                      <a:pt x="1112" y="285"/>
                      <a:pt x="1112" y="285"/>
                    </a:cubicBezTo>
                    <a:cubicBezTo>
                      <a:pt x="1117" y="289"/>
                      <a:pt x="1119" y="288"/>
                      <a:pt x="1120" y="288"/>
                    </a:cubicBezTo>
                    <a:cubicBezTo>
                      <a:pt x="1123" y="287"/>
                      <a:pt x="1128" y="286"/>
                      <a:pt x="1130" y="286"/>
                    </a:cubicBezTo>
                    <a:cubicBezTo>
                      <a:pt x="1131" y="286"/>
                      <a:pt x="1131" y="286"/>
                      <a:pt x="1131" y="286"/>
                    </a:cubicBezTo>
                    <a:cubicBezTo>
                      <a:pt x="1134" y="286"/>
                      <a:pt x="1139" y="285"/>
                      <a:pt x="1142" y="288"/>
                    </a:cubicBezTo>
                    <a:cubicBezTo>
                      <a:pt x="1145" y="290"/>
                      <a:pt x="1147" y="293"/>
                      <a:pt x="1147" y="296"/>
                    </a:cubicBezTo>
                    <a:cubicBezTo>
                      <a:pt x="1146" y="297"/>
                      <a:pt x="1146" y="299"/>
                      <a:pt x="1145" y="300"/>
                    </a:cubicBezTo>
                    <a:cubicBezTo>
                      <a:pt x="1145" y="301"/>
                      <a:pt x="1145" y="302"/>
                      <a:pt x="1145" y="303"/>
                    </a:cubicBezTo>
                    <a:cubicBezTo>
                      <a:pt x="1145" y="308"/>
                      <a:pt x="1141" y="312"/>
                      <a:pt x="1137" y="315"/>
                    </a:cubicBezTo>
                    <a:cubicBezTo>
                      <a:pt x="1137" y="315"/>
                      <a:pt x="1137" y="316"/>
                      <a:pt x="1137" y="316"/>
                    </a:cubicBezTo>
                    <a:cubicBezTo>
                      <a:pt x="1138" y="317"/>
                      <a:pt x="1139" y="318"/>
                      <a:pt x="1140" y="319"/>
                    </a:cubicBezTo>
                    <a:cubicBezTo>
                      <a:pt x="1140" y="320"/>
                      <a:pt x="1141" y="321"/>
                      <a:pt x="1142" y="322"/>
                    </a:cubicBezTo>
                    <a:cubicBezTo>
                      <a:pt x="1143" y="323"/>
                      <a:pt x="1143" y="325"/>
                      <a:pt x="1145" y="327"/>
                    </a:cubicBezTo>
                    <a:cubicBezTo>
                      <a:pt x="1146" y="329"/>
                      <a:pt x="1148" y="333"/>
                      <a:pt x="1149" y="334"/>
                    </a:cubicBezTo>
                    <a:cubicBezTo>
                      <a:pt x="1154" y="337"/>
                      <a:pt x="1153" y="344"/>
                      <a:pt x="1149" y="351"/>
                    </a:cubicBezTo>
                    <a:cubicBezTo>
                      <a:pt x="1149" y="351"/>
                      <a:pt x="1149" y="351"/>
                      <a:pt x="1148" y="351"/>
                    </a:cubicBezTo>
                    <a:cubicBezTo>
                      <a:pt x="1149" y="351"/>
                      <a:pt x="1149" y="351"/>
                      <a:pt x="1150" y="352"/>
                    </a:cubicBezTo>
                    <a:cubicBezTo>
                      <a:pt x="1150" y="352"/>
                      <a:pt x="1150" y="352"/>
                      <a:pt x="1150" y="352"/>
                    </a:cubicBezTo>
                    <a:cubicBezTo>
                      <a:pt x="1152" y="353"/>
                      <a:pt x="1153" y="354"/>
                      <a:pt x="1154" y="355"/>
                    </a:cubicBezTo>
                    <a:cubicBezTo>
                      <a:pt x="1156" y="356"/>
                      <a:pt x="1157" y="357"/>
                      <a:pt x="1159" y="358"/>
                    </a:cubicBezTo>
                    <a:cubicBezTo>
                      <a:pt x="1165" y="359"/>
                      <a:pt x="1166" y="365"/>
                      <a:pt x="1167" y="369"/>
                    </a:cubicBezTo>
                    <a:cubicBezTo>
                      <a:pt x="1167" y="369"/>
                      <a:pt x="1167" y="370"/>
                      <a:pt x="1167" y="370"/>
                    </a:cubicBezTo>
                    <a:cubicBezTo>
                      <a:pt x="1169" y="368"/>
                      <a:pt x="1171" y="369"/>
                      <a:pt x="1171" y="369"/>
                    </a:cubicBezTo>
                    <a:cubicBezTo>
                      <a:pt x="1175" y="370"/>
                      <a:pt x="1176" y="375"/>
                      <a:pt x="1177" y="377"/>
                    </a:cubicBezTo>
                    <a:cubicBezTo>
                      <a:pt x="1177" y="379"/>
                      <a:pt x="1176" y="384"/>
                      <a:pt x="1176" y="386"/>
                    </a:cubicBezTo>
                    <a:cubicBezTo>
                      <a:pt x="1176" y="386"/>
                      <a:pt x="1176" y="386"/>
                      <a:pt x="1176" y="386"/>
                    </a:cubicBezTo>
                    <a:cubicBezTo>
                      <a:pt x="1176" y="387"/>
                      <a:pt x="1176" y="388"/>
                      <a:pt x="1176" y="388"/>
                    </a:cubicBezTo>
                    <a:cubicBezTo>
                      <a:pt x="1177" y="389"/>
                      <a:pt x="1179" y="391"/>
                      <a:pt x="1180" y="392"/>
                    </a:cubicBezTo>
                    <a:cubicBezTo>
                      <a:pt x="1182" y="394"/>
                      <a:pt x="1184" y="395"/>
                      <a:pt x="1184" y="396"/>
                    </a:cubicBezTo>
                    <a:cubicBezTo>
                      <a:pt x="1185" y="397"/>
                      <a:pt x="1186" y="398"/>
                      <a:pt x="1187" y="400"/>
                    </a:cubicBezTo>
                    <a:cubicBezTo>
                      <a:pt x="1188" y="401"/>
                      <a:pt x="1188" y="402"/>
                      <a:pt x="1189" y="403"/>
                    </a:cubicBezTo>
                    <a:cubicBezTo>
                      <a:pt x="1189" y="403"/>
                      <a:pt x="1190" y="404"/>
                      <a:pt x="1191" y="404"/>
                    </a:cubicBezTo>
                    <a:cubicBezTo>
                      <a:pt x="1196" y="406"/>
                      <a:pt x="1198" y="407"/>
                      <a:pt x="1199" y="410"/>
                    </a:cubicBezTo>
                    <a:cubicBezTo>
                      <a:pt x="1200" y="411"/>
                      <a:pt x="1200" y="412"/>
                      <a:pt x="1200" y="412"/>
                    </a:cubicBezTo>
                    <a:cubicBezTo>
                      <a:pt x="1200" y="413"/>
                      <a:pt x="1200" y="413"/>
                      <a:pt x="1200" y="414"/>
                    </a:cubicBezTo>
                    <a:cubicBezTo>
                      <a:pt x="1202" y="415"/>
                      <a:pt x="1206" y="416"/>
                      <a:pt x="1208" y="416"/>
                    </a:cubicBezTo>
                    <a:cubicBezTo>
                      <a:pt x="1209" y="416"/>
                      <a:pt x="1209" y="416"/>
                      <a:pt x="1209" y="416"/>
                    </a:cubicBezTo>
                    <a:cubicBezTo>
                      <a:pt x="1210" y="415"/>
                      <a:pt x="1211" y="414"/>
                      <a:pt x="1212" y="414"/>
                    </a:cubicBezTo>
                    <a:cubicBezTo>
                      <a:pt x="1214" y="413"/>
                      <a:pt x="1219" y="414"/>
                      <a:pt x="1222" y="416"/>
                    </a:cubicBezTo>
                    <a:cubicBezTo>
                      <a:pt x="1225" y="415"/>
                      <a:pt x="1228" y="416"/>
                      <a:pt x="1230" y="417"/>
                    </a:cubicBezTo>
                    <a:cubicBezTo>
                      <a:pt x="1232" y="419"/>
                      <a:pt x="1233" y="420"/>
                      <a:pt x="1233" y="423"/>
                    </a:cubicBezTo>
                    <a:cubicBezTo>
                      <a:pt x="1233" y="424"/>
                      <a:pt x="1233" y="427"/>
                      <a:pt x="1234" y="428"/>
                    </a:cubicBezTo>
                    <a:cubicBezTo>
                      <a:pt x="1236" y="429"/>
                      <a:pt x="1237" y="431"/>
                      <a:pt x="1237" y="433"/>
                    </a:cubicBezTo>
                    <a:cubicBezTo>
                      <a:pt x="1237" y="433"/>
                      <a:pt x="1238" y="434"/>
                      <a:pt x="1239" y="435"/>
                    </a:cubicBezTo>
                    <a:cubicBezTo>
                      <a:pt x="1240" y="435"/>
                      <a:pt x="1240" y="436"/>
                      <a:pt x="1241" y="436"/>
                    </a:cubicBezTo>
                    <a:cubicBezTo>
                      <a:pt x="1241" y="437"/>
                      <a:pt x="1242" y="437"/>
                      <a:pt x="1242" y="438"/>
                    </a:cubicBezTo>
                    <a:cubicBezTo>
                      <a:pt x="1242" y="437"/>
                      <a:pt x="1242" y="437"/>
                      <a:pt x="1242" y="437"/>
                    </a:cubicBezTo>
                    <a:cubicBezTo>
                      <a:pt x="1242" y="437"/>
                      <a:pt x="1242" y="437"/>
                      <a:pt x="1242" y="437"/>
                    </a:cubicBezTo>
                    <a:cubicBezTo>
                      <a:pt x="1242" y="437"/>
                      <a:pt x="1243" y="437"/>
                      <a:pt x="1243" y="437"/>
                    </a:cubicBezTo>
                    <a:cubicBezTo>
                      <a:pt x="1244" y="433"/>
                      <a:pt x="1248" y="432"/>
                      <a:pt x="1252" y="432"/>
                    </a:cubicBezTo>
                    <a:cubicBezTo>
                      <a:pt x="1256" y="433"/>
                      <a:pt x="1258" y="435"/>
                      <a:pt x="1258" y="439"/>
                    </a:cubicBezTo>
                    <a:cubicBezTo>
                      <a:pt x="1258" y="440"/>
                      <a:pt x="1258" y="442"/>
                      <a:pt x="1257" y="444"/>
                    </a:cubicBezTo>
                    <a:cubicBezTo>
                      <a:pt x="1257" y="445"/>
                      <a:pt x="1257" y="447"/>
                      <a:pt x="1257" y="448"/>
                    </a:cubicBezTo>
                    <a:cubicBezTo>
                      <a:pt x="1259" y="449"/>
                      <a:pt x="1261" y="451"/>
                      <a:pt x="1264" y="452"/>
                    </a:cubicBezTo>
                    <a:cubicBezTo>
                      <a:pt x="1270" y="455"/>
                      <a:pt x="1273" y="460"/>
                      <a:pt x="1273" y="464"/>
                    </a:cubicBezTo>
                    <a:cubicBezTo>
                      <a:pt x="1272" y="469"/>
                      <a:pt x="1272" y="470"/>
                      <a:pt x="1273" y="470"/>
                    </a:cubicBezTo>
                    <a:cubicBezTo>
                      <a:pt x="1274" y="472"/>
                      <a:pt x="1278" y="478"/>
                      <a:pt x="1276" y="486"/>
                    </a:cubicBezTo>
                    <a:cubicBezTo>
                      <a:pt x="1276" y="489"/>
                      <a:pt x="1274" y="498"/>
                      <a:pt x="1276" y="500"/>
                    </a:cubicBezTo>
                    <a:cubicBezTo>
                      <a:pt x="1277" y="503"/>
                      <a:pt x="1280" y="507"/>
                      <a:pt x="1280" y="512"/>
                    </a:cubicBezTo>
                    <a:cubicBezTo>
                      <a:pt x="1281" y="515"/>
                      <a:pt x="1282" y="517"/>
                      <a:pt x="1284" y="519"/>
                    </a:cubicBezTo>
                    <a:cubicBezTo>
                      <a:pt x="1285" y="520"/>
                      <a:pt x="1286" y="521"/>
                      <a:pt x="1287" y="522"/>
                    </a:cubicBezTo>
                    <a:cubicBezTo>
                      <a:pt x="1287" y="522"/>
                      <a:pt x="1287" y="522"/>
                      <a:pt x="1287" y="522"/>
                    </a:cubicBezTo>
                    <a:cubicBezTo>
                      <a:pt x="1290" y="526"/>
                      <a:pt x="1294" y="532"/>
                      <a:pt x="1293" y="539"/>
                    </a:cubicBezTo>
                    <a:cubicBezTo>
                      <a:pt x="1292" y="543"/>
                      <a:pt x="1293" y="543"/>
                      <a:pt x="1293" y="544"/>
                    </a:cubicBezTo>
                    <a:cubicBezTo>
                      <a:pt x="1293" y="544"/>
                      <a:pt x="1293" y="544"/>
                      <a:pt x="1293" y="544"/>
                    </a:cubicBezTo>
                    <a:cubicBezTo>
                      <a:pt x="1295" y="546"/>
                      <a:pt x="1301" y="552"/>
                      <a:pt x="1297" y="558"/>
                    </a:cubicBezTo>
                    <a:cubicBezTo>
                      <a:pt x="1296" y="560"/>
                      <a:pt x="1295" y="561"/>
                      <a:pt x="1295" y="562"/>
                    </a:cubicBezTo>
                    <a:cubicBezTo>
                      <a:pt x="1297" y="566"/>
                      <a:pt x="1295" y="572"/>
                      <a:pt x="1291" y="576"/>
                    </a:cubicBezTo>
                    <a:cubicBezTo>
                      <a:pt x="1290" y="578"/>
                      <a:pt x="1288" y="580"/>
                      <a:pt x="1287" y="582"/>
                    </a:cubicBezTo>
                    <a:cubicBezTo>
                      <a:pt x="1285" y="584"/>
                      <a:pt x="1283" y="587"/>
                      <a:pt x="1283" y="588"/>
                    </a:cubicBezTo>
                    <a:cubicBezTo>
                      <a:pt x="1283" y="588"/>
                      <a:pt x="1283" y="589"/>
                      <a:pt x="1283" y="590"/>
                    </a:cubicBezTo>
                    <a:cubicBezTo>
                      <a:pt x="1283" y="592"/>
                      <a:pt x="1283" y="592"/>
                      <a:pt x="1283" y="592"/>
                    </a:cubicBezTo>
                    <a:cubicBezTo>
                      <a:pt x="1283" y="593"/>
                      <a:pt x="1283" y="594"/>
                      <a:pt x="1283" y="595"/>
                    </a:cubicBezTo>
                    <a:cubicBezTo>
                      <a:pt x="1284" y="603"/>
                      <a:pt x="1284" y="610"/>
                      <a:pt x="1283" y="613"/>
                    </a:cubicBezTo>
                    <a:cubicBezTo>
                      <a:pt x="1282" y="617"/>
                      <a:pt x="1279" y="619"/>
                      <a:pt x="1276" y="621"/>
                    </a:cubicBezTo>
                    <a:cubicBezTo>
                      <a:pt x="1275" y="621"/>
                      <a:pt x="1274" y="622"/>
                      <a:pt x="1273" y="623"/>
                    </a:cubicBezTo>
                    <a:cubicBezTo>
                      <a:pt x="1272" y="624"/>
                      <a:pt x="1272" y="624"/>
                      <a:pt x="1272" y="624"/>
                    </a:cubicBezTo>
                    <a:cubicBezTo>
                      <a:pt x="1268" y="627"/>
                      <a:pt x="1263" y="632"/>
                      <a:pt x="1260" y="638"/>
                    </a:cubicBezTo>
                    <a:cubicBezTo>
                      <a:pt x="1257" y="642"/>
                      <a:pt x="1256" y="646"/>
                      <a:pt x="1255" y="648"/>
                    </a:cubicBezTo>
                    <a:cubicBezTo>
                      <a:pt x="1254" y="650"/>
                      <a:pt x="1254" y="651"/>
                      <a:pt x="1253" y="652"/>
                    </a:cubicBezTo>
                    <a:cubicBezTo>
                      <a:pt x="1253" y="652"/>
                      <a:pt x="1254" y="655"/>
                      <a:pt x="1255" y="657"/>
                    </a:cubicBezTo>
                    <a:cubicBezTo>
                      <a:pt x="1255" y="657"/>
                      <a:pt x="1255" y="657"/>
                      <a:pt x="1255" y="658"/>
                    </a:cubicBezTo>
                    <a:cubicBezTo>
                      <a:pt x="1256" y="660"/>
                      <a:pt x="1259" y="666"/>
                      <a:pt x="1260" y="674"/>
                    </a:cubicBezTo>
                    <a:cubicBezTo>
                      <a:pt x="1260" y="678"/>
                      <a:pt x="1260" y="681"/>
                      <a:pt x="1260" y="682"/>
                    </a:cubicBezTo>
                    <a:cubicBezTo>
                      <a:pt x="1260" y="682"/>
                      <a:pt x="1261" y="682"/>
                      <a:pt x="1261" y="682"/>
                    </a:cubicBezTo>
                    <a:cubicBezTo>
                      <a:pt x="1264" y="680"/>
                      <a:pt x="1270" y="678"/>
                      <a:pt x="1274" y="683"/>
                    </a:cubicBezTo>
                    <a:cubicBezTo>
                      <a:pt x="1275" y="683"/>
                      <a:pt x="1275" y="683"/>
                      <a:pt x="1275" y="683"/>
                    </a:cubicBezTo>
                    <a:cubicBezTo>
                      <a:pt x="1276" y="685"/>
                      <a:pt x="1278" y="688"/>
                      <a:pt x="1280" y="689"/>
                    </a:cubicBezTo>
                    <a:cubicBezTo>
                      <a:pt x="1281" y="689"/>
                      <a:pt x="1283" y="689"/>
                      <a:pt x="1285" y="690"/>
                    </a:cubicBezTo>
                    <a:cubicBezTo>
                      <a:pt x="1287" y="690"/>
                      <a:pt x="1288" y="690"/>
                      <a:pt x="1289" y="690"/>
                    </a:cubicBezTo>
                    <a:cubicBezTo>
                      <a:pt x="1295" y="692"/>
                      <a:pt x="1299" y="695"/>
                      <a:pt x="1300" y="698"/>
                    </a:cubicBezTo>
                    <a:cubicBezTo>
                      <a:pt x="1301" y="700"/>
                      <a:pt x="1305" y="702"/>
                      <a:pt x="1308" y="702"/>
                    </a:cubicBezTo>
                    <a:cubicBezTo>
                      <a:pt x="1312" y="701"/>
                      <a:pt x="1328" y="702"/>
                      <a:pt x="1334" y="706"/>
                    </a:cubicBezTo>
                    <a:cubicBezTo>
                      <a:pt x="1335" y="707"/>
                      <a:pt x="1335" y="707"/>
                      <a:pt x="1335" y="707"/>
                    </a:cubicBezTo>
                    <a:cubicBezTo>
                      <a:pt x="1339" y="710"/>
                      <a:pt x="1340" y="710"/>
                      <a:pt x="1343" y="710"/>
                    </a:cubicBezTo>
                    <a:cubicBezTo>
                      <a:pt x="1347" y="709"/>
                      <a:pt x="1350" y="710"/>
                      <a:pt x="1353" y="711"/>
                    </a:cubicBezTo>
                    <a:cubicBezTo>
                      <a:pt x="1353" y="711"/>
                      <a:pt x="1354" y="711"/>
                      <a:pt x="1355" y="712"/>
                    </a:cubicBezTo>
                    <a:cubicBezTo>
                      <a:pt x="1358" y="712"/>
                      <a:pt x="1362" y="712"/>
                      <a:pt x="1363" y="712"/>
                    </a:cubicBezTo>
                    <a:cubicBezTo>
                      <a:pt x="1368" y="709"/>
                      <a:pt x="1377" y="713"/>
                      <a:pt x="1379" y="714"/>
                    </a:cubicBezTo>
                    <a:cubicBezTo>
                      <a:pt x="1381" y="715"/>
                      <a:pt x="1386" y="717"/>
                      <a:pt x="1388" y="717"/>
                    </a:cubicBezTo>
                    <a:cubicBezTo>
                      <a:pt x="1388" y="717"/>
                      <a:pt x="1399" y="718"/>
                      <a:pt x="1402" y="723"/>
                    </a:cubicBezTo>
                    <a:cubicBezTo>
                      <a:pt x="1403" y="723"/>
                      <a:pt x="1403" y="724"/>
                      <a:pt x="1405" y="724"/>
                    </a:cubicBezTo>
                    <a:cubicBezTo>
                      <a:pt x="1408" y="724"/>
                      <a:pt x="1417" y="726"/>
                      <a:pt x="1419" y="729"/>
                    </a:cubicBezTo>
                    <a:cubicBezTo>
                      <a:pt x="1420" y="730"/>
                      <a:pt x="1425" y="734"/>
                      <a:pt x="1428" y="737"/>
                    </a:cubicBezTo>
                    <a:cubicBezTo>
                      <a:pt x="1432" y="740"/>
                      <a:pt x="1435" y="743"/>
                      <a:pt x="1436" y="744"/>
                    </a:cubicBezTo>
                    <a:cubicBezTo>
                      <a:pt x="1437" y="745"/>
                      <a:pt x="1442" y="749"/>
                      <a:pt x="1445" y="751"/>
                    </a:cubicBezTo>
                    <a:cubicBezTo>
                      <a:pt x="1451" y="756"/>
                      <a:pt x="1455" y="759"/>
                      <a:pt x="1457" y="761"/>
                    </a:cubicBezTo>
                    <a:cubicBezTo>
                      <a:pt x="1459" y="763"/>
                      <a:pt x="1467" y="775"/>
                      <a:pt x="1469" y="778"/>
                    </a:cubicBezTo>
                    <a:cubicBezTo>
                      <a:pt x="1469" y="779"/>
                      <a:pt x="1471" y="780"/>
                      <a:pt x="1473" y="781"/>
                    </a:cubicBezTo>
                    <a:cubicBezTo>
                      <a:pt x="1476" y="784"/>
                      <a:pt x="1480" y="786"/>
                      <a:pt x="1482" y="789"/>
                    </a:cubicBezTo>
                    <a:cubicBezTo>
                      <a:pt x="1485" y="793"/>
                      <a:pt x="1495" y="803"/>
                      <a:pt x="1498" y="805"/>
                    </a:cubicBezTo>
                    <a:cubicBezTo>
                      <a:pt x="1501" y="807"/>
                      <a:pt x="1501" y="807"/>
                      <a:pt x="1504" y="807"/>
                    </a:cubicBezTo>
                    <a:cubicBezTo>
                      <a:pt x="1505" y="807"/>
                      <a:pt x="1505" y="807"/>
                      <a:pt x="1505" y="807"/>
                    </a:cubicBezTo>
                    <a:cubicBezTo>
                      <a:pt x="1510" y="807"/>
                      <a:pt x="1524" y="807"/>
                      <a:pt x="1524" y="807"/>
                    </a:cubicBezTo>
                    <a:cubicBezTo>
                      <a:pt x="1525" y="807"/>
                      <a:pt x="1525" y="807"/>
                      <a:pt x="1525" y="807"/>
                    </a:cubicBezTo>
                    <a:cubicBezTo>
                      <a:pt x="1526" y="808"/>
                      <a:pt x="1526" y="808"/>
                      <a:pt x="1526" y="808"/>
                    </a:cubicBezTo>
                    <a:cubicBezTo>
                      <a:pt x="1528" y="808"/>
                      <a:pt x="1531" y="811"/>
                      <a:pt x="1531" y="814"/>
                    </a:cubicBezTo>
                    <a:cubicBezTo>
                      <a:pt x="1531" y="815"/>
                      <a:pt x="1530" y="817"/>
                      <a:pt x="1528" y="818"/>
                    </a:cubicBezTo>
                    <a:cubicBezTo>
                      <a:pt x="1527" y="819"/>
                      <a:pt x="1526" y="823"/>
                      <a:pt x="1525" y="826"/>
                    </a:cubicBezTo>
                    <a:cubicBezTo>
                      <a:pt x="1525" y="827"/>
                      <a:pt x="1525" y="827"/>
                      <a:pt x="1525" y="827"/>
                    </a:cubicBezTo>
                    <a:cubicBezTo>
                      <a:pt x="1525" y="828"/>
                      <a:pt x="1524" y="830"/>
                      <a:pt x="1524" y="831"/>
                    </a:cubicBezTo>
                    <a:cubicBezTo>
                      <a:pt x="1524" y="832"/>
                      <a:pt x="1523" y="833"/>
                      <a:pt x="1523" y="833"/>
                    </a:cubicBezTo>
                    <a:cubicBezTo>
                      <a:pt x="1524" y="834"/>
                      <a:pt x="1526" y="834"/>
                      <a:pt x="1527" y="834"/>
                    </a:cubicBezTo>
                    <a:cubicBezTo>
                      <a:pt x="1528" y="834"/>
                      <a:pt x="1529" y="835"/>
                      <a:pt x="1530" y="835"/>
                    </a:cubicBezTo>
                    <a:cubicBezTo>
                      <a:pt x="1535" y="836"/>
                      <a:pt x="1536" y="839"/>
                      <a:pt x="1538" y="846"/>
                    </a:cubicBezTo>
                    <a:cubicBezTo>
                      <a:pt x="1538" y="849"/>
                      <a:pt x="1539" y="853"/>
                      <a:pt x="1539" y="858"/>
                    </a:cubicBezTo>
                    <a:cubicBezTo>
                      <a:pt x="1540" y="864"/>
                      <a:pt x="1541" y="873"/>
                      <a:pt x="1542" y="875"/>
                    </a:cubicBezTo>
                    <a:cubicBezTo>
                      <a:pt x="1545" y="879"/>
                      <a:pt x="1548" y="891"/>
                      <a:pt x="1548" y="896"/>
                    </a:cubicBezTo>
                    <a:cubicBezTo>
                      <a:pt x="1548" y="898"/>
                      <a:pt x="1548" y="898"/>
                      <a:pt x="1548" y="898"/>
                    </a:cubicBezTo>
                    <a:cubicBezTo>
                      <a:pt x="1547" y="900"/>
                      <a:pt x="1547" y="908"/>
                      <a:pt x="1548" y="909"/>
                    </a:cubicBezTo>
                    <a:cubicBezTo>
                      <a:pt x="1551" y="912"/>
                      <a:pt x="1565" y="932"/>
                      <a:pt x="1567" y="936"/>
                    </a:cubicBezTo>
                    <a:cubicBezTo>
                      <a:pt x="1567" y="936"/>
                      <a:pt x="1567" y="936"/>
                      <a:pt x="1567" y="936"/>
                    </a:cubicBezTo>
                    <a:cubicBezTo>
                      <a:pt x="1569" y="940"/>
                      <a:pt x="1571" y="945"/>
                      <a:pt x="1571" y="951"/>
                    </a:cubicBezTo>
                    <a:cubicBezTo>
                      <a:pt x="1571" y="952"/>
                      <a:pt x="1571" y="952"/>
                      <a:pt x="1572" y="953"/>
                    </a:cubicBezTo>
                    <a:cubicBezTo>
                      <a:pt x="1574" y="955"/>
                      <a:pt x="1578" y="958"/>
                      <a:pt x="1581" y="957"/>
                    </a:cubicBezTo>
                    <a:cubicBezTo>
                      <a:pt x="1585" y="957"/>
                      <a:pt x="1593" y="958"/>
                      <a:pt x="1602" y="959"/>
                    </a:cubicBezTo>
                    <a:cubicBezTo>
                      <a:pt x="1608" y="959"/>
                      <a:pt x="1614" y="960"/>
                      <a:pt x="1618" y="960"/>
                    </a:cubicBezTo>
                    <a:cubicBezTo>
                      <a:pt x="1620" y="960"/>
                      <a:pt x="1622" y="960"/>
                      <a:pt x="1623" y="959"/>
                    </a:cubicBezTo>
                    <a:cubicBezTo>
                      <a:pt x="1626" y="959"/>
                      <a:pt x="1628" y="959"/>
                      <a:pt x="1634" y="961"/>
                    </a:cubicBezTo>
                    <a:cubicBezTo>
                      <a:pt x="1641" y="964"/>
                      <a:pt x="1700" y="982"/>
                      <a:pt x="1709" y="984"/>
                    </a:cubicBezTo>
                    <a:cubicBezTo>
                      <a:pt x="1713" y="986"/>
                      <a:pt x="1721" y="987"/>
                      <a:pt x="1728" y="988"/>
                    </a:cubicBezTo>
                    <a:cubicBezTo>
                      <a:pt x="1734" y="989"/>
                      <a:pt x="1739" y="990"/>
                      <a:pt x="1741" y="991"/>
                    </a:cubicBezTo>
                    <a:cubicBezTo>
                      <a:pt x="1747" y="992"/>
                      <a:pt x="1754" y="994"/>
                      <a:pt x="1759" y="994"/>
                    </a:cubicBezTo>
                    <a:cubicBezTo>
                      <a:pt x="1763" y="995"/>
                      <a:pt x="1795" y="994"/>
                      <a:pt x="1800" y="994"/>
                    </a:cubicBezTo>
                    <a:cubicBezTo>
                      <a:pt x="1804" y="993"/>
                      <a:pt x="1807" y="994"/>
                      <a:pt x="1810" y="995"/>
                    </a:cubicBezTo>
                    <a:cubicBezTo>
                      <a:pt x="1812" y="995"/>
                      <a:pt x="1813" y="995"/>
                      <a:pt x="1814" y="995"/>
                    </a:cubicBezTo>
                    <a:cubicBezTo>
                      <a:pt x="1816" y="995"/>
                      <a:pt x="1817" y="995"/>
                      <a:pt x="1818" y="996"/>
                    </a:cubicBezTo>
                    <a:cubicBezTo>
                      <a:pt x="1818" y="996"/>
                      <a:pt x="1818" y="996"/>
                      <a:pt x="1818" y="996"/>
                    </a:cubicBezTo>
                    <a:cubicBezTo>
                      <a:pt x="1821" y="992"/>
                      <a:pt x="1829" y="991"/>
                      <a:pt x="1835" y="992"/>
                    </a:cubicBezTo>
                    <a:cubicBezTo>
                      <a:pt x="1836" y="992"/>
                      <a:pt x="1838" y="993"/>
                      <a:pt x="1840" y="993"/>
                    </a:cubicBezTo>
                    <a:cubicBezTo>
                      <a:pt x="1845" y="994"/>
                      <a:pt x="1852" y="995"/>
                      <a:pt x="1855" y="995"/>
                    </a:cubicBezTo>
                    <a:cubicBezTo>
                      <a:pt x="1859" y="995"/>
                      <a:pt x="1866" y="998"/>
                      <a:pt x="1874" y="1002"/>
                    </a:cubicBezTo>
                    <a:cubicBezTo>
                      <a:pt x="1876" y="1003"/>
                      <a:pt x="1876" y="1003"/>
                      <a:pt x="1876" y="1003"/>
                    </a:cubicBezTo>
                    <a:cubicBezTo>
                      <a:pt x="1881" y="1005"/>
                      <a:pt x="1905" y="1012"/>
                      <a:pt x="1915" y="1015"/>
                    </a:cubicBezTo>
                    <a:cubicBezTo>
                      <a:pt x="1920" y="1015"/>
                      <a:pt x="1928" y="1018"/>
                      <a:pt x="1931" y="1028"/>
                    </a:cubicBezTo>
                    <a:cubicBezTo>
                      <a:pt x="1934" y="1039"/>
                      <a:pt x="1938" y="1048"/>
                      <a:pt x="1948" y="1049"/>
                    </a:cubicBezTo>
                    <a:cubicBezTo>
                      <a:pt x="1964" y="1050"/>
                      <a:pt x="1974" y="1052"/>
                      <a:pt x="1984" y="1057"/>
                    </a:cubicBezTo>
                    <a:cubicBezTo>
                      <a:pt x="1988" y="1059"/>
                      <a:pt x="1994" y="1063"/>
                      <a:pt x="2001" y="1067"/>
                    </a:cubicBezTo>
                    <a:cubicBezTo>
                      <a:pt x="2013" y="1075"/>
                      <a:pt x="2031" y="1087"/>
                      <a:pt x="2038" y="1089"/>
                    </a:cubicBezTo>
                    <a:cubicBezTo>
                      <a:pt x="2048" y="1090"/>
                      <a:pt x="2058" y="1090"/>
                      <a:pt x="2064" y="1089"/>
                    </a:cubicBezTo>
                    <a:cubicBezTo>
                      <a:pt x="2066" y="1089"/>
                      <a:pt x="2066" y="1089"/>
                      <a:pt x="2066" y="1089"/>
                    </a:cubicBezTo>
                    <a:cubicBezTo>
                      <a:pt x="2072" y="1089"/>
                      <a:pt x="2092" y="1087"/>
                      <a:pt x="2092" y="1087"/>
                    </a:cubicBezTo>
                    <a:cubicBezTo>
                      <a:pt x="2096" y="1087"/>
                      <a:pt x="2096" y="1087"/>
                      <a:pt x="2096" y="1087"/>
                    </a:cubicBezTo>
                    <a:cubicBezTo>
                      <a:pt x="2097" y="1105"/>
                      <a:pt x="2097" y="1105"/>
                      <a:pt x="2097" y="1105"/>
                    </a:cubicBezTo>
                    <a:cubicBezTo>
                      <a:pt x="2106" y="1105"/>
                      <a:pt x="2118" y="1104"/>
                      <a:pt x="2120" y="1105"/>
                    </a:cubicBezTo>
                    <a:cubicBezTo>
                      <a:pt x="2120" y="1105"/>
                      <a:pt x="2123" y="1105"/>
                      <a:pt x="2131" y="1101"/>
                    </a:cubicBezTo>
                    <a:cubicBezTo>
                      <a:pt x="2138" y="1096"/>
                      <a:pt x="2163" y="1084"/>
                      <a:pt x="2171" y="1080"/>
                    </a:cubicBezTo>
                    <a:cubicBezTo>
                      <a:pt x="2180" y="1076"/>
                      <a:pt x="2222" y="1058"/>
                      <a:pt x="2224" y="1057"/>
                    </a:cubicBezTo>
                    <a:cubicBezTo>
                      <a:pt x="2226" y="1056"/>
                      <a:pt x="2249" y="1049"/>
                      <a:pt x="2254" y="1049"/>
                    </a:cubicBezTo>
                    <a:cubicBezTo>
                      <a:pt x="2256" y="1048"/>
                      <a:pt x="2257" y="1048"/>
                      <a:pt x="2259" y="1048"/>
                    </a:cubicBezTo>
                    <a:cubicBezTo>
                      <a:pt x="2261" y="1048"/>
                      <a:pt x="2266" y="1048"/>
                      <a:pt x="2267" y="1047"/>
                    </a:cubicBezTo>
                    <a:cubicBezTo>
                      <a:pt x="2269" y="1044"/>
                      <a:pt x="2274" y="1038"/>
                      <a:pt x="2279" y="1038"/>
                    </a:cubicBezTo>
                    <a:cubicBezTo>
                      <a:pt x="2282" y="1037"/>
                      <a:pt x="2289" y="1037"/>
                      <a:pt x="2293" y="1041"/>
                    </a:cubicBezTo>
                    <a:cubicBezTo>
                      <a:pt x="2294" y="1042"/>
                      <a:pt x="2303" y="1044"/>
                      <a:pt x="2306" y="1043"/>
                    </a:cubicBezTo>
                    <a:cubicBezTo>
                      <a:pt x="2308" y="1042"/>
                      <a:pt x="2310" y="1042"/>
                      <a:pt x="2312" y="1042"/>
                    </a:cubicBezTo>
                    <a:cubicBezTo>
                      <a:pt x="2315" y="1042"/>
                      <a:pt x="2319" y="1042"/>
                      <a:pt x="2320" y="1041"/>
                    </a:cubicBezTo>
                    <a:cubicBezTo>
                      <a:pt x="2326" y="1035"/>
                      <a:pt x="2335" y="1035"/>
                      <a:pt x="2337" y="1036"/>
                    </a:cubicBezTo>
                    <a:cubicBezTo>
                      <a:pt x="2339" y="1036"/>
                      <a:pt x="2344" y="1036"/>
                      <a:pt x="2348" y="1036"/>
                    </a:cubicBezTo>
                    <a:cubicBezTo>
                      <a:pt x="2355" y="1037"/>
                      <a:pt x="2359" y="1037"/>
                      <a:pt x="2360" y="1037"/>
                    </a:cubicBezTo>
                    <a:cubicBezTo>
                      <a:pt x="2363" y="1037"/>
                      <a:pt x="2372" y="1040"/>
                      <a:pt x="2375" y="1041"/>
                    </a:cubicBezTo>
                    <a:cubicBezTo>
                      <a:pt x="2376" y="1041"/>
                      <a:pt x="2380" y="1040"/>
                      <a:pt x="2382" y="1039"/>
                    </a:cubicBezTo>
                    <a:cubicBezTo>
                      <a:pt x="2385" y="1036"/>
                      <a:pt x="2389" y="1037"/>
                      <a:pt x="2393" y="1038"/>
                    </a:cubicBezTo>
                    <a:cubicBezTo>
                      <a:pt x="2394" y="1038"/>
                      <a:pt x="2395" y="1038"/>
                      <a:pt x="2396" y="1038"/>
                    </a:cubicBezTo>
                    <a:cubicBezTo>
                      <a:pt x="2397" y="1038"/>
                      <a:pt x="2398" y="1038"/>
                      <a:pt x="2399" y="1038"/>
                    </a:cubicBezTo>
                    <a:cubicBezTo>
                      <a:pt x="2402" y="1039"/>
                      <a:pt x="2408" y="1039"/>
                      <a:pt x="2410" y="1038"/>
                    </a:cubicBezTo>
                    <a:cubicBezTo>
                      <a:pt x="2411" y="1037"/>
                      <a:pt x="2412" y="1037"/>
                      <a:pt x="2414" y="1037"/>
                    </a:cubicBezTo>
                    <a:cubicBezTo>
                      <a:pt x="2417" y="1036"/>
                      <a:pt x="2421" y="1035"/>
                      <a:pt x="2426" y="1030"/>
                    </a:cubicBezTo>
                    <a:cubicBezTo>
                      <a:pt x="2427" y="1028"/>
                      <a:pt x="2428" y="1027"/>
                      <a:pt x="2429" y="1025"/>
                    </a:cubicBezTo>
                    <a:cubicBezTo>
                      <a:pt x="2433" y="1020"/>
                      <a:pt x="2435" y="1019"/>
                      <a:pt x="2444" y="1018"/>
                    </a:cubicBezTo>
                    <a:cubicBezTo>
                      <a:pt x="2451" y="1018"/>
                      <a:pt x="2460" y="1017"/>
                      <a:pt x="2463" y="1014"/>
                    </a:cubicBezTo>
                    <a:cubicBezTo>
                      <a:pt x="2466" y="1011"/>
                      <a:pt x="2467" y="1010"/>
                      <a:pt x="2470" y="1009"/>
                    </a:cubicBezTo>
                    <a:cubicBezTo>
                      <a:pt x="2470" y="1009"/>
                      <a:pt x="2470" y="1009"/>
                      <a:pt x="2471" y="1009"/>
                    </a:cubicBezTo>
                    <a:cubicBezTo>
                      <a:pt x="2472" y="1008"/>
                      <a:pt x="2473" y="1008"/>
                      <a:pt x="2474" y="1006"/>
                    </a:cubicBezTo>
                    <a:cubicBezTo>
                      <a:pt x="2475" y="1005"/>
                      <a:pt x="2475" y="1004"/>
                      <a:pt x="2477" y="1003"/>
                    </a:cubicBezTo>
                    <a:cubicBezTo>
                      <a:pt x="2479" y="1001"/>
                      <a:pt x="2489" y="991"/>
                      <a:pt x="2493" y="981"/>
                    </a:cubicBezTo>
                    <a:cubicBezTo>
                      <a:pt x="2497" y="973"/>
                      <a:pt x="2501" y="968"/>
                      <a:pt x="2504" y="965"/>
                    </a:cubicBezTo>
                    <a:cubicBezTo>
                      <a:pt x="2505" y="964"/>
                      <a:pt x="2506" y="963"/>
                      <a:pt x="2506" y="962"/>
                    </a:cubicBezTo>
                    <a:cubicBezTo>
                      <a:pt x="2509" y="958"/>
                      <a:pt x="2514" y="951"/>
                      <a:pt x="2522" y="950"/>
                    </a:cubicBezTo>
                    <a:cubicBezTo>
                      <a:pt x="2528" y="949"/>
                      <a:pt x="2531" y="947"/>
                      <a:pt x="2535" y="944"/>
                    </a:cubicBezTo>
                    <a:cubicBezTo>
                      <a:pt x="2536" y="943"/>
                      <a:pt x="2537" y="943"/>
                      <a:pt x="2537" y="942"/>
                    </a:cubicBezTo>
                    <a:cubicBezTo>
                      <a:pt x="2539" y="941"/>
                      <a:pt x="2540" y="939"/>
                      <a:pt x="2544" y="939"/>
                    </a:cubicBezTo>
                    <a:cubicBezTo>
                      <a:pt x="2546" y="939"/>
                      <a:pt x="2547" y="939"/>
                      <a:pt x="2549" y="939"/>
                    </a:cubicBezTo>
                    <a:cubicBezTo>
                      <a:pt x="2553" y="940"/>
                      <a:pt x="2554" y="940"/>
                      <a:pt x="2555" y="938"/>
                    </a:cubicBezTo>
                    <a:cubicBezTo>
                      <a:pt x="2557" y="932"/>
                      <a:pt x="2559" y="931"/>
                      <a:pt x="2561" y="929"/>
                    </a:cubicBezTo>
                    <a:cubicBezTo>
                      <a:pt x="2561" y="928"/>
                      <a:pt x="2562" y="928"/>
                      <a:pt x="2562" y="927"/>
                    </a:cubicBezTo>
                    <a:cubicBezTo>
                      <a:pt x="2565" y="924"/>
                      <a:pt x="2566" y="924"/>
                      <a:pt x="2567" y="923"/>
                    </a:cubicBezTo>
                    <a:cubicBezTo>
                      <a:pt x="2568" y="922"/>
                      <a:pt x="2568" y="922"/>
                      <a:pt x="2568" y="922"/>
                    </a:cubicBezTo>
                    <a:cubicBezTo>
                      <a:pt x="2569" y="922"/>
                      <a:pt x="2569" y="921"/>
                      <a:pt x="2569" y="921"/>
                    </a:cubicBezTo>
                    <a:cubicBezTo>
                      <a:pt x="2570" y="920"/>
                      <a:pt x="2571" y="920"/>
                      <a:pt x="2571" y="917"/>
                    </a:cubicBezTo>
                    <a:cubicBezTo>
                      <a:pt x="2571" y="913"/>
                      <a:pt x="2569" y="911"/>
                      <a:pt x="2567" y="907"/>
                    </a:cubicBezTo>
                    <a:cubicBezTo>
                      <a:pt x="2563" y="903"/>
                      <a:pt x="2559" y="900"/>
                      <a:pt x="2556" y="898"/>
                    </a:cubicBezTo>
                    <a:cubicBezTo>
                      <a:pt x="2551" y="895"/>
                      <a:pt x="2548" y="891"/>
                      <a:pt x="2547" y="887"/>
                    </a:cubicBezTo>
                    <a:cubicBezTo>
                      <a:pt x="2546" y="886"/>
                      <a:pt x="2544" y="884"/>
                      <a:pt x="2544" y="880"/>
                    </a:cubicBezTo>
                    <a:cubicBezTo>
                      <a:pt x="2544" y="880"/>
                      <a:pt x="2544" y="880"/>
                      <a:pt x="2544" y="880"/>
                    </a:cubicBezTo>
                    <a:cubicBezTo>
                      <a:pt x="2544" y="876"/>
                      <a:pt x="2544" y="876"/>
                      <a:pt x="2543" y="874"/>
                    </a:cubicBezTo>
                    <a:cubicBezTo>
                      <a:pt x="2542" y="874"/>
                      <a:pt x="2542" y="873"/>
                      <a:pt x="2541" y="872"/>
                    </a:cubicBezTo>
                    <a:cubicBezTo>
                      <a:pt x="2539" y="870"/>
                      <a:pt x="2535" y="865"/>
                      <a:pt x="2539" y="859"/>
                    </a:cubicBezTo>
                    <a:cubicBezTo>
                      <a:pt x="2542" y="856"/>
                      <a:pt x="2544" y="848"/>
                      <a:pt x="2545" y="846"/>
                    </a:cubicBezTo>
                    <a:cubicBezTo>
                      <a:pt x="2545" y="845"/>
                      <a:pt x="2545" y="845"/>
                      <a:pt x="2545" y="845"/>
                    </a:cubicBezTo>
                    <a:cubicBezTo>
                      <a:pt x="2545" y="842"/>
                      <a:pt x="2546" y="836"/>
                      <a:pt x="2548" y="828"/>
                    </a:cubicBezTo>
                    <a:cubicBezTo>
                      <a:pt x="2548" y="826"/>
                      <a:pt x="2549" y="824"/>
                      <a:pt x="2549" y="823"/>
                    </a:cubicBezTo>
                    <a:cubicBezTo>
                      <a:pt x="2551" y="817"/>
                      <a:pt x="2552" y="812"/>
                      <a:pt x="2556" y="808"/>
                    </a:cubicBezTo>
                    <a:cubicBezTo>
                      <a:pt x="2560" y="804"/>
                      <a:pt x="2568" y="798"/>
                      <a:pt x="2570" y="797"/>
                    </a:cubicBezTo>
                    <a:cubicBezTo>
                      <a:pt x="2572" y="796"/>
                      <a:pt x="2575" y="796"/>
                      <a:pt x="2578" y="796"/>
                    </a:cubicBezTo>
                    <a:cubicBezTo>
                      <a:pt x="2580" y="797"/>
                      <a:pt x="2583" y="797"/>
                      <a:pt x="2586" y="797"/>
                    </a:cubicBezTo>
                    <a:cubicBezTo>
                      <a:pt x="2588" y="797"/>
                      <a:pt x="2590" y="797"/>
                      <a:pt x="2591" y="796"/>
                    </a:cubicBezTo>
                    <a:cubicBezTo>
                      <a:pt x="2595" y="796"/>
                      <a:pt x="2599" y="796"/>
                      <a:pt x="2603" y="798"/>
                    </a:cubicBezTo>
                    <a:cubicBezTo>
                      <a:pt x="2604" y="799"/>
                      <a:pt x="2607" y="802"/>
                      <a:pt x="2610" y="804"/>
                    </a:cubicBezTo>
                    <a:cubicBezTo>
                      <a:pt x="2615" y="808"/>
                      <a:pt x="2622" y="813"/>
                      <a:pt x="2624" y="814"/>
                    </a:cubicBezTo>
                    <a:cubicBezTo>
                      <a:pt x="2629" y="816"/>
                      <a:pt x="2636" y="818"/>
                      <a:pt x="2644" y="818"/>
                    </a:cubicBezTo>
                    <a:cubicBezTo>
                      <a:pt x="2648" y="818"/>
                      <a:pt x="2651" y="818"/>
                      <a:pt x="2654" y="818"/>
                    </a:cubicBezTo>
                    <a:cubicBezTo>
                      <a:pt x="2657" y="817"/>
                      <a:pt x="2660" y="817"/>
                      <a:pt x="2664" y="817"/>
                    </a:cubicBezTo>
                    <a:cubicBezTo>
                      <a:pt x="2670" y="818"/>
                      <a:pt x="2672" y="819"/>
                      <a:pt x="2674" y="820"/>
                    </a:cubicBezTo>
                    <a:cubicBezTo>
                      <a:pt x="2675" y="820"/>
                      <a:pt x="2675" y="821"/>
                      <a:pt x="2675" y="821"/>
                    </a:cubicBezTo>
                    <a:cubicBezTo>
                      <a:pt x="2677" y="821"/>
                      <a:pt x="2681" y="822"/>
                      <a:pt x="2683" y="819"/>
                    </a:cubicBezTo>
                    <a:cubicBezTo>
                      <a:pt x="2686" y="813"/>
                      <a:pt x="2693" y="807"/>
                      <a:pt x="2697" y="805"/>
                    </a:cubicBezTo>
                    <a:cubicBezTo>
                      <a:pt x="2698" y="805"/>
                      <a:pt x="2699" y="805"/>
                      <a:pt x="2700" y="805"/>
                    </a:cubicBezTo>
                    <a:cubicBezTo>
                      <a:pt x="2703" y="804"/>
                      <a:pt x="2707" y="803"/>
                      <a:pt x="2709" y="801"/>
                    </a:cubicBezTo>
                    <a:cubicBezTo>
                      <a:pt x="2712" y="796"/>
                      <a:pt x="2724" y="783"/>
                      <a:pt x="2726" y="782"/>
                    </a:cubicBezTo>
                    <a:cubicBezTo>
                      <a:pt x="2727" y="781"/>
                      <a:pt x="2729" y="777"/>
                      <a:pt x="2729" y="773"/>
                    </a:cubicBezTo>
                    <a:cubicBezTo>
                      <a:pt x="2730" y="766"/>
                      <a:pt x="2735" y="760"/>
                      <a:pt x="2741" y="758"/>
                    </a:cubicBezTo>
                    <a:cubicBezTo>
                      <a:pt x="2745" y="756"/>
                      <a:pt x="2749" y="758"/>
                      <a:pt x="2753" y="759"/>
                    </a:cubicBezTo>
                    <a:cubicBezTo>
                      <a:pt x="2755" y="760"/>
                      <a:pt x="2756" y="760"/>
                      <a:pt x="2757" y="760"/>
                    </a:cubicBezTo>
                    <a:cubicBezTo>
                      <a:pt x="2761" y="761"/>
                      <a:pt x="2762" y="761"/>
                      <a:pt x="2763" y="761"/>
                    </a:cubicBezTo>
                    <a:cubicBezTo>
                      <a:pt x="2765" y="760"/>
                      <a:pt x="2769" y="760"/>
                      <a:pt x="2775" y="760"/>
                    </a:cubicBezTo>
                    <a:cubicBezTo>
                      <a:pt x="2779" y="760"/>
                      <a:pt x="2785" y="760"/>
                      <a:pt x="2788" y="758"/>
                    </a:cubicBezTo>
                    <a:cubicBezTo>
                      <a:pt x="2789" y="758"/>
                      <a:pt x="2791" y="757"/>
                      <a:pt x="2792" y="756"/>
                    </a:cubicBezTo>
                    <a:cubicBezTo>
                      <a:pt x="2794" y="755"/>
                      <a:pt x="2796" y="755"/>
                      <a:pt x="2798" y="754"/>
                    </a:cubicBezTo>
                    <a:cubicBezTo>
                      <a:pt x="2801" y="752"/>
                      <a:pt x="2809" y="747"/>
                      <a:pt x="2814" y="741"/>
                    </a:cubicBezTo>
                    <a:cubicBezTo>
                      <a:pt x="2816" y="739"/>
                      <a:pt x="2817" y="737"/>
                      <a:pt x="2818" y="736"/>
                    </a:cubicBezTo>
                    <a:cubicBezTo>
                      <a:pt x="2820" y="733"/>
                      <a:pt x="2821" y="732"/>
                      <a:pt x="2826" y="731"/>
                    </a:cubicBezTo>
                    <a:cubicBezTo>
                      <a:pt x="2831" y="730"/>
                      <a:pt x="2835" y="728"/>
                      <a:pt x="2835" y="726"/>
                    </a:cubicBezTo>
                    <a:cubicBezTo>
                      <a:pt x="2836" y="722"/>
                      <a:pt x="2835" y="720"/>
                      <a:pt x="2835" y="716"/>
                    </a:cubicBezTo>
                    <a:cubicBezTo>
                      <a:pt x="2833" y="711"/>
                      <a:pt x="2835" y="708"/>
                      <a:pt x="2838" y="702"/>
                    </a:cubicBezTo>
                    <a:cubicBezTo>
                      <a:pt x="2841" y="697"/>
                      <a:pt x="2849" y="685"/>
                      <a:pt x="2850" y="681"/>
                    </a:cubicBezTo>
                    <a:cubicBezTo>
                      <a:pt x="2853" y="675"/>
                      <a:pt x="2857" y="672"/>
                      <a:pt x="2863" y="670"/>
                    </a:cubicBezTo>
                    <a:cubicBezTo>
                      <a:pt x="2867" y="669"/>
                      <a:pt x="2869" y="667"/>
                      <a:pt x="2871" y="667"/>
                    </a:cubicBezTo>
                    <a:cubicBezTo>
                      <a:pt x="2872" y="666"/>
                      <a:pt x="2873" y="666"/>
                      <a:pt x="2874" y="665"/>
                    </a:cubicBezTo>
                    <a:cubicBezTo>
                      <a:pt x="2876" y="664"/>
                      <a:pt x="2879" y="665"/>
                      <a:pt x="2881" y="665"/>
                    </a:cubicBezTo>
                    <a:cubicBezTo>
                      <a:pt x="2881" y="666"/>
                      <a:pt x="2882" y="666"/>
                      <a:pt x="2883" y="666"/>
                    </a:cubicBezTo>
                    <a:cubicBezTo>
                      <a:pt x="2883" y="666"/>
                      <a:pt x="2884" y="666"/>
                      <a:pt x="2886" y="666"/>
                    </a:cubicBezTo>
                    <a:cubicBezTo>
                      <a:pt x="2888" y="666"/>
                      <a:pt x="2895" y="667"/>
                      <a:pt x="2896" y="666"/>
                    </a:cubicBezTo>
                    <a:cubicBezTo>
                      <a:pt x="2898" y="666"/>
                      <a:pt x="2899" y="665"/>
                      <a:pt x="2900" y="665"/>
                    </a:cubicBezTo>
                    <a:cubicBezTo>
                      <a:pt x="2900" y="665"/>
                      <a:pt x="2901" y="665"/>
                      <a:pt x="2901" y="665"/>
                    </a:cubicBezTo>
                    <a:cubicBezTo>
                      <a:pt x="2901" y="664"/>
                      <a:pt x="2901" y="664"/>
                      <a:pt x="2901" y="664"/>
                    </a:cubicBezTo>
                    <a:cubicBezTo>
                      <a:pt x="2901" y="662"/>
                      <a:pt x="2901" y="661"/>
                      <a:pt x="2901" y="660"/>
                    </a:cubicBezTo>
                    <a:cubicBezTo>
                      <a:pt x="2901" y="658"/>
                      <a:pt x="2901" y="656"/>
                      <a:pt x="2902" y="653"/>
                    </a:cubicBezTo>
                    <a:cubicBezTo>
                      <a:pt x="2903" y="649"/>
                      <a:pt x="2905" y="645"/>
                      <a:pt x="2909" y="643"/>
                    </a:cubicBezTo>
                    <a:cubicBezTo>
                      <a:pt x="2911" y="643"/>
                      <a:pt x="2913" y="642"/>
                      <a:pt x="2916" y="643"/>
                    </a:cubicBezTo>
                    <a:cubicBezTo>
                      <a:pt x="2920" y="645"/>
                      <a:pt x="2922" y="647"/>
                      <a:pt x="2924" y="648"/>
                    </a:cubicBezTo>
                    <a:cubicBezTo>
                      <a:pt x="2925" y="648"/>
                      <a:pt x="2926" y="649"/>
                      <a:pt x="2926" y="649"/>
                    </a:cubicBezTo>
                    <a:cubicBezTo>
                      <a:pt x="2927" y="650"/>
                      <a:pt x="2929" y="648"/>
                      <a:pt x="2931" y="646"/>
                    </a:cubicBezTo>
                    <a:cubicBezTo>
                      <a:pt x="2934" y="642"/>
                      <a:pt x="2940" y="638"/>
                      <a:pt x="2943" y="636"/>
                    </a:cubicBezTo>
                    <a:cubicBezTo>
                      <a:pt x="2945" y="636"/>
                      <a:pt x="2946" y="635"/>
                      <a:pt x="2948" y="634"/>
                    </a:cubicBezTo>
                    <a:cubicBezTo>
                      <a:pt x="2948" y="633"/>
                      <a:pt x="2948" y="633"/>
                      <a:pt x="2948" y="633"/>
                    </a:cubicBezTo>
                    <a:cubicBezTo>
                      <a:pt x="2950" y="632"/>
                      <a:pt x="2952" y="631"/>
                      <a:pt x="2954" y="631"/>
                    </a:cubicBezTo>
                    <a:cubicBezTo>
                      <a:pt x="2954" y="631"/>
                      <a:pt x="2955" y="631"/>
                      <a:pt x="2955" y="631"/>
                    </a:cubicBezTo>
                    <a:cubicBezTo>
                      <a:pt x="2959" y="628"/>
                      <a:pt x="2963" y="627"/>
                      <a:pt x="2967" y="629"/>
                    </a:cubicBezTo>
                    <a:cubicBezTo>
                      <a:pt x="2971" y="631"/>
                      <a:pt x="2971" y="631"/>
                      <a:pt x="2972" y="630"/>
                    </a:cubicBezTo>
                    <a:cubicBezTo>
                      <a:pt x="2975" y="629"/>
                      <a:pt x="2980" y="629"/>
                      <a:pt x="2983" y="629"/>
                    </a:cubicBezTo>
                    <a:cubicBezTo>
                      <a:pt x="2983" y="629"/>
                      <a:pt x="2983" y="630"/>
                      <a:pt x="2983" y="630"/>
                    </a:cubicBezTo>
                    <a:cubicBezTo>
                      <a:pt x="2984" y="628"/>
                      <a:pt x="2986" y="624"/>
                      <a:pt x="2990" y="623"/>
                    </a:cubicBezTo>
                    <a:cubicBezTo>
                      <a:pt x="2992" y="623"/>
                      <a:pt x="2994" y="623"/>
                      <a:pt x="2996" y="625"/>
                    </a:cubicBezTo>
                    <a:cubicBezTo>
                      <a:pt x="2996" y="625"/>
                      <a:pt x="2997" y="626"/>
                      <a:pt x="2997" y="627"/>
                    </a:cubicBezTo>
                    <a:cubicBezTo>
                      <a:pt x="2997" y="627"/>
                      <a:pt x="2998" y="627"/>
                      <a:pt x="2998" y="627"/>
                    </a:cubicBezTo>
                    <a:cubicBezTo>
                      <a:pt x="3002" y="626"/>
                      <a:pt x="3005" y="628"/>
                      <a:pt x="3007" y="632"/>
                    </a:cubicBezTo>
                    <a:cubicBezTo>
                      <a:pt x="3007" y="632"/>
                      <a:pt x="3008" y="633"/>
                      <a:pt x="3009" y="633"/>
                    </a:cubicBezTo>
                    <a:cubicBezTo>
                      <a:pt x="3009" y="633"/>
                      <a:pt x="3009" y="633"/>
                      <a:pt x="3010" y="633"/>
                    </a:cubicBezTo>
                    <a:cubicBezTo>
                      <a:pt x="3013" y="634"/>
                      <a:pt x="3015" y="634"/>
                      <a:pt x="3016" y="634"/>
                    </a:cubicBezTo>
                    <a:cubicBezTo>
                      <a:pt x="3019" y="632"/>
                      <a:pt x="3021" y="632"/>
                      <a:pt x="3028" y="632"/>
                    </a:cubicBezTo>
                    <a:cubicBezTo>
                      <a:pt x="3033" y="633"/>
                      <a:pt x="3033" y="632"/>
                      <a:pt x="3035" y="631"/>
                    </a:cubicBezTo>
                    <a:cubicBezTo>
                      <a:pt x="3036" y="630"/>
                      <a:pt x="3036" y="630"/>
                      <a:pt x="3037" y="629"/>
                    </a:cubicBezTo>
                    <a:cubicBezTo>
                      <a:pt x="3040" y="627"/>
                      <a:pt x="3040" y="627"/>
                      <a:pt x="3041" y="626"/>
                    </a:cubicBezTo>
                    <a:cubicBezTo>
                      <a:pt x="3042" y="623"/>
                      <a:pt x="3043" y="622"/>
                      <a:pt x="3045" y="621"/>
                    </a:cubicBezTo>
                    <a:cubicBezTo>
                      <a:pt x="3046" y="620"/>
                      <a:pt x="3046" y="620"/>
                      <a:pt x="3046" y="620"/>
                    </a:cubicBezTo>
                    <a:cubicBezTo>
                      <a:pt x="3047" y="620"/>
                      <a:pt x="3047" y="620"/>
                      <a:pt x="3048" y="620"/>
                    </a:cubicBezTo>
                    <a:cubicBezTo>
                      <a:pt x="3048" y="620"/>
                      <a:pt x="3048" y="619"/>
                      <a:pt x="3048" y="619"/>
                    </a:cubicBezTo>
                    <a:cubicBezTo>
                      <a:pt x="3048" y="619"/>
                      <a:pt x="3048" y="618"/>
                      <a:pt x="3048" y="616"/>
                    </a:cubicBezTo>
                    <a:cubicBezTo>
                      <a:pt x="3048" y="611"/>
                      <a:pt x="3045" y="608"/>
                      <a:pt x="3043" y="606"/>
                    </a:cubicBezTo>
                    <a:cubicBezTo>
                      <a:pt x="3043" y="606"/>
                      <a:pt x="3042" y="606"/>
                      <a:pt x="3042" y="605"/>
                    </a:cubicBezTo>
                    <a:cubicBezTo>
                      <a:pt x="3037" y="600"/>
                      <a:pt x="3036" y="596"/>
                      <a:pt x="3036" y="593"/>
                    </a:cubicBezTo>
                    <a:cubicBezTo>
                      <a:pt x="3035" y="591"/>
                      <a:pt x="3035" y="588"/>
                      <a:pt x="3027" y="582"/>
                    </a:cubicBezTo>
                    <a:cubicBezTo>
                      <a:pt x="3016" y="572"/>
                      <a:pt x="3013" y="570"/>
                      <a:pt x="3013" y="570"/>
                    </a:cubicBezTo>
                    <a:cubicBezTo>
                      <a:pt x="3011" y="569"/>
                      <a:pt x="3009" y="568"/>
                      <a:pt x="3007" y="566"/>
                    </a:cubicBezTo>
                    <a:cubicBezTo>
                      <a:pt x="3006" y="565"/>
                      <a:pt x="3006" y="565"/>
                      <a:pt x="3006" y="565"/>
                    </a:cubicBezTo>
                    <a:cubicBezTo>
                      <a:pt x="3006" y="564"/>
                      <a:pt x="3004" y="562"/>
                      <a:pt x="3002" y="561"/>
                    </a:cubicBezTo>
                    <a:cubicBezTo>
                      <a:pt x="2999" y="559"/>
                      <a:pt x="2998" y="557"/>
                      <a:pt x="2997" y="556"/>
                    </a:cubicBezTo>
                    <a:cubicBezTo>
                      <a:pt x="2997" y="555"/>
                      <a:pt x="2996" y="554"/>
                      <a:pt x="2996" y="553"/>
                    </a:cubicBezTo>
                    <a:cubicBezTo>
                      <a:pt x="2996" y="552"/>
                      <a:pt x="2995" y="551"/>
                      <a:pt x="2994" y="550"/>
                    </a:cubicBezTo>
                    <a:cubicBezTo>
                      <a:pt x="2993" y="549"/>
                      <a:pt x="2989" y="548"/>
                      <a:pt x="2986" y="547"/>
                    </a:cubicBezTo>
                    <a:cubicBezTo>
                      <a:pt x="2979" y="545"/>
                      <a:pt x="2975" y="544"/>
                      <a:pt x="2973" y="542"/>
                    </a:cubicBezTo>
                    <a:cubicBezTo>
                      <a:pt x="2971" y="541"/>
                      <a:pt x="2962" y="532"/>
                      <a:pt x="2962" y="527"/>
                    </a:cubicBezTo>
                    <a:cubicBezTo>
                      <a:pt x="2962" y="526"/>
                      <a:pt x="2961" y="525"/>
                      <a:pt x="2960" y="524"/>
                    </a:cubicBezTo>
                    <a:cubicBezTo>
                      <a:pt x="2960" y="524"/>
                      <a:pt x="2959" y="524"/>
                      <a:pt x="2959" y="524"/>
                    </a:cubicBezTo>
                    <a:cubicBezTo>
                      <a:pt x="2958" y="524"/>
                      <a:pt x="2958" y="524"/>
                      <a:pt x="2958" y="524"/>
                    </a:cubicBezTo>
                    <a:cubicBezTo>
                      <a:pt x="2957" y="524"/>
                      <a:pt x="2957" y="524"/>
                      <a:pt x="2957" y="524"/>
                    </a:cubicBezTo>
                    <a:cubicBezTo>
                      <a:pt x="2956" y="524"/>
                      <a:pt x="2956" y="523"/>
                      <a:pt x="2955" y="523"/>
                    </a:cubicBezTo>
                    <a:cubicBezTo>
                      <a:pt x="2954" y="523"/>
                      <a:pt x="2954" y="523"/>
                      <a:pt x="2954" y="523"/>
                    </a:cubicBezTo>
                    <a:cubicBezTo>
                      <a:pt x="2948" y="523"/>
                      <a:pt x="2943" y="523"/>
                      <a:pt x="2939" y="521"/>
                    </a:cubicBezTo>
                    <a:cubicBezTo>
                      <a:pt x="2938" y="521"/>
                      <a:pt x="2935" y="521"/>
                      <a:pt x="2932" y="523"/>
                    </a:cubicBezTo>
                    <a:cubicBezTo>
                      <a:pt x="2928" y="526"/>
                      <a:pt x="2924" y="524"/>
                      <a:pt x="2922" y="524"/>
                    </a:cubicBezTo>
                    <a:cubicBezTo>
                      <a:pt x="2922" y="524"/>
                      <a:pt x="2922" y="524"/>
                      <a:pt x="2922" y="524"/>
                    </a:cubicBezTo>
                    <a:cubicBezTo>
                      <a:pt x="2918" y="529"/>
                      <a:pt x="2910" y="542"/>
                      <a:pt x="2908" y="545"/>
                    </a:cubicBezTo>
                    <a:cubicBezTo>
                      <a:pt x="2905" y="550"/>
                      <a:pt x="2900" y="556"/>
                      <a:pt x="2898" y="558"/>
                    </a:cubicBezTo>
                    <a:cubicBezTo>
                      <a:pt x="2893" y="560"/>
                      <a:pt x="2887" y="556"/>
                      <a:pt x="2883" y="551"/>
                    </a:cubicBezTo>
                    <a:cubicBezTo>
                      <a:pt x="2882" y="549"/>
                      <a:pt x="2878" y="547"/>
                      <a:pt x="2875" y="546"/>
                    </a:cubicBezTo>
                    <a:cubicBezTo>
                      <a:pt x="2873" y="545"/>
                      <a:pt x="2872" y="544"/>
                      <a:pt x="2870" y="543"/>
                    </a:cubicBezTo>
                    <a:cubicBezTo>
                      <a:pt x="2869" y="542"/>
                      <a:pt x="2869" y="542"/>
                      <a:pt x="2869" y="542"/>
                    </a:cubicBezTo>
                    <a:cubicBezTo>
                      <a:pt x="2868" y="540"/>
                      <a:pt x="2867" y="540"/>
                      <a:pt x="2865" y="540"/>
                    </a:cubicBezTo>
                    <a:cubicBezTo>
                      <a:pt x="2861" y="541"/>
                      <a:pt x="2856" y="539"/>
                      <a:pt x="2855" y="539"/>
                    </a:cubicBezTo>
                    <a:cubicBezTo>
                      <a:pt x="2854" y="539"/>
                      <a:pt x="2851" y="539"/>
                      <a:pt x="2850" y="540"/>
                    </a:cubicBezTo>
                    <a:cubicBezTo>
                      <a:pt x="2850" y="541"/>
                      <a:pt x="2850" y="541"/>
                      <a:pt x="2850" y="541"/>
                    </a:cubicBezTo>
                    <a:cubicBezTo>
                      <a:pt x="2846" y="544"/>
                      <a:pt x="2844" y="544"/>
                      <a:pt x="2836" y="544"/>
                    </a:cubicBezTo>
                    <a:cubicBezTo>
                      <a:pt x="2833" y="544"/>
                      <a:pt x="2831" y="543"/>
                      <a:pt x="2829" y="543"/>
                    </a:cubicBezTo>
                    <a:cubicBezTo>
                      <a:pt x="2824" y="543"/>
                      <a:pt x="2823" y="543"/>
                      <a:pt x="2822" y="544"/>
                    </a:cubicBezTo>
                    <a:cubicBezTo>
                      <a:pt x="2821" y="545"/>
                      <a:pt x="2820" y="547"/>
                      <a:pt x="2819" y="549"/>
                    </a:cubicBezTo>
                    <a:cubicBezTo>
                      <a:pt x="2816" y="554"/>
                      <a:pt x="2813" y="557"/>
                      <a:pt x="2811" y="559"/>
                    </a:cubicBezTo>
                    <a:cubicBezTo>
                      <a:pt x="2807" y="563"/>
                      <a:pt x="2801" y="558"/>
                      <a:pt x="2798" y="555"/>
                    </a:cubicBezTo>
                    <a:cubicBezTo>
                      <a:pt x="2797" y="555"/>
                      <a:pt x="2797" y="555"/>
                      <a:pt x="2797" y="555"/>
                    </a:cubicBezTo>
                    <a:cubicBezTo>
                      <a:pt x="2794" y="552"/>
                      <a:pt x="2785" y="543"/>
                      <a:pt x="2783" y="541"/>
                    </a:cubicBezTo>
                    <a:cubicBezTo>
                      <a:pt x="2781" y="539"/>
                      <a:pt x="2779" y="537"/>
                      <a:pt x="2779" y="530"/>
                    </a:cubicBezTo>
                    <a:cubicBezTo>
                      <a:pt x="2779" y="524"/>
                      <a:pt x="2780" y="512"/>
                      <a:pt x="2780" y="512"/>
                    </a:cubicBezTo>
                    <a:cubicBezTo>
                      <a:pt x="2780" y="510"/>
                      <a:pt x="2782" y="507"/>
                      <a:pt x="2788" y="504"/>
                    </a:cubicBezTo>
                    <a:cubicBezTo>
                      <a:pt x="2793" y="501"/>
                      <a:pt x="2793" y="499"/>
                      <a:pt x="2793" y="498"/>
                    </a:cubicBezTo>
                    <a:cubicBezTo>
                      <a:pt x="2793" y="496"/>
                      <a:pt x="2793" y="485"/>
                      <a:pt x="2792" y="481"/>
                    </a:cubicBezTo>
                    <a:cubicBezTo>
                      <a:pt x="2792" y="481"/>
                      <a:pt x="2792" y="481"/>
                      <a:pt x="2792" y="481"/>
                    </a:cubicBezTo>
                    <a:cubicBezTo>
                      <a:pt x="2792" y="480"/>
                      <a:pt x="2792" y="480"/>
                      <a:pt x="2792" y="480"/>
                    </a:cubicBezTo>
                    <a:cubicBezTo>
                      <a:pt x="2792" y="479"/>
                      <a:pt x="2793" y="473"/>
                      <a:pt x="2796" y="470"/>
                    </a:cubicBezTo>
                    <a:cubicBezTo>
                      <a:pt x="2798" y="468"/>
                      <a:pt x="2805" y="458"/>
                      <a:pt x="2806" y="456"/>
                    </a:cubicBezTo>
                    <a:cubicBezTo>
                      <a:pt x="2806" y="455"/>
                      <a:pt x="2806" y="455"/>
                      <a:pt x="2806" y="454"/>
                    </a:cubicBezTo>
                    <a:cubicBezTo>
                      <a:pt x="2805" y="452"/>
                      <a:pt x="2804" y="448"/>
                      <a:pt x="2806" y="444"/>
                    </a:cubicBezTo>
                    <a:cubicBezTo>
                      <a:pt x="2808" y="440"/>
                      <a:pt x="2814" y="424"/>
                      <a:pt x="2815" y="420"/>
                    </a:cubicBezTo>
                    <a:cubicBezTo>
                      <a:pt x="2817" y="416"/>
                      <a:pt x="2835" y="368"/>
                      <a:pt x="2837" y="363"/>
                    </a:cubicBezTo>
                    <a:cubicBezTo>
                      <a:pt x="2837" y="361"/>
                      <a:pt x="2839" y="358"/>
                      <a:pt x="2842" y="357"/>
                    </a:cubicBezTo>
                    <a:cubicBezTo>
                      <a:pt x="2845" y="356"/>
                      <a:pt x="2849" y="357"/>
                      <a:pt x="2854" y="361"/>
                    </a:cubicBezTo>
                    <a:cubicBezTo>
                      <a:pt x="2863" y="368"/>
                      <a:pt x="2873" y="372"/>
                      <a:pt x="2876" y="372"/>
                    </a:cubicBezTo>
                    <a:cubicBezTo>
                      <a:pt x="2877" y="372"/>
                      <a:pt x="2879" y="372"/>
                      <a:pt x="2881" y="372"/>
                    </a:cubicBezTo>
                    <a:cubicBezTo>
                      <a:pt x="2886" y="371"/>
                      <a:pt x="2894" y="370"/>
                      <a:pt x="2898" y="375"/>
                    </a:cubicBezTo>
                    <a:cubicBezTo>
                      <a:pt x="2899" y="376"/>
                      <a:pt x="2902" y="379"/>
                      <a:pt x="2905" y="377"/>
                    </a:cubicBezTo>
                    <a:cubicBezTo>
                      <a:pt x="2905" y="377"/>
                      <a:pt x="2912" y="373"/>
                      <a:pt x="2917" y="372"/>
                    </a:cubicBezTo>
                    <a:cubicBezTo>
                      <a:pt x="2924" y="370"/>
                      <a:pt x="2926" y="368"/>
                      <a:pt x="2926" y="368"/>
                    </a:cubicBezTo>
                    <a:cubicBezTo>
                      <a:pt x="2928" y="364"/>
                      <a:pt x="2933" y="358"/>
                      <a:pt x="2938" y="352"/>
                    </a:cubicBezTo>
                    <a:cubicBezTo>
                      <a:pt x="2938" y="351"/>
                      <a:pt x="2938" y="351"/>
                      <a:pt x="2938" y="351"/>
                    </a:cubicBezTo>
                    <a:cubicBezTo>
                      <a:pt x="2939" y="351"/>
                      <a:pt x="2939" y="350"/>
                      <a:pt x="2940" y="349"/>
                    </a:cubicBezTo>
                    <a:cubicBezTo>
                      <a:pt x="2942" y="346"/>
                      <a:pt x="2944" y="343"/>
                      <a:pt x="2950" y="341"/>
                    </a:cubicBezTo>
                    <a:cubicBezTo>
                      <a:pt x="2953" y="340"/>
                      <a:pt x="2955" y="340"/>
                      <a:pt x="2956" y="340"/>
                    </a:cubicBezTo>
                    <a:cubicBezTo>
                      <a:pt x="2958" y="339"/>
                      <a:pt x="2959" y="339"/>
                      <a:pt x="2959" y="339"/>
                    </a:cubicBezTo>
                    <a:cubicBezTo>
                      <a:pt x="2962" y="337"/>
                      <a:pt x="2965" y="337"/>
                      <a:pt x="2968" y="337"/>
                    </a:cubicBezTo>
                    <a:cubicBezTo>
                      <a:pt x="2970" y="337"/>
                      <a:pt x="2970" y="337"/>
                      <a:pt x="2970" y="337"/>
                    </a:cubicBezTo>
                    <a:cubicBezTo>
                      <a:pt x="2971" y="337"/>
                      <a:pt x="2973" y="337"/>
                      <a:pt x="2973" y="337"/>
                    </a:cubicBezTo>
                    <a:cubicBezTo>
                      <a:pt x="2973" y="337"/>
                      <a:pt x="2973" y="336"/>
                      <a:pt x="2974" y="335"/>
                    </a:cubicBezTo>
                    <a:cubicBezTo>
                      <a:pt x="2975" y="332"/>
                      <a:pt x="2978" y="330"/>
                      <a:pt x="2980" y="328"/>
                    </a:cubicBezTo>
                    <a:cubicBezTo>
                      <a:pt x="2981" y="327"/>
                      <a:pt x="2982" y="327"/>
                      <a:pt x="2983" y="326"/>
                    </a:cubicBezTo>
                    <a:cubicBezTo>
                      <a:pt x="2986" y="322"/>
                      <a:pt x="2986" y="321"/>
                      <a:pt x="2986" y="319"/>
                    </a:cubicBezTo>
                    <a:cubicBezTo>
                      <a:pt x="2985" y="314"/>
                      <a:pt x="2985" y="313"/>
                      <a:pt x="2986" y="311"/>
                    </a:cubicBezTo>
                    <a:cubicBezTo>
                      <a:pt x="2985" y="311"/>
                      <a:pt x="2985" y="311"/>
                      <a:pt x="2985" y="311"/>
                    </a:cubicBezTo>
                    <a:cubicBezTo>
                      <a:pt x="2980" y="311"/>
                      <a:pt x="2974" y="312"/>
                      <a:pt x="2972" y="305"/>
                    </a:cubicBezTo>
                    <a:cubicBezTo>
                      <a:pt x="2971" y="301"/>
                      <a:pt x="2972" y="299"/>
                      <a:pt x="2976" y="298"/>
                    </a:cubicBezTo>
                    <a:cubicBezTo>
                      <a:pt x="2976" y="297"/>
                      <a:pt x="2977" y="297"/>
                      <a:pt x="2977" y="297"/>
                    </a:cubicBezTo>
                    <a:cubicBezTo>
                      <a:pt x="2979" y="295"/>
                      <a:pt x="2979" y="295"/>
                      <a:pt x="2979" y="293"/>
                    </a:cubicBezTo>
                    <a:cubicBezTo>
                      <a:pt x="2979" y="288"/>
                      <a:pt x="2980" y="285"/>
                      <a:pt x="2982" y="282"/>
                    </a:cubicBezTo>
                    <a:cubicBezTo>
                      <a:pt x="2982" y="280"/>
                      <a:pt x="2984" y="278"/>
                      <a:pt x="2986" y="275"/>
                    </a:cubicBezTo>
                    <a:cubicBezTo>
                      <a:pt x="2988" y="274"/>
                      <a:pt x="2989" y="271"/>
                      <a:pt x="2990" y="270"/>
                    </a:cubicBezTo>
                    <a:cubicBezTo>
                      <a:pt x="2991" y="268"/>
                      <a:pt x="2991" y="265"/>
                      <a:pt x="2991" y="262"/>
                    </a:cubicBezTo>
                    <a:cubicBezTo>
                      <a:pt x="2990" y="255"/>
                      <a:pt x="2993" y="251"/>
                      <a:pt x="2995" y="249"/>
                    </a:cubicBezTo>
                    <a:cubicBezTo>
                      <a:pt x="2996" y="248"/>
                      <a:pt x="2996" y="248"/>
                      <a:pt x="2996" y="248"/>
                    </a:cubicBezTo>
                    <a:cubicBezTo>
                      <a:pt x="2998" y="246"/>
                      <a:pt x="3004" y="241"/>
                      <a:pt x="3003" y="237"/>
                    </a:cubicBezTo>
                    <a:cubicBezTo>
                      <a:pt x="3002" y="232"/>
                      <a:pt x="3001" y="228"/>
                      <a:pt x="3005" y="225"/>
                    </a:cubicBezTo>
                    <a:cubicBezTo>
                      <a:pt x="3006" y="224"/>
                      <a:pt x="3006" y="224"/>
                      <a:pt x="3006" y="224"/>
                    </a:cubicBezTo>
                    <a:cubicBezTo>
                      <a:pt x="3006" y="224"/>
                      <a:pt x="3006" y="224"/>
                      <a:pt x="3006" y="224"/>
                    </a:cubicBezTo>
                    <a:cubicBezTo>
                      <a:pt x="3006" y="223"/>
                      <a:pt x="3006" y="220"/>
                      <a:pt x="3009" y="217"/>
                    </a:cubicBezTo>
                    <a:cubicBezTo>
                      <a:pt x="3009" y="217"/>
                      <a:pt x="3010" y="216"/>
                      <a:pt x="3010" y="216"/>
                    </a:cubicBezTo>
                    <a:cubicBezTo>
                      <a:pt x="3010" y="216"/>
                      <a:pt x="3010" y="216"/>
                      <a:pt x="3010" y="216"/>
                    </a:cubicBezTo>
                    <a:cubicBezTo>
                      <a:pt x="3010" y="215"/>
                      <a:pt x="3010" y="214"/>
                      <a:pt x="3010" y="214"/>
                    </a:cubicBezTo>
                    <a:cubicBezTo>
                      <a:pt x="3010" y="212"/>
                      <a:pt x="3010" y="209"/>
                      <a:pt x="3013" y="208"/>
                    </a:cubicBezTo>
                    <a:cubicBezTo>
                      <a:pt x="3013" y="207"/>
                      <a:pt x="3013" y="206"/>
                      <a:pt x="3013" y="205"/>
                    </a:cubicBezTo>
                    <a:cubicBezTo>
                      <a:pt x="3013" y="204"/>
                      <a:pt x="3014" y="202"/>
                      <a:pt x="3014" y="201"/>
                    </a:cubicBezTo>
                    <a:cubicBezTo>
                      <a:pt x="3014" y="200"/>
                      <a:pt x="3015" y="199"/>
                      <a:pt x="3015" y="197"/>
                    </a:cubicBezTo>
                    <a:cubicBezTo>
                      <a:pt x="3015" y="195"/>
                      <a:pt x="3015" y="193"/>
                      <a:pt x="3015" y="192"/>
                    </a:cubicBezTo>
                    <a:cubicBezTo>
                      <a:pt x="3015" y="191"/>
                      <a:pt x="3015" y="190"/>
                      <a:pt x="3016" y="189"/>
                    </a:cubicBezTo>
                    <a:cubicBezTo>
                      <a:pt x="3016" y="185"/>
                      <a:pt x="3018" y="184"/>
                      <a:pt x="3020" y="182"/>
                    </a:cubicBezTo>
                    <a:cubicBezTo>
                      <a:pt x="3021" y="181"/>
                      <a:pt x="3021" y="181"/>
                      <a:pt x="3021" y="181"/>
                    </a:cubicBezTo>
                    <a:cubicBezTo>
                      <a:pt x="3023" y="179"/>
                      <a:pt x="3029" y="173"/>
                      <a:pt x="3031" y="170"/>
                    </a:cubicBezTo>
                    <a:cubicBezTo>
                      <a:pt x="3032" y="169"/>
                      <a:pt x="3032" y="169"/>
                      <a:pt x="3032" y="169"/>
                    </a:cubicBezTo>
                    <a:cubicBezTo>
                      <a:pt x="3033" y="168"/>
                      <a:pt x="3035" y="166"/>
                      <a:pt x="3039" y="163"/>
                    </a:cubicBezTo>
                    <a:cubicBezTo>
                      <a:pt x="3042" y="160"/>
                      <a:pt x="3047" y="156"/>
                      <a:pt x="3048" y="155"/>
                    </a:cubicBezTo>
                    <a:cubicBezTo>
                      <a:pt x="3049" y="153"/>
                      <a:pt x="3049" y="152"/>
                      <a:pt x="3049" y="150"/>
                    </a:cubicBezTo>
                    <a:cubicBezTo>
                      <a:pt x="3048" y="148"/>
                      <a:pt x="3049" y="146"/>
                      <a:pt x="3049" y="144"/>
                    </a:cubicBezTo>
                    <a:cubicBezTo>
                      <a:pt x="3049" y="142"/>
                      <a:pt x="3049" y="137"/>
                      <a:pt x="3048" y="136"/>
                    </a:cubicBezTo>
                    <a:cubicBezTo>
                      <a:pt x="3041" y="133"/>
                      <a:pt x="3039" y="130"/>
                      <a:pt x="3041" y="121"/>
                    </a:cubicBezTo>
                    <a:cubicBezTo>
                      <a:pt x="3043" y="116"/>
                      <a:pt x="3043" y="114"/>
                      <a:pt x="3043" y="112"/>
                    </a:cubicBezTo>
                    <a:cubicBezTo>
                      <a:pt x="3043" y="111"/>
                      <a:pt x="3043" y="111"/>
                      <a:pt x="3043" y="111"/>
                    </a:cubicBezTo>
                    <a:cubicBezTo>
                      <a:pt x="3043" y="111"/>
                      <a:pt x="3043" y="111"/>
                      <a:pt x="3043" y="111"/>
                    </a:cubicBezTo>
                    <a:cubicBezTo>
                      <a:pt x="3043" y="111"/>
                      <a:pt x="3043" y="111"/>
                      <a:pt x="3043" y="111"/>
                    </a:cubicBezTo>
                    <a:cubicBezTo>
                      <a:pt x="3043" y="111"/>
                      <a:pt x="3042" y="110"/>
                      <a:pt x="3041" y="110"/>
                    </a:cubicBezTo>
                    <a:cubicBezTo>
                      <a:pt x="3041" y="109"/>
                      <a:pt x="3040" y="109"/>
                      <a:pt x="3039" y="108"/>
                    </a:cubicBezTo>
                    <a:cubicBezTo>
                      <a:pt x="3035" y="106"/>
                      <a:pt x="3032" y="104"/>
                      <a:pt x="3028" y="107"/>
                    </a:cubicBezTo>
                    <a:cubicBezTo>
                      <a:pt x="3024" y="109"/>
                      <a:pt x="3017" y="113"/>
                      <a:pt x="3012" y="111"/>
                    </a:cubicBezTo>
                    <a:cubicBezTo>
                      <a:pt x="3011" y="110"/>
                      <a:pt x="3009" y="109"/>
                      <a:pt x="3009" y="107"/>
                    </a:cubicBezTo>
                    <a:cubicBezTo>
                      <a:pt x="3008" y="106"/>
                      <a:pt x="3008" y="106"/>
                      <a:pt x="3008" y="106"/>
                    </a:cubicBezTo>
                    <a:cubicBezTo>
                      <a:pt x="3007" y="103"/>
                      <a:pt x="3007" y="102"/>
                      <a:pt x="3009" y="98"/>
                    </a:cubicBezTo>
                    <a:cubicBezTo>
                      <a:pt x="3009" y="97"/>
                      <a:pt x="3010" y="96"/>
                      <a:pt x="3010" y="96"/>
                    </a:cubicBezTo>
                    <a:cubicBezTo>
                      <a:pt x="3008" y="94"/>
                      <a:pt x="3007" y="93"/>
                      <a:pt x="3007" y="90"/>
                    </a:cubicBezTo>
                    <a:cubicBezTo>
                      <a:pt x="3008" y="88"/>
                      <a:pt x="3009" y="86"/>
                      <a:pt x="3012" y="84"/>
                    </a:cubicBezTo>
                    <a:cubicBezTo>
                      <a:pt x="3013" y="83"/>
                      <a:pt x="3013" y="83"/>
                      <a:pt x="3013" y="83"/>
                    </a:cubicBezTo>
                    <a:cubicBezTo>
                      <a:pt x="3015" y="81"/>
                      <a:pt x="3016" y="80"/>
                      <a:pt x="3019" y="75"/>
                    </a:cubicBezTo>
                    <a:cubicBezTo>
                      <a:pt x="3021" y="71"/>
                      <a:pt x="3024" y="68"/>
                      <a:pt x="3028" y="64"/>
                    </a:cubicBezTo>
                    <a:cubicBezTo>
                      <a:pt x="3030" y="62"/>
                      <a:pt x="3032" y="59"/>
                      <a:pt x="3033" y="57"/>
                    </a:cubicBezTo>
                    <a:cubicBezTo>
                      <a:pt x="3035" y="56"/>
                      <a:pt x="3036" y="54"/>
                      <a:pt x="3036" y="54"/>
                    </a:cubicBezTo>
                    <a:cubicBezTo>
                      <a:pt x="3038" y="52"/>
                      <a:pt x="3038" y="52"/>
                      <a:pt x="3038" y="51"/>
                    </a:cubicBezTo>
                    <a:cubicBezTo>
                      <a:pt x="3038" y="50"/>
                      <a:pt x="3038" y="50"/>
                      <a:pt x="3038" y="49"/>
                    </a:cubicBezTo>
                    <a:cubicBezTo>
                      <a:pt x="3039" y="43"/>
                      <a:pt x="3042" y="41"/>
                      <a:pt x="3051" y="41"/>
                    </a:cubicBezTo>
                    <a:cubicBezTo>
                      <a:pt x="3055" y="40"/>
                      <a:pt x="3068" y="40"/>
                      <a:pt x="3074" y="37"/>
                    </a:cubicBezTo>
                    <a:cubicBezTo>
                      <a:pt x="3075" y="36"/>
                      <a:pt x="3077" y="35"/>
                      <a:pt x="3080" y="34"/>
                    </a:cubicBezTo>
                    <a:cubicBezTo>
                      <a:pt x="3084" y="32"/>
                      <a:pt x="3088" y="29"/>
                      <a:pt x="3092" y="28"/>
                    </a:cubicBezTo>
                    <a:cubicBezTo>
                      <a:pt x="3094" y="27"/>
                      <a:pt x="3094" y="27"/>
                      <a:pt x="3095" y="26"/>
                    </a:cubicBezTo>
                    <a:cubicBezTo>
                      <a:pt x="3098" y="25"/>
                      <a:pt x="3100" y="24"/>
                      <a:pt x="3105" y="24"/>
                    </a:cubicBezTo>
                    <a:cubicBezTo>
                      <a:pt x="3110" y="23"/>
                      <a:pt x="3110" y="23"/>
                      <a:pt x="3111" y="22"/>
                    </a:cubicBezTo>
                    <a:cubicBezTo>
                      <a:pt x="3111" y="21"/>
                      <a:pt x="3111" y="21"/>
                      <a:pt x="3111" y="21"/>
                    </a:cubicBezTo>
                    <a:cubicBezTo>
                      <a:pt x="3115" y="16"/>
                      <a:pt x="3121" y="14"/>
                      <a:pt x="3128" y="15"/>
                    </a:cubicBezTo>
                    <a:cubicBezTo>
                      <a:pt x="3134" y="17"/>
                      <a:pt x="3136" y="17"/>
                      <a:pt x="3140" y="16"/>
                    </a:cubicBezTo>
                    <a:cubicBezTo>
                      <a:pt x="3143" y="16"/>
                      <a:pt x="3145" y="16"/>
                      <a:pt x="3146" y="16"/>
                    </a:cubicBezTo>
                    <a:cubicBezTo>
                      <a:pt x="3147" y="16"/>
                      <a:pt x="3148" y="16"/>
                      <a:pt x="3149" y="15"/>
                    </a:cubicBezTo>
                    <a:cubicBezTo>
                      <a:pt x="3153" y="15"/>
                      <a:pt x="3156" y="14"/>
                      <a:pt x="3157" y="13"/>
                    </a:cubicBezTo>
                    <a:cubicBezTo>
                      <a:pt x="3159" y="10"/>
                      <a:pt x="3163" y="10"/>
                      <a:pt x="3165" y="10"/>
                    </a:cubicBezTo>
                    <a:cubicBezTo>
                      <a:pt x="3166" y="10"/>
                      <a:pt x="3167" y="10"/>
                      <a:pt x="3167" y="10"/>
                    </a:cubicBezTo>
                    <a:cubicBezTo>
                      <a:pt x="3168" y="9"/>
                      <a:pt x="3169" y="9"/>
                      <a:pt x="3170" y="8"/>
                    </a:cubicBezTo>
                    <a:cubicBezTo>
                      <a:pt x="3171" y="7"/>
                      <a:pt x="3172" y="7"/>
                      <a:pt x="3173" y="6"/>
                    </a:cubicBezTo>
                    <a:cubicBezTo>
                      <a:pt x="3176" y="1"/>
                      <a:pt x="3180" y="3"/>
                      <a:pt x="3184" y="4"/>
                    </a:cubicBezTo>
                    <a:cubicBezTo>
                      <a:pt x="3186" y="5"/>
                      <a:pt x="3187" y="5"/>
                      <a:pt x="3187" y="5"/>
                    </a:cubicBezTo>
                    <a:cubicBezTo>
                      <a:pt x="3188" y="4"/>
                      <a:pt x="3189" y="3"/>
                      <a:pt x="3190" y="3"/>
                    </a:cubicBezTo>
                    <a:cubicBezTo>
                      <a:pt x="3192" y="2"/>
                      <a:pt x="3193" y="3"/>
                      <a:pt x="3194" y="4"/>
                    </a:cubicBezTo>
                    <a:cubicBezTo>
                      <a:pt x="3198" y="1"/>
                      <a:pt x="3207" y="0"/>
                      <a:pt x="3212" y="4"/>
                    </a:cubicBezTo>
                    <a:cubicBezTo>
                      <a:pt x="3214" y="6"/>
                      <a:pt x="3217" y="7"/>
                      <a:pt x="3219" y="8"/>
                    </a:cubicBezTo>
                    <a:cubicBezTo>
                      <a:pt x="3221" y="9"/>
                      <a:pt x="3223" y="10"/>
                      <a:pt x="3224" y="11"/>
                    </a:cubicBezTo>
                    <a:cubicBezTo>
                      <a:pt x="3225" y="12"/>
                      <a:pt x="3226" y="12"/>
                      <a:pt x="3226" y="12"/>
                    </a:cubicBezTo>
                    <a:cubicBezTo>
                      <a:pt x="3229" y="10"/>
                      <a:pt x="3234" y="9"/>
                      <a:pt x="3239" y="12"/>
                    </a:cubicBezTo>
                    <a:cubicBezTo>
                      <a:pt x="3241" y="13"/>
                      <a:pt x="3242" y="14"/>
                      <a:pt x="3243" y="15"/>
                    </a:cubicBezTo>
                    <a:cubicBezTo>
                      <a:pt x="3247" y="21"/>
                      <a:pt x="3249" y="23"/>
                      <a:pt x="3250" y="23"/>
                    </a:cubicBezTo>
                    <a:cubicBezTo>
                      <a:pt x="3255" y="21"/>
                      <a:pt x="3260" y="19"/>
                      <a:pt x="3265" y="24"/>
                    </a:cubicBezTo>
                    <a:cubicBezTo>
                      <a:pt x="3266" y="25"/>
                      <a:pt x="3267" y="26"/>
                      <a:pt x="3268" y="26"/>
                    </a:cubicBezTo>
                    <a:cubicBezTo>
                      <a:pt x="3268" y="25"/>
                      <a:pt x="3268" y="25"/>
                      <a:pt x="3268" y="24"/>
                    </a:cubicBezTo>
                    <a:cubicBezTo>
                      <a:pt x="3269" y="22"/>
                      <a:pt x="3271" y="17"/>
                      <a:pt x="3278" y="17"/>
                    </a:cubicBezTo>
                    <a:cubicBezTo>
                      <a:pt x="3284" y="17"/>
                      <a:pt x="3288" y="18"/>
                      <a:pt x="3297" y="22"/>
                    </a:cubicBezTo>
                    <a:cubicBezTo>
                      <a:pt x="3303" y="25"/>
                      <a:pt x="3303" y="25"/>
                      <a:pt x="3306" y="25"/>
                    </a:cubicBezTo>
                    <a:cubicBezTo>
                      <a:pt x="3307" y="25"/>
                      <a:pt x="3308" y="25"/>
                      <a:pt x="3309" y="25"/>
                    </a:cubicBezTo>
                    <a:cubicBezTo>
                      <a:pt x="3315" y="25"/>
                      <a:pt x="3318" y="25"/>
                      <a:pt x="3320" y="31"/>
                    </a:cubicBezTo>
                    <a:cubicBezTo>
                      <a:pt x="3321" y="33"/>
                      <a:pt x="3322" y="35"/>
                      <a:pt x="3322" y="37"/>
                    </a:cubicBezTo>
                    <a:cubicBezTo>
                      <a:pt x="3323" y="37"/>
                      <a:pt x="3325" y="36"/>
                      <a:pt x="3326" y="36"/>
                    </a:cubicBezTo>
                    <a:cubicBezTo>
                      <a:pt x="3328" y="37"/>
                      <a:pt x="3329" y="37"/>
                      <a:pt x="3331" y="39"/>
                    </a:cubicBezTo>
                    <a:cubicBezTo>
                      <a:pt x="3331" y="40"/>
                      <a:pt x="3332" y="41"/>
                      <a:pt x="3332" y="41"/>
                    </a:cubicBezTo>
                    <a:cubicBezTo>
                      <a:pt x="3333" y="43"/>
                      <a:pt x="3335" y="45"/>
                      <a:pt x="3335" y="45"/>
                    </a:cubicBezTo>
                    <a:cubicBezTo>
                      <a:pt x="3336" y="45"/>
                      <a:pt x="3336" y="45"/>
                      <a:pt x="3336" y="45"/>
                    </a:cubicBezTo>
                    <a:cubicBezTo>
                      <a:pt x="3338" y="45"/>
                      <a:pt x="3342" y="44"/>
                      <a:pt x="3344" y="46"/>
                    </a:cubicBezTo>
                    <a:cubicBezTo>
                      <a:pt x="3345" y="47"/>
                      <a:pt x="3346" y="49"/>
                      <a:pt x="3346" y="51"/>
                    </a:cubicBezTo>
                    <a:cubicBezTo>
                      <a:pt x="3346" y="56"/>
                      <a:pt x="3344" y="58"/>
                      <a:pt x="3342" y="60"/>
                    </a:cubicBezTo>
                    <a:cubicBezTo>
                      <a:pt x="3342" y="60"/>
                      <a:pt x="3342" y="60"/>
                      <a:pt x="3342" y="60"/>
                    </a:cubicBezTo>
                    <a:cubicBezTo>
                      <a:pt x="3342" y="60"/>
                      <a:pt x="3341" y="61"/>
                      <a:pt x="3341" y="61"/>
                    </a:cubicBezTo>
                    <a:cubicBezTo>
                      <a:pt x="3341" y="61"/>
                      <a:pt x="3341" y="61"/>
                      <a:pt x="3342" y="62"/>
                    </a:cubicBezTo>
                    <a:cubicBezTo>
                      <a:pt x="3342" y="62"/>
                      <a:pt x="3342" y="62"/>
                      <a:pt x="3342" y="62"/>
                    </a:cubicBezTo>
                    <a:cubicBezTo>
                      <a:pt x="3342" y="62"/>
                      <a:pt x="3342" y="62"/>
                      <a:pt x="3342" y="62"/>
                    </a:cubicBezTo>
                    <a:cubicBezTo>
                      <a:pt x="3344" y="61"/>
                      <a:pt x="3350" y="59"/>
                      <a:pt x="3354" y="66"/>
                    </a:cubicBezTo>
                    <a:cubicBezTo>
                      <a:pt x="3356" y="70"/>
                      <a:pt x="3359" y="72"/>
                      <a:pt x="3360" y="73"/>
                    </a:cubicBezTo>
                    <a:cubicBezTo>
                      <a:pt x="3365" y="75"/>
                      <a:pt x="3369" y="77"/>
                      <a:pt x="3370" y="80"/>
                    </a:cubicBezTo>
                    <a:cubicBezTo>
                      <a:pt x="3373" y="84"/>
                      <a:pt x="3369" y="89"/>
                      <a:pt x="3368" y="90"/>
                    </a:cubicBezTo>
                    <a:cubicBezTo>
                      <a:pt x="3368" y="90"/>
                      <a:pt x="3368" y="90"/>
                      <a:pt x="3368" y="91"/>
                    </a:cubicBezTo>
                    <a:cubicBezTo>
                      <a:pt x="3369" y="91"/>
                      <a:pt x="3370" y="91"/>
                      <a:pt x="3371" y="91"/>
                    </a:cubicBezTo>
                    <a:cubicBezTo>
                      <a:pt x="3372" y="91"/>
                      <a:pt x="3374" y="91"/>
                      <a:pt x="3375" y="92"/>
                    </a:cubicBezTo>
                    <a:cubicBezTo>
                      <a:pt x="3377" y="92"/>
                      <a:pt x="3379" y="94"/>
                      <a:pt x="3380" y="97"/>
                    </a:cubicBezTo>
                    <a:cubicBezTo>
                      <a:pt x="3381" y="100"/>
                      <a:pt x="3381" y="104"/>
                      <a:pt x="3379" y="107"/>
                    </a:cubicBezTo>
                    <a:cubicBezTo>
                      <a:pt x="3378" y="107"/>
                      <a:pt x="3377" y="109"/>
                      <a:pt x="3378" y="110"/>
                    </a:cubicBezTo>
                    <a:cubicBezTo>
                      <a:pt x="3379" y="111"/>
                      <a:pt x="3380" y="113"/>
                      <a:pt x="3381" y="114"/>
                    </a:cubicBezTo>
                    <a:cubicBezTo>
                      <a:pt x="3383" y="116"/>
                      <a:pt x="3385" y="118"/>
                      <a:pt x="3386" y="120"/>
                    </a:cubicBezTo>
                    <a:cubicBezTo>
                      <a:pt x="3387" y="121"/>
                      <a:pt x="3390" y="124"/>
                      <a:pt x="3391" y="125"/>
                    </a:cubicBezTo>
                    <a:cubicBezTo>
                      <a:pt x="3394" y="126"/>
                      <a:pt x="3397" y="131"/>
                      <a:pt x="3397" y="137"/>
                    </a:cubicBezTo>
                    <a:cubicBezTo>
                      <a:pt x="3397" y="140"/>
                      <a:pt x="3398" y="141"/>
                      <a:pt x="3399" y="141"/>
                    </a:cubicBezTo>
                    <a:cubicBezTo>
                      <a:pt x="3405" y="142"/>
                      <a:pt x="3405" y="147"/>
                      <a:pt x="3405" y="149"/>
                    </a:cubicBezTo>
                    <a:cubicBezTo>
                      <a:pt x="3405" y="149"/>
                      <a:pt x="3405" y="150"/>
                      <a:pt x="3406" y="150"/>
                    </a:cubicBezTo>
                    <a:cubicBezTo>
                      <a:pt x="3406" y="150"/>
                      <a:pt x="3406" y="150"/>
                      <a:pt x="3406" y="150"/>
                    </a:cubicBezTo>
                    <a:cubicBezTo>
                      <a:pt x="3406" y="151"/>
                      <a:pt x="3406" y="151"/>
                      <a:pt x="3407" y="151"/>
                    </a:cubicBezTo>
                    <a:cubicBezTo>
                      <a:pt x="3408" y="151"/>
                      <a:pt x="3411" y="153"/>
                      <a:pt x="3412" y="156"/>
                    </a:cubicBezTo>
                    <a:cubicBezTo>
                      <a:pt x="3412" y="157"/>
                      <a:pt x="3412" y="158"/>
                      <a:pt x="3411" y="159"/>
                    </a:cubicBezTo>
                    <a:cubicBezTo>
                      <a:pt x="3412" y="159"/>
                      <a:pt x="3412" y="159"/>
                      <a:pt x="3413" y="159"/>
                    </a:cubicBezTo>
                    <a:cubicBezTo>
                      <a:pt x="3418" y="161"/>
                      <a:pt x="3417" y="167"/>
                      <a:pt x="3416" y="174"/>
                    </a:cubicBezTo>
                    <a:cubicBezTo>
                      <a:pt x="3416" y="176"/>
                      <a:pt x="3416" y="178"/>
                      <a:pt x="3416" y="179"/>
                    </a:cubicBezTo>
                    <a:cubicBezTo>
                      <a:pt x="3416" y="180"/>
                      <a:pt x="3417" y="182"/>
                      <a:pt x="3418" y="184"/>
                    </a:cubicBezTo>
                    <a:cubicBezTo>
                      <a:pt x="3419" y="184"/>
                      <a:pt x="3421" y="185"/>
                      <a:pt x="3423" y="186"/>
                    </a:cubicBezTo>
                    <a:cubicBezTo>
                      <a:pt x="3426" y="188"/>
                      <a:pt x="3430" y="189"/>
                      <a:pt x="3432" y="192"/>
                    </a:cubicBezTo>
                    <a:cubicBezTo>
                      <a:pt x="3434" y="195"/>
                      <a:pt x="3435" y="196"/>
                      <a:pt x="3435" y="198"/>
                    </a:cubicBezTo>
                    <a:cubicBezTo>
                      <a:pt x="3435" y="198"/>
                      <a:pt x="3435" y="199"/>
                      <a:pt x="3436" y="199"/>
                    </a:cubicBezTo>
                    <a:cubicBezTo>
                      <a:pt x="3436" y="200"/>
                      <a:pt x="3439" y="203"/>
                      <a:pt x="3440" y="205"/>
                    </a:cubicBezTo>
                    <a:cubicBezTo>
                      <a:pt x="3440" y="205"/>
                      <a:pt x="3440" y="205"/>
                      <a:pt x="3440" y="205"/>
                    </a:cubicBezTo>
                    <a:cubicBezTo>
                      <a:pt x="3443" y="207"/>
                      <a:pt x="3446" y="210"/>
                      <a:pt x="3448" y="213"/>
                    </a:cubicBezTo>
                    <a:cubicBezTo>
                      <a:pt x="3451" y="218"/>
                      <a:pt x="3451" y="224"/>
                      <a:pt x="3450" y="226"/>
                    </a:cubicBezTo>
                    <a:cubicBezTo>
                      <a:pt x="3450" y="226"/>
                      <a:pt x="3450" y="226"/>
                      <a:pt x="3450" y="226"/>
                    </a:cubicBezTo>
                    <a:cubicBezTo>
                      <a:pt x="3450" y="227"/>
                      <a:pt x="3449" y="230"/>
                      <a:pt x="3449" y="231"/>
                    </a:cubicBezTo>
                    <a:cubicBezTo>
                      <a:pt x="3451" y="233"/>
                      <a:pt x="3452" y="236"/>
                      <a:pt x="3452" y="238"/>
                    </a:cubicBezTo>
                    <a:cubicBezTo>
                      <a:pt x="3453" y="240"/>
                      <a:pt x="3454" y="241"/>
                      <a:pt x="3455" y="242"/>
                    </a:cubicBezTo>
                    <a:cubicBezTo>
                      <a:pt x="3456" y="243"/>
                      <a:pt x="3457" y="244"/>
                      <a:pt x="3459" y="244"/>
                    </a:cubicBezTo>
                    <a:cubicBezTo>
                      <a:pt x="3461" y="245"/>
                      <a:pt x="3462" y="245"/>
                      <a:pt x="3462" y="245"/>
                    </a:cubicBezTo>
                    <a:cubicBezTo>
                      <a:pt x="3465" y="245"/>
                      <a:pt x="3467" y="247"/>
                      <a:pt x="3468" y="249"/>
                    </a:cubicBezTo>
                    <a:cubicBezTo>
                      <a:pt x="3470" y="251"/>
                      <a:pt x="3471" y="254"/>
                      <a:pt x="3470" y="260"/>
                    </a:cubicBezTo>
                    <a:cubicBezTo>
                      <a:pt x="3468" y="266"/>
                      <a:pt x="3467" y="270"/>
                      <a:pt x="3468" y="271"/>
                    </a:cubicBezTo>
                    <a:cubicBezTo>
                      <a:pt x="3468" y="272"/>
                      <a:pt x="3468" y="272"/>
                      <a:pt x="3468" y="272"/>
                    </a:cubicBezTo>
                    <a:cubicBezTo>
                      <a:pt x="3471" y="275"/>
                      <a:pt x="3471" y="276"/>
                      <a:pt x="3470" y="280"/>
                    </a:cubicBezTo>
                    <a:cubicBezTo>
                      <a:pt x="3470" y="282"/>
                      <a:pt x="3470" y="282"/>
                      <a:pt x="3470" y="282"/>
                    </a:cubicBezTo>
                    <a:cubicBezTo>
                      <a:pt x="3470" y="285"/>
                      <a:pt x="3471" y="286"/>
                      <a:pt x="3471" y="286"/>
                    </a:cubicBezTo>
                    <a:cubicBezTo>
                      <a:pt x="3471" y="286"/>
                      <a:pt x="3472" y="286"/>
                      <a:pt x="3472" y="285"/>
                    </a:cubicBezTo>
                    <a:cubicBezTo>
                      <a:pt x="3474" y="285"/>
                      <a:pt x="3477" y="285"/>
                      <a:pt x="3479" y="286"/>
                    </a:cubicBezTo>
                    <a:cubicBezTo>
                      <a:pt x="3481" y="288"/>
                      <a:pt x="3481" y="291"/>
                      <a:pt x="3481" y="292"/>
                    </a:cubicBezTo>
                    <a:cubicBezTo>
                      <a:pt x="3481" y="294"/>
                      <a:pt x="3484" y="298"/>
                      <a:pt x="3487" y="300"/>
                    </a:cubicBezTo>
                    <a:cubicBezTo>
                      <a:pt x="3488" y="300"/>
                      <a:pt x="3489" y="301"/>
                      <a:pt x="3490" y="301"/>
                    </a:cubicBezTo>
                    <a:cubicBezTo>
                      <a:pt x="3491" y="298"/>
                      <a:pt x="3493" y="297"/>
                      <a:pt x="3495" y="297"/>
                    </a:cubicBezTo>
                    <a:cubicBezTo>
                      <a:pt x="3495" y="297"/>
                      <a:pt x="3495" y="297"/>
                      <a:pt x="3495" y="297"/>
                    </a:cubicBezTo>
                    <a:cubicBezTo>
                      <a:pt x="3499" y="297"/>
                      <a:pt x="3501" y="301"/>
                      <a:pt x="3502" y="302"/>
                    </a:cubicBezTo>
                    <a:cubicBezTo>
                      <a:pt x="3503" y="304"/>
                      <a:pt x="3505" y="303"/>
                      <a:pt x="3506" y="303"/>
                    </a:cubicBezTo>
                    <a:cubicBezTo>
                      <a:pt x="3509" y="301"/>
                      <a:pt x="3513" y="300"/>
                      <a:pt x="3516" y="298"/>
                    </a:cubicBezTo>
                    <a:cubicBezTo>
                      <a:pt x="3520" y="297"/>
                      <a:pt x="3523" y="296"/>
                      <a:pt x="3527" y="294"/>
                    </a:cubicBezTo>
                    <a:cubicBezTo>
                      <a:pt x="3532" y="291"/>
                      <a:pt x="3535" y="293"/>
                      <a:pt x="3537" y="293"/>
                    </a:cubicBezTo>
                    <a:cubicBezTo>
                      <a:pt x="3537" y="293"/>
                      <a:pt x="3537" y="293"/>
                      <a:pt x="3537" y="293"/>
                    </a:cubicBezTo>
                    <a:cubicBezTo>
                      <a:pt x="3539" y="292"/>
                      <a:pt x="3543" y="291"/>
                      <a:pt x="3545" y="293"/>
                    </a:cubicBezTo>
                    <a:cubicBezTo>
                      <a:pt x="3547" y="294"/>
                      <a:pt x="3548" y="296"/>
                      <a:pt x="3547" y="299"/>
                    </a:cubicBezTo>
                    <a:cubicBezTo>
                      <a:pt x="3547" y="299"/>
                      <a:pt x="3547" y="299"/>
                      <a:pt x="3547" y="300"/>
                    </a:cubicBezTo>
                    <a:cubicBezTo>
                      <a:pt x="3547" y="300"/>
                      <a:pt x="3547" y="300"/>
                      <a:pt x="3547" y="300"/>
                    </a:cubicBezTo>
                    <a:cubicBezTo>
                      <a:pt x="3552" y="298"/>
                      <a:pt x="3562" y="296"/>
                      <a:pt x="3564" y="305"/>
                    </a:cubicBezTo>
                    <a:cubicBezTo>
                      <a:pt x="3565" y="306"/>
                      <a:pt x="3565" y="307"/>
                      <a:pt x="3565" y="307"/>
                    </a:cubicBezTo>
                    <a:cubicBezTo>
                      <a:pt x="3566" y="307"/>
                      <a:pt x="3566" y="307"/>
                      <a:pt x="3567" y="306"/>
                    </a:cubicBezTo>
                    <a:cubicBezTo>
                      <a:pt x="3569" y="305"/>
                      <a:pt x="3569" y="305"/>
                      <a:pt x="3569" y="305"/>
                    </a:cubicBezTo>
                    <a:cubicBezTo>
                      <a:pt x="3572" y="303"/>
                      <a:pt x="3573" y="302"/>
                      <a:pt x="3576" y="304"/>
                    </a:cubicBezTo>
                    <a:cubicBezTo>
                      <a:pt x="3576" y="302"/>
                      <a:pt x="3577" y="300"/>
                      <a:pt x="3579" y="298"/>
                    </a:cubicBezTo>
                    <a:cubicBezTo>
                      <a:pt x="3581" y="296"/>
                      <a:pt x="3584" y="297"/>
                      <a:pt x="3586" y="297"/>
                    </a:cubicBezTo>
                    <a:cubicBezTo>
                      <a:pt x="3590" y="298"/>
                      <a:pt x="3597" y="299"/>
                      <a:pt x="3597" y="306"/>
                    </a:cubicBezTo>
                    <a:cubicBezTo>
                      <a:pt x="3597" y="307"/>
                      <a:pt x="3597" y="307"/>
                      <a:pt x="3597" y="307"/>
                    </a:cubicBezTo>
                    <a:cubicBezTo>
                      <a:pt x="3601" y="306"/>
                      <a:pt x="3605" y="308"/>
                      <a:pt x="3607" y="312"/>
                    </a:cubicBezTo>
                    <a:cubicBezTo>
                      <a:pt x="3607" y="312"/>
                      <a:pt x="3607" y="313"/>
                      <a:pt x="3608" y="313"/>
                    </a:cubicBezTo>
                    <a:cubicBezTo>
                      <a:pt x="3608" y="313"/>
                      <a:pt x="3608" y="314"/>
                      <a:pt x="3608" y="314"/>
                    </a:cubicBezTo>
                    <a:cubicBezTo>
                      <a:pt x="3610" y="314"/>
                      <a:pt x="3613" y="314"/>
                      <a:pt x="3616" y="317"/>
                    </a:cubicBezTo>
                    <a:cubicBezTo>
                      <a:pt x="3619" y="319"/>
                      <a:pt x="3621" y="321"/>
                      <a:pt x="3623" y="323"/>
                    </a:cubicBezTo>
                    <a:cubicBezTo>
                      <a:pt x="3624" y="324"/>
                      <a:pt x="3625" y="326"/>
                      <a:pt x="3626" y="326"/>
                    </a:cubicBezTo>
                    <a:cubicBezTo>
                      <a:pt x="3626" y="326"/>
                      <a:pt x="3626" y="326"/>
                      <a:pt x="3626" y="326"/>
                    </a:cubicBezTo>
                    <a:cubicBezTo>
                      <a:pt x="3629" y="329"/>
                      <a:pt x="3633" y="332"/>
                      <a:pt x="3636" y="333"/>
                    </a:cubicBezTo>
                    <a:cubicBezTo>
                      <a:pt x="3640" y="335"/>
                      <a:pt x="3641" y="334"/>
                      <a:pt x="3641" y="334"/>
                    </a:cubicBezTo>
                    <a:cubicBezTo>
                      <a:pt x="3645" y="329"/>
                      <a:pt x="3650" y="331"/>
                      <a:pt x="3654" y="333"/>
                    </a:cubicBezTo>
                    <a:cubicBezTo>
                      <a:pt x="3656" y="334"/>
                      <a:pt x="3657" y="334"/>
                      <a:pt x="3658" y="335"/>
                    </a:cubicBezTo>
                    <a:cubicBezTo>
                      <a:pt x="3658" y="335"/>
                      <a:pt x="3659" y="335"/>
                      <a:pt x="3659" y="335"/>
                    </a:cubicBezTo>
                    <a:cubicBezTo>
                      <a:pt x="3662" y="333"/>
                      <a:pt x="3664" y="334"/>
                      <a:pt x="3665" y="335"/>
                    </a:cubicBezTo>
                    <a:cubicBezTo>
                      <a:pt x="3667" y="335"/>
                      <a:pt x="3668" y="337"/>
                      <a:pt x="3668" y="342"/>
                    </a:cubicBezTo>
                    <a:cubicBezTo>
                      <a:pt x="3667" y="344"/>
                      <a:pt x="3667" y="346"/>
                      <a:pt x="3666" y="348"/>
                    </a:cubicBezTo>
                    <a:cubicBezTo>
                      <a:pt x="3666" y="351"/>
                      <a:pt x="3665" y="353"/>
                      <a:pt x="3665" y="356"/>
                    </a:cubicBezTo>
                    <a:cubicBezTo>
                      <a:pt x="3665" y="356"/>
                      <a:pt x="3665" y="356"/>
                      <a:pt x="3665" y="357"/>
                    </a:cubicBezTo>
                    <a:cubicBezTo>
                      <a:pt x="3668" y="358"/>
                      <a:pt x="3670" y="362"/>
                      <a:pt x="3671" y="366"/>
                    </a:cubicBezTo>
                    <a:cubicBezTo>
                      <a:pt x="3673" y="364"/>
                      <a:pt x="3676" y="364"/>
                      <a:pt x="3678" y="364"/>
                    </a:cubicBezTo>
                    <a:cubicBezTo>
                      <a:pt x="3679" y="365"/>
                      <a:pt x="3682" y="367"/>
                      <a:pt x="3682" y="372"/>
                    </a:cubicBezTo>
                    <a:cubicBezTo>
                      <a:pt x="3682" y="376"/>
                      <a:pt x="3682" y="377"/>
                      <a:pt x="3682" y="377"/>
                    </a:cubicBezTo>
                    <a:cubicBezTo>
                      <a:pt x="3682" y="377"/>
                      <a:pt x="3682" y="377"/>
                      <a:pt x="3682" y="377"/>
                    </a:cubicBezTo>
                    <a:cubicBezTo>
                      <a:pt x="3682" y="377"/>
                      <a:pt x="3683" y="377"/>
                      <a:pt x="3683" y="378"/>
                    </a:cubicBezTo>
                    <a:cubicBezTo>
                      <a:pt x="3686" y="382"/>
                      <a:pt x="3688" y="386"/>
                      <a:pt x="3687" y="389"/>
                    </a:cubicBezTo>
                    <a:cubicBezTo>
                      <a:pt x="3687" y="390"/>
                      <a:pt x="3686" y="391"/>
                      <a:pt x="3686" y="392"/>
                    </a:cubicBezTo>
                    <a:cubicBezTo>
                      <a:pt x="3686" y="395"/>
                      <a:pt x="3686" y="399"/>
                      <a:pt x="3683" y="402"/>
                    </a:cubicBezTo>
                    <a:cubicBezTo>
                      <a:pt x="3683" y="402"/>
                      <a:pt x="3683" y="403"/>
                      <a:pt x="3683" y="404"/>
                    </a:cubicBezTo>
                    <a:cubicBezTo>
                      <a:pt x="3683" y="404"/>
                      <a:pt x="3683" y="405"/>
                      <a:pt x="3684" y="405"/>
                    </a:cubicBezTo>
                    <a:cubicBezTo>
                      <a:pt x="3687" y="407"/>
                      <a:pt x="3702" y="418"/>
                      <a:pt x="3703" y="422"/>
                    </a:cubicBezTo>
                    <a:cubicBezTo>
                      <a:pt x="3704" y="424"/>
                      <a:pt x="3706" y="428"/>
                      <a:pt x="3706" y="430"/>
                    </a:cubicBezTo>
                    <a:cubicBezTo>
                      <a:pt x="3707" y="431"/>
                      <a:pt x="3709" y="433"/>
                      <a:pt x="3711" y="433"/>
                    </a:cubicBezTo>
                    <a:cubicBezTo>
                      <a:pt x="3712" y="433"/>
                      <a:pt x="3714" y="433"/>
                      <a:pt x="3714" y="432"/>
                    </a:cubicBezTo>
                    <a:cubicBezTo>
                      <a:pt x="3715" y="432"/>
                      <a:pt x="3715" y="432"/>
                      <a:pt x="3715" y="432"/>
                    </a:cubicBezTo>
                    <a:cubicBezTo>
                      <a:pt x="3716" y="428"/>
                      <a:pt x="3719" y="424"/>
                      <a:pt x="3728" y="423"/>
                    </a:cubicBezTo>
                    <a:cubicBezTo>
                      <a:pt x="3735" y="422"/>
                      <a:pt x="3739" y="422"/>
                      <a:pt x="3742" y="425"/>
                    </a:cubicBezTo>
                    <a:cubicBezTo>
                      <a:pt x="3743" y="426"/>
                      <a:pt x="3745" y="426"/>
                      <a:pt x="3745" y="426"/>
                    </a:cubicBezTo>
                    <a:cubicBezTo>
                      <a:pt x="3746" y="426"/>
                      <a:pt x="3746" y="426"/>
                      <a:pt x="3746" y="426"/>
                    </a:cubicBezTo>
                    <a:cubicBezTo>
                      <a:pt x="3748" y="424"/>
                      <a:pt x="3750" y="422"/>
                      <a:pt x="3754" y="422"/>
                    </a:cubicBezTo>
                    <a:cubicBezTo>
                      <a:pt x="3755" y="422"/>
                      <a:pt x="3755" y="422"/>
                      <a:pt x="3756" y="422"/>
                    </a:cubicBezTo>
                    <a:cubicBezTo>
                      <a:pt x="3758" y="422"/>
                      <a:pt x="3761" y="422"/>
                      <a:pt x="3762" y="421"/>
                    </a:cubicBezTo>
                    <a:cubicBezTo>
                      <a:pt x="3763" y="421"/>
                      <a:pt x="3764" y="420"/>
                      <a:pt x="3765" y="420"/>
                    </a:cubicBezTo>
                    <a:cubicBezTo>
                      <a:pt x="3766" y="420"/>
                      <a:pt x="3767" y="419"/>
                      <a:pt x="3767" y="419"/>
                    </a:cubicBezTo>
                    <a:cubicBezTo>
                      <a:pt x="3769" y="417"/>
                      <a:pt x="3772" y="417"/>
                      <a:pt x="3777" y="416"/>
                    </a:cubicBezTo>
                    <a:cubicBezTo>
                      <a:pt x="3777" y="416"/>
                      <a:pt x="3778" y="416"/>
                      <a:pt x="3779" y="416"/>
                    </a:cubicBezTo>
                    <a:cubicBezTo>
                      <a:pt x="3779" y="416"/>
                      <a:pt x="3779" y="416"/>
                      <a:pt x="3779" y="416"/>
                    </a:cubicBezTo>
                    <a:cubicBezTo>
                      <a:pt x="3779" y="415"/>
                      <a:pt x="3780" y="415"/>
                      <a:pt x="3780" y="414"/>
                    </a:cubicBezTo>
                    <a:cubicBezTo>
                      <a:pt x="3781" y="413"/>
                      <a:pt x="3782" y="411"/>
                      <a:pt x="3785" y="410"/>
                    </a:cubicBezTo>
                    <a:cubicBezTo>
                      <a:pt x="3787" y="409"/>
                      <a:pt x="3790" y="409"/>
                      <a:pt x="3792" y="410"/>
                    </a:cubicBezTo>
                    <a:cubicBezTo>
                      <a:pt x="3794" y="411"/>
                      <a:pt x="3796" y="411"/>
                      <a:pt x="3796" y="411"/>
                    </a:cubicBezTo>
                    <a:cubicBezTo>
                      <a:pt x="3797" y="410"/>
                      <a:pt x="3797" y="410"/>
                      <a:pt x="3796" y="408"/>
                    </a:cubicBezTo>
                    <a:cubicBezTo>
                      <a:pt x="3795" y="404"/>
                      <a:pt x="3796" y="400"/>
                      <a:pt x="3797" y="397"/>
                    </a:cubicBezTo>
                    <a:cubicBezTo>
                      <a:pt x="3797" y="397"/>
                      <a:pt x="3797" y="396"/>
                      <a:pt x="3797" y="395"/>
                    </a:cubicBezTo>
                    <a:cubicBezTo>
                      <a:pt x="3798" y="395"/>
                      <a:pt x="3798" y="394"/>
                      <a:pt x="3798" y="394"/>
                    </a:cubicBezTo>
                    <a:cubicBezTo>
                      <a:pt x="3798" y="392"/>
                      <a:pt x="3798" y="390"/>
                      <a:pt x="3799" y="388"/>
                    </a:cubicBezTo>
                    <a:cubicBezTo>
                      <a:pt x="3801" y="387"/>
                      <a:pt x="3804" y="387"/>
                      <a:pt x="3804" y="387"/>
                    </a:cubicBezTo>
                    <a:cubicBezTo>
                      <a:pt x="3805" y="387"/>
                      <a:pt x="3806" y="387"/>
                      <a:pt x="3807" y="387"/>
                    </a:cubicBezTo>
                    <a:cubicBezTo>
                      <a:pt x="3807" y="384"/>
                      <a:pt x="3807" y="381"/>
                      <a:pt x="3812" y="380"/>
                    </a:cubicBezTo>
                    <a:cubicBezTo>
                      <a:pt x="3812" y="379"/>
                      <a:pt x="3813" y="379"/>
                      <a:pt x="3813" y="379"/>
                    </a:cubicBezTo>
                    <a:cubicBezTo>
                      <a:pt x="3815" y="379"/>
                      <a:pt x="3815" y="379"/>
                      <a:pt x="3815" y="378"/>
                    </a:cubicBezTo>
                    <a:cubicBezTo>
                      <a:pt x="3816" y="373"/>
                      <a:pt x="3821" y="366"/>
                      <a:pt x="3827" y="366"/>
                    </a:cubicBezTo>
                    <a:cubicBezTo>
                      <a:pt x="3828" y="366"/>
                      <a:pt x="3829" y="366"/>
                      <a:pt x="3830" y="366"/>
                    </a:cubicBezTo>
                    <a:cubicBezTo>
                      <a:pt x="3831" y="366"/>
                      <a:pt x="3834" y="366"/>
                      <a:pt x="3835" y="366"/>
                    </a:cubicBezTo>
                    <a:cubicBezTo>
                      <a:pt x="3836" y="365"/>
                      <a:pt x="3836" y="365"/>
                      <a:pt x="3836" y="364"/>
                    </a:cubicBezTo>
                    <a:cubicBezTo>
                      <a:pt x="3838" y="362"/>
                      <a:pt x="3840" y="362"/>
                      <a:pt x="3842" y="362"/>
                    </a:cubicBezTo>
                    <a:cubicBezTo>
                      <a:pt x="3843" y="362"/>
                      <a:pt x="3843" y="362"/>
                      <a:pt x="3844" y="362"/>
                    </a:cubicBezTo>
                    <a:cubicBezTo>
                      <a:pt x="3845" y="363"/>
                      <a:pt x="3846" y="363"/>
                      <a:pt x="3847" y="363"/>
                    </a:cubicBezTo>
                    <a:cubicBezTo>
                      <a:pt x="3847" y="363"/>
                      <a:pt x="3847" y="362"/>
                      <a:pt x="3847" y="362"/>
                    </a:cubicBezTo>
                    <a:cubicBezTo>
                      <a:pt x="3847" y="361"/>
                      <a:pt x="3847" y="360"/>
                      <a:pt x="3847" y="359"/>
                    </a:cubicBezTo>
                    <a:cubicBezTo>
                      <a:pt x="3847" y="355"/>
                      <a:pt x="3849" y="354"/>
                      <a:pt x="3853" y="353"/>
                    </a:cubicBezTo>
                    <a:cubicBezTo>
                      <a:pt x="3853" y="353"/>
                      <a:pt x="3853" y="353"/>
                      <a:pt x="3853" y="353"/>
                    </a:cubicBezTo>
                    <a:cubicBezTo>
                      <a:pt x="3853" y="353"/>
                      <a:pt x="3854" y="353"/>
                      <a:pt x="3854" y="352"/>
                    </a:cubicBezTo>
                    <a:cubicBezTo>
                      <a:pt x="3855" y="349"/>
                      <a:pt x="3859" y="344"/>
                      <a:pt x="3865" y="343"/>
                    </a:cubicBezTo>
                    <a:cubicBezTo>
                      <a:pt x="3866" y="343"/>
                      <a:pt x="3866" y="343"/>
                      <a:pt x="3867" y="343"/>
                    </a:cubicBezTo>
                    <a:cubicBezTo>
                      <a:pt x="3867" y="343"/>
                      <a:pt x="3867" y="342"/>
                      <a:pt x="3867" y="342"/>
                    </a:cubicBezTo>
                    <a:cubicBezTo>
                      <a:pt x="3867" y="342"/>
                      <a:pt x="3867" y="342"/>
                      <a:pt x="3867" y="341"/>
                    </a:cubicBezTo>
                    <a:cubicBezTo>
                      <a:pt x="3867" y="340"/>
                      <a:pt x="3867" y="335"/>
                      <a:pt x="3873" y="334"/>
                    </a:cubicBezTo>
                    <a:cubicBezTo>
                      <a:pt x="3874" y="334"/>
                      <a:pt x="3874" y="334"/>
                      <a:pt x="3875" y="333"/>
                    </a:cubicBezTo>
                    <a:cubicBezTo>
                      <a:pt x="3876" y="333"/>
                      <a:pt x="3876" y="333"/>
                      <a:pt x="3877" y="332"/>
                    </a:cubicBezTo>
                    <a:cubicBezTo>
                      <a:pt x="3878" y="331"/>
                      <a:pt x="3879" y="331"/>
                      <a:pt x="3879" y="330"/>
                    </a:cubicBezTo>
                    <a:cubicBezTo>
                      <a:pt x="3881" y="328"/>
                      <a:pt x="3883" y="326"/>
                      <a:pt x="3887" y="326"/>
                    </a:cubicBezTo>
                    <a:cubicBezTo>
                      <a:pt x="3889" y="326"/>
                      <a:pt x="3889" y="325"/>
                      <a:pt x="3890" y="325"/>
                    </a:cubicBezTo>
                    <a:cubicBezTo>
                      <a:pt x="3891" y="325"/>
                      <a:pt x="3892" y="324"/>
                      <a:pt x="3895" y="323"/>
                    </a:cubicBezTo>
                    <a:cubicBezTo>
                      <a:pt x="3897" y="323"/>
                      <a:pt x="3897" y="323"/>
                      <a:pt x="3898" y="322"/>
                    </a:cubicBezTo>
                    <a:cubicBezTo>
                      <a:pt x="3901" y="320"/>
                      <a:pt x="3903" y="319"/>
                      <a:pt x="3908" y="320"/>
                    </a:cubicBezTo>
                    <a:cubicBezTo>
                      <a:pt x="3913" y="321"/>
                      <a:pt x="3915" y="320"/>
                      <a:pt x="3916" y="319"/>
                    </a:cubicBezTo>
                    <a:cubicBezTo>
                      <a:pt x="3916" y="318"/>
                      <a:pt x="3916" y="318"/>
                      <a:pt x="3916" y="317"/>
                    </a:cubicBezTo>
                    <a:cubicBezTo>
                      <a:pt x="3917" y="315"/>
                      <a:pt x="3918" y="312"/>
                      <a:pt x="3922" y="311"/>
                    </a:cubicBezTo>
                    <a:cubicBezTo>
                      <a:pt x="3926" y="309"/>
                      <a:pt x="3929" y="309"/>
                      <a:pt x="3931" y="310"/>
                    </a:cubicBezTo>
                    <a:cubicBezTo>
                      <a:pt x="3933" y="311"/>
                      <a:pt x="3933" y="311"/>
                      <a:pt x="3933" y="311"/>
                    </a:cubicBezTo>
                    <a:cubicBezTo>
                      <a:pt x="3933" y="311"/>
                      <a:pt x="3933" y="311"/>
                      <a:pt x="3933" y="311"/>
                    </a:cubicBezTo>
                    <a:cubicBezTo>
                      <a:pt x="3937" y="316"/>
                      <a:pt x="3933" y="321"/>
                      <a:pt x="3932" y="323"/>
                    </a:cubicBezTo>
                    <a:cubicBezTo>
                      <a:pt x="3930" y="326"/>
                      <a:pt x="3927" y="329"/>
                      <a:pt x="3924" y="331"/>
                    </a:cubicBezTo>
                    <a:cubicBezTo>
                      <a:pt x="3922" y="333"/>
                      <a:pt x="3919" y="335"/>
                      <a:pt x="3919" y="336"/>
                    </a:cubicBezTo>
                    <a:cubicBezTo>
                      <a:pt x="3918" y="338"/>
                      <a:pt x="3917" y="340"/>
                      <a:pt x="3917" y="343"/>
                    </a:cubicBezTo>
                    <a:cubicBezTo>
                      <a:pt x="3917" y="343"/>
                      <a:pt x="3917" y="344"/>
                      <a:pt x="3917" y="344"/>
                    </a:cubicBezTo>
                    <a:cubicBezTo>
                      <a:pt x="3918" y="347"/>
                      <a:pt x="3919" y="352"/>
                      <a:pt x="3916" y="355"/>
                    </a:cubicBezTo>
                    <a:cubicBezTo>
                      <a:pt x="3915" y="358"/>
                      <a:pt x="3915" y="359"/>
                      <a:pt x="3916" y="361"/>
                    </a:cubicBezTo>
                    <a:cubicBezTo>
                      <a:pt x="3917" y="364"/>
                      <a:pt x="3917" y="365"/>
                      <a:pt x="3918" y="365"/>
                    </a:cubicBezTo>
                    <a:cubicBezTo>
                      <a:pt x="3923" y="365"/>
                      <a:pt x="3924" y="369"/>
                      <a:pt x="3924" y="371"/>
                    </a:cubicBezTo>
                    <a:cubicBezTo>
                      <a:pt x="3925" y="372"/>
                      <a:pt x="3927" y="372"/>
                      <a:pt x="3928" y="374"/>
                    </a:cubicBezTo>
                    <a:cubicBezTo>
                      <a:pt x="3931" y="377"/>
                      <a:pt x="3932" y="379"/>
                      <a:pt x="3931" y="387"/>
                    </a:cubicBezTo>
                    <a:cubicBezTo>
                      <a:pt x="3931" y="392"/>
                      <a:pt x="3929" y="395"/>
                      <a:pt x="3928" y="397"/>
                    </a:cubicBezTo>
                    <a:cubicBezTo>
                      <a:pt x="3928" y="397"/>
                      <a:pt x="3928" y="398"/>
                      <a:pt x="3927" y="399"/>
                    </a:cubicBezTo>
                    <a:cubicBezTo>
                      <a:pt x="3927" y="400"/>
                      <a:pt x="3927" y="400"/>
                      <a:pt x="3927" y="401"/>
                    </a:cubicBezTo>
                    <a:cubicBezTo>
                      <a:pt x="3927" y="402"/>
                      <a:pt x="3927" y="403"/>
                      <a:pt x="3926" y="405"/>
                    </a:cubicBezTo>
                    <a:cubicBezTo>
                      <a:pt x="3925" y="410"/>
                      <a:pt x="3922" y="411"/>
                      <a:pt x="3920" y="412"/>
                    </a:cubicBezTo>
                    <a:cubicBezTo>
                      <a:pt x="3919" y="412"/>
                      <a:pt x="3919" y="412"/>
                      <a:pt x="3919" y="412"/>
                    </a:cubicBezTo>
                    <a:cubicBezTo>
                      <a:pt x="3918" y="412"/>
                      <a:pt x="3912" y="416"/>
                      <a:pt x="3910" y="420"/>
                    </a:cubicBezTo>
                    <a:cubicBezTo>
                      <a:pt x="3907" y="427"/>
                      <a:pt x="3908" y="428"/>
                      <a:pt x="3908" y="428"/>
                    </a:cubicBezTo>
                    <a:cubicBezTo>
                      <a:pt x="3914" y="435"/>
                      <a:pt x="3914" y="441"/>
                      <a:pt x="3910" y="446"/>
                    </a:cubicBezTo>
                    <a:cubicBezTo>
                      <a:pt x="3907" y="448"/>
                      <a:pt x="3906" y="454"/>
                      <a:pt x="3907" y="460"/>
                    </a:cubicBezTo>
                    <a:cubicBezTo>
                      <a:pt x="3908" y="464"/>
                      <a:pt x="3909" y="468"/>
                      <a:pt x="3909" y="471"/>
                    </a:cubicBezTo>
                    <a:cubicBezTo>
                      <a:pt x="3910" y="473"/>
                      <a:pt x="3910" y="475"/>
                      <a:pt x="3910" y="477"/>
                    </a:cubicBezTo>
                    <a:cubicBezTo>
                      <a:pt x="3911" y="481"/>
                      <a:pt x="3911" y="483"/>
                      <a:pt x="3908" y="488"/>
                    </a:cubicBezTo>
                    <a:cubicBezTo>
                      <a:pt x="3906" y="492"/>
                      <a:pt x="3905" y="498"/>
                      <a:pt x="3906" y="499"/>
                    </a:cubicBezTo>
                    <a:cubicBezTo>
                      <a:pt x="3906" y="501"/>
                      <a:pt x="3907" y="503"/>
                      <a:pt x="3908" y="505"/>
                    </a:cubicBezTo>
                    <a:cubicBezTo>
                      <a:pt x="3910" y="508"/>
                      <a:pt x="3911" y="511"/>
                      <a:pt x="3911" y="514"/>
                    </a:cubicBezTo>
                    <a:cubicBezTo>
                      <a:pt x="3911" y="515"/>
                      <a:pt x="3911" y="515"/>
                      <a:pt x="3911" y="515"/>
                    </a:cubicBezTo>
                    <a:cubicBezTo>
                      <a:pt x="3911" y="517"/>
                      <a:pt x="3912" y="525"/>
                      <a:pt x="3907" y="529"/>
                    </a:cubicBezTo>
                    <a:cubicBezTo>
                      <a:pt x="3904" y="532"/>
                      <a:pt x="3905" y="533"/>
                      <a:pt x="3905" y="534"/>
                    </a:cubicBezTo>
                    <a:cubicBezTo>
                      <a:pt x="3909" y="540"/>
                      <a:pt x="3907" y="546"/>
                      <a:pt x="3905" y="550"/>
                    </a:cubicBezTo>
                    <a:cubicBezTo>
                      <a:pt x="3903" y="552"/>
                      <a:pt x="3903" y="555"/>
                      <a:pt x="3903" y="555"/>
                    </a:cubicBezTo>
                    <a:cubicBezTo>
                      <a:pt x="3902" y="558"/>
                      <a:pt x="3900" y="560"/>
                      <a:pt x="3897" y="561"/>
                    </a:cubicBezTo>
                    <a:cubicBezTo>
                      <a:pt x="3900" y="564"/>
                      <a:pt x="3899" y="566"/>
                      <a:pt x="3898" y="569"/>
                    </a:cubicBezTo>
                    <a:cubicBezTo>
                      <a:pt x="3898" y="570"/>
                      <a:pt x="3898" y="570"/>
                      <a:pt x="3898" y="570"/>
                    </a:cubicBezTo>
                    <a:cubicBezTo>
                      <a:pt x="3898" y="571"/>
                      <a:pt x="3898" y="571"/>
                      <a:pt x="3898" y="572"/>
                    </a:cubicBezTo>
                    <a:cubicBezTo>
                      <a:pt x="3899" y="574"/>
                      <a:pt x="3899" y="576"/>
                      <a:pt x="3899" y="578"/>
                    </a:cubicBezTo>
                    <a:cubicBezTo>
                      <a:pt x="3899" y="579"/>
                      <a:pt x="3898" y="579"/>
                      <a:pt x="3898" y="580"/>
                    </a:cubicBezTo>
                    <a:cubicBezTo>
                      <a:pt x="3897" y="586"/>
                      <a:pt x="3895" y="588"/>
                      <a:pt x="3891" y="591"/>
                    </a:cubicBezTo>
                    <a:cubicBezTo>
                      <a:pt x="3889" y="593"/>
                      <a:pt x="3889" y="593"/>
                      <a:pt x="3889" y="593"/>
                    </a:cubicBezTo>
                    <a:cubicBezTo>
                      <a:pt x="3887" y="595"/>
                      <a:pt x="3886" y="599"/>
                      <a:pt x="3886" y="603"/>
                    </a:cubicBezTo>
                    <a:cubicBezTo>
                      <a:pt x="3886" y="605"/>
                      <a:pt x="3886" y="606"/>
                      <a:pt x="3885" y="608"/>
                    </a:cubicBezTo>
                    <a:cubicBezTo>
                      <a:pt x="3884" y="614"/>
                      <a:pt x="3886" y="616"/>
                      <a:pt x="3888" y="617"/>
                    </a:cubicBezTo>
                    <a:cubicBezTo>
                      <a:pt x="3888" y="617"/>
                      <a:pt x="3889" y="618"/>
                      <a:pt x="3890" y="619"/>
                    </a:cubicBezTo>
                    <a:cubicBezTo>
                      <a:pt x="3894" y="625"/>
                      <a:pt x="3889" y="634"/>
                      <a:pt x="3887" y="637"/>
                    </a:cubicBezTo>
                    <a:cubicBezTo>
                      <a:pt x="3886" y="640"/>
                      <a:pt x="3882" y="643"/>
                      <a:pt x="3876" y="643"/>
                    </a:cubicBezTo>
                    <a:cubicBezTo>
                      <a:pt x="3873" y="644"/>
                      <a:pt x="3871" y="644"/>
                      <a:pt x="3867" y="643"/>
                    </a:cubicBezTo>
                    <a:cubicBezTo>
                      <a:pt x="3863" y="643"/>
                      <a:pt x="3855" y="642"/>
                      <a:pt x="3847" y="641"/>
                    </a:cubicBezTo>
                    <a:cubicBezTo>
                      <a:pt x="3841" y="640"/>
                      <a:pt x="3835" y="640"/>
                      <a:pt x="3833" y="640"/>
                    </a:cubicBezTo>
                    <a:cubicBezTo>
                      <a:pt x="3829" y="639"/>
                      <a:pt x="3829" y="639"/>
                      <a:pt x="3829" y="639"/>
                    </a:cubicBezTo>
                    <a:cubicBezTo>
                      <a:pt x="3824" y="639"/>
                      <a:pt x="3818" y="638"/>
                      <a:pt x="3814" y="637"/>
                    </a:cubicBezTo>
                    <a:cubicBezTo>
                      <a:pt x="3811" y="636"/>
                      <a:pt x="3809" y="635"/>
                      <a:pt x="3807" y="634"/>
                    </a:cubicBezTo>
                    <a:cubicBezTo>
                      <a:pt x="3807" y="636"/>
                      <a:pt x="3805" y="639"/>
                      <a:pt x="3802" y="642"/>
                    </a:cubicBezTo>
                    <a:cubicBezTo>
                      <a:pt x="3801" y="643"/>
                      <a:pt x="3800" y="646"/>
                      <a:pt x="3800" y="648"/>
                    </a:cubicBezTo>
                    <a:cubicBezTo>
                      <a:pt x="3800" y="649"/>
                      <a:pt x="3800" y="649"/>
                      <a:pt x="3800" y="650"/>
                    </a:cubicBezTo>
                    <a:cubicBezTo>
                      <a:pt x="3799" y="652"/>
                      <a:pt x="3798" y="655"/>
                      <a:pt x="3795" y="659"/>
                    </a:cubicBezTo>
                    <a:cubicBezTo>
                      <a:pt x="3794" y="660"/>
                      <a:pt x="3794" y="661"/>
                      <a:pt x="3793" y="661"/>
                    </a:cubicBezTo>
                    <a:cubicBezTo>
                      <a:pt x="3793" y="661"/>
                      <a:pt x="3793" y="662"/>
                      <a:pt x="3793" y="663"/>
                    </a:cubicBezTo>
                    <a:cubicBezTo>
                      <a:pt x="3793" y="668"/>
                      <a:pt x="3791" y="671"/>
                      <a:pt x="3785" y="673"/>
                    </a:cubicBezTo>
                    <a:cubicBezTo>
                      <a:pt x="3782" y="674"/>
                      <a:pt x="3779" y="674"/>
                      <a:pt x="3777" y="674"/>
                    </a:cubicBezTo>
                    <a:cubicBezTo>
                      <a:pt x="3775" y="676"/>
                      <a:pt x="3773" y="676"/>
                      <a:pt x="3772" y="676"/>
                    </a:cubicBezTo>
                    <a:cubicBezTo>
                      <a:pt x="3771" y="676"/>
                      <a:pt x="3771" y="676"/>
                      <a:pt x="3771" y="676"/>
                    </a:cubicBezTo>
                    <a:cubicBezTo>
                      <a:pt x="3770" y="676"/>
                      <a:pt x="3769" y="676"/>
                      <a:pt x="3769" y="676"/>
                    </a:cubicBezTo>
                    <a:cubicBezTo>
                      <a:pt x="3768" y="676"/>
                      <a:pt x="3768" y="676"/>
                      <a:pt x="3767" y="677"/>
                    </a:cubicBezTo>
                    <a:cubicBezTo>
                      <a:pt x="3766" y="680"/>
                      <a:pt x="3765" y="681"/>
                      <a:pt x="3764" y="683"/>
                    </a:cubicBezTo>
                    <a:cubicBezTo>
                      <a:pt x="3766" y="683"/>
                      <a:pt x="3768" y="684"/>
                      <a:pt x="3770" y="687"/>
                    </a:cubicBezTo>
                    <a:cubicBezTo>
                      <a:pt x="3772" y="691"/>
                      <a:pt x="3789" y="722"/>
                      <a:pt x="3789" y="722"/>
                    </a:cubicBezTo>
                    <a:cubicBezTo>
                      <a:pt x="3798" y="738"/>
                      <a:pt x="3798" y="738"/>
                      <a:pt x="3798" y="738"/>
                    </a:cubicBezTo>
                    <a:cubicBezTo>
                      <a:pt x="3798" y="738"/>
                      <a:pt x="3798" y="738"/>
                      <a:pt x="3798" y="738"/>
                    </a:cubicBezTo>
                    <a:cubicBezTo>
                      <a:pt x="3799" y="741"/>
                      <a:pt x="3799" y="741"/>
                      <a:pt x="3799" y="741"/>
                    </a:cubicBezTo>
                    <a:cubicBezTo>
                      <a:pt x="3800" y="743"/>
                      <a:pt x="3801" y="750"/>
                      <a:pt x="3797" y="753"/>
                    </a:cubicBezTo>
                    <a:cubicBezTo>
                      <a:pt x="3796" y="754"/>
                      <a:pt x="3796" y="754"/>
                      <a:pt x="3796" y="755"/>
                    </a:cubicBezTo>
                    <a:cubicBezTo>
                      <a:pt x="3796" y="756"/>
                      <a:pt x="3796" y="756"/>
                      <a:pt x="3796" y="757"/>
                    </a:cubicBezTo>
                    <a:cubicBezTo>
                      <a:pt x="3796" y="757"/>
                      <a:pt x="3796" y="757"/>
                      <a:pt x="3797" y="757"/>
                    </a:cubicBezTo>
                    <a:cubicBezTo>
                      <a:pt x="3797" y="759"/>
                      <a:pt x="3798" y="761"/>
                      <a:pt x="3797" y="766"/>
                    </a:cubicBezTo>
                    <a:cubicBezTo>
                      <a:pt x="3796" y="769"/>
                      <a:pt x="3797" y="770"/>
                      <a:pt x="3798" y="772"/>
                    </a:cubicBezTo>
                    <a:cubicBezTo>
                      <a:pt x="3798" y="773"/>
                      <a:pt x="3798" y="773"/>
                      <a:pt x="3798" y="773"/>
                    </a:cubicBezTo>
                    <a:cubicBezTo>
                      <a:pt x="3801" y="777"/>
                      <a:pt x="3802" y="781"/>
                      <a:pt x="3802" y="788"/>
                    </a:cubicBezTo>
                    <a:cubicBezTo>
                      <a:pt x="3802" y="789"/>
                      <a:pt x="3802" y="790"/>
                      <a:pt x="3802" y="791"/>
                    </a:cubicBezTo>
                    <a:cubicBezTo>
                      <a:pt x="3802" y="791"/>
                      <a:pt x="3802" y="792"/>
                      <a:pt x="3802" y="792"/>
                    </a:cubicBezTo>
                    <a:cubicBezTo>
                      <a:pt x="3808" y="792"/>
                      <a:pt x="3811" y="798"/>
                      <a:pt x="3812" y="801"/>
                    </a:cubicBezTo>
                    <a:cubicBezTo>
                      <a:pt x="3812" y="802"/>
                      <a:pt x="3813" y="811"/>
                      <a:pt x="3810" y="816"/>
                    </a:cubicBezTo>
                    <a:cubicBezTo>
                      <a:pt x="3809" y="818"/>
                      <a:pt x="3809" y="819"/>
                      <a:pt x="3809" y="820"/>
                    </a:cubicBezTo>
                    <a:cubicBezTo>
                      <a:pt x="3810" y="822"/>
                      <a:pt x="3810" y="824"/>
                      <a:pt x="3810" y="829"/>
                    </a:cubicBezTo>
                    <a:cubicBezTo>
                      <a:pt x="3810" y="829"/>
                      <a:pt x="3810" y="829"/>
                      <a:pt x="3810" y="829"/>
                    </a:cubicBezTo>
                    <a:cubicBezTo>
                      <a:pt x="3810" y="831"/>
                      <a:pt x="3810" y="833"/>
                      <a:pt x="3809" y="836"/>
                    </a:cubicBezTo>
                    <a:cubicBezTo>
                      <a:pt x="3807" y="838"/>
                      <a:pt x="3807" y="843"/>
                      <a:pt x="3807" y="844"/>
                    </a:cubicBezTo>
                    <a:cubicBezTo>
                      <a:pt x="3810" y="849"/>
                      <a:pt x="3807" y="853"/>
                      <a:pt x="3806" y="854"/>
                    </a:cubicBezTo>
                    <a:cubicBezTo>
                      <a:pt x="3804" y="856"/>
                      <a:pt x="3799" y="862"/>
                      <a:pt x="3795" y="862"/>
                    </a:cubicBezTo>
                    <a:cubicBezTo>
                      <a:pt x="3793" y="862"/>
                      <a:pt x="3790" y="863"/>
                      <a:pt x="3789" y="865"/>
                    </a:cubicBezTo>
                    <a:cubicBezTo>
                      <a:pt x="3785" y="868"/>
                      <a:pt x="3780" y="871"/>
                      <a:pt x="3776" y="871"/>
                    </a:cubicBezTo>
                    <a:cubicBezTo>
                      <a:pt x="3775" y="871"/>
                      <a:pt x="3775" y="871"/>
                      <a:pt x="3774" y="872"/>
                    </a:cubicBezTo>
                    <a:cubicBezTo>
                      <a:pt x="3774" y="872"/>
                      <a:pt x="3774" y="872"/>
                      <a:pt x="3774" y="873"/>
                    </a:cubicBezTo>
                    <a:cubicBezTo>
                      <a:pt x="3776" y="872"/>
                      <a:pt x="3778" y="872"/>
                      <a:pt x="3779" y="873"/>
                    </a:cubicBezTo>
                    <a:cubicBezTo>
                      <a:pt x="3781" y="874"/>
                      <a:pt x="3782" y="876"/>
                      <a:pt x="3782" y="879"/>
                    </a:cubicBezTo>
                    <a:cubicBezTo>
                      <a:pt x="3782" y="879"/>
                      <a:pt x="3782" y="880"/>
                      <a:pt x="3782" y="880"/>
                    </a:cubicBezTo>
                    <a:cubicBezTo>
                      <a:pt x="3784" y="881"/>
                      <a:pt x="3786" y="884"/>
                      <a:pt x="3786" y="887"/>
                    </a:cubicBezTo>
                    <a:cubicBezTo>
                      <a:pt x="3786" y="889"/>
                      <a:pt x="3786" y="889"/>
                      <a:pt x="3787" y="890"/>
                    </a:cubicBezTo>
                    <a:cubicBezTo>
                      <a:pt x="3788" y="891"/>
                      <a:pt x="3788" y="892"/>
                      <a:pt x="3789" y="893"/>
                    </a:cubicBezTo>
                    <a:cubicBezTo>
                      <a:pt x="3789" y="894"/>
                      <a:pt x="3789" y="894"/>
                      <a:pt x="3790" y="894"/>
                    </a:cubicBezTo>
                    <a:cubicBezTo>
                      <a:pt x="3792" y="897"/>
                      <a:pt x="3790" y="899"/>
                      <a:pt x="3789" y="902"/>
                    </a:cubicBezTo>
                    <a:cubicBezTo>
                      <a:pt x="3788" y="902"/>
                      <a:pt x="3788" y="902"/>
                      <a:pt x="3788" y="902"/>
                    </a:cubicBezTo>
                    <a:cubicBezTo>
                      <a:pt x="3787" y="903"/>
                      <a:pt x="3787" y="905"/>
                      <a:pt x="3785" y="906"/>
                    </a:cubicBezTo>
                    <a:cubicBezTo>
                      <a:pt x="3782" y="908"/>
                      <a:pt x="3782" y="908"/>
                      <a:pt x="3782" y="908"/>
                    </a:cubicBezTo>
                    <a:cubicBezTo>
                      <a:pt x="3780" y="905"/>
                      <a:pt x="3780" y="905"/>
                      <a:pt x="3780" y="905"/>
                    </a:cubicBezTo>
                    <a:cubicBezTo>
                      <a:pt x="3778" y="903"/>
                      <a:pt x="3777" y="901"/>
                      <a:pt x="3776" y="899"/>
                    </a:cubicBezTo>
                    <a:cubicBezTo>
                      <a:pt x="3776" y="898"/>
                      <a:pt x="3776" y="897"/>
                      <a:pt x="3775" y="896"/>
                    </a:cubicBezTo>
                    <a:cubicBezTo>
                      <a:pt x="3774" y="897"/>
                      <a:pt x="3772" y="897"/>
                      <a:pt x="3771" y="897"/>
                    </a:cubicBezTo>
                    <a:cubicBezTo>
                      <a:pt x="3768" y="897"/>
                      <a:pt x="3764" y="894"/>
                      <a:pt x="3762" y="892"/>
                    </a:cubicBezTo>
                    <a:cubicBezTo>
                      <a:pt x="3751" y="884"/>
                      <a:pt x="3746" y="878"/>
                      <a:pt x="3747" y="874"/>
                    </a:cubicBezTo>
                    <a:cubicBezTo>
                      <a:pt x="3747" y="873"/>
                      <a:pt x="3748" y="872"/>
                      <a:pt x="3748" y="871"/>
                    </a:cubicBezTo>
                    <a:cubicBezTo>
                      <a:pt x="3748" y="871"/>
                      <a:pt x="3748" y="870"/>
                      <a:pt x="3748" y="870"/>
                    </a:cubicBezTo>
                    <a:cubicBezTo>
                      <a:pt x="3745" y="870"/>
                      <a:pt x="3741" y="869"/>
                      <a:pt x="3739" y="866"/>
                    </a:cubicBezTo>
                    <a:cubicBezTo>
                      <a:pt x="3738" y="866"/>
                      <a:pt x="3737" y="867"/>
                      <a:pt x="3735" y="866"/>
                    </a:cubicBezTo>
                    <a:cubicBezTo>
                      <a:pt x="3734" y="866"/>
                      <a:pt x="3732" y="866"/>
                      <a:pt x="3731" y="865"/>
                    </a:cubicBezTo>
                    <a:cubicBezTo>
                      <a:pt x="3730" y="866"/>
                      <a:pt x="3729" y="869"/>
                      <a:pt x="3729" y="873"/>
                    </a:cubicBezTo>
                    <a:cubicBezTo>
                      <a:pt x="3729" y="876"/>
                      <a:pt x="3729" y="876"/>
                      <a:pt x="3729" y="876"/>
                    </a:cubicBezTo>
                    <a:cubicBezTo>
                      <a:pt x="3730" y="886"/>
                      <a:pt x="3730" y="899"/>
                      <a:pt x="3730" y="904"/>
                    </a:cubicBezTo>
                    <a:cubicBezTo>
                      <a:pt x="3729" y="917"/>
                      <a:pt x="3727" y="918"/>
                      <a:pt x="3724" y="919"/>
                    </a:cubicBezTo>
                    <a:cubicBezTo>
                      <a:pt x="3724" y="919"/>
                      <a:pt x="3723" y="919"/>
                      <a:pt x="3722" y="919"/>
                    </a:cubicBezTo>
                    <a:cubicBezTo>
                      <a:pt x="3722" y="920"/>
                      <a:pt x="3722" y="920"/>
                      <a:pt x="3721" y="921"/>
                    </a:cubicBezTo>
                    <a:cubicBezTo>
                      <a:pt x="3719" y="925"/>
                      <a:pt x="3716" y="926"/>
                      <a:pt x="3714" y="926"/>
                    </a:cubicBezTo>
                    <a:cubicBezTo>
                      <a:pt x="3714" y="926"/>
                      <a:pt x="3714" y="926"/>
                      <a:pt x="3714" y="926"/>
                    </a:cubicBezTo>
                    <a:cubicBezTo>
                      <a:pt x="3713" y="926"/>
                      <a:pt x="3711" y="926"/>
                      <a:pt x="3709" y="922"/>
                    </a:cubicBezTo>
                    <a:cubicBezTo>
                      <a:pt x="3709" y="922"/>
                      <a:pt x="3708" y="922"/>
                      <a:pt x="3708" y="922"/>
                    </a:cubicBezTo>
                    <a:cubicBezTo>
                      <a:pt x="3707" y="922"/>
                      <a:pt x="3705" y="922"/>
                      <a:pt x="3704" y="924"/>
                    </a:cubicBezTo>
                    <a:cubicBezTo>
                      <a:pt x="3699" y="929"/>
                      <a:pt x="3699" y="929"/>
                      <a:pt x="3699" y="932"/>
                    </a:cubicBezTo>
                    <a:cubicBezTo>
                      <a:pt x="3699" y="937"/>
                      <a:pt x="3699" y="941"/>
                      <a:pt x="3697" y="945"/>
                    </a:cubicBezTo>
                    <a:cubicBezTo>
                      <a:pt x="3697" y="946"/>
                      <a:pt x="3695" y="948"/>
                      <a:pt x="3693" y="950"/>
                    </a:cubicBezTo>
                    <a:cubicBezTo>
                      <a:pt x="3692" y="952"/>
                      <a:pt x="3689" y="955"/>
                      <a:pt x="3689" y="956"/>
                    </a:cubicBezTo>
                    <a:cubicBezTo>
                      <a:pt x="3688" y="959"/>
                      <a:pt x="3685" y="964"/>
                      <a:pt x="3682" y="965"/>
                    </a:cubicBezTo>
                    <a:cubicBezTo>
                      <a:pt x="3680" y="966"/>
                      <a:pt x="3678" y="966"/>
                      <a:pt x="3676" y="965"/>
                    </a:cubicBezTo>
                    <a:cubicBezTo>
                      <a:pt x="3674" y="965"/>
                      <a:pt x="3667" y="966"/>
                      <a:pt x="3665" y="968"/>
                    </a:cubicBezTo>
                    <a:cubicBezTo>
                      <a:pt x="3661" y="972"/>
                      <a:pt x="3657" y="973"/>
                      <a:pt x="3653" y="973"/>
                    </a:cubicBezTo>
                    <a:cubicBezTo>
                      <a:pt x="3652" y="973"/>
                      <a:pt x="3651" y="973"/>
                      <a:pt x="3649" y="973"/>
                    </a:cubicBezTo>
                    <a:cubicBezTo>
                      <a:pt x="3647" y="973"/>
                      <a:pt x="3645" y="973"/>
                      <a:pt x="3643" y="973"/>
                    </a:cubicBezTo>
                    <a:cubicBezTo>
                      <a:pt x="3642" y="974"/>
                      <a:pt x="3642" y="974"/>
                      <a:pt x="3642" y="974"/>
                    </a:cubicBezTo>
                    <a:cubicBezTo>
                      <a:pt x="3641" y="973"/>
                      <a:pt x="3641" y="973"/>
                      <a:pt x="3641" y="973"/>
                    </a:cubicBezTo>
                    <a:cubicBezTo>
                      <a:pt x="3639" y="973"/>
                      <a:pt x="3634" y="973"/>
                      <a:pt x="3626" y="974"/>
                    </a:cubicBezTo>
                    <a:cubicBezTo>
                      <a:pt x="3626" y="974"/>
                      <a:pt x="3626" y="975"/>
                      <a:pt x="3625" y="975"/>
                    </a:cubicBezTo>
                    <a:cubicBezTo>
                      <a:pt x="3626" y="975"/>
                      <a:pt x="3626" y="976"/>
                      <a:pt x="3626" y="976"/>
                    </a:cubicBezTo>
                    <a:cubicBezTo>
                      <a:pt x="3629" y="976"/>
                      <a:pt x="3630" y="978"/>
                      <a:pt x="3634" y="983"/>
                    </a:cubicBezTo>
                    <a:cubicBezTo>
                      <a:pt x="3635" y="985"/>
                      <a:pt x="3636" y="987"/>
                      <a:pt x="3637" y="989"/>
                    </a:cubicBezTo>
                    <a:cubicBezTo>
                      <a:pt x="3638" y="991"/>
                      <a:pt x="3639" y="993"/>
                      <a:pt x="3640" y="993"/>
                    </a:cubicBezTo>
                    <a:cubicBezTo>
                      <a:pt x="3641" y="994"/>
                      <a:pt x="3643" y="995"/>
                      <a:pt x="3645" y="996"/>
                    </a:cubicBezTo>
                    <a:cubicBezTo>
                      <a:pt x="3648" y="998"/>
                      <a:pt x="3649" y="999"/>
                      <a:pt x="3650" y="1000"/>
                    </a:cubicBezTo>
                    <a:cubicBezTo>
                      <a:pt x="3652" y="1002"/>
                      <a:pt x="3653" y="1009"/>
                      <a:pt x="3652" y="1014"/>
                    </a:cubicBezTo>
                    <a:cubicBezTo>
                      <a:pt x="3652" y="1015"/>
                      <a:pt x="3651" y="1016"/>
                      <a:pt x="3651" y="1017"/>
                    </a:cubicBezTo>
                    <a:cubicBezTo>
                      <a:pt x="3651" y="1018"/>
                      <a:pt x="3651" y="1019"/>
                      <a:pt x="3650" y="1022"/>
                    </a:cubicBezTo>
                    <a:cubicBezTo>
                      <a:pt x="3649" y="1024"/>
                      <a:pt x="3648" y="1025"/>
                      <a:pt x="3648" y="1026"/>
                    </a:cubicBezTo>
                    <a:cubicBezTo>
                      <a:pt x="3647" y="1027"/>
                      <a:pt x="3647" y="1027"/>
                      <a:pt x="3646" y="1029"/>
                    </a:cubicBezTo>
                    <a:cubicBezTo>
                      <a:pt x="3645" y="1030"/>
                      <a:pt x="3644" y="1033"/>
                      <a:pt x="3641" y="1034"/>
                    </a:cubicBezTo>
                    <a:cubicBezTo>
                      <a:pt x="3638" y="1034"/>
                      <a:pt x="3637" y="1032"/>
                      <a:pt x="3635" y="1031"/>
                    </a:cubicBezTo>
                    <a:cubicBezTo>
                      <a:pt x="3635" y="1030"/>
                      <a:pt x="3635" y="1030"/>
                      <a:pt x="3634" y="1029"/>
                    </a:cubicBezTo>
                    <a:cubicBezTo>
                      <a:pt x="3633" y="1027"/>
                      <a:pt x="3629" y="1027"/>
                      <a:pt x="3628" y="1028"/>
                    </a:cubicBezTo>
                    <a:cubicBezTo>
                      <a:pt x="3628" y="1028"/>
                      <a:pt x="3628" y="1028"/>
                      <a:pt x="3628" y="1028"/>
                    </a:cubicBezTo>
                    <a:cubicBezTo>
                      <a:pt x="3628" y="1028"/>
                      <a:pt x="3627" y="1028"/>
                      <a:pt x="3626" y="1029"/>
                    </a:cubicBezTo>
                    <a:cubicBezTo>
                      <a:pt x="3625" y="1030"/>
                      <a:pt x="3625" y="1030"/>
                      <a:pt x="3625" y="1030"/>
                    </a:cubicBezTo>
                    <a:cubicBezTo>
                      <a:pt x="3622" y="1033"/>
                      <a:pt x="3619" y="1033"/>
                      <a:pt x="3617" y="1032"/>
                    </a:cubicBezTo>
                    <a:cubicBezTo>
                      <a:pt x="3615" y="1032"/>
                      <a:pt x="3614" y="1032"/>
                      <a:pt x="3613" y="1032"/>
                    </a:cubicBezTo>
                    <a:cubicBezTo>
                      <a:pt x="3607" y="1034"/>
                      <a:pt x="3603" y="1032"/>
                      <a:pt x="3601" y="1031"/>
                    </a:cubicBezTo>
                    <a:cubicBezTo>
                      <a:pt x="3601" y="1030"/>
                      <a:pt x="3601" y="1030"/>
                      <a:pt x="3600" y="1030"/>
                    </a:cubicBezTo>
                    <a:cubicBezTo>
                      <a:pt x="3600" y="1030"/>
                      <a:pt x="3598" y="1030"/>
                      <a:pt x="3596" y="1031"/>
                    </a:cubicBezTo>
                    <a:cubicBezTo>
                      <a:pt x="3596" y="1031"/>
                      <a:pt x="3594" y="1031"/>
                      <a:pt x="3593" y="1032"/>
                    </a:cubicBezTo>
                    <a:cubicBezTo>
                      <a:pt x="3588" y="1033"/>
                      <a:pt x="3584" y="1033"/>
                      <a:pt x="3581" y="1032"/>
                    </a:cubicBezTo>
                    <a:cubicBezTo>
                      <a:pt x="3580" y="1031"/>
                      <a:pt x="3580" y="1030"/>
                      <a:pt x="3579" y="1029"/>
                    </a:cubicBezTo>
                    <a:cubicBezTo>
                      <a:pt x="3579" y="1029"/>
                      <a:pt x="3578" y="1029"/>
                      <a:pt x="3577" y="1029"/>
                    </a:cubicBezTo>
                    <a:cubicBezTo>
                      <a:pt x="3576" y="1029"/>
                      <a:pt x="3573" y="1029"/>
                      <a:pt x="3571" y="1027"/>
                    </a:cubicBezTo>
                    <a:cubicBezTo>
                      <a:pt x="3569" y="1025"/>
                      <a:pt x="3570" y="1023"/>
                      <a:pt x="3570" y="1021"/>
                    </a:cubicBezTo>
                    <a:cubicBezTo>
                      <a:pt x="3570" y="1021"/>
                      <a:pt x="3570" y="1021"/>
                      <a:pt x="3569" y="1021"/>
                    </a:cubicBezTo>
                    <a:cubicBezTo>
                      <a:pt x="3567" y="1020"/>
                      <a:pt x="3563" y="1017"/>
                      <a:pt x="3564" y="1013"/>
                    </a:cubicBezTo>
                    <a:cubicBezTo>
                      <a:pt x="3563" y="1013"/>
                      <a:pt x="3562" y="1012"/>
                      <a:pt x="3560" y="1011"/>
                    </a:cubicBezTo>
                    <a:cubicBezTo>
                      <a:pt x="3560" y="1011"/>
                      <a:pt x="3559" y="1011"/>
                      <a:pt x="3558" y="1011"/>
                    </a:cubicBezTo>
                    <a:cubicBezTo>
                      <a:pt x="3558" y="1010"/>
                      <a:pt x="3558" y="1010"/>
                      <a:pt x="3558" y="1010"/>
                    </a:cubicBezTo>
                    <a:cubicBezTo>
                      <a:pt x="3556" y="1014"/>
                      <a:pt x="3554" y="1016"/>
                      <a:pt x="3551" y="1016"/>
                    </a:cubicBezTo>
                    <a:cubicBezTo>
                      <a:pt x="3550" y="1016"/>
                      <a:pt x="3549" y="1016"/>
                      <a:pt x="3548" y="1016"/>
                    </a:cubicBezTo>
                    <a:cubicBezTo>
                      <a:pt x="3548" y="1016"/>
                      <a:pt x="3548" y="1016"/>
                      <a:pt x="3548" y="1016"/>
                    </a:cubicBezTo>
                    <a:cubicBezTo>
                      <a:pt x="3547" y="1019"/>
                      <a:pt x="3545" y="1020"/>
                      <a:pt x="3544" y="1021"/>
                    </a:cubicBezTo>
                    <a:cubicBezTo>
                      <a:pt x="3543" y="1022"/>
                      <a:pt x="3542" y="1022"/>
                      <a:pt x="3542" y="1023"/>
                    </a:cubicBezTo>
                    <a:cubicBezTo>
                      <a:pt x="3541" y="1025"/>
                      <a:pt x="3541" y="1026"/>
                      <a:pt x="3542" y="1029"/>
                    </a:cubicBezTo>
                    <a:cubicBezTo>
                      <a:pt x="3543" y="1033"/>
                      <a:pt x="3543" y="1036"/>
                      <a:pt x="3542" y="1038"/>
                    </a:cubicBezTo>
                    <a:cubicBezTo>
                      <a:pt x="3542" y="1039"/>
                      <a:pt x="3542" y="1040"/>
                      <a:pt x="3542" y="1040"/>
                    </a:cubicBezTo>
                    <a:cubicBezTo>
                      <a:pt x="3542" y="1041"/>
                      <a:pt x="3542" y="1042"/>
                      <a:pt x="3542" y="1042"/>
                    </a:cubicBezTo>
                    <a:cubicBezTo>
                      <a:pt x="3542" y="1042"/>
                      <a:pt x="3542" y="1042"/>
                      <a:pt x="3542" y="1043"/>
                    </a:cubicBezTo>
                    <a:cubicBezTo>
                      <a:pt x="3542" y="1043"/>
                      <a:pt x="3543" y="1044"/>
                      <a:pt x="3543" y="1044"/>
                    </a:cubicBezTo>
                    <a:cubicBezTo>
                      <a:pt x="3544" y="1046"/>
                      <a:pt x="3546" y="1047"/>
                      <a:pt x="3546" y="1049"/>
                    </a:cubicBezTo>
                    <a:cubicBezTo>
                      <a:pt x="3545" y="1050"/>
                      <a:pt x="3545" y="1052"/>
                      <a:pt x="3543" y="1053"/>
                    </a:cubicBezTo>
                    <a:cubicBezTo>
                      <a:pt x="3542" y="1054"/>
                      <a:pt x="3539" y="1055"/>
                      <a:pt x="3536" y="1053"/>
                    </a:cubicBezTo>
                    <a:cubicBezTo>
                      <a:pt x="3536" y="1054"/>
                      <a:pt x="3536" y="1055"/>
                      <a:pt x="3535" y="1055"/>
                    </a:cubicBezTo>
                    <a:cubicBezTo>
                      <a:pt x="3534" y="1057"/>
                      <a:pt x="3534" y="1058"/>
                      <a:pt x="3534" y="1059"/>
                    </a:cubicBezTo>
                    <a:cubicBezTo>
                      <a:pt x="3533" y="1060"/>
                      <a:pt x="3533" y="1060"/>
                      <a:pt x="3533" y="1061"/>
                    </a:cubicBezTo>
                    <a:cubicBezTo>
                      <a:pt x="3533" y="1064"/>
                      <a:pt x="3532" y="1066"/>
                      <a:pt x="3531" y="1067"/>
                    </a:cubicBezTo>
                    <a:cubicBezTo>
                      <a:pt x="3531" y="1067"/>
                      <a:pt x="3530" y="1068"/>
                      <a:pt x="3530" y="1069"/>
                    </a:cubicBezTo>
                    <a:cubicBezTo>
                      <a:pt x="3529" y="1070"/>
                      <a:pt x="3527" y="1073"/>
                      <a:pt x="3525" y="1075"/>
                    </a:cubicBezTo>
                    <a:cubicBezTo>
                      <a:pt x="3524" y="1077"/>
                      <a:pt x="3522" y="1078"/>
                      <a:pt x="3522" y="1079"/>
                    </a:cubicBezTo>
                    <a:cubicBezTo>
                      <a:pt x="3522" y="1079"/>
                      <a:pt x="3522" y="1080"/>
                      <a:pt x="3522" y="1080"/>
                    </a:cubicBezTo>
                    <a:cubicBezTo>
                      <a:pt x="3522" y="1081"/>
                      <a:pt x="3521" y="1082"/>
                      <a:pt x="3520" y="1083"/>
                    </a:cubicBezTo>
                    <a:cubicBezTo>
                      <a:pt x="3519" y="1085"/>
                      <a:pt x="3519" y="1086"/>
                      <a:pt x="3518" y="1087"/>
                    </a:cubicBezTo>
                    <a:cubicBezTo>
                      <a:pt x="3518" y="1087"/>
                      <a:pt x="3518" y="1087"/>
                      <a:pt x="3517" y="1088"/>
                    </a:cubicBezTo>
                    <a:cubicBezTo>
                      <a:pt x="3517" y="1088"/>
                      <a:pt x="3517" y="1089"/>
                      <a:pt x="3517" y="1089"/>
                    </a:cubicBezTo>
                    <a:cubicBezTo>
                      <a:pt x="3517" y="1089"/>
                      <a:pt x="3516" y="1090"/>
                      <a:pt x="3516" y="1091"/>
                    </a:cubicBezTo>
                    <a:cubicBezTo>
                      <a:pt x="3516" y="1091"/>
                      <a:pt x="3516" y="1092"/>
                      <a:pt x="3516" y="1092"/>
                    </a:cubicBezTo>
                    <a:cubicBezTo>
                      <a:pt x="3515" y="1098"/>
                      <a:pt x="3513" y="1100"/>
                      <a:pt x="3506" y="1100"/>
                    </a:cubicBezTo>
                    <a:cubicBezTo>
                      <a:pt x="3502" y="1100"/>
                      <a:pt x="3500" y="1102"/>
                      <a:pt x="3498" y="1103"/>
                    </a:cubicBezTo>
                    <a:cubicBezTo>
                      <a:pt x="3498" y="1104"/>
                      <a:pt x="3497" y="1104"/>
                      <a:pt x="3496" y="1105"/>
                    </a:cubicBezTo>
                    <a:cubicBezTo>
                      <a:pt x="3496" y="1105"/>
                      <a:pt x="3494" y="1108"/>
                      <a:pt x="3494" y="1109"/>
                    </a:cubicBezTo>
                    <a:cubicBezTo>
                      <a:pt x="3494" y="1111"/>
                      <a:pt x="3494" y="1114"/>
                      <a:pt x="3492" y="1116"/>
                    </a:cubicBezTo>
                    <a:cubicBezTo>
                      <a:pt x="3491" y="1117"/>
                      <a:pt x="3489" y="1117"/>
                      <a:pt x="3487" y="1117"/>
                    </a:cubicBezTo>
                    <a:cubicBezTo>
                      <a:pt x="3486" y="1117"/>
                      <a:pt x="3486" y="1117"/>
                      <a:pt x="3486" y="1117"/>
                    </a:cubicBezTo>
                    <a:cubicBezTo>
                      <a:pt x="3486" y="1117"/>
                      <a:pt x="3486" y="1117"/>
                      <a:pt x="3485" y="1117"/>
                    </a:cubicBezTo>
                    <a:cubicBezTo>
                      <a:pt x="3484" y="1120"/>
                      <a:pt x="3482" y="1121"/>
                      <a:pt x="3480" y="1122"/>
                    </a:cubicBezTo>
                    <a:cubicBezTo>
                      <a:pt x="3480" y="1122"/>
                      <a:pt x="3480" y="1122"/>
                      <a:pt x="3480" y="1123"/>
                    </a:cubicBezTo>
                    <a:cubicBezTo>
                      <a:pt x="3480" y="1124"/>
                      <a:pt x="3481" y="1127"/>
                      <a:pt x="3479" y="1129"/>
                    </a:cubicBezTo>
                    <a:cubicBezTo>
                      <a:pt x="3476" y="1131"/>
                      <a:pt x="3473" y="1129"/>
                      <a:pt x="3471" y="1128"/>
                    </a:cubicBezTo>
                    <a:cubicBezTo>
                      <a:pt x="3470" y="1128"/>
                      <a:pt x="3469" y="1127"/>
                      <a:pt x="3469" y="1127"/>
                    </a:cubicBezTo>
                    <a:cubicBezTo>
                      <a:pt x="3468" y="1128"/>
                      <a:pt x="3468" y="1128"/>
                      <a:pt x="3468" y="1128"/>
                    </a:cubicBezTo>
                    <a:cubicBezTo>
                      <a:pt x="3468" y="1129"/>
                      <a:pt x="3467" y="1130"/>
                      <a:pt x="3467" y="1130"/>
                    </a:cubicBezTo>
                    <a:cubicBezTo>
                      <a:pt x="3466" y="1132"/>
                      <a:pt x="3466" y="1132"/>
                      <a:pt x="3466" y="1132"/>
                    </a:cubicBezTo>
                    <a:cubicBezTo>
                      <a:pt x="3464" y="1135"/>
                      <a:pt x="3463" y="1136"/>
                      <a:pt x="3458" y="1137"/>
                    </a:cubicBezTo>
                    <a:cubicBezTo>
                      <a:pt x="3457" y="1138"/>
                      <a:pt x="3456" y="1138"/>
                      <a:pt x="3456" y="1138"/>
                    </a:cubicBezTo>
                    <a:cubicBezTo>
                      <a:pt x="3456" y="1138"/>
                      <a:pt x="3456" y="1139"/>
                      <a:pt x="3456" y="1139"/>
                    </a:cubicBezTo>
                    <a:cubicBezTo>
                      <a:pt x="3457" y="1144"/>
                      <a:pt x="3452" y="1147"/>
                      <a:pt x="3448" y="1148"/>
                    </a:cubicBezTo>
                    <a:cubicBezTo>
                      <a:pt x="3447" y="1149"/>
                      <a:pt x="3446" y="1150"/>
                      <a:pt x="3445" y="1151"/>
                    </a:cubicBezTo>
                    <a:cubicBezTo>
                      <a:pt x="3444" y="1152"/>
                      <a:pt x="3444" y="1152"/>
                      <a:pt x="3444" y="1152"/>
                    </a:cubicBezTo>
                    <a:cubicBezTo>
                      <a:pt x="3443" y="1153"/>
                      <a:pt x="3442" y="1154"/>
                      <a:pt x="3440" y="1156"/>
                    </a:cubicBezTo>
                    <a:cubicBezTo>
                      <a:pt x="3437" y="1161"/>
                      <a:pt x="3431" y="1167"/>
                      <a:pt x="3428" y="1170"/>
                    </a:cubicBezTo>
                    <a:cubicBezTo>
                      <a:pt x="3426" y="1172"/>
                      <a:pt x="3425" y="1176"/>
                      <a:pt x="3423" y="1179"/>
                    </a:cubicBezTo>
                    <a:cubicBezTo>
                      <a:pt x="3423" y="1180"/>
                      <a:pt x="3422" y="1181"/>
                      <a:pt x="3422" y="1181"/>
                    </a:cubicBezTo>
                    <a:cubicBezTo>
                      <a:pt x="3421" y="1183"/>
                      <a:pt x="3421" y="1183"/>
                      <a:pt x="3420" y="1184"/>
                    </a:cubicBezTo>
                    <a:cubicBezTo>
                      <a:pt x="3420" y="1185"/>
                      <a:pt x="3419" y="1186"/>
                      <a:pt x="3419" y="1187"/>
                    </a:cubicBezTo>
                    <a:cubicBezTo>
                      <a:pt x="3419" y="1188"/>
                      <a:pt x="3419" y="1189"/>
                      <a:pt x="3419" y="1189"/>
                    </a:cubicBezTo>
                    <a:cubicBezTo>
                      <a:pt x="3419" y="1190"/>
                      <a:pt x="3419" y="1191"/>
                      <a:pt x="3418" y="1193"/>
                    </a:cubicBezTo>
                    <a:close/>
                    <a:moveTo>
                      <a:pt x="1817" y="996"/>
                    </a:moveTo>
                    <a:cubicBezTo>
                      <a:pt x="1817" y="996"/>
                      <a:pt x="1817" y="996"/>
                      <a:pt x="1817" y="996"/>
                    </a:cubicBezTo>
                    <a:cubicBezTo>
                      <a:pt x="1817" y="996"/>
                      <a:pt x="1817" y="996"/>
                      <a:pt x="1817" y="996"/>
                    </a:cubicBezTo>
                    <a:close/>
                    <a:moveTo>
                      <a:pt x="3641" y="973"/>
                    </a:moveTo>
                    <a:cubicBezTo>
                      <a:pt x="3641" y="973"/>
                      <a:pt x="3641" y="973"/>
                      <a:pt x="3641" y="973"/>
                    </a:cubicBezTo>
                    <a:cubicBezTo>
                      <a:pt x="3641" y="973"/>
                      <a:pt x="3641" y="973"/>
                      <a:pt x="3641" y="973"/>
                    </a:cubicBezTo>
                    <a:close/>
                    <a:moveTo>
                      <a:pt x="3725" y="912"/>
                    </a:moveTo>
                    <a:cubicBezTo>
                      <a:pt x="3725" y="912"/>
                      <a:pt x="3725" y="912"/>
                      <a:pt x="3725" y="912"/>
                    </a:cubicBezTo>
                    <a:cubicBezTo>
                      <a:pt x="3725" y="912"/>
                      <a:pt x="3725" y="912"/>
                      <a:pt x="3725" y="912"/>
                    </a:cubicBezTo>
                    <a:close/>
                    <a:moveTo>
                      <a:pt x="210" y="847"/>
                    </a:moveTo>
                    <a:cubicBezTo>
                      <a:pt x="210" y="847"/>
                      <a:pt x="210" y="847"/>
                      <a:pt x="210" y="847"/>
                    </a:cubicBezTo>
                    <a:cubicBezTo>
                      <a:pt x="210" y="847"/>
                      <a:pt x="210" y="847"/>
                      <a:pt x="210" y="847"/>
                    </a:cubicBezTo>
                    <a:close/>
                    <a:moveTo>
                      <a:pt x="3808" y="819"/>
                    </a:moveTo>
                    <a:cubicBezTo>
                      <a:pt x="3808" y="819"/>
                      <a:pt x="3808" y="819"/>
                      <a:pt x="3808" y="819"/>
                    </a:cubicBezTo>
                    <a:cubicBezTo>
                      <a:pt x="3808" y="819"/>
                      <a:pt x="3808" y="819"/>
                      <a:pt x="3808" y="819"/>
                    </a:cubicBezTo>
                    <a:close/>
                    <a:moveTo>
                      <a:pt x="540" y="746"/>
                    </a:moveTo>
                    <a:cubicBezTo>
                      <a:pt x="540" y="746"/>
                      <a:pt x="540" y="746"/>
                      <a:pt x="540" y="746"/>
                    </a:cubicBezTo>
                    <a:cubicBezTo>
                      <a:pt x="540" y="746"/>
                      <a:pt x="540" y="746"/>
                      <a:pt x="540" y="746"/>
                    </a:cubicBezTo>
                    <a:close/>
                    <a:moveTo>
                      <a:pt x="3792" y="744"/>
                    </a:moveTo>
                    <a:cubicBezTo>
                      <a:pt x="3793" y="745"/>
                      <a:pt x="3794" y="746"/>
                      <a:pt x="3796" y="746"/>
                    </a:cubicBezTo>
                    <a:cubicBezTo>
                      <a:pt x="3796" y="746"/>
                      <a:pt x="3796" y="746"/>
                      <a:pt x="3796" y="746"/>
                    </a:cubicBezTo>
                    <a:cubicBezTo>
                      <a:pt x="3796" y="744"/>
                      <a:pt x="3796" y="744"/>
                      <a:pt x="3796" y="744"/>
                    </a:cubicBezTo>
                    <a:lnTo>
                      <a:pt x="3792" y="744"/>
                    </a:lnTo>
                    <a:close/>
                    <a:moveTo>
                      <a:pt x="3013" y="570"/>
                    </a:moveTo>
                    <a:cubicBezTo>
                      <a:pt x="3013" y="570"/>
                      <a:pt x="3013" y="570"/>
                      <a:pt x="3013" y="570"/>
                    </a:cubicBezTo>
                    <a:close/>
                    <a:moveTo>
                      <a:pt x="3895" y="561"/>
                    </a:moveTo>
                    <a:cubicBezTo>
                      <a:pt x="3895" y="561"/>
                      <a:pt x="3895" y="561"/>
                      <a:pt x="3895" y="561"/>
                    </a:cubicBezTo>
                    <a:cubicBezTo>
                      <a:pt x="3895" y="561"/>
                      <a:pt x="3895" y="561"/>
                      <a:pt x="3895" y="561"/>
                    </a:cubicBezTo>
                    <a:close/>
                    <a:moveTo>
                      <a:pt x="3897" y="560"/>
                    </a:moveTo>
                    <a:cubicBezTo>
                      <a:pt x="3897" y="560"/>
                      <a:pt x="3897" y="560"/>
                      <a:pt x="3897" y="560"/>
                    </a:cubicBezTo>
                    <a:cubicBezTo>
                      <a:pt x="3897" y="560"/>
                      <a:pt x="3897" y="560"/>
                      <a:pt x="3897" y="560"/>
                    </a:cubicBezTo>
                    <a:cubicBezTo>
                      <a:pt x="3897" y="560"/>
                      <a:pt x="3897" y="560"/>
                      <a:pt x="3897" y="560"/>
                    </a:cubicBezTo>
                    <a:close/>
                    <a:moveTo>
                      <a:pt x="743" y="556"/>
                    </a:moveTo>
                    <a:cubicBezTo>
                      <a:pt x="743" y="556"/>
                      <a:pt x="743" y="556"/>
                      <a:pt x="743" y="556"/>
                    </a:cubicBezTo>
                    <a:cubicBezTo>
                      <a:pt x="743" y="556"/>
                      <a:pt x="743" y="556"/>
                      <a:pt x="743" y="556"/>
                    </a:cubicBezTo>
                    <a:close/>
                    <a:moveTo>
                      <a:pt x="3895" y="554"/>
                    </a:moveTo>
                    <a:cubicBezTo>
                      <a:pt x="3895" y="554"/>
                      <a:pt x="3895" y="554"/>
                      <a:pt x="3895" y="554"/>
                    </a:cubicBezTo>
                    <a:cubicBezTo>
                      <a:pt x="3895" y="554"/>
                      <a:pt x="3895" y="554"/>
                      <a:pt x="3895" y="554"/>
                    </a:cubicBezTo>
                    <a:close/>
                    <a:moveTo>
                      <a:pt x="743" y="549"/>
                    </a:moveTo>
                    <a:cubicBezTo>
                      <a:pt x="743" y="549"/>
                      <a:pt x="743" y="549"/>
                      <a:pt x="743" y="549"/>
                    </a:cubicBezTo>
                    <a:cubicBezTo>
                      <a:pt x="743" y="549"/>
                      <a:pt x="743" y="549"/>
                      <a:pt x="743" y="549"/>
                    </a:cubicBezTo>
                    <a:close/>
                    <a:moveTo>
                      <a:pt x="2787" y="534"/>
                    </a:moveTo>
                    <a:cubicBezTo>
                      <a:pt x="2787" y="534"/>
                      <a:pt x="2787" y="534"/>
                      <a:pt x="2787" y="534"/>
                    </a:cubicBezTo>
                    <a:close/>
                    <a:moveTo>
                      <a:pt x="2788" y="513"/>
                    </a:moveTo>
                    <a:cubicBezTo>
                      <a:pt x="2788" y="513"/>
                      <a:pt x="2788" y="513"/>
                      <a:pt x="2788" y="513"/>
                    </a:cubicBezTo>
                    <a:cubicBezTo>
                      <a:pt x="2788" y="513"/>
                      <a:pt x="2788" y="513"/>
                      <a:pt x="2788" y="513"/>
                    </a:cubicBezTo>
                    <a:close/>
                    <a:moveTo>
                      <a:pt x="1232" y="428"/>
                    </a:moveTo>
                    <a:cubicBezTo>
                      <a:pt x="1232" y="428"/>
                      <a:pt x="1232" y="428"/>
                      <a:pt x="1232" y="428"/>
                    </a:cubicBezTo>
                    <a:cubicBezTo>
                      <a:pt x="1232" y="428"/>
                      <a:pt x="1232" y="428"/>
                      <a:pt x="1232" y="428"/>
                    </a:cubicBezTo>
                    <a:close/>
                    <a:moveTo>
                      <a:pt x="3696" y="425"/>
                    </a:moveTo>
                    <a:cubicBezTo>
                      <a:pt x="3696" y="425"/>
                      <a:pt x="3696" y="425"/>
                      <a:pt x="3696" y="425"/>
                    </a:cubicBezTo>
                    <a:cubicBezTo>
                      <a:pt x="3696" y="425"/>
                      <a:pt x="3696" y="425"/>
                      <a:pt x="3696" y="425"/>
                    </a:cubicBezTo>
                    <a:close/>
                    <a:moveTo>
                      <a:pt x="3773" y="424"/>
                    </a:moveTo>
                    <a:cubicBezTo>
                      <a:pt x="3773" y="424"/>
                      <a:pt x="3773" y="424"/>
                      <a:pt x="3773" y="424"/>
                    </a:cubicBezTo>
                    <a:cubicBezTo>
                      <a:pt x="3773" y="424"/>
                      <a:pt x="3773" y="424"/>
                      <a:pt x="3773" y="424"/>
                    </a:cubicBezTo>
                    <a:close/>
                    <a:moveTo>
                      <a:pt x="1225" y="423"/>
                    </a:moveTo>
                    <a:cubicBezTo>
                      <a:pt x="1225" y="423"/>
                      <a:pt x="1225" y="423"/>
                      <a:pt x="1225" y="423"/>
                    </a:cubicBezTo>
                    <a:cubicBezTo>
                      <a:pt x="1225" y="423"/>
                      <a:pt x="1225" y="423"/>
                      <a:pt x="1225" y="423"/>
                    </a:cubicBezTo>
                    <a:close/>
                    <a:moveTo>
                      <a:pt x="3780" y="416"/>
                    </a:moveTo>
                    <a:cubicBezTo>
                      <a:pt x="3780" y="416"/>
                      <a:pt x="3780" y="416"/>
                      <a:pt x="3780" y="416"/>
                    </a:cubicBezTo>
                    <a:close/>
                    <a:moveTo>
                      <a:pt x="1193" y="413"/>
                    </a:moveTo>
                    <a:cubicBezTo>
                      <a:pt x="1193" y="413"/>
                      <a:pt x="1193" y="413"/>
                      <a:pt x="1193" y="413"/>
                    </a:cubicBezTo>
                    <a:close/>
                    <a:moveTo>
                      <a:pt x="1168" y="373"/>
                    </a:moveTo>
                    <a:cubicBezTo>
                      <a:pt x="1168" y="373"/>
                      <a:pt x="1168" y="373"/>
                      <a:pt x="1168" y="373"/>
                    </a:cubicBezTo>
                    <a:close/>
                    <a:moveTo>
                      <a:pt x="3674" y="371"/>
                    </a:moveTo>
                    <a:cubicBezTo>
                      <a:pt x="3674" y="371"/>
                      <a:pt x="3674" y="371"/>
                      <a:pt x="3674" y="371"/>
                    </a:cubicBezTo>
                    <a:cubicBezTo>
                      <a:pt x="3674" y="371"/>
                      <a:pt x="3674" y="371"/>
                      <a:pt x="3674" y="371"/>
                    </a:cubicBezTo>
                    <a:close/>
                    <a:moveTo>
                      <a:pt x="3926" y="317"/>
                    </a:moveTo>
                    <a:cubicBezTo>
                      <a:pt x="3926" y="318"/>
                      <a:pt x="3926" y="318"/>
                      <a:pt x="3925" y="318"/>
                    </a:cubicBezTo>
                    <a:cubicBezTo>
                      <a:pt x="3924" y="318"/>
                      <a:pt x="3924" y="318"/>
                      <a:pt x="3923" y="320"/>
                    </a:cubicBezTo>
                    <a:cubicBezTo>
                      <a:pt x="3923" y="320"/>
                      <a:pt x="3923" y="321"/>
                      <a:pt x="3923" y="321"/>
                    </a:cubicBezTo>
                    <a:cubicBezTo>
                      <a:pt x="3924" y="320"/>
                      <a:pt x="3925" y="319"/>
                      <a:pt x="3926" y="318"/>
                    </a:cubicBezTo>
                    <a:cubicBezTo>
                      <a:pt x="3926" y="318"/>
                      <a:pt x="3926" y="318"/>
                      <a:pt x="3926" y="317"/>
                    </a:cubicBezTo>
                    <a:close/>
                    <a:moveTo>
                      <a:pt x="3494" y="305"/>
                    </a:moveTo>
                    <a:cubicBezTo>
                      <a:pt x="3494" y="305"/>
                      <a:pt x="3494" y="305"/>
                      <a:pt x="3494" y="305"/>
                    </a:cubicBezTo>
                    <a:close/>
                    <a:moveTo>
                      <a:pt x="1072" y="304"/>
                    </a:moveTo>
                    <a:cubicBezTo>
                      <a:pt x="1072" y="304"/>
                      <a:pt x="1072" y="304"/>
                      <a:pt x="1072" y="304"/>
                    </a:cubicBezTo>
                    <a:close/>
                    <a:moveTo>
                      <a:pt x="3407" y="167"/>
                    </a:moveTo>
                    <a:cubicBezTo>
                      <a:pt x="3407" y="167"/>
                      <a:pt x="3407" y="167"/>
                      <a:pt x="3407" y="167"/>
                    </a:cubicBezTo>
                    <a:cubicBezTo>
                      <a:pt x="3407" y="167"/>
                      <a:pt x="3407" y="167"/>
                      <a:pt x="3407" y="167"/>
                    </a:cubicBezTo>
                    <a:close/>
                    <a:moveTo>
                      <a:pt x="3398" y="149"/>
                    </a:moveTo>
                    <a:cubicBezTo>
                      <a:pt x="3398" y="149"/>
                      <a:pt x="3398" y="149"/>
                      <a:pt x="3398" y="149"/>
                    </a:cubicBezTo>
                    <a:cubicBezTo>
                      <a:pt x="3398" y="149"/>
                      <a:pt x="3398" y="149"/>
                      <a:pt x="3398" y="149"/>
                    </a:cubicBezTo>
                    <a:close/>
                    <a:moveTo>
                      <a:pt x="3016" y="105"/>
                    </a:moveTo>
                    <a:cubicBezTo>
                      <a:pt x="3016" y="105"/>
                      <a:pt x="3016" y="105"/>
                      <a:pt x="3016" y="105"/>
                    </a:cubicBezTo>
                    <a:cubicBezTo>
                      <a:pt x="3016" y="105"/>
                      <a:pt x="3016" y="105"/>
                      <a:pt x="3016" y="105"/>
                    </a:cubicBezTo>
                    <a:close/>
                    <a:moveTo>
                      <a:pt x="3342" y="63"/>
                    </a:moveTo>
                    <a:cubicBezTo>
                      <a:pt x="3342" y="63"/>
                      <a:pt x="3342" y="63"/>
                      <a:pt x="3342" y="63"/>
                    </a:cubicBezTo>
                    <a:close/>
                    <a:moveTo>
                      <a:pt x="54" y="1093"/>
                    </a:moveTo>
                    <a:cubicBezTo>
                      <a:pt x="52" y="1093"/>
                      <a:pt x="50" y="1092"/>
                      <a:pt x="49" y="1091"/>
                    </a:cubicBezTo>
                    <a:cubicBezTo>
                      <a:pt x="49" y="1091"/>
                      <a:pt x="48" y="1091"/>
                      <a:pt x="47" y="1092"/>
                    </a:cubicBezTo>
                    <a:cubicBezTo>
                      <a:pt x="42" y="1086"/>
                      <a:pt x="42" y="1086"/>
                      <a:pt x="42" y="1086"/>
                    </a:cubicBezTo>
                    <a:cubicBezTo>
                      <a:pt x="45" y="1083"/>
                      <a:pt x="50" y="1082"/>
                      <a:pt x="54" y="1085"/>
                    </a:cubicBezTo>
                    <a:cubicBezTo>
                      <a:pt x="55" y="1085"/>
                      <a:pt x="56" y="1084"/>
                      <a:pt x="57" y="1084"/>
                    </a:cubicBezTo>
                    <a:cubicBezTo>
                      <a:pt x="57" y="1082"/>
                      <a:pt x="58" y="1079"/>
                      <a:pt x="56" y="1078"/>
                    </a:cubicBezTo>
                    <a:cubicBezTo>
                      <a:pt x="51" y="1074"/>
                      <a:pt x="49" y="1069"/>
                      <a:pt x="50" y="1065"/>
                    </a:cubicBezTo>
                    <a:cubicBezTo>
                      <a:pt x="50" y="1064"/>
                      <a:pt x="49" y="1063"/>
                      <a:pt x="49" y="1062"/>
                    </a:cubicBezTo>
                    <a:cubicBezTo>
                      <a:pt x="47" y="1060"/>
                      <a:pt x="45" y="1057"/>
                      <a:pt x="47" y="1054"/>
                    </a:cubicBezTo>
                    <a:cubicBezTo>
                      <a:pt x="47" y="1053"/>
                      <a:pt x="49" y="1051"/>
                      <a:pt x="52" y="1051"/>
                    </a:cubicBezTo>
                    <a:cubicBezTo>
                      <a:pt x="53" y="1058"/>
                      <a:pt x="53" y="1058"/>
                      <a:pt x="53" y="1058"/>
                    </a:cubicBezTo>
                    <a:cubicBezTo>
                      <a:pt x="53" y="1058"/>
                      <a:pt x="54" y="1057"/>
                      <a:pt x="54" y="1056"/>
                    </a:cubicBezTo>
                    <a:cubicBezTo>
                      <a:pt x="54" y="1056"/>
                      <a:pt x="55" y="1057"/>
                      <a:pt x="55" y="1058"/>
                    </a:cubicBezTo>
                    <a:cubicBezTo>
                      <a:pt x="57" y="1060"/>
                      <a:pt x="58" y="1063"/>
                      <a:pt x="58" y="1065"/>
                    </a:cubicBezTo>
                    <a:cubicBezTo>
                      <a:pt x="57" y="1067"/>
                      <a:pt x="58" y="1070"/>
                      <a:pt x="61" y="1071"/>
                    </a:cubicBezTo>
                    <a:cubicBezTo>
                      <a:pt x="66" y="1075"/>
                      <a:pt x="66" y="1082"/>
                      <a:pt x="64" y="1087"/>
                    </a:cubicBezTo>
                    <a:cubicBezTo>
                      <a:pt x="63" y="1089"/>
                      <a:pt x="60" y="1092"/>
                      <a:pt x="56" y="1093"/>
                    </a:cubicBezTo>
                    <a:cubicBezTo>
                      <a:pt x="56" y="1093"/>
                      <a:pt x="55" y="1093"/>
                      <a:pt x="54" y="1093"/>
                    </a:cubicBezTo>
                    <a:close/>
                    <a:moveTo>
                      <a:pt x="50" y="1065"/>
                    </a:moveTo>
                    <a:cubicBezTo>
                      <a:pt x="50" y="1065"/>
                      <a:pt x="50" y="1065"/>
                      <a:pt x="50" y="1065"/>
                    </a:cubicBezTo>
                    <a:cubicBezTo>
                      <a:pt x="50" y="1065"/>
                      <a:pt x="50" y="1065"/>
                      <a:pt x="50" y="1065"/>
                    </a:cubicBezTo>
                    <a:close/>
                    <a:moveTo>
                      <a:pt x="50" y="1064"/>
                    </a:moveTo>
                    <a:cubicBezTo>
                      <a:pt x="50" y="1064"/>
                      <a:pt x="50" y="1064"/>
                      <a:pt x="50" y="1064"/>
                    </a:cubicBezTo>
                    <a:cubicBezTo>
                      <a:pt x="50" y="1064"/>
                      <a:pt x="50" y="1064"/>
                      <a:pt x="50" y="1064"/>
                    </a:cubicBezTo>
                    <a:close/>
                    <a:moveTo>
                      <a:pt x="59" y="1041"/>
                    </a:moveTo>
                    <a:cubicBezTo>
                      <a:pt x="58" y="1035"/>
                      <a:pt x="59" y="1031"/>
                      <a:pt x="60" y="1029"/>
                    </a:cubicBezTo>
                    <a:cubicBezTo>
                      <a:pt x="60" y="1028"/>
                      <a:pt x="60" y="1028"/>
                      <a:pt x="60" y="1028"/>
                    </a:cubicBezTo>
                    <a:cubicBezTo>
                      <a:pt x="61" y="1027"/>
                      <a:pt x="61" y="1025"/>
                      <a:pt x="60" y="1024"/>
                    </a:cubicBezTo>
                    <a:cubicBezTo>
                      <a:pt x="58" y="1022"/>
                      <a:pt x="56" y="1015"/>
                      <a:pt x="59" y="1009"/>
                    </a:cubicBezTo>
                    <a:cubicBezTo>
                      <a:pt x="59" y="1008"/>
                      <a:pt x="59" y="1007"/>
                      <a:pt x="60" y="1005"/>
                    </a:cubicBezTo>
                    <a:cubicBezTo>
                      <a:pt x="60" y="1001"/>
                      <a:pt x="60" y="997"/>
                      <a:pt x="64" y="994"/>
                    </a:cubicBezTo>
                    <a:cubicBezTo>
                      <a:pt x="65" y="993"/>
                      <a:pt x="66" y="992"/>
                      <a:pt x="67" y="991"/>
                    </a:cubicBezTo>
                    <a:cubicBezTo>
                      <a:pt x="73" y="996"/>
                      <a:pt x="73" y="996"/>
                      <a:pt x="73" y="996"/>
                    </a:cubicBezTo>
                    <a:cubicBezTo>
                      <a:pt x="72" y="997"/>
                      <a:pt x="70" y="999"/>
                      <a:pt x="69" y="1000"/>
                    </a:cubicBezTo>
                    <a:cubicBezTo>
                      <a:pt x="68" y="1001"/>
                      <a:pt x="68" y="1003"/>
                      <a:pt x="67" y="1006"/>
                    </a:cubicBezTo>
                    <a:cubicBezTo>
                      <a:pt x="67" y="1008"/>
                      <a:pt x="67" y="1010"/>
                      <a:pt x="66" y="1013"/>
                    </a:cubicBezTo>
                    <a:cubicBezTo>
                      <a:pt x="65" y="1015"/>
                      <a:pt x="65" y="1018"/>
                      <a:pt x="66" y="1019"/>
                    </a:cubicBezTo>
                    <a:cubicBezTo>
                      <a:pt x="69" y="1022"/>
                      <a:pt x="69" y="1028"/>
                      <a:pt x="68" y="1031"/>
                    </a:cubicBezTo>
                    <a:cubicBezTo>
                      <a:pt x="67" y="1032"/>
                      <a:pt x="67" y="1032"/>
                      <a:pt x="67" y="1032"/>
                    </a:cubicBezTo>
                    <a:cubicBezTo>
                      <a:pt x="66" y="1034"/>
                      <a:pt x="66" y="1036"/>
                      <a:pt x="66" y="1040"/>
                    </a:cubicBezTo>
                    <a:lnTo>
                      <a:pt x="59" y="1041"/>
                    </a:lnTo>
                    <a:close/>
                    <a:moveTo>
                      <a:pt x="61" y="969"/>
                    </a:moveTo>
                    <a:cubicBezTo>
                      <a:pt x="59" y="967"/>
                      <a:pt x="56" y="965"/>
                      <a:pt x="52" y="963"/>
                    </a:cubicBezTo>
                    <a:cubicBezTo>
                      <a:pt x="50" y="962"/>
                      <a:pt x="48" y="961"/>
                      <a:pt x="46" y="960"/>
                    </a:cubicBezTo>
                    <a:cubicBezTo>
                      <a:pt x="44" y="959"/>
                      <a:pt x="41" y="957"/>
                      <a:pt x="40" y="958"/>
                    </a:cubicBezTo>
                    <a:cubicBezTo>
                      <a:pt x="39" y="958"/>
                      <a:pt x="37" y="959"/>
                      <a:pt x="36" y="960"/>
                    </a:cubicBezTo>
                    <a:cubicBezTo>
                      <a:pt x="33" y="962"/>
                      <a:pt x="29" y="965"/>
                      <a:pt x="25" y="964"/>
                    </a:cubicBezTo>
                    <a:cubicBezTo>
                      <a:pt x="23" y="964"/>
                      <a:pt x="22" y="963"/>
                      <a:pt x="20" y="962"/>
                    </a:cubicBezTo>
                    <a:cubicBezTo>
                      <a:pt x="25" y="956"/>
                      <a:pt x="25" y="956"/>
                      <a:pt x="25" y="956"/>
                    </a:cubicBezTo>
                    <a:cubicBezTo>
                      <a:pt x="25" y="956"/>
                      <a:pt x="26" y="957"/>
                      <a:pt x="26" y="957"/>
                    </a:cubicBezTo>
                    <a:cubicBezTo>
                      <a:pt x="26" y="957"/>
                      <a:pt x="26" y="957"/>
                      <a:pt x="26" y="957"/>
                    </a:cubicBezTo>
                    <a:cubicBezTo>
                      <a:pt x="27" y="957"/>
                      <a:pt x="30" y="955"/>
                      <a:pt x="31" y="954"/>
                    </a:cubicBezTo>
                    <a:cubicBezTo>
                      <a:pt x="33" y="952"/>
                      <a:pt x="35" y="951"/>
                      <a:pt x="38" y="950"/>
                    </a:cubicBezTo>
                    <a:cubicBezTo>
                      <a:pt x="42" y="949"/>
                      <a:pt x="46" y="951"/>
                      <a:pt x="50" y="954"/>
                    </a:cubicBezTo>
                    <a:cubicBezTo>
                      <a:pt x="52" y="954"/>
                      <a:pt x="53" y="955"/>
                      <a:pt x="55" y="956"/>
                    </a:cubicBezTo>
                    <a:cubicBezTo>
                      <a:pt x="60" y="958"/>
                      <a:pt x="64" y="961"/>
                      <a:pt x="67" y="964"/>
                    </a:cubicBezTo>
                    <a:lnTo>
                      <a:pt x="61" y="969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66" name="ïşḻïḋe"/>
              <p:cNvSpPr/>
              <p:nvPr/>
            </p:nvSpPr>
            <p:spPr bwMode="auto">
              <a:xfrm>
                <a:off x="9412288" y="5032375"/>
                <a:ext cx="1233488" cy="1827213"/>
              </a:xfrm>
              <a:custGeom>
                <a:avLst/>
                <a:gdLst>
                  <a:gd name="T0" fmla="*/ 777 w 777"/>
                  <a:gd name="T1" fmla="*/ 1151 h 1151"/>
                  <a:gd name="T2" fmla="*/ 0 w 777"/>
                  <a:gd name="T3" fmla="*/ 1151 h 1151"/>
                  <a:gd name="T4" fmla="*/ 0 w 777"/>
                  <a:gd name="T5" fmla="*/ 0 h 1151"/>
                  <a:gd name="T6" fmla="*/ 777 w 777"/>
                  <a:gd name="T7" fmla="*/ 0 h 1151"/>
                  <a:gd name="T8" fmla="*/ 777 w 777"/>
                  <a:gd name="T9" fmla="*/ 1151 h 1151"/>
                  <a:gd name="T10" fmla="*/ 7 w 777"/>
                  <a:gd name="T11" fmla="*/ 1143 h 1151"/>
                  <a:gd name="T12" fmla="*/ 769 w 777"/>
                  <a:gd name="T13" fmla="*/ 1143 h 1151"/>
                  <a:gd name="T14" fmla="*/ 769 w 777"/>
                  <a:gd name="T15" fmla="*/ 8 h 1151"/>
                  <a:gd name="T16" fmla="*/ 7 w 777"/>
                  <a:gd name="T17" fmla="*/ 8 h 1151"/>
                  <a:gd name="T18" fmla="*/ 7 w 777"/>
                  <a:gd name="T19" fmla="*/ 1143 h 1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7" h="1151">
                    <a:moveTo>
                      <a:pt x="777" y="1151"/>
                    </a:moveTo>
                    <a:lnTo>
                      <a:pt x="0" y="1151"/>
                    </a:lnTo>
                    <a:lnTo>
                      <a:pt x="0" y="0"/>
                    </a:lnTo>
                    <a:lnTo>
                      <a:pt x="777" y="0"/>
                    </a:lnTo>
                    <a:lnTo>
                      <a:pt x="777" y="1151"/>
                    </a:lnTo>
                    <a:close/>
                    <a:moveTo>
                      <a:pt x="7" y="1143"/>
                    </a:moveTo>
                    <a:lnTo>
                      <a:pt x="769" y="1143"/>
                    </a:lnTo>
                    <a:lnTo>
                      <a:pt x="769" y="8"/>
                    </a:lnTo>
                    <a:lnTo>
                      <a:pt x="7" y="8"/>
                    </a:lnTo>
                    <a:lnTo>
                      <a:pt x="7" y="1143"/>
                    </a:lnTo>
                    <a:close/>
                  </a:path>
                </a:pathLst>
              </a:custGeom>
              <a:solidFill>
                <a:srgbClr val="2318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67" name="iṣḷíḍê"/>
              <p:cNvSpPr/>
              <p:nvPr/>
            </p:nvSpPr>
            <p:spPr bwMode="auto">
              <a:xfrm>
                <a:off x="9974263" y="6680200"/>
                <a:ext cx="141288" cy="139700"/>
              </a:xfrm>
              <a:custGeom>
                <a:avLst/>
                <a:gdLst>
                  <a:gd name="T0" fmla="*/ 31 w 66"/>
                  <a:gd name="T1" fmla="*/ 6 h 65"/>
                  <a:gd name="T2" fmla="*/ 32 w 66"/>
                  <a:gd name="T3" fmla="*/ 0 h 65"/>
                  <a:gd name="T4" fmla="*/ 39 w 66"/>
                  <a:gd name="T5" fmla="*/ 3 h 65"/>
                  <a:gd name="T6" fmla="*/ 37 w 66"/>
                  <a:gd name="T7" fmla="*/ 4 h 65"/>
                  <a:gd name="T8" fmla="*/ 58 w 66"/>
                  <a:gd name="T9" fmla="*/ 11 h 65"/>
                  <a:gd name="T10" fmla="*/ 66 w 66"/>
                  <a:gd name="T11" fmla="*/ 12 h 65"/>
                  <a:gd name="T12" fmla="*/ 65 w 66"/>
                  <a:gd name="T13" fmla="*/ 13 h 65"/>
                  <a:gd name="T14" fmla="*/ 34 w 66"/>
                  <a:gd name="T15" fmla="*/ 13 h 65"/>
                  <a:gd name="T16" fmla="*/ 53 w 66"/>
                  <a:gd name="T17" fmla="*/ 23 h 65"/>
                  <a:gd name="T18" fmla="*/ 60 w 66"/>
                  <a:gd name="T19" fmla="*/ 23 h 65"/>
                  <a:gd name="T20" fmla="*/ 60 w 66"/>
                  <a:gd name="T21" fmla="*/ 24 h 65"/>
                  <a:gd name="T22" fmla="*/ 58 w 66"/>
                  <a:gd name="T23" fmla="*/ 58 h 65"/>
                  <a:gd name="T24" fmla="*/ 50 w 66"/>
                  <a:gd name="T25" fmla="*/ 65 h 65"/>
                  <a:gd name="T26" fmla="*/ 48 w 66"/>
                  <a:gd name="T27" fmla="*/ 62 h 65"/>
                  <a:gd name="T28" fmla="*/ 42 w 66"/>
                  <a:gd name="T29" fmla="*/ 58 h 65"/>
                  <a:gd name="T30" fmla="*/ 54 w 66"/>
                  <a:gd name="T31" fmla="*/ 57 h 65"/>
                  <a:gd name="T32" fmla="*/ 42 w 66"/>
                  <a:gd name="T33" fmla="*/ 25 h 65"/>
                  <a:gd name="T34" fmla="*/ 45 w 66"/>
                  <a:gd name="T35" fmla="*/ 27 h 65"/>
                  <a:gd name="T36" fmla="*/ 42 w 66"/>
                  <a:gd name="T37" fmla="*/ 28 h 65"/>
                  <a:gd name="T38" fmla="*/ 43 w 66"/>
                  <a:gd name="T39" fmla="*/ 37 h 65"/>
                  <a:gd name="T40" fmla="*/ 49 w 66"/>
                  <a:gd name="T41" fmla="*/ 38 h 65"/>
                  <a:gd name="T42" fmla="*/ 49 w 66"/>
                  <a:gd name="T43" fmla="*/ 39 h 65"/>
                  <a:gd name="T44" fmla="*/ 34 w 66"/>
                  <a:gd name="T45" fmla="*/ 39 h 65"/>
                  <a:gd name="T46" fmla="*/ 44 w 66"/>
                  <a:gd name="T47" fmla="*/ 47 h 65"/>
                  <a:gd name="T48" fmla="*/ 51 w 66"/>
                  <a:gd name="T49" fmla="*/ 48 h 65"/>
                  <a:gd name="T50" fmla="*/ 50 w 66"/>
                  <a:gd name="T51" fmla="*/ 49 h 65"/>
                  <a:gd name="T52" fmla="*/ 34 w 66"/>
                  <a:gd name="T53" fmla="*/ 55 h 65"/>
                  <a:gd name="T54" fmla="*/ 34 w 66"/>
                  <a:gd name="T55" fmla="*/ 62 h 65"/>
                  <a:gd name="T56" fmla="*/ 30 w 66"/>
                  <a:gd name="T57" fmla="*/ 64 h 65"/>
                  <a:gd name="T58" fmla="*/ 30 w 66"/>
                  <a:gd name="T59" fmla="*/ 49 h 65"/>
                  <a:gd name="T60" fmla="*/ 20 w 66"/>
                  <a:gd name="T61" fmla="*/ 49 h 65"/>
                  <a:gd name="T62" fmla="*/ 13 w 66"/>
                  <a:gd name="T63" fmla="*/ 47 h 65"/>
                  <a:gd name="T64" fmla="*/ 30 w 66"/>
                  <a:gd name="T65" fmla="*/ 47 h 65"/>
                  <a:gd name="T66" fmla="*/ 21 w 66"/>
                  <a:gd name="T67" fmla="*/ 39 h 65"/>
                  <a:gd name="T68" fmla="*/ 14 w 66"/>
                  <a:gd name="T69" fmla="*/ 37 h 65"/>
                  <a:gd name="T70" fmla="*/ 33 w 66"/>
                  <a:gd name="T71" fmla="*/ 37 h 65"/>
                  <a:gd name="T72" fmla="*/ 37 w 66"/>
                  <a:gd name="T73" fmla="*/ 30 h 65"/>
                  <a:gd name="T74" fmla="*/ 22 w 66"/>
                  <a:gd name="T75" fmla="*/ 25 h 65"/>
                  <a:gd name="T76" fmla="*/ 29 w 66"/>
                  <a:gd name="T77" fmla="*/ 31 h 65"/>
                  <a:gd name="T78" fmla="*/ 28 w 66"/>
                  <a:gd name="T79" fmla="*/ 35 h 65"/>
                  <a:gd name="T80" fmla="*/ 26 w 66"/>
                  <a:gd name="T81" fmla="*/ 35 h 65"/>
                  <a:gd name="T82" fmla="*/ 24 w 66"/>
                  <a:gd name="T83" fmla="*/ 31 h 65"/>
                  <a:gd name="T84" fmla="*/ 12 w 66"/>
                  <a:gd name="T85" fmla="*/ 25 h 65"/>
                  <a:gd name="T86" fmla="*/ 12 w 66"/>
                  <a:gd name="T87" fmla="*/ 63 h 65"/>
                  <a:gd name="T88" fmla="*/ 8 w 66"/>
                  <a:gd name="T89" fmla="*/ 51 h 65"/>
                  <a:gd name="T90" fmla="*/ 8 w 66"/>
                  <a:gd name="T91" fmla="*/ 18 h 65"/>
                  <a:gd name="T92" fmla="*/ 28 w 66"/>
                  <a:gd name="T93" fmla="*/ 23 h 65"/>
                  <a:gd name="T94" fmla="*/ 11 w 66"/>
                  <a:gd name="T95" fmla="*/ 13 h 65"/>
                  <a:gd name="T96" fmla="*/ 0 w 66"/>
                  <a:gd name="T97" fmla="*/ 11 h 65"/>
                  <a:gd name="T98" fmla="*/ 2 w 66"/>
                  <a:gd name="T99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6" h="65">
                    <a:moveTo>
                      <a:pt x="31" y="11"/>
                    </a:moveTo>
                    <a:cubicBezTo>
                      <a:pt x="31" y="10"/>
                      <a:pt x="31" y="8"/>
                      <a:pt x="31" y="6"/>
                    </a:cubicBezTo>
                    <a:cubicBezTo>
                      <a:pt x="32" y="4"/>
                      <a:pt x="32" y="3"/>
                      <a:pt x="32" y="3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8" y="3"/>
                      <a:pt x="39" y="3"/>
                      <a:pt x="39" y="3"/>
                    </a:cubicBezTo>
                    <a:cubicBezTo>
                      <a:pt x="39" y="4"/>
                      <a:pt x="38" y="4"/>
                      <a:pt x="38" y="4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61" y="7"/>
                      <a:pt x="61" y="7"/>
                      <a:pt x="61" y="7"/>
                    </a:cubicBezTo>
                    <a:cubicBezTo>
                      <a:pt x="66" y="12"/>
                      <a:pt x="66" y="12"/>
                      <a:pt x="66" y="12"/>
                    </a:cubicBezTo>
                    <a:cubicBezTo>
                      <a:pt x="66" y="12"/>
                      <a:pt x="66" y="12"/>
                      <a:pt x="66" y="12"/>
                    </a:cubicBezTo>
                    <a:cubicBezTo>
                      <a:pt x="66" y="13"/>
                      <a:pt x="66" y="13"/>
                      <a:pt x="65" y="13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6" y="19"/>
                      <a:pt x="56" y="19"/>
                      <a:pt x="56" y="19"/>
                    </a:cubicBezTo>
                    <a:cubicBezTo>
                      <a:pt x="60" y="23"/>
                      <a:pt x="60" y="23"/>
                      <a:pt x="60" y="23"/>
                    </a:cubicBezTo>
                    <a:cubicBezTo>
                      <a:pt x="60" y="23"/>
                      <a:pt x="60" y="23"/>
                      <a:pt x="61" y="24"/>
                    </a:cubicBezTo>
                    <a:cubicBezTo>
                      <a:pt x="61" y="24"/>
                      <a:pt x="60" y="24"/>
                      <a:pt x="60" y="24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8" y="58"/>
                      <a:pt x="58" y="58"/>
                      <a:pt x="58" y="58"/>
                    </a:cubicBezTo>
                    <a:cubicBezTo>
                      <a:pt x="58" y="60"/>
                      <a:pt x="58" y="61"/>
                      <a:pt x="57" y="62"/>
                    </a:cubicBezTo>
                    <a:cubicBezTo>
                      <a:pt x="56" y="63"/>
                      <a:pt x="54" y="64"/>
                      <a:pt x="50" y="65"/>
                    </a:cubicBezTo>
                    <a:cubicBezTo>
                      <a:pt x="50" y="64"/>
                      <a:pt x="50" y="64"/>
                      <a:pt x="50" y="63"/>
                    </a:cubicBezTo>
                    <a:cubicBezTo>
                      <a:pt x="50" y="63"/>
                      <a:pt x="49" y="62"/>
                      <a:pt x="48" y="62"/>
                    </a:cubicBezTo>
                    <a:cubicBezTo>
                      <a:pt x="47" y="61"/>
                      <a:pt x="45" y="60"/>
                      <a:pt x="42" y="59"/>
                    </a:cubicBezTo>
                    <a:cubicBezTo>
                      <a:pt x="42" y="58"/>
                      <a:pt x="42" y="58"/>
                      <a:pt x="42" y="58"/>
                    </a:cubicBezTo>
                    <a:cubicBezTo>
                      <a:pt x="49" y="59"/>
                      <a:pt x="52" y="60"/>
                      <a:pt x="53" y="59"/>
                    </a:cubicBezTo>
                    <a:cubicBezTo>
                      <a:pt x="53" y="59"/>
                      <a:pt x="54" y="58"/>
                      <a:pt x="54" y="57"/>
                    </a:cubicBezTo>
                    <a:cubicBezTo>
                      <a:pt x="54" y="25"/>
                      <a:pt x="54" y="25"/>
                      <a:pt x="54" y="25"/>
                    </a:cubicBezTo>
                    <a:cubicBezTo>
                      <a:pt x="42" y="25"/>
                      <a:pt x="42" y="25"/>
                      <a:pt x="42" y="25"/>
                    </a:cubicBezTo>
                    <a:cubicBezTo>
                      <a:pt x="44" y="26"/>
                      <a:pt x="44" y="26"/>
                      <a:pt x="44" y="26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27"/>
                      <a:pt x="45" y="27"/>
                      <a:pt x="44" y="28"/>
                    </a:cubicBezTo>
                    <a:cubicBezTo>
                      <a:pt x="42" y="28"/>
                      <a:pt x="42" y="28"/>
                      <a:pt x="42" y="28"/>
                    </a:cubicBezTo>
                    <a:cubicBezTo>
                      <a:pt x="40" y="32"/>
                      <a:pt x="38" y="35"/>
                      <a:pt x="36" y="37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4"/>
                      <a:pt x="45" y="34"/>
                      <a:pt x="45" y="34"/>
                    </a:cubicBezTo>
                    <a:cubicBezTo>
                      <a:pt x="49" y="38"/>
                      <a:pt x="49" y="38"/>
                      <a:pt x="49" y="38"/>
                    </a:cubicBezTo>
                    <a:cubicBezTo>
                      <a:pt x="50" y="38"/>
                      <a:pt x="50" y="39"/>
                      <a:pt x="50" y="39"/>
                    </a:cubicBezTo>
                    <a:cubicBezTo>
                      <a:pt x="50" y="39"/>
                      <a:pt x="49" y="39"/>
                      <a:pt x="49" y="39"/>
                    </a:cubicBezTo>
                    <a:cubicBezTo>
                      <a:pt x="45" y="39"/>
                      <a:pt x="45" y="39"/>
                      <a:pt x="45" y="39"/>
                    </a:cubicBezTo>
                    <a:cubicBezTo>
                      <a:pt x="34" y="39"/>
                      <a:pt x="34" y="39"/>
                      <a:pt x="34" y="39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6" y="44"/>
                      <a:pt x="46" y="44"/>
                      <a:pt x="46" y="44"/>
                    </a:cubicBezTo>
                    <a:cubicBezTo>
                      <a:pt x="51" y="48"/>
                      <a:pt x="51" y="48"/>
                      <a:pt x="51" y="48"/>
                    </a:cubicBezTo>
                    <a:cubicBezTo>
                      <a:pt x="51" y="48"/>
                      <a:pt x="51" y="49"/>
                      <a:pt x="51" y="49"/>
                    </a:cubicBezTo>
                    <a:cubicBezTo>
                      <a:pt x="51" y="49"/>
                      <a:pt x="51" y="49"/>
                      <a:pt x="50" y="49"/>
                    </a:cubicBezTo>
                    <a:cubicBezTo>
                      <a:pt x="34" y="49"/>
                      <a:pt x="34" y="49"/>
                      <a:pt x="34" y="49"/>
                    </a:cubicBezTo>
                    <a:cubicBezTo>
                      <a:pt x="34" y="55"/>
                      <a:pt x="34" y="55"/>
                      <a:pt x="34" y="55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4" y="62"/>
                      <a:pt x="34" y="62"/>
                      <a:pt x="34" y="62"/>
                    </a:cubicBezTo>
                    <a:cubicBezTo>
                      <a:pt x="32" y="63"/>
                      <a:pt x="32" y="63"/>
                      <a:pt x="32" y="63"/>
                    </a:cubicBezTo>
                    <a:cubicBezTo>
                      <a:pt x="32" y="63"/>
                      <a:pt x="31" y="63"/>
                      <a:pt x="30" y="64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20" y="49"/>
                      <a:pt x="20" y="49"/>
                      <a:pt x="20" y="49"/>
                    </a:cubicBezTo>
                    <a:cubicBezTo>
                      <a:pt x="19" y="49"/>
                      <a:pt x="18" y="49"/>
                      <a:pt x="15" y="50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20" y="39"/>
                      <a:pt x="18" y="40"/>
                      <a:pt x="17" y="40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33" y="37"/>
                      <a:pt x="33" y="37"/>
                      <a:pt x="33" y="37"/>
                    </a:cubicBezTo>
                    <a:cubicBezTo>
                      <a:pt x="34" y="36"/>
                      <a:pt x="34" y="36"/>
                      <a:pt x="34" y="35"/>
                    </a:cubicBezTo>
                    <a:cubicBezTo>
                      <a:pt x="35" y="35"/>
                      <a:pt x="35" y="33"/>
                      <a:pt x="37" y="30"/>
                    </a:cubicBezTo>
                    <a:cubicBezTo>
                      <a:pt x="38" y="28"/>
                      <a:pt x="38" y="26"/>
                      <a:pt x="39" y="25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8" y="30"/>
                      <a:pt x="29" y="30"/>
                      <a:pt x="29" y="31"/>
                    </a:cubicBezTo>
                    <a:cubicBezTo>
                      <a:pt x="29" y="31"/>
                      <a:pt x="29" y="32"/>
                      <a:pt x="29" y="33"/>
                    </a:cubicBezTo>
                    <a:cubicBezTo>
                      <a:pt x="29" y="34"/>
                      <a:pt x="28" y="34"/>
                      <a:pt x="28" y="35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5" y="34"/>
                      <a:pt x="25" y="34"/>
                      <a:pt x="25" y="34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23" y="29"/>
                      <a:pt x="22" y="27"/>
                      <a:pt x="20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2" y="53"/>
                      <a:pt x="12" y="53"/>
                      <a:pt x="12" y="53"/>
                    </a:cubicBezTo>
                    <a:cubicBezTo>
                      <a:pt x="12" y="63"/>
                      <a:pt x="12" y="63"/>
                      <a:pt x="12" y="63"/>
                    </a:cubicBezTo>
                    <a:cubicBezTo>
                      <a:pt x="10" y="64"/>
                      <a:pt x="8" y="65"/>
                      <a:pt x="8" y="65"/>
                    </a:cubicBezTo>
                    <a:cubicBezTo>
                      <a:pt x="8" y="51"/>
                      <a:pt x="8" y="51"/>
                      <a:pt x="8" y="51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8" y="13"/>
                      <a:pt x="6" y="13"/>
                      <a:pt x="3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31" y="11"/>
                      <a:pt x="31" y="11"/>
                      <a:pt x="31" y="11"/>
                    </a:cubicBezTo>
                    <a:close/>
                  </a:path>
                </a:pathLst>
              </a:custGeom>
              <a:solidFill>
                <a:srgbClr val="2318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68" name="íSļîďè"/>
              <p:cNvSpPr/>
              <p:nvPr/>
            </p:nvSpPr>
            <p:spPr bwMode="auto">
              <a:xfrm>
                <a:off x="10125075" y="6678613"/>
                <a:ext cx="141288" cy="142875"/>
              </a:xfrm>
              <a:custGeom>
                <a:avLst/>
                <a:gdLst>
                  <a:gd name="T0" fmla="*/ 62 w 66"/>
                  <a:gd name="T1" fmla="*/ 12 h 67"/>
                  <a:gd name="T2" fmla="*/ 16 w 66"/>
                  <a:gd name="T3" fmla="*/ 27 h 67"/>
                  <a:gd name="T4" fmla="*/ 27 w 66"/>
                  <a:gd name="T5" fmla="*/ 9 h 67"/>
                  <a:gd name="T6" fmla="*/ 36 w 66"/>
                  <a:gd name="T7" fmla="*/ 4 h 67"/>
                  <a:gd name="T8" fmla="*/ 30 w 66"/>
                  <a:gd name="T9" fmla="*/ 10 h 67"/>
                  <a:gd name="T10" fmla="*/ 34 w 66"/>
                  <a:gd name="T11" fmla="*/ 38 h 67"/>
                  <a:gd name="T12" fmla="*/ 38 w 66"/>
                  <a:gd name="T13" fmla="*/ 50 h 67"/>
                  <a:gd name="T14" fmla="*/ 36 w 66"/>
                  <a:gd name="T15" fmla="*/ 44 h 67"/>
                  <a:gd name="T16" fmla="*/ 35 w 66"/>
                  <a:gd name="T17" fmla="*/ 22 h 67"/>
                  <a:gd name="T18" fmla="*/ 42 w 66"/>
                  <a:gd name="T19" fmla="*/ 32 h 67"/>
                  <a:gd name="T20" fmla="*/ 38 w 66"/>
                  <a:gd name="T21" fmla="*/ 29 h 67"/>
                  <a:gd name="T22" fmla="*/ 59 w 66"/>
                  <a:gd name="T23" fmla="*/ 47 h 67"/>
                  <a:gd name="T24" fmla="*/ 53 w 66"/>
                  <a:gd name="T25" fmla="*/ 53 h 67"/>
                  <a:gd name="T26" fmla="*/ 44 w 66"/>
                  <a:gd name="T27" fmla="*/ 67 h 67"/>
                  <a:gd name="T28" fmla="*/ 37 w 66"/>
                  <a:gd name="T29" fmla="*/ 61 h 67"/>
                  <a:gd name="T30" fmla="*/ 45 w 66"/>
                  <a:gd name="T31" fmla="*/ 61 h 67"/>
                  <a:gd name="T32" fmla="*/ 49 w 66"/>
                  <a:gd name="T33" fmla="*/ 53 h 67"/>
                  <a:gd name="T34" fmla="*/ 18 w 66"/>
                  <a:gd name="T35" fmla="*/ 52 h 67"/>
                  <a:gd name="T36" fmla="*/ 21 w 66"/>
                  <a:gd name="T37" fmla="*/ 36 h 67"/>
                  <a:gd name="T38" fmla="*/ 24 w 66"/>
                  <a:gd name="T39" fmla="*/ 34 h 67"/>
                  <a:gd name="T40" fmla="*/ 51 w 66"/>
                  <a:gd name="T41" fmla="*/ 20 h 67"/>
                  <a:gd name="T42" fmla="*/ 58 w 66"/>
                  <a:gd name="T43" fmla="*/ 21 h 67"/>
                  <a:gd name="T44" fmla="*/ 54 w 66"/>
                  <a:gd name="T45" fmla="*/ 34 h 67"/>
                  <a:gd name="T46" fmla="*/ 66 w 66"/>
                  <a:gd name="T47" fmla="*/ 35 h 67"/>
                  <a:gd name="T48" fmla="*/ 54 w 66"/>
                  <a:gd name="T49" fmla="*/ 36 h 67"/>
                  <a:gd name="T50" fmla="*/ 53 w 66"/>
                  <a:gd name="T51" fmla="*/ 51 h 67"/>
                  <a:gd name="T52" fmla="*/ 59 w 66"/>
                  <a:gd name="T53" fmla="*/ 47 h 67"/>
                  <a:gd name="T54" fmla="*/ 50 w 66"/>
                  <a:gd name="T55" fmla="*/ 47 h 67"/>
                  <a:gd name="T56" fmla="*/ 27 w 66"/>
                  <a:gd name="T57" fmla="*/ 36 h 67"/>
                  <a:gd name="T58" fmla="*/ 50 w 66"/>
                  <a:gd name="T59" fmla="*/ 34 h 67"/>
                  <a:gd name="T60" fmla="*/ 27 w 66"/>
                  <a:gd name="T61" fmla="*/ 34 h 67"/>
                  <a:gd name="T62" fmla="*/ 14 w 66"/>
                  <a:gd name="T63" fmla="*/ 30 h 67"/>
                  <a:gd name="T64" fmla="*/ 10 w 66"/>
                  <a:gd name="T65" fmla="*/ 50 h 67"/>
                  <a:gd name="T66" fmla="*/ 11 w 66"/>
                  <a:gd name="T67" fmla="*/ 62 h 67"/>
                  <a:gd name="T68" fmla="*/ 6 w 66"/>
                  <a:gd name="T69" fmla="*/ 62 h 67"/>
                  <a:gd name="T70" fmla="*/ 5 w 66"/>
                  <a:gd name="T71" fmla="*/ 58 h 67"/>
                  <a:gd name="T72" fmla="*/ 7 w 66"/>
                  <a:gd name="T73" fmla="*/ 51 h 67"/>
                  <a:gd name="T74" fmla="*/ 0 w 66"/>
                  <a:gd name="T75" fmla="*/ 45 h 67"/>
                  <a:gd name="T76" fmla="*/ 18 w 66"/>
                  <a:gd name="T77" fmla="*/ 12 h 67"/>
                  <a:gd name="T78" fmla="*/ 0 w 66"/>
                  <a:gd name="T79" fmla="*/ 17 h 67"/>
                  <a:gd name="T80" fmla="*/ 9 w 66"/>
                  <a:gd name="T81" fmla="*/ 24 h 67"/>
                  <a:gd name="T82" fmla="*/ 5 w 66"/>
                  <a:gd name="T83" fmla="*/ 25 h 67"/>
                  <a:gd name="T84" fmla="*/ 6 w 66"/>
                  <a:gd name="T85" fmla="*/ 2 h 67"/>
                  <a:gd name="T86" fmla="*/ 16 w 66"/>
                  <a:gd name="T87" fmla="*/ 11 h 67"/>
                  <a:gd name="T88" fmla="*/ 11 w 66"/>
                  <a:gd name="T89" fmla="*/ 9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6" h="67">
                    <a:moveTo>
                      <a:pt x="57" y="6"/>
                    </a:moveTo>
                    <a:cubicBezTo>
                      <a:pt x="62" y="11"/>
                      <a:pt x="62" y="11"/>
                      <a:pt x="62" y="11"/>
                    </a:cubicBezTo>
                    <a:cubicBezTo>
                      <a:pt x="63" y="12"/>
                      <a:pt x="63" y="12"/>
                      <a:pt x="62" y="12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3" y="20"/>
                      <a:pt x="20" y="24"/>
                      <a:pt x="19" y="25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18" y="23"/>
                      <a:pt x="21" y="19"/>
                      <a:pt x="22" y="17"/>
                    </a:cubicBezTo>
                    <a:cubicBezTo>
                      <a:pt x="24" y="14"/>
                      <a:pt x="25" y="12"/>
                      <a:pt x="27" y="9"/>
                    </a:cubicBezTo>
                    <a:cubicBezTo>
                      <a:pt x="28" y="6"/>
                      <a:pt x="30" y="3"/>
                      <a:pt x="31" y="0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36" y="3"/>
                      <a:pt x="36" y="4"/>
                      <a:pt x="36" y="4"/>
                    </a:cubicBezTo>
                    <a:cubicBezTo>
                      <a:pt x="36" y="4"/>
                      <a:pt x="36" y="4"/>
                      <a:pt x="35" y="5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7" y="6"/>
                      <a:pt x="57" y="6"/>
                      <a:pt x="57" y="6"/>
                    </a:cubicBezTo>
                    <a:close/>
                    <a:moveTo>
                      <a:pt x="34" y="38"/>
                    </a:moveTo>
                    <a:cubicBezTo>
                      <a:pt x="38" y="40"/>
                      <a:pt x="41" y="43"/>
                      <a:pt x="41" y="45"/>
                    </a:cubicBezTo>
                    <a:cubicBezTo>
                      <a:pt x="41" y="47"/>
                      <a:pt x="41" y="48"/>
                      <a:pt x="40" y="49"/>
                    </a:cubicBezTo>
                    <a:cubicBezTo>
                      <a:pt x="39" y="50"/>
                      <a:pt x="39" y="50"/>
                      <a:pt x="38" y="50"/>
                    </a:cubicBezTo>
                    <a:cubicBezTo>
                      <a:pt x="38" y="50"/>
                      <a:pt x="37" y="50"/>
                      <a:pt x="37" y="50"/>
                    </a:cubicBezTo>
                    <a:cubicBezTo>
                      <a:pt x="37" y="49"/>
                      <a:pt x="37" y="49"/>
                      <a:pt x="37" y="48"/>
                    </a:cubicBezTo>
                    <a:cubicBezTo>
                      <a:pt x="37" y="46"/>
                      <a:pt x="37" y="45"/>
                      <a:pt x="36" y="44"/>
                    </a:cubicBezTo>
                    <a:cubicBezTo>
                      <a:pt x="36" y="42"/>
                      <a:pt x="35" y="40"/>
                      <a:pt x="33" y="38"/>
                    </a:cubicBezTo>
                    <a:cubicBezTo>
                      <a:pt x="34" y="38"/>
                      <a:pt x="34" y="38"/>
                      <a:pt x="34" y="38"/>
                    </a:cubicBezTo>
                    <a:close/>
                    <a:moveTo>
                      <a:pt x="35" y="22"/>
                    </a:moveTo>
                    <a:cubicBezTo>
                      <a:pt x="38" y="24"/>
                      <a:pt x="39" y="25"/>
                      <a:pt x="41" y="26"/>
                    </a:cubicBezTo>
                    <a:cubicBezTo>
                      <a:pt x="42" y="27"/>
                      <a:pt x="43" y="28"/>
                      <a:pt x="43" y="29"/>
                    </a:cubicBezTo>
                    <a:cubicBezTo>
                      <a:pt x="42" y="31"/>
                      <a:pt x="42" y="32"/>
                      <a:pt x="42" y="32"/>
                    </a:cubicBezTo>
                    <a:cubicBezTo>
                      <a:pt x="41" y="33"/>
                      <a:pt x="40" y="33"/>
                      <a:pt x="40" y="33"/>
                    </a:cubicBezTo>
                    <a:cubicBezTo>
                      <a:pt x="39" y="33"/>
                      <a:pt x="39" y="33"/>
                      <a:pt x="39" y="32"/>
                    </a:cubicBezTo>
                    <a:cubicBezTo>
                      <a:pt x="39" y="32"/>
                      <a:pt x="38" y="31"/>
                      <a:pt x="38" y="29"/>
                    </a:cubicBezTo>
                    <a:cubicBezTo>
                      <a:pt x="37" y="27"/>
                      <a:pt x="36" y="25"/>
                      <a:pt x="35" y="23"/>
                    </a:cubicBezTo>
                    <a:cubicBezTo>
                      <a:pt x="35" y="22"/>
                      <a:pt x="35" y="22"/>
                      <a:pt x="35" y="22"/>
                    </a:cubicBezTo>
                    <a:close/>
                    <a:moveTo>
                      <a:pt x="59" y="47"/>
                    </a:moveTo>
                    <a:cubicBezTo>
                      <a:pt x="64" y="52"/>
                      <a:pt x="64" y="52"/>
                      <a:pt x="64" y="52"/>
                    </a:cubicBezTo>
                    <a:cubicBezTo>
                      <a:pt x="65" y="53"/>
                      <a:pt x="65" y="53"/>
                      <a:pt x="64" y="53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3" y="54"/>
                      <a:pt x="53" y="56"/>
                      <a:pt x="53" y="58"/>
                    </a:cubicBezTo>
                    <a:cubicBezTo>
                      <a:pt x="52" y="60"/>
                      <a:pt x="51" y="61"/>
                      <a:pt x="50" y="63"/>
                    </a:cubicBezTo>
                    <a:cubicBezTo>
                      <a:pt x="49" y="65"/>
                      <a:pt x="47" y="66"/>
                      <a:pt x="44" y="67"/>
                    </a:cubicBezTo>
                    <a:cubicBezTo>
                      <a:pt x="43" y="66"/>
                      <a:pt x="43" y="64"/>
                      <a:pt x="43" y="64"/>
                    </a:cubicBezTo>
                    <a:cubicBezTo>
                      <a:pt x="42" y="63"/>
                      <a:pt x="41" y="63"/>
                      <a:pt x="39" y="62"/>
                    </a:cubicBezTo>
                    <a:cubicBezTo>
                      <a:pt x="37" y="61"/>
                      <a:pt x="37" y="61"/>
                      <a:pt x="37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6" y="60"/>
                      <a:pt x="36" y="60"/>
                      <a:pt x="36" y="60"/>
                    </a:cubicBezTo>
                    <a:cubicBezTo>
                      <a:pt x="40" y="61"/>
                      <a:pt x="44" y="61"/>
                      <a:pt x="45" y="61"/>
                    </a:cubicBezTo>
                    <a:cubicBezTo>
                      <a:pt x="46" y="60"/>
                      <a:pt x="47" y="60"/>
                      <a:pt x="48" y="58"/>
                    </a:cubicBezTo>
                    <a:cubicBezTo>
                      <a:pt x="48" y="57"/>
                      <a:pt x="49" y="56"/>
                      <a:pt x="49" y="55"/>
                    </a:cubicBezTo>
                    <a:cubicBezTo>
                      <a:pt x="49" y="55"/>
                      <a:pt x="49" y="54"/>
                      <a:pt x="49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5"/>
                      <a:pt x="23" y="55"/>
                      <a:pt x="23" y="55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21" y="50"/>
                      <a:pt x="21" y="50"/>
                      <a:pt x="21" y="50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21" y="36"/>
                      <a:pt x="19" y="36"/>
                      <a:pt x="18" y="37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53" y="17"/>
                      <a:pt x="53" y="17"/>
                      <a:pt x="53" y="17"/>
                    </a:cubicBezTo>
                    <a:cubicBezTo>
                      <a:pt x="57" y="20"/>
                      <a:pt x="57" y="20"/>
                      <a:pt x="57" y="20"/>
                    </a:cubicBezTo>
                    <a:cubicBezTo>
                      <a:pt x="58" y="21"/>
                      <a:pt x="58" y="21"/>
                      <a:pt x="58" y="21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4" y="34"/>
                      <a:pt x="54" y="34"/>
                      <a:pt x="54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61" y="30"/>
                      <a:pt x="61" y="30"/>
                      <a:pt x="61" y="30"/>
                    </a:cubicBezTo>
                    <a:cubicBezTo>
                      <a:pt x="66" y="35"/>
                      <a:pt x="66" y="35"/>
                      <a:pt x="66" y="35"/>
                    </a:cubicBezTo>
                    <a:cubicBezTo>
                      <a:pt x="66" y="35"/>
                      <a:pt x="66" y="36"/>
                      <a:pt x="66" y="36"/>
                    </a:cubicBezTo>
                    <a:cubicBezTo>
                      <a:pt x="66" y="36"/>
                      <a:pt x="66" y="36"/>
                      <a:pt x="65" y="36"/>
                    </a:cubicBezTo>
                    <a:cubicBezTo>
                      <a:pt x="54" y="36"/>
                      <a:pt x="54" y="36"/>
                      <a:pt x="54" y="36"/>
                    </a:cubicBezTo>
                    <a:cubicBezTo>
                      <a:pt x="54" y="38"/>
                      <a:pt x="54" y="41"/>
                      <a:pt x="54" y="44"/>
                    </a:cubicBezTo>
                    <a:cubicBezTo>
                      <a:pt x="54" y="46"/>
                      <a:pt x="53" y="48"/>
                      <a:pt x="53" y="49"/>
                    </a:cubicBezTo>
                    <a:cubicBezTo>
                      <a:pt x="53" y="50"/>
                      <a:pt x="53" y="50"/>
                      <a:pt x="53" y="51"/>
                    </a:cubicBezTo>
                    <a:cubicBezTo>
                      <a:pt x="53" y="51"/>
                      <a:pt x="53" y="51"/>
                      <a:pt x="53" y="51"/>
                    </a:cubicBezTo>
                    <a:cubicBezTo>
                      <a:pt x="56" y="51"/>
                      <a:pt x="56" y="51"/>
                      <a:pt x="56" y="51"/>
                    </a:cubicBezTo>
                    <a:cubicBezTo>
                      <a:pt x="59" y="47"/>
                      <a:pt x="59" y="47"/>
                      <a:pt x="59" y="47"/>
                    </a:cubicBezTo>
                    <a:close/>
                    <a:moveTo>
                      <a:pt x="24" y="51"/>
                    </a:moveTo>
                    <a:cubicBezTo>
                      <a:pt x="49" y="51"/>
                      <a:pt x="49" y="51"/>
                      <a:pt x="49" y="51"/>
                    </a:cubicBezTo>
                    <a:cubicBezTo>
                      <a:pt x="49" y="50"/>
                      <a:pt x="49" y="49"/>
                      <a:pt x="50" y="47"/>
                    </a:cubicBezTo>
                    <a:cubicBezTo>
                      <a:pt x="50" y="44"/>
                      <a:pt x="50" y="43"/>
                      <a:pt x="50" y="42"/>
                    </a:cubicBezTo>
                    <a:cubicBezTo>
                      <a:pt x="50" y="36"/>
                      <a:pt x="50" y="36"/>
                      <a:pt x="50" y="36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6" y="42"/>
                      <a:pt x="25" y="47"/>
                      <a:pt x="24" y="51"/>
                    </a:cubicBezTo>
                    <a:close/>
                    <a:moveTo>
                      <a:pt x="27" y="34"/>
                    </a:moveTo>
                    <a:cubicBezTo>
                      <a:pt x="50" y="34"/>
                      <a:pt x="50" y="34"/>
                      <a:pt x="50" y="34"/>
                    </a:cubicBezTo>
                    <a:cubicBezTo>
                      <a:pt x="51" y="22"/>
                      <a:pt x="51" y="22"/>
                      <a:pt x="51" y="22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7" y="34"/>
                      <a:pt x="27" y="34"/>
                      <a:pt x="27" y="34"/>
                    </a:cubicBezTo>
                    <a:close/>
                    <a:moveTo>
                      <a:pt x="19" y="12"/>
                    </a:moveTo>
                    <a:cubicBezTo>
                      <a:pt x="19" y="14"/>
                      <a:pt x="18" y="16"/>
                      <a:pt x="17" y="18"/>
                    </a:cubicBezTo>
                    <a:cubicBezTo>
                      <a:pt x="17" y="21"/>
                      <a:pt x="15" y="25"/>
                      <a:pt x="14" y="30"/>
                    </a:cubicBezTo>
                    <a:cubicBezTo>
                      <a:pt x="13" y="35"/>
                      <a:pt x="12" y="39"/>
                      <a:pt x="11" y="40"/>
                    </a:cubicBezTo>
                    <a:cubicBezTo>
                      <a:pt x="11" y="41"/>
                      <a:pt x="11" y="43"/>
                      <a:pt x="11" y="45"/>
                    </a:cubicBezTo>
                    <a:cubicBezTo>
                      <a:pt x="10" y="47"/>
                      <a:pt x="10" y="49"/>
                      <a:pt x="10" y="50"/>
                    </a:cubicBezTo>
                    <a:cubicBezTo>
                      <a:pt x="10" y="52"/>
                      <a:pt x="10" y="53"/>
                      <a:pt x="10" y="54"/>
                    </a:cubicBezTo>
                    <a:cubicBezTo>
                      <a:pt x="10" y="55"/>
                      <a:pt x="10" y="57"/>
                      <a:pt x="10" y="58"/>
                    </a:cubicBezTo>
                    <a:cubicBezTo>
                      <a:pt x="11" y="60"/>
                      <a:pt x="11" y="61"/>
                      <a:pt x="11" y="62"/>
                    </a:cubicBezTo>
                    <a:cubicBezTo>
                      <a:pt x="11" y="63"/>
                      <a:pt x="10" y="64"/>
                      <a:pt x="8" y="64"/>
                    </a:cubicBezTo>
                    <a:cubicBezTo>
                      <a:pt x="8" y="64"/>
                      <a:pt x="8" y="64"/>
                      <a:pt x="7" y="63"/>
                    </a:cubicBezTo>
                    <a:cubicBezTo>
                      <a:pt x="6" y="63"/>
                      <a:pt x="6" y="63"/>
                      <a:pt x="6" y="62"/>
                    </a:cubicBezTo>
                    <a:cubicBezTo>
                      <a:pt x="5" y="62"/>
                      <a:pt x="5" y="62"/>
                      <a:pt x="5" y="61"/>
                    </a:cubicBezTo>
                    <a:cubicBezTo>
                      <a:pt x="5" y="61"/>
                      <a:pt x="5" y="60"/>
                      <a:pt x="5" y="60"/>
                    </a:cubicBezTo>
                    <a:cubicBezTo>
                      <a:pt x="5" y="59"/>
                      <a:pt x="5" y="59"/>
                      <a:pt x="5" y="58"/>
                    </a:cubicBezTo>
                    <a:cubicBezTo>
                      <a:pt x="5" y="58"/>
                      <a:pt x="5" y="58"/>
                      <a:pt x="6" y="57"/>
                    </a:cubicBezTo>
                    <a:cubicBezTo>
                      <a:pt x="6" y="56"/>
                      <a:pt x="6" y="54"/>
                      <a:pt x="6" y="53"/>
                    </a:cubicBezTo>
                    <a:cubicBezTo>
                      <a:pt x="6" y="52"/>
                      <a:pt x="7" y="51"/>
                      <a:pt x="7" y="51"/>
                    </a:cubicBezTo>
                    <a:cubicBezTo>
                      <a:pt x="6" y="49"/>
                      <a:pt x="6" y="48"/>
                      <a:pt x="6" y="48"/>
                    </a:cubicBezTo>
                    <a:cubicBezTo>
                      <a:pt x="5" y="47"/>
                      <a:pt x="3" y="46"/>
                      <a:pt x="0" y="46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45"/>
                      <a:pt x="5" y="45"/>
                      <a:pt x="6" y="44"/>
                    </a:cubicBezTo>
                    <a:cubicBezTo>
                      <a:pt x="6" y="44"/>
                      <a:pt x="7" y="42"/>
                      <a:pt x="8" y="39"/>
                    </a:cubicBezTo>
                    <a:cubicBezTo>
                      <a:pt x="10" y="35"/>
                      <a:pt x="13" y="27"/>
                      <a:pt x="18" y="12"/>
                    </a:cubicBezTo>
                    <a:cubicBezTo>
                      <a:pt x="19" y="12"/>
                      <a:pt x="19" y="12"/>
                      <a:pt x="19" y="12"/>
                    </a:cubicBezTo>
                    <a:close/>
                    <a:moveTo>
                      <a:pt x="0" y="18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3" y="18"/>
                      <a:pt x="4" y="19"/>
                      <a:pt x="6" y="20"/>
                    </a:cubicBezTo>
                    <a:cubicBezTo>
                      <a:pt x="8" y="21"/>
                      <a:pt x="9" y="23"/>
                      <a:pt x="9" y="24"/>
                    </a:cubicBezTo>
                    <a:cubicBezTo>
                      <a:pt x="9" y="26"/>
                      <a:pt x="9" y="27"/>
                      <a:pt x="8" y="28"/>
                    </a:cubicBezTo>
                    <a:cubicBezTo>
                      <a:pt x="7" y="29"/>
                      <a:pt x="6" y="30"/>
                      <a:pt x="6" y="29"/>
                    </a:cubicBezTo>
                    <a:cubicBezTo>
                      <a:pt x="6" y="29"/>
                      <a:pt x="5" y="28"/>
                      <a:pt x="5" y="25"/>
                    </a:cubicBezTo>
                    <a:cubicBezTo>
                      <a:pt x="4" y="23"/>
                      <a:pt x="2" y="21"/>
                      <a:pt x="0" y="18"/>
                    </a:cubicBezTo>
                    <a:close/>
                    <a:moveTo>
                      <a:pt x="6" y="3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3"/>
                      <a:pt x="9" y="3"/>
                      <a:pt x="10" y="4"/>
                    </a:cubicBezTo>
                    <a:cubicBezTo>
                      <a:pt x="11" y="5"/>
                      <a:pt x="13" y="6"/>
                      <a:pt x="15" y="7"/>
                    </a:cubicBezTo>
                    <a:cubicBezTo>
                      <a:pt x="17" y="8"/>
                      <a:pt x="17" y="10"/>
                      <a:pt x="16" y="11"/>
                    </a:cubicBezTo>
                    <a:cubicBezTo>
                      <a:pt x="14" y="13"/>
                      <a:pt x="13" y="14"/>
                      <a:pt x="13" y="13"/>
                    </a:cubicBezTo>
                    <a:cubicBezTo>
                      <a:pt x="13" y="13"/>
                      <a:pt x="12" y="13"/>
                      <a:pt x="12" y="1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9" y="7"/>
                      <a:pt x="8" y="5"/>
                      <a:pt x="6" y="3"/>
                    </a:cubicBezTo>
                    <a:close/>
                  </a:path>
                </a:pathLst>
              </a:custGeom>
              <a:solidFill>
                <a:srgbClr val="2318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69" name="iṣḻîḑê"/>
              <p:cNvSpPr/>
              <p:nvPr/>
            </p:nvSpPr>
            <p:spPr bwMode="auto">
              <a:xfrm>
                <a:off x="10274300" y="6678613"/>
                <a:ext cx="146050" cy="142875"/>
              </a:xfrm>
              <a:custGeom>
                <a:avLst/>
                <a:gdLst>
                  <a:gd name="T0" fmla="*/ 37 w 68"/>
                  <a:gd name="T1" fmla="*/ 14 h 67"/>
                  <a:gd name="T2" fmla="*/ 24 w 68"/>
                  <a:gd name="T3" fmla="*/ 15 h 67"/>
                  <a:gd name="T4" fmla="*/ 37 w 68"/>
                  <a:gd name="T5" fmla="*/ 12 h 67"/>
                  <a:gd name="T6" fmla="*/ 36 w 68"/>
                  <a:gd name="T7" fmla="*/ 0 h 67"/>
                  <a:gd name="T8" fmla="*/ 43 w 68"/>
                  <a:gd name="T9" fmla="*/ 3 h 67"/>
                  <a:gd name="T10" fmla="*/ 41 w 68"/>
                  <a:gd name="T11" fmla="*/ 5 h 67"/>
                  <a:gd name="T12" fmla="*/ 45 w 68"/>
                  <a:gd name="T13" fmla="*/ 12 h 67"/>
                  <a:gd name="T14" fmla="*/ 52 w 68"/>
                  <a:gd name="T15" fmla="*/ 12 h 67"/>
                  <a:gd name="T16" fmla="*/ 63 w 68"/>
                  <a:gd name="T17" fmla="*/ 7 h 67"/>
                  <a:gd name="T18" fmla="*/ 62 w 68"/>
                  <a:gd name="T19" fmla="*/ 8 h 67"/>
                  <a:gd name="T20" fmla="*/ 59 w 68"/>
                  <a:gd name="T21" fmla="*/ 10 h 67"/>
                  <a:gd name="T22" fmla="*/ 47 w 68"/>
                  <a:gd name="T23" fmla="*/ 24 h 67"/>
                  <a:gd name="T24" fmla="*/ 62 w 68"/>
                  <a:gd name="T25" fmla="*/ 21 h 67"/>
                  <a:gd name="T26" fmla="*/ 68 w 68"/>
                  <a:gd name="T27" fmla="*/ 26 h 67"/>
                  <a:gd name="T28" fmla="*/ 63 w 68"/>
                  <a:gd name="T29" fmla="*/ 26 h 67"/>
                  <a:gd name="T30" fmla="*/ 36 w 68"/>
                  <a:gd name="T31" fmla="*/ 36 h 67"/>
                  <a:gd name="T32" fmla="*/ 55 w 68"/>
                  <a:gd name="T33" fmla="*/ 33 h 67"/>
                  <a:gd name="T34" fmla="*/ 60 w 68"/>
                  <a:gd name="T35" fmla="*/ 36 h 67"/>
                  <a:gd name="T36" fmla="*/ 57 w 68"/>
                  <a:gd name="T37" fmla="*/ 39 h 67"/>
                  <a:gd name="T38" fmla="*/ 58 w 68"/>
                  <a:gd name="T39" fmla="*/ 65 h 67"/>
                  <a:gd name="T40" fmla="*/ 53 w 68"/>
                  <a:gd name="T41" fmla="*/ 59 h 67"/>
                  <a:gd name="T42" fmla="*/ 33 w 68"/>
                  <a:gd name="T43" fmla="*/ 65 h 67"/>
                  <a:gd name="T44" fmla="*/ 29 w 68"/>
                  <a:gd name="T45" fmla="*/ 61 h 67"/>
                  <a:gd name="T46" fmla="*/ 18 w 68"/>
                  <a:gd name="T47" fmla="*/ 48 h 67"/>
                  <a:gd name="T48" fmla="*/ 29 w 68"/>
                  <a:gd name="T49" fmla="*/ 38 h 67"/>
                  <a:gd name="T50" fmla="*/ 28 w 68"/>
                  <a:gd name="T51" fmla="*/ 33 h 67"/>
                  <a:gd name="T52" fmla="*/ 36 w 68"/>
                  <a:gd name="T53" fmla="*/ 31 h 67"/>
                  <a:gd name="T54" fmla="*/ 41 w 68"/>
                  <a:gd name="T55" fmla="*/ 26 h 67"/>
                  <a:gd name="T56" fmla="*/ 20 w 68"/>
                  <a:gd name="T57" fmla="*/ 27 h 67"/>
                  <a:gd name="T58" fmla="*/ 37 w 68"/>
                  <a:gd name="T59" fmla="*/ 24 h 67"/>
                  <a:gd name="T60" fmla="*/ 51 w 68"/>
                  <a:gd name="T61" fmla="*/ 14 h 67"/>
                  <a:gd name="T62" fmla="*/ 41 w 68"/>
                  <a:gd name="T63" fmla="*/ 24 h 67"/>
                  <a:gd name="T64" fmla="*/ 53 w 68"/>
                  <a:gd name="T65" fmla="*/ 37 h 67"/>
                  <a:gd name="T66" fmla="*/ 33 w 68"/>
                  <a:gd name="T67" fmla="*/ 38 h 67"/>
                  <a:gd name="T68" fmla="*/ 53 w 68"/>
                  <a:gd name="T69" fmla="*/ 46 h 67"/>
                  <a:gd name="T70" fmla="*/ 33 w 68"/>
                  <a:gd name="T71" fmla="*/ 58 h 67"/>
                  <a:gd name="T72" fmla="*/ 53 w 68"/>
                  <a:gd name="T73" fmla="*/ 48 h 67"/>
                  <a:gd name="T74" fmla="*/ 33 w 68"/>
                  <a:gd name="T75" fmla="*/ 58 h 67"/>
                  <a:gd name="T76" fmla="*/ 9 w 68"/>
                  <a:gd name="T77" fmla="*/ 25 h 67"/>
                  <a:gd name="T78" fmla="*/ 16 w 68"/>
                  <a:gd name="T79" fmla="*/ 25 h 67"/>
                  <a:gd name="T80" fmla="*/ 16 w 68"/>
                  <a:gd name="T81" fmla="*/ 26 h 67"/>
                  <a:gd name="T82" fmla="*/ 14 w 68"/>
                  <a:gd name="T83" fmla="*/ 54 h 67"/>
                  <a:gd name="T84" fmla="*/ 26 w 68"/>
                  <a:gd name="T85" fmla="*/ 47 h 67"/>
                  <a:gd name="T86" fmla="*/ 21 w 68"/>
                  <a:gd name="T87" fmla="*/ 52 h 67"/>
                  <a:gd name="T88" fmla="*/ 7 w 68"/>
                  <a:gd name="T89" fmla="*/ 59 h 67"/>
                  <a:gd name="T90" fmla="*/ 10 w 68"/>
                  <a:gd name="T91" fmla="*/ 52 h 67"/>
                  <a:gd name="T92" fmla="*/ 6 w 68"/>
                  <a:gd name="T93" fmla="*/ 27 h 67"/>
                  <a:gd name="T94" fmla="*/ 0 w 68"/>
                  <a:gd name="T95" fmla="*/ 26 h 67"/>
                  <a:gd name="T96" fmla="*/ 7 w 68"/>
                  <a:gd name="T97" fmla="*/ 3 h 67"/>
                  <a:gd name="T98" fmla="*/ 16 w 68"/>
                  <a:gd name="T99" fmla="*/ 9 h 67"/>
                  <a:gd name="T100" fmla="*/ 17 w 68"/>
                  <a:gd name="T101" fmla="*/ 15 h 67"/>
                  <a:gd name="T102" fmla="*/ 14 w 68"/>
                  <a:gd name="T103" fmla="*/ 15 h 67"/>
                  <a:gd name="T104" fmla="*/ 7 w 68"/>
                  <a:gd name="T105" fmla="*/ 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67">
                    <a:moveTo>
                      <a:pt x="37" y="24"/>
                    </a:moveTo>
                    <a:cubicBezTo>
                      <a:pt x="37" y="14"/>
                      <a:pt x="37" y="14"/>
                      <a:pt x="37" y="14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7" y="14"/>
                      <a:pt x="25" y="14"/>
                      <a:pt x="24" y="15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3" y="2"/>
                      <a:pt x="43" y="3"/>
                      <a:pt x="43" y="3"/>
                    </a:cubicBezTo>
                    <a:cubicBezTo>
                      <a:pt x="43" y="3"/>
                      <a:pt x="43" y="3"/>
                      <a:pt x="43" y="3"/>
                    </a:cubicBezTo>
                    <a:cubicBezTo>
                      <a:pt x="41" y="5"/>
                      <a:pt x="41" y="5"/>
                      <a:pt x="41" y="5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5" y="12"/>
                      <a:pt x="45" y="12"/>
                      <a:pt x="45" y="12"/>
                    </a:cubicBezTo>
                    <a:cubicBezTo>
                      <a:pt x="48" y="8"/>
                      <a:pt x="48" y="8"/>
                      <a:pt x="48" y="8"/>
                    </a:cubicBezTo>
                    <a:cubicBezTo>
                      <a:pt x="52" y="12"/>
                      <a:pt x="52" y="12"/>
                      <a:pt x="52" y="12"/>
                    </a:cubicBezTo>
                    <a:cubicBezTo>
                      <a:pt x="54" y="9"/>
                      <a:pt x="56" y="6"/>
                      <a:pt x="58" y="3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3" y="8"/>
                      <a:pt x="63" y="8"/>
                      <a:pt x="63" y="8"/>
                    </a:cubicBezTo>
                    <a:cubicBezTo>
                      <a:pt x="62" y="8"/>
                      <a:pt x="62" y="8"/>
                      <a:pt x="62" y="8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0" y="9"/>
                      <a:pt x="59" y="10"/>
                      <a:pt x="59" y="10"/>
                    </a:cubicBezTo>
                    <a:cubicBezTo>
                      <a:pt x="58" y="11"/>
                      <a:pt x="57" y="13"/>
                      <a:pt x="55" y="16"/>
                    </a:cubicBezTo>
                    <a:cubicBezTo>
                      <a:pt x="52" y="19"/>
                      <a:pt x="50" y="22"/>
                      <a:pt x="47" y="24"/>
                    </a:cubicBezTo>
                    <a:cubicBezTo>
                      <a:pt x="59" y="24"/>
                      <a:pt x="59" y="24"/>
                      <a:pt x="59" y="24"/>
                    </a:cubicBezTo>
                    <a:cubicBezTo>
                      <a:pt x="62" y="21"/>
                      <a:pt x="62" y="21"/>
                      <a:pt x="62" y="21"/>
                    </a:cubicBezTo>
                    <a:cubicBezTo>
                      <a:pt x="67" y="25"/>
                      <a:pt x="67" y="25"/>
                      <a:pt x="67" y="25"/>
                    </a:cubicBezTo>
                    <a:cubicBezTo>
                      <a:pt x="68" y="26"/>
                      <a:pt x="68" y="26"/>
                      <a:pt x="68" y="26"/>
                    </a:cubicBezTo>
                    <a:cubicBezTo>
                      <a:pt x="68" y="26"/>
                      <a:pt x="67" y="26"/>
                      <a:pt x="67" y="26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3" y="29"/>
                      <a:pt x="39" y="32"/>
                      <a:pt x="36" y="36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9" y="36"/>
                      <a:pt x="59" y="36"/>
                      <a:pt x="59" y="36"/>
                    </a:cubicBezTo>
                    <a:cubicBezTo>
                      <a:pt x="60" y="36"/>
                      <a:pt x="60" y="36"/>
                      <a:pt x="60" y="36"/>
                    </a:cubicBezTo>
                    <a:cubicBezTo>
                      <a:pt x="60" y="36"/>
                      <a:pt x="60" y="37"/>
                      <a:pt x="59" y="37"/>
                    </a:cubicBezTo>
                    <a:cubicBezTo>
                      <a:pt x="57" y="39"/>
                      <a:pt x="57" y="39"/>
                      <a:pt x="57" y="39"/>
                    </a:cubicBezTo>
                    <a:cubicBezTo>
                      <a:pt x="57" y="59"/>
                      <a:pt x="57" y="59"/>
                      <a:pt x="57" y="59"/>
                    </a:cubicBezTo>
                    <a:cubicBezTo>
                      <a:pt x="58" y="65"/>
                      <a:pt x="58" y="65"/>
                      <a:pt x="58" y="65"/>
                    </a:cubicBezTo>
                    <a:cubicBezTo>
                      <a:pt x="56" y="66"/>
                      <a:pt x="55" y="66"/>
                      <a:pt x="53" y="67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65"/>
                      <a:pt x="33" y="65"/>
                      <a:pt x="33" y="65"/>
                    </a:cubicBezTo>
                    <a:cubicBezTo>
                      <a:pt x="31" y="66"/>
                      <a:pt x="30" y="67"/>
                      <a:pt x="28" y="67"/>
                    </a:cubicBezTo>
                    <a:cubicBezTo>
                      <a:pt x="29" y="61"/>
                      <a:pt x="29" y="61"/>
                      <a:pt x="29" y="61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6"/>
                      <a:pt x="18" y="48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22" y="44"/>
                      <a:pt x="26" y="41"/>
                      <a:pt x="29" y="38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34" y="33"/>
                      <a:pt x="35" y="32"/>
                      <a:pt x="36" y="31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41" y="26"/>
                      <a:pt x="41" y="26"/>
                      <a:pt x="41" y="26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23" y="26"/>
                      <a:pt x="22" y="27"/>
                      <a:pt x="20" y="27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37" y="24"/>
                      <a:pt x="37" y="24"/>
                      <a:pt x="37" y="24"/>
                    </a:cubicBezTo>
                    <a:close/>
                    <a:moveTo>
                      <a:pt x="43" y="24"/>
                    </a:moveTo>
                    <a:cubicBezTo>
                      <a:pt x="46" y="21"/>
                      <a:pt x="49" y="17"/>
                      <a:pt x="51" y="14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43" y="24"/>
                      <a:pt x="43" y="24"/>
                      <a:pt x="43" y="24"/>
                    </a:cubicBezTo>
                    <a:close/>
                    <a:moveTo>
                      <a:pt x="53" y="37"/>
                    </a:moveTo>
                    <a:cubicBezTo>
                      <a:pt x="34" y="37"/>
                      <a:pt x="34" y="37"/>
                      <a:pt x="34" y="37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3" y="37"/>
                      <a:pt x="53" y="37"/>
                      <a:pt x="53" y="37"/>
                    </a:cubicBezTo>
                    <a:close/>
                    <a:moveTo>
                      <a:pt x="33" y="58"/>
                    </a:moveTo>
                    <a:cubicBezTo>
                      <a:pt x="53" y="58"/>
                      <a:pt x="53" y="58"/>
                      <a:pt x="53" y="58"/>
                    </a:cubicBezTo>
                    <a:cubicBezTo>
                      <a:pt x="53" y="48"/>
                      <a:pt x="53" y="48"/>
                      <a:pt x="53" y="48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3" y="58"/>
                      <a:pt x="33" y="58"/>
                      <a:pt x="33" y="58"/>
                    </a:cubicBezTo>
                    <a:close/>
                    <a:moveTo>
                      <a:pt x="0" y="26"/>
                    </a:moveTo>
                    <a:cubicBezTo>
                      <a:pt x="9" y="25"/>
                      <a:pt x="9" y="25"/>
                      <a:pt x="9" y="25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16" y="25"/>
                      <a:pt x="17" y="26"/>
                      <a:pt x="17" y="26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8" y="51"/>
                      <a:pt x="22" y="49"/>
                      <a:pt x="26" y="46"/>
                    </a:cubicBezTo>
                    <a:cubicBezTo>
                      <a:pt x="26" y="47"/>
                      <a:pt x="26" y="47"/>
                      <a:pt x="26" y="47"/>
                    </a:cubicBezTo>
                    <a:cubicBezTo>
                      <a:pt x="26" y="48"/>
                      <a:pt x="25" y="48"/>
                      <a:pt x="25" y="48"/>
                    </a:cubicBezTo>
                    <a:cubicBezTo>
                      <a:pt x="21" y="52"/>
                      <a:pt x="21" y="52"/>
                      <a:pt x="21" y="52"/>
                    </a:cubicBezTo>
                    <a:cubicBezTo>
                      <a:pt x="17" y="56"/>
                      <a:pt x="13" y="60"/>
                      <a:pt x="11" y="63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8" y="57"/>
                      <a:pt x="9" y="56"/>
                      <a:pt x="10" y="55"/>
                    </a:cubicBezTo>
                    <a:cubicBezTo>
                      <a:pt x="10" y="55"/>
                      <a:pt x="10" y="53"/>
                      <a:pt x="10" y="52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5" y="27"/>
                      <a:pt x="3" y="28"/>
                      <a:pt x="3" y="28"/>
                    </a:cubicBezTo>
                    <a:cubicBezTo>
                      <a:pt x="0" y="26"/>
                      <a:pt x="0" y="26"/>
                      <a:pt x="0" y="26"/>
                    </a:cubicBezTo>
                    <a:close/>
                    <a:moveTo>
                      <a:pt x="7" y="3"/>
                    </a:moveTo>
                    <a:cubicBezTo>
                      <a:pt x="7" y="3"/>
                      <a:pt x="7" y="3"/>
                      <a:pt x="7" y="3"/>
                    </a:cubicBezTo>
                    <a:cubicBezTo>
                      <a:pt x="11" y="5"/>
                      <a:pt x="13" y="6"/>
                      <a:pt x="14" y="7"/>
                    </a:cubicBezTo>
                    <a:cubicBezTo>
                      <a:pt x="15" y="7"/>
                      <a:pt x="16" y="8"/>
                      <a:pt x="16" y="9"/>
                    </a:cubicBezTo>
                    <a:cubicBezTo>
                      <a:pt x="17" y="10"/>
                      <a:pt x="18" y="11"/>
                      <a:pt x="18" y="12"/>
                    </a:cubicBezTo>
                    <a:cubicBezTo>
                      <a:pt x="18" y="12"/>
                      <a:pt x="17" y="13"/>
                      <a:pt x="17" y="15"/>
                    </a:cubicBezTo>
                    <a:cubicBezTo>
                      <a:pt x="16" y="16"/>
                      <a:pt x="15" y="16"/>
                      <a:pt x="15" y="16"/>
                    </a:cubicBezTo>
                    <a:cubicBezTo>
                      <a:pt x="14" y="16"/>
                      <a:pt x="14" y="16"/>
                      <a:pt x="14" y="15"/>
                    </a:cubicBezTo>
                    <a:cubicBezTo>
                      <a:pt x="14" y="15"/>
                      <a:pt x="13" y="14"/>
                      <a:pt x="13" y="12"/>
                    </a:cubicBezTo>
                    <a:cubicBezTo>
                      <a:pt x="12" y="10"/>
                      <a:pt x="10" y="7"/>
                      <a:pt x="7" y="3"/>
                    </a:cubicBezTo>
                    <a:close/>
                  </a:path>
                </a:pathLst>
              </a:custGeom>
              <a:solidFill>
                <a:srgbClr val="2318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70" name="îṥlíḓè"/>
              <p:cNvSpPr/>
              <p:nvPr/>
            </p:nvSpPr>
            <p:spPr bwMode="auto">
              <a:xfrm>
                <a:off x="10437813" y="6675438"/>
                <a:ext cx="123825" cy="144463"/>
              </a:xfrm>
              <a:custGeom>
                <a:avLst/>
                <a:gdLst>
                  <a:gd name="T0" fmla="*/ 13 w 58"/>
                  <a:gd name="T1" fmla="*/ 13 h 67"/>
                  <a:gd name="T2" fmla="*/ 50 w 58"/>
                  <a:gd name="T3" fmla="*/ 34 h 67"/>
                  <a:gd name="T4" fmla="*/ 57 w 58"/>
                  <a:gd name="T5" fmla="*/ 34 h 67"/>
                  <a:gd name="T6" fmla="*/ 57 w 58"/>
                  <a:gd name="T7" fmla="*/ 36 h 67"/>
                  <a:gd name="T8" fmla="*/ 55 w 58"/>
                  <a:gd name="T9" fmla="*/ 45 h 67"/>
                  <a:gd name="T10" fmla="*/ 51 w 58"/>
                  <a:gd name="T11" fmla="*/ 63 h 67"/>
                  <a:gd name="T12" fmla="*/ 43 w 58"/>
                  <a:gd name="T13" fmla="*/ 65 h 67"/>
                  <a:gd name="T14" fmla="*/ 37 w 58"/>
                  <a:gd name="T15" fmla="*/ 61 h 67"/>
                  <a:gd name="T16" fmla="*/ 46 w 58"/>
                  <a:gd name="T17" fmla="*/ 61 h 67"/>
                  <a:gd name="T18" fmla="*/ 51 w 58"/>
                  <a:gd name="T19" fmla="*/ 46 h 67"/>
                  <a:gd name="T20" fmla="*/ 13 w 58"/>
                  <a:gd name="T21" fmla="*/ 36 h 67"/>
                  <a:gd name="T22" fmla="*/ 6 w 58"/>
                  <a:gd name="T23" fmla="*/ 35 h 67"/>
                  <a:gd name="T24" fmla="*/ 9 w 58"/>
                  <a:gd name="T25" fmla="*/ 14 h 67"/>
                  <a:gd name="T26" fmla="*/ 13 w 58"/>
                  <a:gd name="T27" fmla="*/ 11 h 67"/>
                  <a:gd name="T28" fmla="*/ 18 w 58"/>
                  <a:gd name="T29" fmla="*/ 9 h 67"/>
                  <a:gd name="T30" fmla="*/ 20 w 58"/>
                  <a:gd name="T31" fmla="*/ 2 h 67"/>
                  <a:gd name="T32" fmla="*/ 25 w 58"/>
                  <a:gd name="T33" fmla="*/ 3 h 67"/>
                  <a:gd name="T34" fmla="*/ 25 w 58"/>
                  <a:gd name="T35" fmla="*/ 4 h 67"/>
                  <a:gd name="T36" fmla="*/ 19 w 58"/>
                  <a:gd name="T37" fmla="*/ 11 h 67"/>
                  <a:gd name="T38" fmla="*/ 42 w 58"/>
                  <a:gd name="T39" fmla="*/ 8 h 67"/>
                  <a:gd name="T40" fmla="*/ 47 w 58"/>
                  <a:gd name="T41" fmla="*/ 11 h 67"/>
                  <a:gd name="T42" fmla="*/ 45 w 58"/>
                  <a:gd name="T43" fmla="*/ 13 h 67"/>
                  <a:gd name="T44" fmla="*/ 42 w 58"/>
                  <a:gd name="T45" fmla="*/ 28 h 67"/>
                  <a:gd name="T46" fmla="*/ 35 w 58"/>
                  <a:gd name="T47" fmla="*/ 31 h 67"/>
                  <a:gd name="T48" fmla="*/ 28 w 58"/>
                  <a:gd name="T49" fmla="*/ 27 h 67"/>
                  <a:gd name="T50" fmla="*/ 36 w 58"/>
                  <a:gd name="T51" fmla="*/ 27 h 67"/>
                  <a:gd name="T52" fmla="*/ 39 w 58"/>
                  <a:gd name="T53" fmla="*/ 23 h 67"/>
                  <a:gd name="T54" fmla="*/ 41 w 58"/>
                  <a:gd name="T55" fmla="*/ 13 h 67"/>
                  <a:gd name="T56" fmla="*/ 2 w 58"/>
                  <a:gd name="T57" fmla="*/ 41 h 67"/>
                  <a:gd name="T58" fmla="*/ 8 w 58"/>
                  <a:gd name="T59" fmla="*/ 44 h 67"/>
                  <a:gd name="T60" fmla="*/ 6 w 58"/>
                  <a:gd name="T61" fmla="*/ 45 h 67"/>
                  <a:gd name="T62" fmla="*/ 19 w 58"/>
                  <a:gd name="T63" fmla="*/ 55 h 67"/>
                  <a:gd name="T64" fmla="*/ 18 w 58"/>
                  <a:gd name="T65" fmla="*/ 39 h 67"/>
                  <a:gd name="T66" fmla="*/ 24 w 58"/>
                  <a:gd name="T67" fmla="*/ 41 h 67"/>
                  <a:gd name="T68" fmla="*/ 22 w 58"/>
                  <a:gd name="T69" fmla="*/ 43 h 67"/>
                  <a:gd name="T70" fmla="*/ 36 w 58"/>
                  <a:gd name="T71" fmla="*/ 54 h 67"/>
                  <a:gd name="T72" fmla="*/ 35 w 58"/>
                  <a:gd name="T73" fmla="*/ 41 h 67"/>
                  <a:gd name="T74" fmla="*/ 41 w 58"/>
                  <a:gd name="T75" fmla="*/ 43 h 67"/>
                  <a:gd name="T76" fmla="*/ 39 w 58"/>
                  <a:gd name="T77" fmla="*/ 45 h 67"/>
                  <a:gd name="T78" fmla="*/ 40 w 58"/>
                  <a:gd name="T79" fmla="*/ 56 h 67"/>
                  <a:gd name="T80" fmla="*/ 37 w 58"/>
                  <a:gd name="T81" fmla="*/ 58 h 67"/>
                  <a:gd name="T82" fmla="*/ 36 w 58"/>
                  <a:gd name="T83" fmla="*/ 56 h 67"/>
                  <a:gd name="T84" fmla="*/ 4 w 58"/>
                  <a:gd name="T85" fmla="*/ 59 h 67"/>
                  <a:gd name="T86" fmla="*/ 2 w 58"/>
                  <a:gd name="T87" fmla="*/ 54 h 67"/>
                  <a:gd name="T88" fmla="*/ 2 w 58"/>
                  <a:gd name="T89" fmla="*/ 41 h 67"/>
                  <a:gd name="T90" fmla="*/ 26 w 58"/>
                  <a:gd name="T91" fmla="*/ 17 h 67"/>
                  <a:gd name="T92" fmla="*/ 30 w 58"/>
                  <a:gd name="T93" fmla="*/ 21 h 67"/>
                  <a:gd name="T94" fmla="*/ 27 w 58"/>
                  <a:gd name="T95" fmla="*/ 23 h 67"/>
                  <a:gd name="T96" fmla="*/ 18 w 58"/>
                  <a:gd name="T97" fmla="*/ 1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8" h="67">
                    <a:moveTo>
                      <a:pt x="41" y="13"/>
                    </a:move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50" y="34"/>
                      <a:pt x="50" y="34"/>
                      <a:pt x="50" y="34"/>
                    </a:cubicBezTo>
                    <a:cubicBezTo>
                      <a:pt x="53" y="31"/>
                      <a:pt x="53" y="31"/>
                      <a:pt x="53" y="31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8" y="34"/>
                      <a:pt x="58" y="35"/>
                      <a:pt x="58" y="35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41"/>
                      <a:pt x="55" y="43"/>
                      <a:pt x="55" y="45"/>
                    </a:cubicBezTo>
                    <a:cubicBezTo>
                      <a:pt x="54" y="47"/>
                      <a:pt x="54" y="50"/>
                      <a:pt x="54" y="54"/>
                    </a:cubicBezTo>
                    <a:cubicBezTo>
                      <a:pt x="53" y="58"/>
                      <a:pt x="52" y="61"/>
                      <a:pt x="51" y="63"/>
                    </a:cubicBezTo>
                    <a:cubicBezTo>
                      <a:pt x="49" y="65"/>
                      <a:pt x="47" y="67"/>
                      <a:pt x="44" y="67"/>
                    </a:cubicBezTo>
                    <a:cubicBezTo>
                      <a:pt x="44" y="67"/>
                      <a:pt x="43" y="66"/>
                      <a:pt x="43" y="65"/>
                    </a:cubicBezTo>
                    <a:cubicBezTo>
                      <a:pt x="43" y="64"/>
                      <a:pt x="42" y="63"/>
                      <a:pt x="42" y="63"/>
                    </a:cubicBezTo>
                    <a:cubicBezTo>
                      <a:pt x="41" y="62"/>
                      <a:pt x="39" y="62"/>
                      <a:pt x="37" y="61"/>
                    </a:cubicBezTo>
                    <a:cubicBezTo>
                      <a:pt x="37" y="60"/>
                      <a:pt x="37" y="60"/>
                      <a:pt x="37" y="60"/>
                    </a:cubicBezTo>
                    <a:cubicBezTo>
                      <a:pt x="42" y="61"/>
                      <a:pt x="45" y="61"/>
                      <a:pt x="46" y="61"/>
                    </a:cubicBezTo>
                    <a:cubicBezTo>
                      <a:pt x="47" y="60"/>
                      <a:pt x="49" y="59"/>
                      <a:pt x="49" y="56"/>
                    </a:cubicBezTo>
                    <a:cubicBezTo>
                      <a:pt x="50" y="54"/>
                      <a:pt x="50" y="50"/>
                      <a:pt x="51" y="46"/>
                    </a:cubicBezTo>
                    <a:cubicBezTo>
                      <a:pt x="51" y="36"/>
                      <a:pt x="51" y="36"/>
                      <a:pt x="51" y="3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1" y="38"/>
                      <a:pt x="11" y="38"/>
                      <a:pt x="11" y="3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8" y="10"/>
                      <a:pt x="18" y="9"/>
                      <a:pt x="18" y="9"/>
                    </a:cubicBezTo>
                    <a:cubicBezTo>
                      <a:pt x="18" y="8"/>
                      <a:pt x="19" y="7"/>
                      <a:pt x="19" y="6"/>
                    </a:cubicBezTo>
                    <a:cubicBezTo>
                      <a:pt x="20" y="4"/>
                      <a:pt x="20" y="3"/>
                      <a:pt x="20" y="2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6" y="4"/>
                      <a:pt x="26" y="4"/>
                      <a:pt x="25" y="4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2" y="7"/>
                      <a:pt x="20" y="9"/>
                      <a:pt x="19" y="11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2" y="8"/>
                      <a:pt x="42" y="8"/>
                      <a:pt x="42" y="8"/>
                    </a:cubicBezTo>
                    <a:cubicBezTo>
                      <a:pt x="46" y="10"/>
                      <a:pt x="46" y="10"/>
                      <a:pt x="46" y="10"/>
                    </a:cubicBezTo>
                    <a:cubicBezTo>
                      <a:pt x="47" y="10"/>
                      <a:pt x="47" y="11"/>
                      <a:pt x="47" y="11"/>
                    </a:cubicBezTo>
                    <a:cubicBezTo>
                      <a:pt x="47" y="11"/>
                      <a:pt x="47" y="11"/>
                      <a:pt x="47" y="12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5" y="15"/>
                      <a:pt x="44" y="17"/>
                      <a:pt x="44" y="20"/>
                    </a:cubicBezTo>
                    <a:cubicBezTo>
                      <a:pt x="44" y="23"/>
                      <a:pt x="43" y="26"/>
                      <a:pt x="42" y="28"/>
                    </a:cubicBezTo>
                    <a:cubicBezTo>
                      <a:pt x="41" y="29"/>
                      <a:pt x="38" y="31"/>
                      <a:pt x="35" y="32"/>
                    </a:cubicBezTo>
                    <a:cubicBezTo>
                      <a:pt x="35" y="32"/>
                      <a:pt x="35" y="31"/>
                      <a:pt x="35" y="31"/>
                    </a:cubicBezTo>
                    <a:cubicBezTo>
                      <a:pt x="34" y="30"/>
                      <a:pt x="34" y="30"/>
                      <a:pt x="34" y="29"/>
                    </a:cubicBezTo>
                    <a:cubicBezTo>
                      <a:pt x="33" y="29"/>
                      <a:pt x="31" y="28"/>
                      <a:pt x="28" y="27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32" y="27"/>
                      <a:pt x="34" y="27"/>
                      <a:pt x="36" y="27"/>
                    </a:cubicBezTo>
                    <a:cubicBezTo>
                      <a:pt x="37" y="27"/>
                      <a:pt x="37" y="26"/>
                      <a:pt x="38" y="26"/>
                    </a:cubicBezTo>
                    <a:cubicBezTo>
                      <a:pt x="38" y="25"/>
                      <a:pt x="39" y="25"/>
                      <a:pt x="39" y="23"/>
                    </a:cubicBezTo>
                    <a:cubicBezTo>
                      <a:pt x="40" y="22"/>
                      <a:pt x="40" y="20"/>
                      <a:pt x="40" y="17"/>
                    </a:cubicBezTo>
                    <a:cubicBezTo>
                      <a:pt x="40" y="15"/>
                      <a:pt x="41" y="14"/>
                      <a:pt x="41" y="13"/>
                    </a:cubicBezTo>
                    <a:cubicBezTo>
                      <a:pt x="41" y="13"/>
                      <a:pt x="41" y="13"/>
                      <a:pt x="41" y="13"/>
                    </a:cubicBezTo>
                    <a:close/>
                    <a:moveTo>
                      <a:pt x="2" y="41"/>
                    </a:moveTo>
                    <a:cubicBezTo>
                      <a:pt x="7" y="43"/>
                      <a:pt x="7" y="43"/>
                      <a:pt x="7" y="43"/>
                    </a:cubicBezTo>
                    <a:cubicBezTo>
                      <a:pt x="7" y="43"/>
                      <a:pt x="8" y="44"/>
                      <a:pt x="8" y="44"/>
                    </a:cubicBezTo>
                    <a:cubicBezTo>
                      <a:pt x="8" y="44"/>
                      <a:pt x="8" y="44"/>
                      <a:pt x="7" y="45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19" y="55"/>
                      <a:pt x="19" y="55"/>
                      <a:pt x="19" y="55"/>
                    </a:cubicBezTo>
                    <a:cubicBezTo>
                      <a:pt x="19" y="45"/>
                      <a:pt x="19" y="45"/>
                      <a:pt x="19" y="45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24" y="41"/>
                      <a:pt x="24" y="41"/>
                      <a:pt x="23" y="42"/>
                    </a:cubicBezTo>
                    <a:cubicBezTo>
                      <a:pt x="22" y="43"/>
                      <a:pt x="22" y="43"/>
                      <a:pt x="22" y="43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5" y="41"/>
                      <a:pt x="35" y="41"/>
                      <a:pt x="35" y="41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1" y="43"/>
                      <a:pt x="41" y="43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39" y="45"/>
                      <a:pt x="39" y="45"/>
                      <a:pt x="39" y="45"/>
                    </a:cubicBezTo>
                    <a:cubicBezTo>
                      <a:pt x="39" y="52"/>
                      <a:pt x="39" y="52"/>
                      <a:pt x="39" y="52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39" y="56"/>
                      <a:pt x="39" y="57"/>
                      <a:pt x="38" y="57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56"/>
                      <a:pt x="36" y="56"/>
                      <a:pt x="36" y="56"/>
                    </a:cubicBezTo>
                    <a:cubicBezTo>
                      <a:pt x="6" y="57"/>
                      <a:pt x="6" y="57"/>
                      <a:pt x="6" y="57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" y="55"/>
                      <a:pt x="2" y="54"/>
                      <a:pt x="2" y="54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2" y="41"/>
                      <a:pt x="2" y="41"/>
                      <a:pt x="2" y="41"/>
                    </a:cubicBezTo>
                    <a:close/>
                    <a:moveTo>
                      <a:pt x="18" y="16"/>
                    </a:moveTo>
                    <a:cubicBezTo>
                      <a:pt x="22" y="17"/>
                      <a:pt x="25" y="17"/>
                      <a:pt x="26" y="17"/>
                    </a:cubicBezTo>
                    <a:cubicBezTo>
                      <a:pt x="27" y="18"/>
                      <a:pt x="28" y="18"/>
                      <a:pt x="29" y="19"/>
                    </a:cubicBezTo>
                    <a:cubicBezTo>
                      <a:pt x="29" y="19"/>
                      <a:pt x="30" y="20"/>
                      <a:pt x="30" y="21"/>
                    </a:cubicBezTo>
                    <a:cubicBezTo>
                      <a:pt x="30" y="22"/>
                      <a:pt x="30" y="23"/>
                      <a:pt x="29" y="24"/>
                    </a:cubicBezTo>
                    <a:cubicBezTo>
                      <a:pt x="28" y="24"/>
                      <a:pt x="28" y="24"/>
                      <a:pt x="27" y="23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4" y="20"/>
                      <a:pt x="21" y="18"/>
                      <a:pt x="18" y="17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solidFill>
                <a:srgbClr val="2318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71" name="îṥľíḓe"/>
              <p:cNvSpPr/>
              <p:nvPr/>
            </p:nvSpPr>
            <p:spPr bwMode="auto">
              <a:xfrm>
                <a:off x="9888538" y="6642100"/>
                <a:ext cx="746125" cy="209550"/>
              </a:xfrm>
              <a:custGeom>
                <a:avLst/>
                <a:gdLst>
                  <a:gd name="T0" fmla="*/ 8 w 470"/>
                  <a:gd name="T1" fmla="*/ 132 h 132"/>
                  <a:gd name="T2" fmla="*/ 0 w 470"/>
                  <a:gd name="T3" fmla="*/ 132 h 132"/>
                  <a:gd name="T4" fmla="*/ 0 w 470"/>
                  <a:gd name="T5" fmla="*/ 0 h 132"/>
                  <a:gd name="T6" fmla="*/ 470 w 470"/>
                  <a:gd name="T7" fmla="*/ 0 h 132"/>
                  <a:gd name="T8" fmla="*/ 470 w 470"/>
                  <a:gd name="T9" fmla="*/ 6 h 132"/>
                  <a:gd name="T10" fmla="*/ 8 w 470"/>
                  <a:gd name="T11" fmla="*/ 6 h 132"/>
                  <a:gd name="T12" fmla="*/ 8 w 470"/>
                  <a:gd name="T13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0" h="132">
                    <a:moveTo>
                      <a:pt x="8" y="132"/>
                    </a:moveTo>
                    <a:lnTo>
                      <a:pt x="0" y="132"/>
                    </a:lnTo>
                    <a:lnTo>
                      <a:pt x="0" y="0"/>
                    </a:lnTo>
                    <a:lnTo>
                      <a:pt x="470" y="0"/>
                    </a:lnTo>
                    <a:lnTo>
                      <a:pt x="470" y="6"/>
                    </a:lnTo>
                    <a:lnTo>
                      <a:pt x="8" y="6"/>
                    </a:lnTo>
                    <a:lnTo>
                      <a:pt x="8" y="132"/>
                    </a:lnTo>
                    <a:close/>
                  </a:path>
                </a:pathLst>
              </a:custGeom>
              <a:solidFill>
                <a:srgbClr val="2318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72" name="î$1íḑê"/>
              <p:cNvSpPr/>
              <p:nvPr/>
            </p:nvSpPr>
            <p:spPr bwMode="auto">
              <a:xfrm>
                <a:off x="5599113" y="5203825"/>
                <a:ext cx="52388" cy="109538"/>
              </a:xfrm>
              <a:custGeom>
                <a:avLst/>
                <a:gdLst>
                  <a:gd name="T0" fmla="*/ 2 w 25"/>
                  <a:gd name="T1" fmla="*/ 51 h 51"/>
                  <a:gd name="T2" fmla="*/ 0 w 25"/>
                  <a:gd name="T3" fmla="*/ 46 h 51"/>
                  <a:gd name="T4" fmla="*/ 5 w 25"/>
                  <a:gd name="T5" fmla="*/ 43 h 51"/>
                  <a:gd name="T6" fmla="*/ 7 w 25"/>
                  <a:gd name="T7" fmla="*/ 49 h 51"/>
                  <a:gd name="T8" fmla="*/ 2 w 25"/>
                  <a:gd name="T9" fmla="*/ 51 h 51"/>
                  <a:gd name="T10" fmla="*/ 18 w 25"/>
                  <a:gd name="T11" fmla="*/ 42 h 51"/>
                  <a:gd name="T12" fmla="*/ 14 w 25"/>
                  <a:gd name="T13" fmla="*/ 38 h 51"/>
                  <a:gd name="T14" fmla="*/ 17 w 25"/>
                  <a:gd name="T15" fmla="*/ 35 h 51"/>
                  <a:gd name="T16" fmla="*/ 18 w 25"/>
                  <a:gd name="T17" fmla="*/ 35 h 51"/>
                  <a:gd name="T18" fmla="*/ 23 w 25"/>
                  <a:gd name="T19" fmla="*/ 37 h 51"/>
                  <a:gd name="T20" fmla="*/ 21 w 25"/>
                  <a:gd name="T21" fmla="*/ 39 h 51"/>
                  <a:gd name="T22" fmla="*/ 18 w 25"/>
                  <a:gd name="T23" fmla="*/ 42 h 51"/>
                  <a:gd name="T24" fmla="*/ 25 w 25"/>
                  <a:gd name="T25" fmla="*/ 25 h 51"/>
                  <a:gd name="T26" fmla="*/ 19 w 25"/>
                  <a:gd name="T27" fmla="*/ 24 h 51"/>
                  <a:gd name="T28" fmla="*/ 19 w 25"/>
                  <a:gd name="T29" fmla="*/ 19 h 51"/>
                  <a:gd name="T30" fmla="*/ 22 w 25"/>
                  <a:gd name="T31" fmla="*/ 19 h 51"/>
                  <a:gd name="T32" fmla="*/ 25 w 25"/>
                  <a:gd name="T33" fmla="*/ 19 h 51"/>
                  <a:gd name="T34" fmla="*/ 25 w 25"/>
                  <a:gd name="T35" fmla="*/ 25 h 51"/>
                  <a:gd name="T36" fmla="*/ 19 w 25"/>
                  <a:gd name="T37" fmla="*/ 8 h 51"/>
                  <a:gd name="T38" fmla="*/ 17 w 25"/>
                  <a:gd name="T39" fmla="*/ 2 h 51"/>
                  <a:gd name="T40" fmla="*/ 23 w 25"/>
                  <a:gd name="T41" fmla="*/ 0 h 51"/>
                  <a:gd name="T42" fmla="*/ 25 w 25"/>
                  <a:gd name="T43" fmla="*/ 6 h 51"/>
                  <a:gd name="T44" fmla="*/ 19 w 25"/>
                  <a:gd name="T45" fmla="*/ 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5" h="51">
                    <a:moveTo>
                      <a:pt x="2" y="51"/>
                    </a:moveTo>
                    <a:cubicBezTo>
                      <a:pt x="0" y="46"/>
                      <a:pt x="0" y="46"/>
                      <a:pt x="0" y="46"/>
                    </a:cubicBezTo>
                    <a:cubicBezTo>
                      <a:pt x="1" y="45"/>
                      <a:pt x="3" y="44"/>
                      <a:pt x="5" y="43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5" y="50"/>
                      <a:pt x="4" y="50"/>
                      <a:pt x="2" y="51"/>
                    </a:cubicBezTo>
                    <a:close/>
                    <a:moveTo>
                      <a:pt x="18" y="42"/>
                    </a:moveTo>
                    <a:cubicBezTo>
                      <a:pt x="14" y="38"/>
                      <a:pt x="14" y="38"/>
                      <a:pt x="14" y="38"/>
                    </a:cubicBezTo>
                    <a:cubicBezTo>
                      <a:pt x="15" y="37"/>
                      <a:pt x="16" y="36"/>
                      <a:pt x="17" y="35"/>
                    </a:cubicBezTo>
                    <a:cubicBezTo>
                      <a:pt x="17" y="35"/>
                      <a:pt x="17" y="35"/>
                      <a:pt x="18" y="35"/>
                    </a:cubicBezTo>
                    <a:cubicBezTo>
                      <a:pt x="23" y="37"/>
                      <a:pt x="23" y="37"/>
                      <a:pt x="23" y="37"/>
                    </a:cubicBezTo>
                    <a:cubicBezTo>
                      <a:pt x="22" y="38"/>
                      <a:pt x="22" y="39"/>
                      <a:pt x="21" y="39"/>
                    </a:cubicBezTo>
                    <a:cubicBezTo>
                      <a:pt x="21" y="40"/>
                      <a:pt x="19" y="41"/>
                      <a:pt x="18" y="42"/>
                    </a:cubicBezTo>
                    <a:close/>
                    <a:moveTo>
                      <a:pt x="25" y="25"/>
                    </a:moveTo>
                    <a:cubicBezTo>
                      <a:pt x="19" y="24"/>
                      <a:pt x="19" y="24"/>
                      <a:pt x="19" y="24"/>
                    </a:cubicBezTo>
                    <a:cubicBezTo>
                      <a:pt x="19" y="22"/>
                      <a:pt x="19" y="21"/>
                      <a:pt x="19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1"/>
                      <a:pt x="25" y="23"/>
                      <a:pt x="25" y="25"/>
                    </a:cubicBezTo>
                    <a:close/>
                    <a:moveTo>
                      <a:pt x="19" y="8"/>
                    </a:moveTo>
                    <a:cubicBezTo>
                      <a:pt x="18" y="6"/>
                      <a:pt x="18" y="4"/>
                      <a:pt x="17" y="2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2"/>
                      <a:pt x="24" y="4"/>
                      <a:pt x="25" y="6"/>
                    </a:cubicBezTo>
                    <a:lnTo>
                      <a:pt x="19" y="8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sp>
          <p:nvSpPr>
            <p:cNvPr id="7" name="ïşliḍê"/>
            <p:cNvSpPr txBox="1"/>
            <p:nvPr/>
          </p:nvSpPr>
          <p:spPr>
            <a:xfrm>
              <a:off x="669924" y="5879517"/>
              <a:ext cx="3024627" cy="264108"/>
            </a:xfrm>
            <a:prstGeom prst="rect">
              <a:avLst/>
            </a:prstGeom>
            <a:noFill/>
          </p:spPr>
          <p:txBody>
            <a:bodyPr wrap="none" lIns="90000" tIns="46800" rIns="90000" bIns="46800" rtlCol="0" anchor="b" anchorCtr="0">
              <a:normAutofit lnSpcReduction="10000"/>
            </a:bodyPr>
            <a:lstStyle/>
            <a:p>
              <a:r>
                <a:rPr lang="zh-CN" altLang="en-US" sz="600" dirty="0"/>
                <a:t>*地图素材来源于国家测绘局</a:t>
              </a:r>
              <a:endParaRPr lang="en-US" altLang="zh-CN" sz="600" dirty="0"/>
            </a:p>
            <a:p>
              <a:r>
                <a:rPr lang="zh-CN" altLang="en-US" sz="600" dirty="0"/>
                <a:t> 审图号：</a:t>
              </a:r>
              <a:r>
                <a:rPr lang="en-US" altLang="zh-CN" sz="600" dirty="0"/>
                <a:t>GS(2008)1503</a:t>
              </a:r>
              <a:r>
                <a:rPr lang="zh-CN" altLang="en-US" sz="600" dirty="0"/>
                <a:t>号</a:t>
              </a:r>
              <a:endParaRPr lang="zh-CN" altLang="en-US" sz="600" dirty="0"/>
            </a:p>
          </p:txBody>
        </p:sp>
        <p:cxnSp>
          <p:nvCxnSpPr>
            <p:cNvPr id="8" name="直接连接符 7"/>
            <p:cNvCxnSpPr/>
            <p:nvPr/>
          </p:nvCxnSpPr>
          <p:spPr>
            <a:xfrm>
              <a:off x="5421000" y="1125538"/>
              <a:ext cx="0" cy="501808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ïṥ1íḑê"/>
            <p:cNvSpPr/>
            <p:nvPr/>
          </p:nvSpPr>
          <p:spPr bwMode="auto">
            <a:xfrm>
              <a:off x="6471096" y="5089694"/>
              <a:ext cx="5049392" cy="9693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indent="0">
                <a:lnSpc>
                  <a:spcPct val="150000"/>
                </a:lnSpc>
                <a:buFont typeface="Arial" panose="020B0604020202090204" pitchFamily="34" charset="0"/>
                <a:buNone/>
              </a:pPr>
              <a:endParaRPr lang="en-US" altLang="zh-CN" sz="1100" dirty="0"/>
            </a:p>
          </p:txBody>
        </p:sp>
      </p:grpSp>
      <p:graphicFrame>
        <p:nvGraphicFramePr>
          <p:cNvPr id="173" name="表格 172"/>
          <p:cNvGraphicFramePr/>
          <p:nvPr/>
        </p:nvGraphicFramePr>
        <p:xfrm>
          <a:off x="5543550" y="1522095"/>
          <a:ext cx="6417945" cy="413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8365"/>
                <a:gridCol w="4259580"/>
              </a:tblGrid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Members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Work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Zhang Yanyu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Install the NUC, write related procedure, and test the robot. Work on the PPT.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Wu Xuan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Install the NUC, recording the map, and test the robot. Work on the user manual.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Jiang Meiqian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Design boxes, record maps, </a:t>
                      </a:r>
                      <a:r>
                        <a:rPr lang="en-US" altLang="zh-CN"/>
                        <a:t>and </a:t>
                      </a:r>
                      <a:r>
                        <a:rPr lang="zh-CN" altLang="en-US"/>
                        <a:t>test </a:t>
                      </a:r>
                      <a:r>
                        <a:rPr lang="en-US" altLang="zh-CN"/>
                        <a:t>the </a:t>
                      </a:r>
                      <a:r>
                        <a:rPr lang="zh-CN" altLang="en-US"/>
                        <a:t>robot</a:t>
                      </a:r>
                      <a:r>
                        <a:rPr lang="en-US" altLang="zh-CN"/>
                        <a:t>. Work on the user manual.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Zhang Wenjin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Design boxes, record maps, </a:t>
                      </a:r>
                      <a:r>
                        <a:rPr lang="en-US" altLang="zh-CN" sz="1800">
                          <a:sym typeface="+mn-ea"/>
                        </a:rPr>
                        <a:t>and </a:t>
                      </a:r>
                      <a:r>
                        <a:rPr lang="zh-CN" altLang="en-US" sz="1800">
                          <a:sym typeface="+mn-ea"/>
                        </a:rPr>
                        <a:t>test </a:t>
                      </a:r>
                      <a:r>
                        <a:rPr lang="en-US" altLang="zh-CN" sz="1800">
                          <a:sym typeface="+mn-ea"/>
                        </a:rPr>
                        <a:t>the </a:t>
                      </a:r>
                      <a:r>
                        <a:rPr lang="zh-CN" altLang="en-US" sz="1800">
                          <a:sym typeface="+mn-ea"/>
                        </a:rPr>
                        <a:t>robot</a:t>
                      </a:r>
                      <a:r>
                        <a:rPr lang="en-US" altLang="zh-CN" sz="1800">
                          <a:sym typeface="+mn-ea"/>
                        </a:rPr>
                        <a:t>. Work on the poster.</a:t>
                      </a:r>
                      <a:endParaRPr lang="en-US" altLang="zh-CN" sz="1800">
                        <a:sym typeface="+mn-ea"/>
                      </a:endParaRPr>
                    </a:p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Wang Xiu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Install the speaker, download voice package, test the robot. Work on the poster.</a:t>
                      </a:r>
                      <a:endParaRPr lang="en-US" altLang="zh-CN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90204" pitchFamily="34" charset="0"/>
              <a:ea typeface="微软雅黑" panose="020B0503020204020204" pitchFamily="34" charset="-122"/>
              <a:cs typeface="+mj-cs"/>
              <a:sym typeface="Arial" panose="020B060402020209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 you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04/  /2019</a:t>
            </a:r>
            <a:endParaRPr lang="en-US" alt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3200"/>
              <a:t>Introduction and background</a:t>
            </a:r>
            <a:endParaRPr lang="en-US" altLang="zh-CN" sz="32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800"/>
              <a:t>YANYU ZHANG</a:t>
            </a:r>
            <a:endParaRPr lang="en-US" sz="1800" dirty="0"/>
          </a:p>
        </p:txBody>
      </p:sp>
      <p:sp>
        <p:nvSpPr>
          <p:cNvPr id="9" name="文本框 8"/>
          <p:cNvSpPr txBox="1"/>
          <p:nvPr/>
        </p:nvSpPr>
        <p:spPr>
          <a:xfrm>
            <a:off x="3121655" y="2548160"/>
            <a:ext cx="1029773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ym typeface="+mn-ea"/>
              </a:rPr>
              <a:t>Introduction and background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5" name="7013c409-171c-425f-8986-d5ef29caa6b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32155" y="1385693"/>
            <a:ext cx="10789920" cy="4864930"/>
            <a:chOff x="732155" y="1375533"/>
            <a:chExt cx="10789920" cy="4864930"/>
          </a:xfrm>
        </p:grpSpPr>
        <p:sp>
          <p:nvSpPr>
            <p:cNvPr id="6" name="íŝ1idê"/>
            <p:cNvSpPr txBox="1"/>
            <p:nvPr/>
          </p:nvSpPr>
          <p:spPr>
            <a:xfrm>
              <a:off x="732155" y="1484678"/>
              <a:ext cx="6238848" cy="1781736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600" dirty="0">
                  <a:latin typeface="Arial" panose="020B0604020202090204" pitchFamily="34" charset="0"/>
                  <a:ea typeface="微软雅黑" panose="020B0503020204020204" pitchFamily="34" charset="-122"/>
                  <a:sym typeface="+mn-ea"/>
                </a:rPr>
                <a:t>                 </a:t>
              </a:r>
              <a:r>
                <a:rPr sz="1600" b="1" dirty="0">
                  <a:latin typeface="Arial" panose="020B0604020202090204" pitchFamily="34" charset="0"/>
                  <a:ea typeface="微软雅黑" panose="020B0503020204020204" pitchFamily="34" charset="-122"/>
                  <a:sym typeface="+mn-ea"/>
                </a:rPr>
                <a:t>“2017 annual hotel turnover survey report”</a:t>
              </a:r>
              <a:r>
                <a:rPr sz="1600" dirty="0">
                  <a:latin typeface="Arial" panose="020B0604020202090204" pitchFamily="34" charset="0"/>
                  <a:ea typeface="微软雅黑" panose="020B0503020204020204" pitchFamily="34" charset="-122"/>
                  <a:sym typeface="+mn-ea"/>
                </a:rPr>
                <a:t> </a:t>
              </a:r>
              <a:r>
                <a:rPr lang="en-US" sz="1600" dirty="0">
                  <a:latin typeface="Arial" panose="020B0604020202090204" pitchFamily="34" charset="0"/>
                  <a:ea typeface="微软雅黑" panose="020B0503020204020204" pitchFamily="34" charset="-122"/>
                  <a:sym typeface="+mn-ea"/>
                </a:rPr>
                <a:t>from </a:t>
              </a:r>
              <a:r>
                <a:rPr sz="1600" dirty="0">
                  <a:latin typeface="Arial" panose="020B0604020202090204" pitchFamily="34" charset="0"/>
                  <a:ea typeface="微软雅黑" panose="020B0503020204020204" pitchFamily="34" charset="-122"/>
                  <a:sym typeface="+mn-ea"/>
                </a:rPr>
                <a:t>MTA</a:t>
              </a:r>
              <a:endParaRPr sz="1600" dirty="0">
                <a:latin typeface="Arial" panose="020B0604020202090204" pitchFamily="34" charset="0"/>
                <a:ea typeface="微软雅黑" panose="020B0503020204020204" pitchFamily="34" charset="-122"/>
                <a:sym typeface="+mn-ea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b="1" dirty="0"/>
                <a:t>                </a:t>
              </a:r>
              <a:r>
                <a:rPr lang="en-US" altLang="zh-CN" sz="2400" b="1" dirty="0">
                  <a:solidFill>
                    <a:schemeClr val="tx1"/>
                  </a:solidFill>
                </a:rPr>
                <a:t>20%-40%</a:t>
              </a:r>
              <a:r>
                <a:rPr lang="en-US" altLang="zh-CN" dirty="0"/>
                <a:t> </a:t>
              </a:r>
              <a:r>
                <a:rPr lang="en-US" altLang="zh-CN" sz="1400" dirty="0"/>
                <a:t>employees leave the hotel industry each year</a:t>
              </a:r>
              <a:endParaRPr lang="en-US" altLang="zh-CN" sz="1400" dirty="0"/>
            </a:p>
          </p:txBody>
        </p:sp>
        <p:cxnSp>
          <p:nvCxnSpPr>
            <p:cNvPr id="7" name="直接连接符 6"/>
            <p:cNvCxnSpPr/>
            <p:nvPr/>
          </p:nvCxnSpPr>
          <p:spPr>
            <a:xfrm>
              <a:off x="794581" y="3019425"/>
              <a:ext cx="6114192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i$1íďé"/>
            <p:cNvGrpSpPr/>
            <p:nvPr/>
          </p:nvGrpSpPr>
          <p:grpSpPr>
            <a:xfrm>
              <a:off x="794581" y="3183377"/>
              <a:ext cx="5113300" cy="1260326"/>
              <a:chOff x="5400675" y="3183377"/>
              <a:chExt cx="5113300" cy="1260326"/>
            </a:xfrm>
          </p:grpSpPr>
          <p:sp>
            <p:nvSpPr>
              <p:cNvPr id="48" name="ïṧliḋè"/>
              <p:cNvSpPr txBox="1"/>
              <p:nvPr/>
            </p:nvSpPr>
            <p:spPr>
              <a:xfrm>
                <a:off x="6277674" y="3579640"/>
                <a:ext cx="4236301" cy="864063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normAutofit/>
              </a:bodyPr>
              <a:lstStyle/>
              <a:p>
                <a:pPr marL="171450" indent="-171450">
                  <a:lnSpc>
                    <a:spcPct val="160000"/>
                  </a:lnSpc>
                  <a:buFont typeface="Arial" panose="020B0604020202090204" pitchFamily="34" charset="0"/>
                  <a:buChar char="•"/>
                </a:pPr>
                <a:r>
                  <a:rPr lang="en-US" altLang="zh-CN" sz="1400" dirty="0">
                    <a:latin typeface="Arial" panose="020B0604020202090204" pitchFamily="34" charset="0"/>
                    <a:ea typeface="微软雅黑" panose="020B0503020204020204" pitchFamily="34" charset="-122"/>
                    <a:sym typeface="+mn-ea"/>
                  </a:rPr>
                  <a:t>Base on the Gmapping and Navigation, the robot can plan the best route through the D*  arithmetic</a:t>
                </a:r>
                <a:endParaRPr lang="en-US" altLang="zh-CN" sz="1000" dirty="0">
                  <a:latin typeface="Arial" panose="020B0604020202090204" pitchFamily="34" charset="0"/>
                  <a:ea typeface="微软雅黑" panose="020B0503020204020204" pitchFamily="34" charset="-122"/>
                </a:endParaRPr>
              </a:p>
              <a:p>
                <a:pPr marL="171450" indent="-171450">
                  <a:lnSpc>
                    <a:spcPct val="160000"/>
                  </a:lnSpc>
                  <a:buFont typeface="Arial" panose="020B0604020202090204" pitchFamily="34" charset="0"/>
                  <a:buChar char="•"/>
                </a:pPr>
                <a:endParaRPr lang="en-US" altLang="zh-CN" sz="1000" dirty="0"/>
              </a:p>
              <a:p>
                <a:pPr marL="171450" indent="-171450">
                  <a:lnSpc>
                    <a:spcPct val="160000"/>
                  </a:lnSpc>
                  <a:buFont typeface="Arial" panose="020B0604020202090204" pitchFamily="34" charset="0"/>
                  <a:buChar char="•"/>
                </a:pPr>
                <a:endParaRPr lang="en-US" altLang="zh-CN" sz="1000" dirty="0"/>
              </a:p>
            </p:txBody>
          </p:sp>
          <p:sp>
            <p:nvSpPr>
              <p:cNvPr id="49" name="ïš1ïḑé"/>
              <p:cNvSpPr txBox="1"/>
              <p:nvPr/>
            </p:nvSpPr>
            <p:spPr>
              <a:xfrm>
                <a:off x="6237669" y="3183377"/>
                <a:ext cx="4236301" cy="471827"/>
              </a:xfrm>
              <a:prstGeom prst="rect">
                <a:avLst/>
              </a:prstGeom>
              <a:noFill/>
            </p:spPr>
            <p:txBody>
              <a:bodyPr wrap="none" rtlCol="0" anchor="ctr">
                <a:normAutofit/>
              </a:bodyPr>
              <a:lstStyle/>
              <a:p>
                <a:r>
                  <a:rPr lang="en-US" sz="1400" b="1" dirty="0">
                    <a:solidFill>
                      <a:schemeClr val="tx1"/>
                    </a:solidFill>
                  </a:rPr>
                  <a:t>Function</a:t>
                </a:r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ï$ļiďé"/>
              <p:cNvSpPr/>
              <p:nvPr/>
            </p:nvSpPr>
            <p:spPr>
              <a:xfrm>
                <a:off x="5400675" y="3221647"/>
                <a:ext cx="675011" cy="675015"/>
              </a:xfrm>
              <a:prstGeom prst="ellipse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51" name="ïṡḷiḋè"/>
              <p:cNvSpPr/>
              <p:nvPr/>
            </p:nvSpPr>
            <p:spPr bwMode="auto">
              <a:xfrm>
                <a:off x="5566085" y="3390414"/>
                <a:ext cx="344191" cy="337479"/>
              </a:xfrm>
              <a:custGeom>
                <a:avLst/>
                <a:gdLst>
                  <a:gd name="T0" fmla="*/ 1312 w 1990"/>
                  <a:gd name="T1" fmla="*/ 1552 h 1954"/>
                  <a:gd name="T2" fmla="*/ 291 w 1990"/>
                  <a:gd name="T3" fmla="*/ 1746 h 1954"/>
                  <a:gd name="T4" fmla="*/ 0 w 1990"/>
                  <a:gd name="T5" fmla="*/ 540 h 1954"/>
                  <a:gd name="T6" fmla="*/ 515 w 1990"/>
                  <a:gd name="T7" fmla="*/ 249 h 1954"/>
                  <a:gd name="T8" fmla="*/ 1205 w 1990"/>
                  <a:gd name="T9" fmla="*/ 0 h 1954"/>
                  <a:gd name="T10" fmla="*/ 1496 w 1990"/>
                  <a:gd name="T11" fmla="*/ 489 h 1954"/>
                  <a:gd name="T12" fmla="*/ 1413 w 1990"/>
                  <a:gd name="T13" fmla="*/ 291 h 1954"/>
                  <a:gd name="T14" fmla="*/ 802 w 1990"/>
                  <a:gd name="T15" fmla="*/ 83 h 1954"/>
                  <a:gd name="T16" fmla="*/ 1039 w 1990"/>
                  <a:gd name="T17" fmla="*/ 249 h 1954"/>
                  <a:gd name="T18" fmla="*/ 1243 w 1990"/>
                  <a:gd name="T19" fmla="*/ 499 h 1954"/>
                  <a:gd name="T20" fmla="*/ 291 w 1990"/>
                  <a:gd name="T21" fmla="*/ 333 h 1954"/>
                  <a:gd name="T22" fmla="*/ 83 w 1990"/>
                  <a:gd name="T23" fmla="*/ 1455 h 1954"/>
                  <a:gd name="T24" fmla="*/ 1039 w 1990"/>
                  <a:gd name="T25" fmla="*/ 1663 h 1954"/>
                  <a:gd name="T26" fmla="*/ 1641 w 1990"/>
                  <a:gd name="T27" fmla="*/ 1453 h 1954"/>
                  <a:gd name="T28" fmla="*/ 1138 w 1990"/>
                  <a:gd name="T29" fmla="*/ 583 h 1954"/>
                  <a:gd name="T30" fmla="*/ 1641 w 1990"/>
                  <a:gd name="T31" fmla="*/ 1453 h 1954"/>
                  <a:gd name="T32" fmla="*/ 1752 w 1990"/>
                  <a:gd name="T33" fmla="*/ 809 h 1954"/>
                  <a:gd name="T34" fmla="*/ 1026 w 1990"/>
                  <a:gd name="T35" fmla="*/ 1228 h 1954"/>
                  <a:gd name="T36" fmla="*/ 1767 w 1990"/>
                  <a:gd name="T37" fmla="*/ 1422 h 1954"/>
                  <a:gd name="T38" fmla="*/ 1717 w 1990"/>
                  <a:gd name="T39" fmla="*/ 1835 h 1954"/>
                  <a:gd name="T40" fmla="*/ 1767 w 1990"/>
                  <a:gd name="T41" fmla="*/ 1422 h 1954"/>
                  <a:gd name="T42" fmla="*/ 1739 w 1990"/>
                  <a:gd name="T43" fmla="*/ 1874 h 1954"/>
                  <a:gd name="T44" fmla="*/ 1956 w 1990"/>
                  <a:gd name="T45" fmla="*/ 1749 h 1954"/>
                  <a:gd name="T46" fmla="*/ 249 w 1990"/>
                  <a:gd name="T47" fmla="*/ 551 h 1954"/>
                  <a:gd name="T48" fmla="*/ 803 w 1990"/>
                  <a:gd name="T49" fmla="*/ 613 h 1954"/>
                  <a:gd name="T50" fmla="*/ 675 w 1990"/>
                  <a:gd name="T51" fmla="*/ 828 h 1954"/>
                  <a:gd name="T52" fmla="*/ 249 w 1990"/>
                  <a:gd name="T53" fmla="*/ 890 h 1954"/>
                  <a:gd name="T54" fmla="*/ 675 w 1990"/>
                  <a:gd name="T55" fmla="*/ 828 h 1954"/>
                  <a:gd name="T56" fmla="*/ 675 w 1990"/>
                  <a:gd name="T57" fmla="*/ 1167 h 1954"/>
                  <a:gd name="T58" fmla="*/ 249 w 1990"/>
                  <a:gd name="T59" fmla="*/ 1105 h 1954"/>
                  <a:gd name="T60" fmla="*/ 249 w 1990"/>
                  <a:gd name="T61" fmla="*/ 1444 h 1954"/>
                  <a:gd name="T62" fmla="*/ 803 w 1990"/>
                  <a:gd name="T63" fmla="*/ 1382 h 1954"/>
                  <a:gd name="T64" fmla="*/ 249 w 1990"/>
                  <a:gd name="T65" fmla="*/ 1444 h 1954"/>
                  <a:gd name="T66" fmla="*/ 1179 w 1990"/>
                  <a:gd name="T67" fmla="*/ 961 h 1954"/>
                  <a:gd name="T68" fmla="*/ 1300 w 1990"/>
                  <a:gd name="T69" fmla="*/ 1219 h 1954"/>
                  <a:gd name="T70" fmla="*/ 1604 w 1990"/>
                  <a:gd name="T71" fmla="*/ 858 h 1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990" h="1954">
                    <a:moveTo>
                      <a:pt x="1231" y="1534"/>
                    </a:moveTo>
                    <a:cubicBezTo>
                      <a:pt x="1258" y="1542"/>
                      <a:pt x="1285" y="1548"/>
                      <a:pt x="1312" y="1552"/>
                    </a:cubicBezTo>
                    <a:cubicBezTo>
                      <a:pt x="1272" y="1665"/>
                      <a:pt x="1165" y="1746"/>
                      <a:pt x="1039" y="1746"/>
                    </a:cubicBezTo>
                    <a:lnTo>
                      <a:pt x="291" y="1746"/>
                    </a:lnTo>
                    <a:cubicBezTo>
                      <a:pt x="131" y="1746"/>
                      <a:pt x="0" y="1615"/>
                      <a:pt x="0" y="1455"/>
                    </a:cubicBezTo>
                    <a:lnTo>
                      <a:pt x="0" y="540"/>
                    </a:lnTo>
                    <a:cubicBezTo>
                      <a:pt x="0" y="380"/>
                      <a:pt x="131" y="249"/>
                      <a:pt x="291" y="249"/>
                    </a:cubicBezTo>
                    <a:lnTo>
                      <a:pt x="515" y="249"/>
                    </a:lnTo>
                    <a:cubicBezTo>
                      <a:pt x="535" y="109"/>
                      <a:pt x="656" y="0"/>
                      <a:pt x="802" y="0"/>
                    </a:cubicBezTo>
                    <a:lnTo>
                      <a:pt x="1205" y="0"/>
                    </a:lnTo>
                    <a:cubicBezTo>
                      <a:pt x="1366" y="0"/>
                      <a:pt x="1496" y="131"/>
                      <a:pt x="1496" y="291"/>
                    </a:cubicBezTo>
                    <a:lnTo>
                      <a:pt x="1496" y="489"/>
                    </a:lnTo>
                    <a:cubicBezTo>
                      <a:pt x="1469" y="484"/>
                      <a:pt x="1441" y="480"/>
                      <a:pt x="1413" y="479"/>
                    </a:cubicBezTo>
                    <a:lnTo>
                      <a:pt x="1413" y="291"/>
                    </a:lnTo>
                    <a:cubicBezTo>
                      <a:pt x="1413" y="176"/>
                      <a:pt x="1320" y="83"/>
                      <a:pt x="1205" y="83"/>
                    </a:cubicBezTo>
                    <a:lnTo>
                      <a:pt x="802" y="83"/>
                    </a:lnTo>
                    <a:cubicBezTo>
                      <a:pt x="701" y="83"/>
                      <a:pt x="617" y="155"/>
                      <a:pt x="598" y="249"/>
                    </a:cubicBezTo>
                    <a:lnTo>
                      <a:pt x="1039" y="249"/>
                    </a:lnTo>
                    <a:cubicBezTo>
                      <a:pt x="1180" y="249"/>
                      <a:pt x="1297" y="349"/>
                      <a:pt x="1324" y="482"/>
                    </a:cubicBezTo>
                    <a:cubicBezTo>
                      <a:pt x="1297" y="485"/>
                      <a:pt x="1270" y="491"/>
                      <a:pt x="1243" y="499"/>
                    </a:cubicBezTo>
                    <a:cubicBezTo>
                      <a:pt x="1224" y="404"/>
                      <a:pt x="1140" y="333"/>
                      <a:pt x="1039" y="333"/>
                    </a:cubicBezTo>
                    <a:lnTo>
                      <a:pt x="291" y="333"/>
                    </a:lnTo>
                    <a:cubicBezTo>
                      <a:pt x="177" y="333"/>
                      <a:pt x="83" y="426"/>
                      <a:pt x="83" y="540"/>
                    </a:cubicBezTo>
                    <a:lnTo>
                      <a:pt x="83" y="1455"/>
                    </a:lnTo>
                    <a:cubicBezTo>
                      <a:pt x="83" y="1569"/>
                      <a:pt x="177" y="1663"/>
                      <a:pt x="291" y="1663"/>
                    </a:cubicBezTo>
                    <a:lnTo>
                      <a:pt x="1039" y="1663"/>
                    </a:lnTo>
                    <a:cubicBezTo>
                      <a:pt x="1126" y="1663"/>
                      <a:pt x="1200" y="1609"/>
                      <a:pt x="1231" y="1534"/>
                    </a:cubicBezTo>
                    <a:close/>
                    <a:moveTo>
                      <a:pt x="1641" y="1453"/>
                    </a:moveTo>
                    <a:cubicBezTo>
                      <a:pt x="1401" y="1591"/>
                      <a:pt x="1093" y="1509"/>
                      <a:pt x="955" y="1269"/>
                    </a:cubicBezTo>
                    <a:cubicBezTo>
                      <a:pt x="816" y="1029"/>
                      <a:pt x="899" y="722"/>
                      <a:pt x="1138" y="583"/>
                    </a:cubicBezTo>
                    <a:cubicBezTo>
                      <a:pt x="1378" y="445"/>
                      <a:pt x="1686" y="527"/>
                      <a:pt x="1824" y="767"/>
                    </a:cubicBezTo>
                    <a:cubicBezTo>
                      <a:pt x="1963" y="1007"/>
                      <a:pt x="1880" y="1314"/>
                      <a:pt x="1641" y="1453"/>
                    </a:cubicBezTo>
                    <a:close/>
                    <a:moveTo>
                      <a:pt x="1599" y="1381"/>
                    </a:moveTo>
                    <a:cubicBezTo>
                      <a:pt x="1799" y="1266"/>
                      <a:pt x="1868" y="1009"/>
                      <a:pt x="1752" y="809"/>
                    </a:cubicBezTo>
                    <a:cubicBezTo>
                      <a:pt x="1637" y="608"/>
                      <a:pt x="1380" y="539"/>
                      <a:pt x="1180" y="655"/>
                    </a:cubicBezTo>
                    <a:cubicBezTo>
                      <a:pt x="980" y="771"/>
                      <a:pt x="911" y="1027"/>
                      <a:pt x="1026" y="1228"/>
                    </a:cubicBezTo>
                    <a:cubicBezTo>
                      <a:pt x="1142" y="1428"/>
                      <a:pt x="1399" y="1497"/>
                      <a:pt x="1599" y="1381"/>
                    </a:cubicBezTo>
                    <a:close/>
                    <a:moveTo>
                      <a:pt x="1767" y="1422"/>
                    </a:moveTo>
                    <a:lnTo>
                      <a:pt x="1551" y="1547"/>
                    </a:lnTo>
                    <a:lnTo>
                      <a:pt x="1717" y="1835"/>
                    </a:lnTo>
                    <a:lnTo>
                      <a:pt x="1933" y="1710"/>
                    </a:lnTo>
                    <a:lnTo>
                      <a:pt x="1767" y="1422"/>
                    </a:lnTo>
                    <a:close/>
                    <a:moveTo>
                      <a:pt x="1956" y="1749"/>
                    </a:moveTo>
                    <a:lnTo>
                      <a:pt x="1739" y="1874"/>
                    </a:lnTo>
                    <a:cubicBezTo>
                      <a:pt x="1774" y="1934"/>
                      <a:pt x="1850" y="1954"/>
                      <a:pt x="1910" y="1919"/>
                    </a:cubicBezTo>
                    <a:cubicBezTo>
                      <a:pt x="1969" y="1885"/>
                      <a:pt x="1990" y="1809"/>
                      <a:pt x="1956" y="1749"/>
                    </a:cubicBezTo>
                    <a:close/>
                    <a:moveTo>
                      <a:pt x="803" y="551"/>
                    </a:moveTo>
                    <a:lnTo>
                      <a:pt x="249" y="551"/>
                    </a:lnTo>
                    <a:lnTo>
                      <a:pt x="249" y="613"/>
                    </a:lnTo>
                    <a:lnTo>
                      <a:pt x="803" y="613"/>
                    </a:lnTo>
                    <a:lnTo>
                      <a:pt x="803" y="551"/>
                    </a:lnTo>
                    <a:close/>
                    <a:moveTo>
                      <a:pt x="675" y="828"/>
                    </a:moveTo>
                    <a:lnTo>
                      <a:pt x="249" y="828"/>
                    </a:lnTo>
                    <a:lnTo>
                      <a:pt x="249" y="890"/>
                    </a:lnTo>
                    <a:lnTo>
                      <a:pt x="675" y="890"/>
                    </a:lnTo>
                    <a:lnTo>
                      <a:pt x="675" y="828"/>
                    </a:lnTo>
                    <a:close/>
                    <a:moveTo>
                      <a:pt x="249" y="1167"/>
                    </a:moveTo>
                    <a:lnTo>
                      <a:pt x="675" y="1167"/>
                    </a:lnTo>
                    <a:lnTo>
                      <a:pt x="675" y="1105"/>
                    </a:lnTo>
                    <a:lnTo>
                      <a:pt x="249" y="1105"/>
                    </a:lnTo>
                    <a:lnTo>
                      <a:pt x="249" y="1167"/>
                    </a:lnTo>
                    <a:close/>
                    <a:moveTo>
                      <a:pt x="249" y="1444"/>
                    </a:moveTo>
                    <a:lnTo>
                      <a:pt x="803" y="1444"/>
                    </a:lnTo>
                    <a:lnTo>
                      <a:pt x="803" y="1382"/>
                    </a:lnTo>
                    <a:lnTo>
                      <a:pt x="249" y="1382"/>
                    </a:lnTo>
                    <a:lnTo>
                      <a:pt x="249" y="1444"/>
                    </a:lnTo>
                    <a:close/>
                    <a:moveTo>
                      <a:pt x="1308" y="1105"/>
                    </a:moveTo>
                    <a:lnTo>
                      <a:pt x="1179" y="961"/>
                    </a:lnTo>
                    <a:lnTo>
                      <a:pt x="1118" y="1017"/>
                    </a:lnTo>
                    <a:lnTo>
                      <a:pt x="1300" y="1219"/>
                    </a:lnTo>
                    <a:lnTo>
                      <a:pt x="1657" y="922"/>
                    </a:lnTo>
                    <a:lnTo>
                      <a:pt x="1604" y="858"/>
                    </a:lnTo>
                    <a:lnTo>
                      <a:pt x="1308" y="110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82832" tIns="91416" rIns="182832" bIns="91416" numCol="1" anchor="t" anchorCtr="0" compatLnSpc="1"/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7200" dirty="0"/>
              </a:p>
            </p:txBody>
          </p:sp>
        </p:grpSp>
        <p:grpSp>
          <p:nvGrpSpPr>
            <p:cNvPr id="9" name="íslïḑè"/>
            <p:cNvGrpSpPr/>
            <p:nvPr/>
          </p:nvGrpSpPr>
          <p:grpSpPr>
            <a:xfrm>
              <a:off x="959991" y="4904572"/>
              <a:ext cx="4907885" cy="1335891"/>
              <a:chOff x="5566085" y="4904572"/>
              <a:chExt cx="4907885" cy="1335891"/>
            </a:xfrm>
          </p:grpSpPr>
          <p:sp>
            <p:nvSpPr>
              <p:cNvPr id="43" name="îṣḷiḓé"/>
              <p:cNvSpPr txBox="1"/>
              <p:nvPr/>
            </p:nvSpPr>
            <p:spPr>
              <a:xfrm>
                <a:off x="6237669" y="5376400"/>
                <a:ext cx="4236301" cy="864063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normAutofit/>
              </a:bodyPr>
              <a:lstStyle/>
              <a:p>
                <a:pPr marL="171450" indent="-171450">
                  <a:lnSpc>
                    <a:spcPct val="160000"/>
                  </a:lnSpc>
                  <a:buFont typeface="Arial" panose="020B0604020202090204" pitchFamily="34" charset="0"/>
                  <a:buChar char="•"/>
                </a:pPr>
                <a:r>
                  <a:rPr lang="en-US" altLang="zh-CN" sz="1400" dirty="0">
                    <a:latin typeface="Arial" panose="020B0604020202090204" pitchFamily="34" charset="0"/>
                    <a:ea typeface="微软雅黑" panose="020B0503020204020204" pitchFamily="34" charset="-122"/>
                    <a:sym typeface="+mn-ea"/>
                  </a:rPr>
                  <a:t>Combined with Hokuyo Lidar and Kinect Xbox camera, the robot can plan the routes accurately</a:t>
                </a:r>
                <a:endParaRPr lang="zh-CN" altLang="en-US" sz="1000" dirty="0">
                  <a:latin typeface="Arial" panose="020B0604020202090204" pitchFamily="34" charset="0"/>
                  <a:ea typeface="微软雅黑" panose="020B0503020204020204" pitchFamily="34" charset="-122"/>
                </a:endParaRPr>
              </a:p>
              <a:p>
                <a:pPr marL="171450" indent="-171450">
                  <a:lnSpc>
                    <a:spcPct val="160000"/>
                  </a:lnSpc>
                  <a:buFont typeface="Arial" panose="020B0604020202090204" pitchFamily="34" charset="0"/>
                  <a:buChar char="•"/>
                </a:pPr>
                <a:endParaRPr lang="en-US" altLang="zh-CN" sz="1000" dirty="0"/>
              </a:p>
            </p:txBody>
          </p:sp>
          <p:sp>
            <p:nvSpPr>
              <p:cNvPr id="44" name="ïşḻiḓé"/>
              <p:cNvSpPr txBox="1"/>
              <p:nvPr/>
            </p:nvSpPr>
            <p:spPr>
              <a:xfrm>
                <a:off x="6237669" y="4904572"/>
                <a:ext cx="4236301" cy="471827"/>
              </a:xfrm>
              <a:prstGeom prst="rect">
                <a:avLst/>
              </a:prstGeom>
              <a:noFill/>
            </p:spPr>
            <p:txBody>
              <a:bodyPr wrap="none" rtlCol="0" anchor="ctr">
                <a:normAutofit/>
              </a:bodyPr>
              <a:lstStyle/>
              <a:p>
                <a:pPr algn="l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en-US" altLang="zh-CN" sz="1400" b="1" dirty="0">
                    <a:latin typeface="Arial" panose="020B0604020202090204" pitchFamily="34" charset="0"/>
                    <a:ea typeface="微软雅黑" panose="020B0503020204020204" pitchFamily="34" charset="-122"/>
                    <a:sym typeface="+mn-ea"/>
                  </a:rPr>
                  <a:t>Configuration</a:t>
                </a:r>
                <a:endParaRPr lang="zh-CN" altLang="en-US" sz="1400" b="1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47" name="iṩļïďê"/>
              <p:cNvSpPr/>
              <p:nvPr/>
            </p:nvSpPr>
            <p:spPr bwMode="auto">
              <a:xfrm>
                <a:off x="5566085" y="5039219"/>
                <a:ext cx="344191" cy="337479"/>
              </a:xfrm>
              <a:custGeom>
                <a:avLst/>
                <a:gdLst>
                  <a:gd name="T0" fmla="*/ 1312 w 1990"/>
                  <a:gd name="T1" fmla="*/ 1552 h 1954"/>
                  <a:gd name="T2" fmla="*/ 291 w 1990"/>
                  <a:gd name="T3" fmla="*/ 1746 h 1954"/>
                  <a:gd name="T4" fmla="*/ 0 w 1990"/>
                  <a:gd name="T5" fmla="*/ 540 h 1954"/>
                  <a:gd name="T6" fmla="*/ 515 w 1990"/>
                  <a:gd name="T7" fmla="*/ 249 h 1954"/>
                  <a:gd name="T8" fmla="*/ 1205 w 1990"/>
                  <a:gd name="T9" fmla="*/ 0 h 1954"/>
                  <a:gd name="T10" fmla="*/ 1496 w 1990"/>
                  <a:gd name="T11" fmla="*/ 489 h 1954"/>
                  <a:gd name="T12" fmla="*/ 1413 w 1990"/>
                  <a:gd name="T13" fmla="*/ 291 h 1954"/>
                  <a:gd name="T14" fmla="*/ 802 w 1990"/>
                  <a:gd name="T15" fmla="*/ 83 h 1954"/>
                  <a:gd name="T16" fmla="*/ 1039 w 1990"/>
                  <a:gd name="T17" fmla="*/ 249 h 1954"/>
                  <a:gd name="T18" fmla="*/ 1243 w 1990"/>
                  <a:gd name="T19" fmla="*/ 499 h 1954"/>
                  <a:gd name="T20" fmla="*/ 291 w 1990"/>
                  <a:gd name="T21" fmla="*/ 333 h 1954"/>
                  <a:gd name="T22" fmla="*/ 83 w 1990"/>
                  <a:gd name="T23" fmla="*/ 1455 h 1954"/>
                  <a:gd name="T24" fmla="*/ 1039 w 1990"/>
                  <a:gd name="T25" fmla="*/ 1663 h 1954"/>
                  <a:gd name="T26" fmla="*/ 1641 w 1990"/>
                  <a:gd name="T27" fmla="*/ 1453 h 1954"/>
                  <a:gd name="T28" fmla="*/ 1138 w 1990"/>
                  <a:gd name="T29" fmla="*/ 583 h 1954"/>
                  <a:gd name="T30" fmla="*/ 1641 w 1990"/>
                  <a:gd name="T31" fmla="*/ 1453 h 1954"/>
                  <a:gd name="T32" fmla="*/ 1752 w 1990"/>
                  <a:gd name="T33" fmla="*/ 809 h 1954"/>
                  <a:gd name="T34" fmla="*/ 1026 w 1990"/>
                  <a:gd name="T35" fmla="*/ 1228 h 1954"/>
                  <a:gd name="T36" fmla="*/ 1767 w 1990"/>
                  <a:gd name="T37" fmla="*/ 1422 h 1954"/>
                  <a:gd name="T38" fmla="*/ 1717 w 1990"/>
                  <a:gd name="T39" fmla="*/ 1835 h 1954"/>
                  <a:gd name="T40" fmla="*/ 1767 w 1990"/>
                  <a:gd name="T41" fmla="*/ 1422 h 1954"/>
                  <a:gd name="T42" fmla="*/ 1739 w 1990"/>
                  <a:gd name="T43" fmla="*/ 1874 h 1954"/>
                  <a:gd name="T44" fmla="*/ 1956 w 1990"/>
                  <a:gd name="T45" fmla="*/ 1749 h 1954"/>
                  <a:gd name="T46" fmla="*/ 249 w 1990"/>
                  <a:gd name="T47" fmla="*/ 551 h 1954"/>
                  <a:gd name="T48" fmla="*/ 803 w 1990"/>
                  <a:gd name="T49" fmla="*/ 613 h 1954"/>
                  <a:gd name="T50" fmla="*/ 675 w 1990"/>
                  <a:gd name="T51" fmla="*/ 828 h 1954"/>
                  <a:gd name="T52" fmla="*/ 249 w 1990"/>
                  <a:gd name="T53" fmla="*/ 890 h 1954"/>
                  <a:gd name="T54" fmla="*/ 675 w 1990"/>
                  <a:gd name="T55" fmla="*/ 828 h 1954"/>
                  <a:gd name="T56" fmla="*/ 675 w 1990"/>
                  <a:gd name="T57" fmla="*/ 1167 h 1954"/>
                  <a:gd name="T58" fmla="*/ 249 w 1990"/>
                  <a:gd name="T59" fmla="*/ 1105 h 1954"/>
                  <a:gd name="T60" fmla="*/ 249 w 1990"/>
                  <a:gd name="T61" fmla="*/ 1444 h 1954"/>
                  <a:gd name="T62" fmla="*/ 803 w 1990"/>
                  <a:gd name="T63" fmla="*/ 1382 h 1954"/>
                  <a:gd name="T64" fmla="*/ 249 w 1990"/>
                  <a:gd name="T65" fmla="*/ 1444 h 1954"/>
                  <a:gd name="T66" fmla="*/ 1179 w 1990"/>
                  <a:gd name="T67" fmla="*/ 961 h 1954"/>
                  <a:gd name="T68" fmla="*/ 1300 w 1990"/>
                  <a:gd name="T69" fmla="*/ 1219 h 1954"/>
                  <a:gd name="T70" fmla="*/ 1604 w 1990"/>
                  <a:gd name="T71" fmla="*/ 858 h 1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990" h="1954">
                    <a:moveTo>
                      <a:pt x="1231" y="1534"/>
                    </a:moveTo>
                    <a:cubicBezTo>
                      <a:pt x="1258" y="1542"/>
                      <a:pt x="1285" y="1548"/>
                      <a:pt x="1312" y="1552"/>
                    </a:cubicBezTo>
                    <a:cubicBezTo>
                      <a:pt x="1272" y="1665"/>
                      <a:pt x="1165" y="1746"/>
                      <a:pt x="1039" y="1746"/>
                    </a:cubicBezTo>
                    <a:lnTo>
                      <a:pt x="291" y="1746"/>
                    </a:lnTo>
                    <a:cubicBezTo>
                      <a:pt x="131" y="1746"/>
                      <a:pt x="0" y="1615"/>
                      <a:pt x="0" y="1455"/>
                    </a:cubicBezTo>
                    <a:lnTo>
                      <a:pt x="0" y="540"/>
                    </a:lnTo>
                    <a:cubicBezTo>
                      <a:pt x="0" y="380"/>
                      <a:pt x="131" y="249"/>
                      <a:pt x="291" y="249"/>
                    </a:cubicBezTo>
                    <a:lnTo>
                      <a:pt x="515" y="249"/>
                    </a:lnTo>
                    <a:cubicBezTo>
                      <a:pt x="535" y="109"/>
                      <a:pt x="656" y="0"/>
                      <a:pt x="802" y="0"/>
                    </a:cubicBezTo>
                    <a:lnTo>
                      <a:pt x="1205" y="0"/>
                    </a:lnTo>
                    <a:cubicBezTo>
                      <a:pt x="1366" y="0"/>
                      <a:pt x="1496" y="131"/>
                      <a:pt x="1496" y="291"/>
                    </a:cubicBezTo>
                    <a:lnTo>
                      <a:pt x="1496" y="489"/>
                    </a:lnTo>
                    <a:cubicBezTo>
                      <a:pt x="1469" y="484"/>
                      <a:pt x="1441" y="480"/>
                      <a:pt x="1413" y="479"/>
                    </a:cubicBezTo>
                    <a:lnTo>
                      <a:pt x="1413" y="291"/>
                    </a:lnTo>
                    <a:cubicBezTo>
                      <a:pt x="1413" y="176"/>
                      <a:pt x="1320" y="83"/>
                      <a:pt x="1205" y="83"/>
                    </a:cubicBezTo>
                    <a:lnTo>
                      <a:pt x="802" y="83"/>
                    </a:lnTo>
                    <a:cubicBezTo>
                      <a:pt x="701" y="83"/>
                      <a:pt x="617" y="155"/>
                      <a:pt x="598" y="249"/>
                    </a:cubicBezTo>
                    <a:lnTo>
                      <a:pt x="1039" y="249"/>
                    </a:lnTo>
                    <a:cubicBezTo>
                      <a:pt x="1180" y="249"/>
                      <a:pt x="1297" y="349"/>
                      <a:pt x="1324" y="482"/>
                    </a:cubicBezTo>
                    <a:cubicBezTo>
                      <a:pt x="1297" y="485"/>
                      <a:pt x="1270" y="491"/>
                      <a:pt x="1243" y="499"/>
                    </a:cubicBezTo>
                    <a:cubicBezTo>
                      <a:pt x="1224" y="404"/>
                      <a:pt x="1140" y="333"/>
                      <a:pt x="1039" y="333"/>
                    </a:cubicBezTo>
                    <a:lnTo>
                      <a:pt x="291" y="333"/>
                    </a:lnTo>
                    <a:cubicBezTo>
                      <a:pt x="177" y="333"/>
                      <a:pt x="83" y="426"/>
                      <a:pt x="83" y="540"/>
                    </a:cubicBezTo>
                    <a:lnTo>
                      <a:pt x="83" y="1455"/>
                    </a:lnTo>
                    <a:cubicBezTo>
                      <a:pt x="83" y="1569"/>
                      <a:pt x="177" y="1663"/>
                      <a:pt x="291" y="1663"/>
                    </a:cubicBezTo>
                    <a:lnTo>
                      <a:pt x="1039" y="1663"/>
                    </a:lnTo>
                    <a:cubicBezTo>
                      <a:pt x="1126" y="1663"/>
                      <a:pt x="1200" y="1609"/>
                      <a:pt x="1231" y="1534"/>
                    </a:cubicBezTo>
                    <a:close/>
                    <a:moveTo>
                      <a:pt x="1641" y="1453"/>
                    </a:moveTo>
                    <a:cubicBezTo>
                      <a:pt x="1401" y="1591"/>
                      <a:pt x="1093" y="1509"/>
                      <a:pt x="955" y="1269"/>
                    </a:cubicBezTo>
                    <a:cubicBezTo>
                      <a:pt x="816" y="1029"/>
                      <a:pt x="899" y="722"/>
                      <a:pt x="1138" y="583"/>
                    </a:cubicBezTo>
                    <a:cubicBezTo>
                      <a:pt x="1378" y="445"/>
                      <a:pt x="1686" y="527"/>
                      <a:pt x="1824" y="767"/>
                    </a:cubicBezTo>
                    <a:cubicBezTo>
                      <a:pt x="1963" y="1007"/>
                      <a:pt x="1880" y="1314"/>
                      <a:pt x="1641" y="1453"/>
                    </a:cubicBezTo>
                    <a:close/>
                    <a:moveTo>
                      <a:pt x="1599" y="1381"/>
                    </a:moveTo>
                    <a:cubicBezTo>
                      <a:pt x="1799" y="1266"/>
                      <a:pt x="1868" y="1009"/>
                      <a:pt x="1752" y="809"/>
                    </a:cubicBezTo>
                    <a:cubicBezTo>
                      <a:pt x="1637" y="608"/>
                      <a:pt x="1380" y="539"/>
                      <a:pt x="1180" y="655"/>
                    </a:cubicBezTo>
                    <a:cubicBezTo>
                      <a:pt x="980" y="771"/>
                      <a:pt x="911" y="1027"/>
                      <a:pt x="1026" y="1228"/>
                    </a:cubicBezTo>
                    <a:cubicBezTo>
                      <a:pt x="1142" y="1428"/>
                      <a:pt x="1399" y="1497"/>
                      <a:pt x="1599" y="1381"/>
                    </a:cubicBezTo>
                    <a:close/>
                    <a:moveTo>
                      <a:pt x="1767" y="1422"/>
                    </a:moveTo>
                    <a:lnTo>
                      <a:pt x="1551" y="1547"/>
                    </a:lnTo>
                    <a:lnTo>
                      <a:pt x="1717" y="1835"/>
                    </a:lnTo>
                    <a:lnTo>
                      <a:pt x="1933" y="1710"/>
                    </a:lnTo>
                    <a:lnTo>
                      <a:pt x="1767" y="1422"/>
                    </a:lnTo>
                    <a:close/>
                    <a:moveTo>
                      <a:pt x="1956" y="1749"/>
                    </a:moveTo>
                    <a:lnTo>
                      <a:pt x="1739" y="1874"/>
                    </a:lnTo>
                    <a:cubicBezTo>
                      <a:pt x="1774" y="1934"/>
                      <a:pt x="1850" y="1954"/>
                      <a:pt x="1910" y="1919"/>
                    </a:cubicBezTo>
                    <a:cubicBezTo>
                      <a:pt x="1969" y="1885"/>
                      <a:pt x="1990" y="1809"/>
                      <a:pt x="1956" y="1749"/>
                    </a:cubicBezTo>
                    <a:close/>
                    <a:moveTo>
                      <a:pt x="803" y="551"/>
                    </a:moveTo>
                    <a:lnTo>
                      <a:pt x="249" y="551"/>
                    </a:lnTo>
                    <a:lnTo>
                      <a:pt x="249" y="613"/>
                    </a:lnTo>
                    <a:lnTo>
                      <a:pt x="803" y="613"/>
                    </a:lnTo>
                    <a:lnTo>
                      <a:pt x="803" y="551"/>
                    </a:lnTo>
                    <a:close/>
                    <a:moveTo>
                      <a:pt x="675" y="828"/>
                    </a:moveTo>
                    <a:lnTo>
                      <a:pt x="249" y="828"/>
                    </a:lnTo>
                    <a:lnTo>
                      <a:pt x="249" y="890"/>
                    </a:lnTo>
                    <a:lnTo>
                      <a:pt x="675" y="890"/>
                    </a:lnTo>
                    <a:lnTo>
                      <a:pt x="675" y="828"/>
                    </a:lnTo>
                    <a:close/>
                    <a:moveTo>
                      <a:pt x="249" y="1167"/>
                    </a:moveTo>
                    <a:lnTo>
                      <a:pt x="675" y="1167"/>
                    </a:lnTo>
                    <a:lnTo>
                      <a:pt x="675" y="1105"/>
                    </a:lnTo>
                    <a:lnTo>
                      <a:pt x="249" y="1105"/>
                    </a:lnTo>
                    <a:lnTo>
                      <a:pt x="249" y="1167"/>
                    </a:lnTo>
                    <a:close/>
                    <a:moveTo>
                      <a:pt x="249" y="1444"/>
                    </a:moveTo>
                    <a:lnTo>
                      <a:pt x="803" y="1444"/>
                    </a:lnTo>
                    <a:lnTo>
                      <a:pt x="803" y="1382"/>
                    </a:lnTo>
                    <a:lnTo>
                      <a:pt x="249" y="1382"/>
                    </a:lnTo>
                    <a:lnTo>
                      <a:pt x="249" y="1444"/>
                    </a:lnTo>
                    <a:close/>
                    <a:moveTo>
                      <a:pt x="1308" y="1105"/>
                    </a:moveTo>
                    <a:lnTo>
                      <a:pt x="1179" y="961"/>
                    </a:lnTo>
                    <a:lnTo>
                      <a:pt x="1118" y="1017"/>
                    </a:lnTo>
                    <a:lnTo>
                      <a:pt x="1300" y="1219"/>
                    </a:lnTo>
                    <a:lnTo>
                      <a:pt x="1657" y="922"/>
                    </a:lnTo>
                    <a:lnTo>
                      <a:pt x="1604" y="858"/>
                    </a:lnTo>
                    <a:lnTo>
                      <a:pt x="1308" y="110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82832" tIns="91416" rIns="182832" bIns="91416" numCol="1" anchor="t" anchorCtr="0" compatLnSpc="1"/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7200" dirty="0"/>
              </a:p>
            </p:txBody>
          </p:sp>
        </p:grpSp>
        <p:cxnSp>
          <p:nvCxnSpPr>
            <p:cNvPr id="10" name="直接连接符 9"/>
            <p:cNvCxnSpPr/>
            <p:nvPr/>
          </p:nvCxnSpPr>
          <p:spPr>
            <a:xfrm>
              <a:off x="794581" y="4723292"/>
              <a:ext cx="6114192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íṡ1íḍe"/>
            <p:cNvGrpSpPr/>
            <p:nvPr/>
          </p:nvGrpSpPr>
          <p:grpSpPr>
            <a:xfrm>
              <a:off x="6610350" y="1375533"/>
              <a:ext cx="4911725" cy="4761767"/>
              <a:chOff x="671512" y="1375533"/>
              <a:chExt cx="4911725" cy="4761767"/>
            </a:xfrm>
          </p:grpSpPr>
          <p:grpSp>
            <p:nvGrpSpPr>
              <p:cNvPr id="12" name="ïšlídè"/>
              <p:cNvGrpSpPr/>
              <p:nvPr/>
            </p:nvGrpSpPr>
            <p:grpSpPr>
              <a:xfrm>
                <a:off x="671512" y="3190322"/>
                <a:ext cx="4911725" cy="2946978"/>
                <a:chOff x="2459596" y="1610580"/>
                <a:chExt cx="7272808" cy="3767656"/>
              </a:xfrm>
            </p:grpSpPr>
            <p:sp>
              <p:nvSpPr>
                <p:cNvPr id="35" name="i$ḷíḍê"/>
                <p:cNvSpPr/>
                <p:nvPr/>
              </p:nvSpPr>
              <p:spPr>
                <a:xfrm>
                  <a:off x="3215253" y="1628800"/>
                  <a:ext cx="5761494" cy="3651552"/>
                </a:xfrm>
                <a:custGeom>
                  <a:avLst/>
                  <a:gdLst>
                    <a:gd name="connsiteX0" fmla="*/ 224028 w 7415784"/>
                    <a:gd name="connsiteY0" fmla="*/ 269748 h 4700016"/>
                    <a:gd name="connsiteX1" fmla="*/ 224028 w 7415784"/>
                    <a:gd name="connsiteY1" fmla="*/ 4430268 h 4700016"/>
                    <a:gd name="connsiteX2" fmla="*/ 7191756 w 7415784"/>
                    <a:gd name="connsiteY2" fmla="*/ 4430268 h 4700016"/>
                    <a:gd name="connsiteX3" fmla="*/ 7191756 w 7415784"/>
                    <a:gd name="connsiteY3" fmla="*/ 269748 h 4700016"/>
                    <a:gd name="connsiteX4" fmla="*/ 266867 w 7415784"/>
                    <a:gd name="connsiteY4" fmla="*/ 0 h 4700016"/>
                    <a:gd name="connsiteX5" fmla="*/ 7148917 w 7415784"/>
                    <a:gd name="connsiteY5" fmla="*/ 0 h 4700016"/>
                    <a:gd name="connsiteX6" fmla="*/ 7415784 w 7415784"/>
                    <a:gd name="connsiteY6" fmla="*/ 266867 h 4700016"/>
                    <a:gd name="connsiteX7" fmla="*/ 7415784 w 7415784"/>
                    <a:gd name="connsiteY7" fmla="*/ 4433149 h 4700016"/>
                    <a:gd name="connsiteX8" fmla="*/ 7148917 w 7415784"/>
                    <a:gd name="connsiteY8" fmla="*/ 4700016 h 4700016"/>
                    <a:gd name="connsiteX9" fmla="*/ 266867 w 7415784"/>
                    <a:gd name="connsiteY9" fmla="*/ 4700016 h 4700016"/>
                    <a:gd name="connsiteX10" fmla="*/ 0 w 7415784"/>
                    <a:gd name="connsiteY10" fmla="*/ 4433149 h 4700016"/>
                    <a:gd name="connsiteX11" fmla="*/ 0 w 7415784"/>
                    <a:gd name="connsiteY11" fmla="*/ 266867 h 4700016"/>
                    <a:gd name="connsiteX12" fmla="*/ 266867 w 7415784"/>
                    <a:gd name="connsiteY12" fmla="*/ 0 h 4700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415784" h="4700016">
                      <a:moveTo>
                        <a:pt x="224028" y="269748"/>
                      </a:moveTo>
                      <a:lnTo>
                        <a:pt x="224028" y="4430268"/>
                      </a:lnTo>
                      <a:lnTo>
                        <a:pt x="7191756" y="4430268"/>
                      </a:lnTo>
                      <a:lnTo>
                        <a:pt x="7191756" y="269748"/>
                      </a:lnTo>
                      <a:close/>
                      <a:moveTo>
                        <a:pt x="266867" y="0"/>
                      </a:moveTo>
                      <a:lnTo>
                        <a:pt x="7148917" y="0"/>
                      </a:lnTo>
                      <a:cubicBezTo>
                        <a:pt x="7296304" y="0"/>
                        <a:pt x="7415784" y="119480"/>
                        <a:pt x="7415784" y="266867"/>
                      </a:cubicBezTo>
                      <a:lnTo>
                        <a:pt x="7415784" y="4433149"/>
                      </a:lnTo>
                      <a:cubicBezTo>
                        <a:pt x="7415784" y="4580536"/>
                        <a:pt x="7296304" y="4700016"/>
                        <a:pt x="7148917" y="4700016"/>
                      </a:cubicBezTo>
                      <a:lnTo>
                        <a:pt x="266867" y="4700016"/>
                      </a:lnTo>
                      <a:cubicBezTo>
                        <a:pt x="119480" y="4700016"/>
                        <a:pt x="0" y="4580536"/>
                        <a:pt x="0" y="4433149"/>
                      </a:cubicBezTo>
                      <a:lnTo>
                        <a:pt x="0" y="266867"/>
                      </a:lnTo>
                      <a:cubicBezTo>
                        <a:pt x="0" y="119480"/>
                        <a:pt x="119480" y="0"/>
                        <a:pt x="266867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  <a:lumOff val="2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90"/>
                </a:p>
              </p:txBody>
            </p:sp>
            <p:sp>
              <p:nvSpPr>
                <p:cNvPr id="36" name="iŝļîḑé"/>
                <p:cNvSpPr/>
                <p:nvPr/>
              </p:nvSpPr>
              <p:spPr>
                <a:xfrm>
                  <a:off x="3228835" y="1644767"/>
                  <a:ext cx="5734330" cy="3619617"/>
                </a:xfrm>
                <a:custGeom>
                  <a:avLst/>
                  <a:gdLst>
                    <a:gd name="connsiteX0" fmla="*/ 252028 w 7380820"/>
                    <a:gd name="connsiteY0" fmla="*/ 295230 h 4658912"/>
                    <a:gd name="connsiteX1" fmla="*/ 252028 w 7380820"/>
                    <a:gd name="connsiteY1" fmla="*/ 4363682 h 4658912"/>
                    <a:gd name="connsiteX2" fmla="*/ 7128792 w 7380820"/>
                    <a:gd name="connsiteY2" fmla="*/ 4363682 h 4658912"/>
                    <a:gd name="connsiteX3" fmla="*/ 7128792 w 7380820"/>
                    <a:gd name="connsiteY3" fmla="*/ 295230 h 4658912"/>
                    <a:gd name="connsiteX4" fmla="*/ 264533 w 7380820"/>
                    <a:gd name="connsiteY4" fmla="*/ 0 h 4658912"/>
                    <a:gd name="connsiteX5" fmla="*/ 7116287 w 7380820"/>
                    <a:gd name="connsiteY5" fmla="*/ 0 h 4658912"/>
                    <a:gd name="connsiteX6" fmla="*/ 7380820 w 7380820"/>
                    <a:gd name="connsiteY6" fmla="*/ 264533 h 4658912"/>
                    <a:gd name="connsiteX7" fmla="*/ 7380820 w 7380820"/>
                    <a:gd name="connsiteY7" fmla="*/ 4394379 h 4658912"/>
                    <a:gd name="connsiteX8" fmla="*/ 7116287 w 7380820"/>
                    <a:gd name="connsiteY8" fmla="*/ 4658912 h 4658912"/>
                    <a:gd name="connsiteX9" fmla="*/ 264533 w 7380820"/>
                    <a:gd name="connsiteY9" fmla="*/ 4658912 h 4658912"/>
                    <a:gd name="connsiteX10" fmla="*/ 0 w 7380820"/>
                    <a:gd name="connsiteY10" fmla="*/ 4394379 h 4658912"/>
                    <a:gd name="connsiteX11" fmla="*/ 0 w 7380820"/>
                    <a:gd name="connsiteY11" fmla="*/ 264533 h 4658912"/>
                    <a:gd name="connsiteX12" fmla="*/ 264533 w 7380820"/>
                    <a:gd name="connsiteY12" fmla="*/ 0 h 46589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380820" h="4658912">
                      <a:moveTo>
                        <a:pt x="252028" y="295230"/>
                      </a:moveTo>
                      <a:lnTo>
                        <a:pt x="252028" y="4363682"/>
                      </a:lnTo>
                      <a:lnTo>
                        <a:pt x="7128792" y="4363682"/>
                      </a:lnTo>
                      <a:lnTo>
                        <a:pt x="7128792" y="295230"/>
                      </a:lnTo>
                      <a:close/>
                      <a:moveTo>
                        <a:pt x="264533" y="0"/>
                      </a:moveTo>
                      <a:lnTo>
                        <a:pt x="7116287" y="0"/>
                      </a:lnTo>
                      <a:cubicBezTo>
                        <a:pt x="7262385" y="0"/>
                        <a:pt x="7380820" y="118435"/>
                        <a:pt x="7380820" y="264533"/>
                      </a:cubicBezTo>
                      <a:lnTo>
                        <a:pt x="7380820" y="4394379"/>
                      </a:lnTo>
                      <a:cubicBezTo>
                        <a:pt x="7380820" y="4540477"/>
                        <a:pt x="7262385" y="4658912"/>
                        <a:pt x="7116287" y="4658912"/>
                      </a:cubicBezTo>
                      <a:lnTo>
                        <a:pt x="264533" y="4658912"/>
                      </a:lnTo>
                      <a:cubicBezTo>
                        <a:pt x="118435" y="4658912"/>
                        <a:pt x="0" y="4540477"/>
                        <a:pt x="0" y="4394379"/>
                      </a:cubicBezTo>
                      <a:lnTo>
                        <a:pt x="0" y="264533"/>
                      </a:lnTo>
                      <a:cubicBezTo>
                        <a:pt x="0" y="118435"/>
                        <a:pt x="118435" y="0"/>
                        <a:pt x="264533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90" dirty="0"/>
                </a:p>
              </p:txBody>
            </p:sp>
            <p:sp>
              <p:nvSpPr>
                <p:cNvPr id="37" name="íṣ1îḓé"/>
                <p:cNvSpPr/>
                <p:nvPr/>
              </p:nvSpPr>
              <p:spPr>
                <a:xfrm>
                  <a:off x="6040055" y="1707676"/>
                  <a:ext cx="111889" cy="111889"/>
                </a:xfrm>
                <a:prstGeom prst="ellipse">
                  <a:avLst/>
                </a:prstGeom>
                <a:gradFill flip="none" rotWithShape="1">
                  <a:gsLst>
                    <a:gs pos="17000">
                      <a:schemeClr val="tx1"/>
                    </a:gs>
                    <a:gs pos="34000">
                      <a:srgbClr val="000000">
                        <a:lumMod val="84000"/>
                        <a:lumOff val="16000"/>
                      </a:srgbClr>
                    </a:gs>
                    <a:gs pos="100000">
                      <a:schemeClr val="bg1">
                        <a:lumMod val="50000"/>
                        <a:lumOff val="5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90"/>
                </a:p>
              </p:txBody>
            </p:sp>
            <p:grpSp>
              <p:nvGrpSpPr>
                <p:cNvPr id="38" name="îṣḻidê"/>
                <p:cNvGrpSpPr/>
                <p:nvPr/>
              </p:nvGrpSpPr>
              <p:grpSpPr>
                <a:xfrm>
                  <a:off x="2459596" y="5232543"/>
                  <a:ext cx="7272808" cy="145693"/>
                  <a:chOff x="-1348120" y="5777968"/>
                  <a:chExt cx="9361040" cy="187524"/>
                </a:xfrm>
              </p:grpSpPr>
              <p:sp>
                <p:nvSpPr>
                  <p:cNvPr id="41" name="îšľïďé"/>
                  <p:cNvSpPr/>
                  <p:nvPr/>
                </p:nvSpPr>
                <p:spPr>
                  <a:xfrm flipV="1">
                    <a:off x="-1348120" y="5928916"/>
                    <a:ext cx="9361040" cy="36576"/>
                  </a:xfrm>
                  <a:prstGeom prst="trapezoid">
                    <a:avLst>
                      <a:gd name="adj" fmla="val 814192"/>
                    </a:avLst>
                  </a:prstGeom>
                  <a:solidFill>
                    <a:srgbClr val="808080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90"/>
                  </a:p>
                </p:txBody>
              </p:sp>
              <p:sp>
                <p:nvSpPr>
                  <p:cNvPr id="42" name="íS1îďê"/>
                  <p:cNvSpPr/>
                  <p:nvPr/>
                </p:nvSpPr>
                <p:spPr>
                  <a:xfrm>
                    <a:off x="-1348120" y="5777968"/>
                    <a:ext cx="9361040" cy="151090"/>
                  </a:xfrm>
                  <a:prstGeom prst="rect">
                    <a:avLst/>
                  </a:prstGeom>
                  <a:solidFill>
                    <a:srgbClr val="DDDDDD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90"/>
                  </a:p>
                </p:txBody>
              </p:sp>
            </p:grpSp>
            <p:sp>
              <p:nvSpPr>
                <p:cNvPr id="40" name="ïṥļiďe"/>
                <p:cNvSpPr/>
                <p:nvPr/>
              </p:nvSpPr>
              <p:spPr>
                <a:xfrm>
                  <a:off x="7010658" y="1610580"/>
                  <a:ext cx="1966089" cy="3651552"/>
                </a:xfrm>
                <a:custGeom>
                  <a:avLst/>
                  <a:gdLst>
                    <a:gd name="connsiteX0" fmla="*/ 0 w 2530610"/>
                    <a:gd name="connsiteY0" fmla="*/ 0 h 4700016"/>
                    <a:gd name="connsiteX1" fmla="*/ 2263743 w 2530610"/>
                    <a:gd name="connsiteY1" fmla="*/ 0 h 4700016"/>
                    <a:gd name="connsiteX2" fmla="*/ 2530610 w 2530610"/>
                    <a:gd name="connsiteY2" fmla="*/ 266867 h 4700016"/>
                    <a:gd name="connsiteX3" fmla="*/ 2530610 w 2530610"/>
                    <a:gd name="connsiteY3" fmla="*/ 4433149 h 4700016"/>
                    <a:gd name="connsiteX4" fmla="*/ 2263743 w 2530610"/>
                    <a:gd name="connsiteY4" fmla="*/ 4700016 h 4700016"/>
                    <a:gd name="connsiteX5" fmla="*/ 1961175 w 2530610"/>
                    <a:gd name="connsiteY5" fmla="*/ 4700016 h 4700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30610" h="4700016">
                      <a:moveTo>
                        <a:pt x="0" y="0"/>
                      </a:moveTo>
                      <a:lnTo>
                        <a:pt x="2263743" y="0"/>
                      </a:lnTo>
                      <a:cubicBezTo>
                        <a:pt x="2411130" y="0"/>
                        <a:pt x="2530610" y="119480"/>
                        <a:pt x="2530610" y="266867"/>
                      </a:cubicBezTo>
                      <a:lnTo>
                        <a:pt x="2530610" y="4433149"/>
                      </a:lnTo>
                      <a:cubicBezTo>
                        <a:pt x="2530610" y="4580536"/>
                        <a:pt x="2411130" y="4700016"/>
                        <a:pt x="2263743" y="4700016"/>
                      </a:cubicBezTo>
                      <a:lnTo>
                        <a:pt x="1961175" y="4700016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FFFFFF">
                        <a:alpha val="30000"/>
                      </a:srgbClr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0"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90" dirty="0"/>
                </a:p>
              </p:txBody>
            </p:sp>
          </p:grpSp>
          <p:grpSp>
            <p:nvGrpSpPr>
              <p:cNvPr id="13" name="išḻïḋè"/>
              <p:cNvGrpSpPr/>
              <p:nvPr/>
            </p:nvGrpSpPr>
            <p:grpSpPr>
              <a:xfrm>
                <a:off x="1888546" y="1375533"/>
                <a:ext cx="2427781" cy="1847834"/>
                <a:chOff x="1888546" y="1478721"/>
                <a:chExt cx="2427781" cy="1847834"/>
              </a:xfrm>
            </p:grpSpPr>
            <p:grpSp>
              <p:nvGrpSpPr>
                <p:cNvPr id="14" name="ïśḻiḑê"/>
                <p:cNvGrpSpPr/>
                <p:nvPr/>
              </p:nvGrpSpPr>
              <p:grpSpPr>
                <a:xfrm>
                  <a:off x="2895559" y="1478721"/>
                  <a:ext cx="444108" cy="444108"/>
                  <a:chOff x="2895559" y="1478721"/>
                  <a:chExt cx="444108" cy="444108"/>
                </a:xfrm>
              </p:grpSpPr>
              <p:sp>
                <p:nvSpPr>
                  <p:cNvPr id="33" name="iṥḻîḋé"/>
                  <p:cNvSpPr/>
                  <p:nvPr/>
                </p:nvSpPr>
                <p:spPr>
                  <a:xfrm>
                    <a:off x="2895559" y="1478721"/>
                    <a:ext cx="444108" cy="444108"/>
                  </a:xfrm>
                  <a:prstGeom prst="round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no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34" name="ïŝļiḋe"/>
                  <p:cNvSpPr/>
                  <p:nvPr/>
                </p:nvSpPr>
                <p:spPr bwMode="auto">
                  <a:xfrm>
                    <a:off x="2964620" y="1532468"/>
                    <a:ext cx="325507" cy="325016"/>
                  </a:xfrm>
                  <a:custGeom>
                    <a:avLst/>
                    <a:gdLst>
                      <a:gd name="connsiteX0" fmla="*/ 292209 w 607639"/>
                      <a:gd name="connsiteY0" fmla="*/ 383192 h 606722"/>
                      <a:gd name="connsiteX1" fmla="*/ 295945 w 607639"/>
                      <a:gd name="connsiteY1" fmla="*/ 396968 h 606722"/>
                      <a:gd name="connsiteX2" fmla="*/ 250126 w 607639"/>
                      <a:gd name="connsiteY2" fmla="*/ 476244 h 606722"/>
                      <a:gd name="connsiteX3" fmla="*/ 357513 w 607639"/>
                      <a:gd name="connsiteY3" fmla="*/ 476244 h 606722"/>
                      <a:gd name="connsiteX4" fmla="*/ 311693 w 607639"/>
                      <a:gd name="connsiteY4" fmla="*/ 396968 h 606722"/>
                      <a:gd name="connsiteX5" fmla="*/ 315341 w 607639"/>
                      <a:gd name="connsiteY5" fmla="*/ 383192 h 606722"/>
                      <a:gd name="connsiteX6" fmla="*/ 329220 w 607639"/>
                      <a:gd name="connsiteY6" fmla="*/ 386836 h 606722"/>
                      <a:gd name="connsiteX7" fmla="*/ 381179 w 607639"/>
                      <a:gd name="connsiteY7" fmla="*/ 476777 h 606722"/>
                      <a:gd name="connsiteX8" fmla="*/ 381891 w 607639"/>
                      <a:gd name="connsiteY8" fmla="*/ 485220 h 606722"/>
                      <a:gd name="connsiteX9" fmla="*/ 376019 w 607639"/>
                      <a:gd name="connsiteY9" fmla="*/ 491264 h 606722"/>
                      <a:gd name="connsiteX10" fmla="*/ 303775 w 607639"/>
                      <a:gd name="connsiteY10" fmla="*/ 504684 h 606722"/>
                      <a:gd name="connsiteX11" fmla="*/ 231620 w 607639"/>
                      <a:gd name="connsiteY11" fmla="*/ 491264 h 606722"/>
                      <a:gd name="connsiteX12" fmla="*/ 225659 w 607639"/>
                      <a:gd name="connsiteY12" fmla="*/ 485220 h 606722"/>
                      <a:gd name="connsiteX13" fmla="*/ 226460 w 607639"/>
                      <a:gd name="connsiteY13" fmla="*/ 476777 h 606722"/>
                      <a:gd name="connsiteX14" fmla="*/ 278418 w 607639"/>
                      <a:gd name="connsiteY14" fmla="*/ 386836 h 606722"/>
                      <a:gd name="connsiteX15" fmla="*/ 292209 w 607639"/>
                      <a:gd name="connsiteY15" fmla="*/ 383192 h 606722"/>
                      <a:gd name="connsiteX16" fmla="*/ 389652 w 607639"/>
                      <a:gd name="connsiteY16" fmla="*/ 322696 h 606722"/>
                      <a:gd name="connsiteX17" fmla="*/ 493616 w 607639"/>
                      <a:gd name="connsiteY17" fmla="*/ 322696 h 606722"/>
                      <a:gd name="connsiteX18" fmla="*/ 501360 w 607639"/>
                      <a:gd name="connsiteY18" fmla="*/ 326252 h 606722"/>
                      <a:gd name="connsiteX19" fmla="*/ 503674 w 607639"/>
                      <a:gd name="connsiteY19" fmla="*/ 334430 h 606722"/>
                      <a:gd name="connsiteX20" fmla="*/ 479196 w 607639"/>
                      <a:gd name="connsiteY20" fmla="*/ 403679 h 606722"/>
                      <a:gd name="connsiteX21" fmla="*/ 431398 w 607639"/>
                      <a:gd name="connsiteY21" fmla="*/ 459417 h 606722"/>
                      <a:gd name="connsiteX22" fmla="*/ 424989 w 607639"/>
                      <a:gd name="connsiteY22" fmla="*/ 461639 h 606722"/>
                      <a:gd name="connsiteX23" fmla="*/ 423209 w 607639"/>
                      <a:gd name="connsiteY23" fmla="*/ 461461 h 606722"/>
                      <a:gd name="connsiteX24" fmla="*/ 416266 w 607639"/>
                      <a:gd name="connsiteY24" fmla="*/ 456572 h 606722"/>
                      <a:gd name="connsiteX25" fmla="*/ 364285 w 607639"/>
                      <a:gd name="connsiteY25" fmla="*/ 366699 h 606722"/>
                      <a:gd name="connsiteX26" fmla="*/ 367934 w 607639"/>
                      <a:gd name="connsiteY26" fmla="*/ 352831 h 606722"/>
                      <a:gd name="connsiteX27" fmla="*/ 381820 w 607639"/>
                      <a:gd name="connsiteY27" fmla="*/ 356565 h 606722"/>
                      <a:gd name="connsiteX28" fmla="*/ 427660 w 607639"/>
                      <a:gd name="connsiteY28" fmla="*/ 435859 h 606722"/>
                      <a:gd name="connsiteX29" fmla="*/ 461661 w 607639"/>
                      <a:gd name="connsiteY29" fmla="*/ 393545 h 606722"/>
                      <a:gd name="connsiteX30" fmla="*/ 481422 w 607639"/>
                      <a:gd name="connsiteY30" fmla="*/ 342964 h 606722"/>
                      <a:gd name="connsiteX31" fmla="*/ 389652 w 607639"/>
                      <a:gd name="connsiteY31" fmla="*/ 342964 h 606722"/>
                      <a:gd name="connsiteX32" fmla="*/ 379594 w 607639"/>
                      <a:gd name="connsiteY32" fmla="*/ 332830 h 606722"/>
                      <a:gd name="connsiteX33" fmla="*/ 389652 w 607639"/>
                      <a:gd name="connsiteY33" fmla="*/ 322696 h 606722"/>
                      <a:gd name="connsiteX34" fmla="*/ 113930 w 607639"/>
                      <a:gd name="connsiteY34" fmla="*/ 322696 h 606722"/>
                      <a:gd name="connsiteX35" fmla="*/ 217944 w 607639"/>
                      <a:gd name="connsiteY35" fmla="*/ 322696 h 606722"/>
                      <a:gd name="connsiteX36" fmla="*/ 227999 w 607639"/>
                      <a:gd name="connsiteY36" fmla="*/ 332830 h 606722"/>
                      <a:gd name="connsiteX37" fmla="*/ 217944 w 607639"/>
                      <a:gd name="connsiteY37" fmla="*/ 342964 h 606722"/>
                      <a:gd name="connsiteX38" fmla="*/ 126209 w 607639"/>
                      <a:gd name="connsiteY38" fmla="*/ 342964 h 606722"/>
                      <a:gd name="connsiteX39" fmla="*/ 145962 w 607639"/>
                      <a:gd name="connsiteY39" fmla="*/ 393545 h 606722"/>
                      <a:gd name="connsiteX40" fmla="*/ 179951 w 607639"/>
                      <a:gd name="connsiteY40" fmla="*/ 435859 h 606722"/>
                      <a:gd name="connsiteX41" fmla="*/ 225774 w 607639"/>
                      <a:gd name="connsiteY41" fmla="*/ 356565 h 606722"/>
                      <a:gd name="connsiteX42" fmla="*/ 239566 w 607639"/>
                      <a:gd name="connsiteY42" fmla="*/ 352831 h 606722"/>
                      <a:gd name="connsiteX43" fmla="*/ 243303 w 607639"/>
                      <a:gd name="connsiteY43" fmla="*/ 366699 h 606722"/>
                      <a:gd name="connsiteX44" fmla="*/ 191340 w 607639"/>
                      <a:gd name="connsiteY44" fmla="*/ 456572 h 606722"/>
                      <a:gd name="connsiteX45" fmla="*/ 184400 w 607639"/>
                      <a:gd name="connsiteY45" fmla="*/ 461461 h 606722"/>
                      <a:gd name="connsiteX46" fmla="*/ 182531 w 607639"/>
                      <a:gd name="connsiteY46" fmla="*/ 461639 h 606722"/>
                      <a:gd name="connsiteX47" fmla="*/ 176214 w 607639"/>
                      <a:gd name="connsiteY47" fmla="*/ 459417 h 606722"/>
                      <a:gd name="connsiteX48" fmla="*/ 128433 w 607639"/>
                      <a:gd name="connsiteY48" fmla="*/ 403679 h 606722"/>
                      <a:gd name="connsiteX49" fmla="*/ 103964 w 607639"/>
                      <a:gd name="connsiteY49" fmla="*/ 334430 h 606722"/>
                      <a:gd name="connsiteX50" fmla="*/ 106278 w 607639"/>
                      <a:gd name="connsiteY50" fmla="*/ 326252 h 606722"/>
                      <a:gd name="connsiteX51" fmla="*/ 113930 w 607639"/>
                      <a:gd name="connsiteY51" fmla="*/ 322696 h 606722"/>
                      <a:gd name="connsiteX52" fmla="*/ 303775 w 607639"/>
                      <a:gd name="connsiteY52" fmla="*/ 262874 h 606722"/>
                      <a:gd name="connsiteX53" fmla="*/ 263294 w 607639"/>
                      <a:gd name="connsiteY53" fmla="*/ 303325 h 606722"/>
                      <a:gd name="connsiteX54" fmla="*/ 303775 w 607639"/>
                      <a:gd name="connsiteY54" fmla="*/ 343777 h 606722"/>
                      <a:gd name="connsiteX55" fmla="*/ 344256 w 607639"/>
                      <a:gd name="connsiteY55" fmla="*/ 303325 h 606722"/>
                      <a:gd name="connsiteX56" fmla="*/ 303775 w 607639"/>
                      <a:gd name="connsiteY56" fmla="*/ 262874 h 606722"/>
                      <a:gd name="connsiteX57" fmla="*/ 303775 w 607639"/>
                      <a:gd name="connsiteY57" fmla="*/ 242604 h 606722"/>
                      <a:gd name="connsiteX58" fmla="*/ 364541 w 607639"/>
                      <a:gd name="connsiteY58" fmla="*/ 303325 h 606722"/>
                      <a:gd name="connsiteX59" fmla="*/ 303775 w 607639"/>
                      <a:gd name="connsiteY59" fmla="*/ 364047 h 606722"/>
                      <a:gd name="connsiteX60" fmla="*/ 243098 w 607639"/>
                      <a:gd name="connsiteY60" fmla="*/ 303325 h 606722"/>
                      <a:gd name="connsiteX61" fmla="*/ 303775 w 607639"/>
                      <a:gd name="connsiteY61" fmla="*/ 242604 h 606722"/>
                      <a:gd name="connsiteX62" fmla="*/ 423209 w 607639"/>
                      <a:gd name="connsiteY62" fmla="*/ 143640 h 606722"/>
                      <a:gd name="connsiteX63" fmla="*/ 431398 w 607639"/>
                      <a:gd name="connsiteY63" fmla="*/ 145684 h 606722"/>
                      <a:gd name="connsiteX64" fmla="*/ 479196 w 607639"/>
                      <a:gd name="connsiteY64" fmla="*/ 201399 h 606722"/>
                      <a:gd name="connsiteX65" fmla="*/ 503674 w 607639"/>
                      <a:gd name="connsiteY65" fmla="*/ 270621 h 606722"/>
                      <a:gd name="connsiteX66" fmla="*/ 501360 w 607639"/>
                      <a:gd name="connsiteY66" fmla="*/ 278708 h 606722"/>
                      <a:gd name="connsiteX67" fmla="*/ 493616 w 607639"/>
                      <a:gd name="connsiteY67" fmla="*/ 282262 h 606722"/>
                      <a:gd name="connsiteX68" fmla="*/ 389652 w 607639"/>
                      <a:gd name="connsiteY68" fmla="*/ 282262 h 606722"/>
                      <a:gd name="connsiteX69" fmla="*/ 379505 w 607639"/>
                      <a:gd name="connsiteY69" fmla="*/ 272221 h 606722"/>
                      <a:gd name="connsiteX70" fmla="*/ 389652 w 607639"/>
                      <a:gd name="connsiteY70" fmla="*/ 262091 h 606722"/>
                      <a:gd name="connsiteX71" fmla="*/ 481422 w 607639"/>
                      <a:gd name="connsiteY71" fmla="*/ 262091 h 606722"/>
                      <a:gd name="connsiteX72" fmla="*/ 461661 w 607639"/>
                      <a:gd name="connsiteY72" fmla="*/ 211529 h 606722"/>
                      <a:gd name="connsiteX73" fmla="*/ 427660 w 607639"/>
                      <a:gd name="connsiteY73" fmla="*/ 169143 h 606722"/>
                      <a:gd name="connsiteX74" fmla="*/ 381820 w 607639"/>
                      <a:gd name="connsiteY74" fmla="*/ 248495 h 606722"/>
                      <a:gd name="connsiteX75" fmla="*/ 367934 w 607639"/>
                      <a:gd name="connsiteY75" fmla="*/ 252138 h 606722"/>
                      <a:gd name="connsiteX76" fmla="*/ 364285 w 607639"/>
                      <a:gd name="connsiteY76" fmla="*/ 238365 h 606722"/>
                      <a:gd name="connsiteX77" fmla="*/ 416266 w 607639"/>
                      <a:gd name="connsiteY77" fmla="*/ 148527 h 606722"/>
                      <a:gd name="connsiteX78" fmla="*/ 423209 w 607639"/>
                      <a:gd name="connsiteY78" fmla="*/ 143640 h 606722"/>
                      <a:gd name="connsiteX79" fmla="*/ 184400 w 607639"/>
                      <a:gd name="connsiteY79" fmla="*/ 143499 h 606722"/>
                      <a:gd name="connsiteX80" fmla="*/ 191340 w 607639"/>
                      <a:gd name="connsiteY80" fmla="*/ 148477 h 606722"/>
                      <a:gd name="connsiteX81" fmla="*/ 243303 w 607639"/>
                      <a:gd name="connsiteY81" fmla="*/ 238349 h 606722"/>
                      <a:gd name="connsiteX82" fmla="*/ 239566 w 607639"/>
                      <a:gd name="connsiteY82" fmla="*/ 252127 h 606722"/>
                      <a:gd name="connsiteX83" fmla="*/ 225774 w 607639"/>
                      <a:gd name="connsiteY83" fmla="*/ 248483 h 606722"/>
                      <a:gd name="connsiteX84" fmla="*/ 179951 w 607639"/>
                      <a:gd name="connsiteY84" fmla="*/ 169190 h 606722"/>
                      <a:gd name="connsiteX85" fmla="*/ 145962 w 607639"/>
                      <a:gd name="connsiteY85" fmla="*/ 211503 h 606722"/>
                      <a:gd name="connsiteX86" fmla="*/ 126209 w 607639"/>
                      <a:gd name="connsiteY86" fmla="*/ 262083 h 606722"/>
                      <a:gd name="connsiteX87" fmla="*/ 217855 w 607639"/>
                      <a:gd name="connsiteY87" fmla="*/ 262083 h 606722"/>
                      <a:gd name="connsiteX88" fmla="*/ 227999 w 607639"/>
                      <a:gd name="connsiteY88" fmla="*/ 272217 h 606722"/>
                      <a:gd name="connsiteX89" fmla="*/ 217855 w 607639"/>
                      <a:gd name="connsiteY89" fmla="*/ 282262 h 606722"/>
                      <a:gd name="connsiteX90" fmla="*/ 113930 w 607639"/>
                      <a:gd name="connsiteY90" fmla="*/ 282262 h 606722"/>
                      <a:gd name="connsiteX91" fmla="*/ 106278 w 607639"/>
                      <a:gd name="connsiteY91" fmla="*/ 278706 h 606722"/>
                      <a:gd name="connsiteX92" fmla="*/ 103964 w 607639"/>
                      <a:gd name="connsiteY92" fmla="*/ 270617 h 606722"/>
                      <a:gd name="connsiteX93" fmla="*/ 128433 w 607639"/>
                      <a:gd name="connsiteY93" fmla="*/ 201369 h 606722"/>
                      <a:gd name="connsiteX94" fmla="*/ 176214 w 607639"/>
                      <a:gd name="connsiteY94" fmla="*/ 145633 h 606722"/>
                      <a:gd name="connsiteX95" fmla="*/ 184400 w 607639"/>
                      <a:gd name="connsiteY95" fmla="*/ 143499 h 606722"/>
                      <a:gd name="connsiteX96" fmla="*/ 303819 w 607639"/>
                      <a:gd name="connsiteY96" fmla="*/ 100364 h 606722"/>
                      <a:gd name="connsiteX97" fmla="*/ 376019 w 607639"/>
                      <a:gd name="connsiteY97" fmla="*/ 113762 h 606722"/>
                      <a:gd name="connsiteX98" fmla="*/ 381891 w 607639"/>
                      <a:gd name="connsiteY98" fmla="*/ 119806 h 606722"/>
                      <a:gd name="connsiteX99" fmla="*/ 381179 w 607639"/>
                      <a:gd name="connsiteY99" fmla="*/ 128249 h 606722"/>
                      <a:gd name="connsiteX100" fmla="*/ 329220 w 607639"/>
                      <a:gd name="connsiteY100" fmla="*/ 218192 h 606722"/>
                      <a:gd name="connsiteX101" fmla="*/ 315341 w 607639"/>
                      <a:gd name="connsiteY101" fmla="*/ 221836 h 606722"/>
                      <a:gd name="connsiteX102" fmla="*/ 311693 w 607639"/>
                      <a:gd name="connsiteY102" fmla="*/ 208060 h 606722"/>
                      <a:gd name="connsiteX103" fmla="*/ 357513 w 607639"/>
                      <a:gd name="connsiteY103" fmla="*/ 128693 h 606722"/>
                      <a:gd name="connsiteX104" fmla="*/ 250126 w 607639"/>
                      <a:gd name="connsiteY104" fmla="*/ 128693 h 606722"/>
                      <a:gd name="connsiteX105" fmla="*/ 295945 w 607639"/>
                      <a:gd name="connsiteY105" fmla="*/ 208060 h 606722"/>
                      <a:gd name="connsiteX106" fmla="*/ 292209 w 607639"/>
                      <a:gd name="connsiteY106" fmla="*/ 221836 h 606722"/>
                      <a:gd name="connsiteX107" fmla="*/ 287226 w 607639"/>
                      <a:gd name="connsiteY107" fmla="*/ 223169 h 606722"/>
                      <a:gd name="connsiteX108" fmla="*/ 278418 w 607639"/>
                      <a:gd name="connsiteY108" fmla="*/ 218192 h 606722"/>
                      <a:gd name="connsiteX109" fmla="*/ 226460 w 607639"/>
                      <a:gd name="connsiteY109" fmla="*/ 128249 h 606722"/>
                      <a:gd name="connsiteX110" fmla="*/ 225659 w 607639"/>
                      <a:gd name="connsiteY110" fmla="*/ 119806 h 606722"/>
                      <a:gd name="connsiteX111" fmla="*/ 231620 w 607639"/>
                      <a:gd name="connsiteY111" fmla="*/ 113762 h 606722"/>
                      <a:gd name="connsiteX112" fmla="*/ 303819 w 607639"/>
                      <a:gd name="connsiteY112" fmla="*/ 100364 h 606722"/>
                      <a:gd name="connsiteX113" fmla="*/ 283304 w 607639"/>
                      <a:gd name="connsiteY113" fmla="*/ 20174 h 606722"/>
                      <a:gd name="connsiteX114" fmla="*/ 275650 w 607639"/>
                      <a:gd name="connsiteY114" fmla="*/ 55544 h 606722"/>
                      <a:gd name="connsiteX115" fmla="*/ 267194 w 607639"/>
                      <a:gd name="connsiteY115" fmla="*/ 63365 h 606722"/>
                      <a:gd name="connsiteX116" fmla="*/ 216194 w 607639"/>
                      <a:gd name="connsiteY116" fmla="*/ 76962 h 606722"/>
                      <a:gd name="connsiteX117" fmla="*/ 204979 w 607639"/>
                      <a:gd name="connsiteY117" fmla="*/ 74207 h 606722"/>
                      <a:gd name="connsiteX118" fmla="*/ 181126 w 607639"/>
                      <a:gd name="connsiteY118" fmla="*/ 47102 h 606722"/>
                      <a:gd name="connsiteX119" fmla="*/ 144278 w 607639"/>
                      <a:gd name="connsiteY119" fmla="*/ 68431 h 606722"/>
                      <a:gd name="connsiteX120" fmla="*/ 155314 w 607639"/>
                      <a:gd name="connsiteY120" fmla="*/ 102913 h 606722"/>
                      <a:gd name="connsiteX121" fmla="*/ 152021 w 607639"/>
                      <a:gd name="connsiteY121" fmla="*/ 113844 h 606722"/>
                      <a:gd name="connsiteX122" fmla="*/ 114639 w 607639"/>
                      <a:gd name="connsiteY122" fmla="*/ 150992 h 606722"/>
                      <a:gd name="connsiteX123" fmla="*/ 103513 w 607639"/>
                      <a:gd name="connsiteY123" fmla="*/ 154280 h 606722"/>
                      <a:gd name="connsiteX124" fmla="*/ 69246 w 607639"/>
                      <a:gd name="connsiteY124" fmla="*/ 142727 h 606722"/>
                      <a:gd name="connsiteX125" fmla="*/ 47974 w 607639"/>
                      <a:gd name="connsiteY125" fmla="*/ 179519 h 606722"/>
                      <a:gd name="connsiteX126" fmla="*/ 74764 w 607639"/>
                      <a:gd name="connsiteY126" fmla="*/ 203870 h 606722"/>
                      <a:gd name="connsiteX127" fmla="*/ 77434 w 607639"/>
                      <a:gd name="connsiteY127" fmla="*/ 214979 h 606722"/>
                      <a:gd name="connsiteX128" fmla="*/ 63639 w 607639"/>
                      <a:gd name="connsiteY128" fmla="*/ 265813 h 606722"/>
                      <a:gd name="connsiteX129" fmla="*/ 55628 w 607639"/>
                      <a:gd name="connsiteY129" fmla="*/ 274256 h 606722"/>
                      <a:gd name="connsiteX130" fmla="*/ 20293 w 607639"/>
                      <a:gd name="connsiteY130" fmla="*/ 281277 h 606722"/>
                      <a:gd name="connsiteX131" fmla="*/ 20293 w 607639"/>
                      <a:gd name="connsiteY131" fmla="*/ 323846 h 606722"/>
                      <a:gd name="connsiteX132" fmla="*/ 55628 w 607639"/>
                      <a:gd name="connsiteY132" fmla="*/ 331489 h 606722"/>
                      <a:gd name="connsiteX133" fmla="*/ 63461 w 607639"/>
                      <a:gd name="connsiteY133" fmla="*/ 339843 h 606722"/>
                      <a:gd name="connsiteX134" fmla="*/ 77078 w 607639"/>
                      <a:gd name="connsiteY134" fmla="*/ 390766 h 606722"/>
                      <a:gd name="connsiteX135" fmla="*/ 74319 w 607639"/>
                      <a:gd name="connsiteY135" fmla="*/ 401963 h 606722"/>
                      <a:gd name="connsiteX136" fmla="*/ 47173 w 607639"/>
                      <a:gd name="connsiteY136" fmla="*/ 425781 h 606722"/>
                      <a:gd name="connsiteX137" fmla="*/ 68534 w 607639"/>
                      <a:gd name="connsiteY137" fmla="*/ 462662 h 606722"/>
                      <a:gd name="connsiteX138" fmla="*/ 103068 w 607639"/>
                      <a:gd name="connsiteY138" fmla="*/ 451553 h 606722"/>
                      <a:gd name="connsiteX139" fmla="*/ 114016 w 607639"/>
                      <a:gd name="connsiteY139" fmla="*/ 454930 h 606722"/>
                      <a:gd name="connsiteX140" fmla="*/ 151220 w 607639"/>
                      <a:gd name="connsiteY140" fmla="*/ 492167 h 606722"/>
                      <a:gd name="connsiteX141" fmla="*/ 154513 w 607639"/>
                      <a:gd name="connsiteY141" fmla="*/ 503276 h 606722"/>
                      <a:gd name="connsiteX142" fmla="*/ 142943 w 607639"/>
                      <a:gd name="connsiteY142" fmla="*/ 537491 h 606722"/>
                      <a:gd name="connsiteX143" fmla="*/ 179791 w 607639"/>
                      <a:gd name="connsiteY143" fmla="*/ 558732 h 606722"/>
                      <a:gd name="connsiteX144" fmla="*/ 204178 w 607639"/>
                      <a:gd name="connsiteY144" fmla="*/ 531981 h 606722"/>
                      <a:gd name="connsiteX145" fmla="*/ 215304 w 607639"/>
                      <a:gd name="connsiteY145" fmla="*/ 529315 h 606722"/>
                      <a:gd name="connsiteX146" fmla="*/ 266215 w 607639"/>
                      <a:gd name="connsiteY146" fmla="*/ 543090 h 606722"/>
                      <a:gd name="connsiteX147" fmla="*/ 274671 w 607639"/>
                      <a:gd name="connsiteY147" fmla="*/ 551089 h 606722"/>
                      <a:gd name="connsiteX148" fmla="*/ 281702 w 607639"/>
                      <a:gd name="connsiteY148" fmla="*/ 586459 h 606722"/>
                      <a:gd name="connsiteX149" fmla="*/ 324335 w 607639"/>
                      <a:gd name="connsiteY149" fmla="*/ 586459 h 606722"/>
                      <a:gd name="connsiteX150" fmla="*/ 331990 w 607639"/>
                      <a:gd name="connsiteY150" fmla="*/ 551089 h 606722"/>
                      <a:gd name="connsiteX151" fmla="*/ 340356 w 607639"/>
                      <a:gd name="connsiteY151" fmla="*/ 543268 h 606722"/>
                      <a:gd name="connsiteX152" fmla="*/ 391356 w 607639"/>
                      <a:gd name="connsiteY152" fmla="*/ 529760 h 606722"/>
                      <a:gd name="connsiteX153" fmla="*/ 402571 w 607639"/>
                      <a:gd name="connsiteY153" fmla="*/ 532426 h 606722"/>
                      <a:gd name="connsiteX154" fmla="*/ 426424 w 607639"/>
                      <a:gd name="connsiteY154" fmla="*/ 559531 h 606722"/>
                      <a:gd name="connsiteX155" fmla="*/ 463362 w 607639"/>
                      <a:gd name="connsiteY155" fmla="*/ 538291 h 606722"/>
                      <a:gd name="connsiteX156" fmla="*/ 452236 w 607639"/>
                      <a:gd name="connsiteY156" fmla="*/ 503809 h 606722"/>
                      <a:gd name="connsiteX157" fmla="*/ 455618 w 607639"/>
                      <a:gd name="connsiteY157" fmla="*/ 492789 h 606722"/>
                      <a:gd name="connsiteX158" fmla="*/ 492911 w 607639"/>
                      <a:gd name="connsiteY158" fmla="*/ 455641 h 606722"/>
                      <a:gd name="connsiteX159" fmla="*/ 504037 w 607639"/>
                      <a:gd name="connsiteY159" fmla="*/ 452442 h 606722"/>
                      <a:gd name="connsiteX160" fmla="*/ 538304 w 607639"/>
                      <a:gd name="connsiteY160" fmla="*/ 463995 h 606722"/>
                      <a:gd name="connsiteX161" fmla="*/ 559576 w 607639"/>
                      <a:gd name="connsiteY161" fmla="*/ 427114 h 606722"/>
                      <a:gd name="connsiteX162" fmla="*/ 532786 w 607639"/>
                      <a:gd name="connsiteY162" fmla="*/ 402852 h 606722"/>
                      <a:gd name="connsiteX163" fmla="*/ 530205 w 607639"/>
                      <a:gd name="connsiteY163" fmla="*/ 391654 h 606722"/>
                      <a:gd name="connsiteX164" fmla="*/ 543911 w 607639"/>
                      <a:gd name="connsiteY164" fmla="*/ 340820 h 606722"/>
                      <a:gd name="connsiteX165" fmla="*/ 552011 w 607639"/>
                      <a:gd name="connsiteY165" fmla="*/ 332466 h 606722"/>
                      <a:gd name="connsiteX166" fmla="*/ 587346 w 607639"/>
                      <a:gd name="connsiteY166" fmla="*/ 325357 h 606722"/>
                      <a:gd name="connsiteX167" fmla="*/ 587346 w 607639"/>
                      <a:gd name="connsiteY167" fmla="*/ 282876 h 606722"/>
                      <a:gd name="connsiteX168" fmla="*/ 552011 w 607639"/>
                      <a:gd name="connsiteY168" fmla="*/ 275233 h 606722"/>
                      <a:gd name="connsiteX169" fmla="*/ 544089 w 607639"/>
                      <a:gd name="connsiteY169" fmla="*/ 266791 h 606722"/>
                      <a:gd name="connsiteX170" fmla="*/ 530561 w 607639"/>
                      <a:gd name="connsiteY170" fmla="*/ 215868 h 606722"/>
                      <a:gd name="connsiteX171" fmla="*/ 533320 w 607639"/>
                      <a:gd name="connsiteY171" fmla="*/ 204670 h 606722"/>
                      <a:gd name="connsiteX172" fmla="*/ 560377 w 607639"/>
                      <a:gd name="connsiteY172" fmla="*/ 180852 h 606722"/>
                      <a:gd name="connsiteX173" fmla="*/ 539105 w 607639"/>
                      <a:gd name="connsiteY173" fmla="*/ 144060 h 606722"/>
                      <a:gd name="connsiteX174" fmla="*/ 504571 w 607639"/>
                      <a:gd name="connsiteY174" fmla="*/ 155080 h 606722"/>
                      <a:gd name="connsiteX175" fmla="*/ 493534 w 607639"/>
                      <a:gd name="connsiteY175" fmla="*/ 151792 h 606722"/>
                      <a:gd name="connsiteX176" fmla="*/ 456330 w 607639"/>
                      <a:gd name="connsiteY176" fmla="*/ 114466 h 606722"/>
                      <a:gd name="connsiteX177" fmla="*/ 453126 w 607639"/>
                      <a:gd name="connsiteY177" fmla="*/ 103357 h 606722"/>
                      <a:gd name="connsiteX178" fmla="*/ 464697 w 607639"/>
                      <a:gd name="connsiteY178" fmla="*/ 69142 h 606722"/>
                      <a:gd name="connsiteX179" fmla="*/ 427760 w 607639"/>
                      <a:gd name="connsiteY179" fmla="*/ 47901 h 606722"/>
                      <a:gd name="connsiteX180" fmla="*/ 403461 w 607639"/>
                      <a:gd name="connsiteY180" fmla="*/ 74652 h 606722"/>
                      <a:gd name="connsiteX181" fmla="*/ 392246 w 607639"/>
                      <a:gd name="connsiteY181" fmla="*/ 77318 h 606722"/>
                      <a:gd name="connsiteX182" fmla="*/ 341335 w 607639"/>
                      <a:gd name="connsiteY182" fmla="*/ 63543 h 606722"/>
                      <a:gd name="connsiteX183" fmla="*/ 332969 w 607639"/>
                      <a:gd name="connsiteY183" fmla="*/ 55544 h 606722"/>
                      <a:gd name="connsiteX184" fmla="*/ 325849 w 607639"/>
                      <a:gd name="connsiteY184" fmla="*/ 20263 h 606722"/>
                      <a:gd name="connsiteX185" fmla="*/ 275116 w 607639"/>
                      <a:gd name="connsiteY185" fmla="*/ 0 h 606722"/>
                      <a:gd name="connsiteX186" fmla="*/ 334126 w 607639"/>
                      <a:gd name="connsiteY186" fmla="*/ 0 h 606722"/>
                      <a:gd name="connsiteX187" fmla="*/ 344095 w 607639"/>
                      <a:gd name="connsiteY187" fmla="*/ 8176 h 606722"/>
                      <a:gd name="connsiteX188" fmla="*/ 351482 w 607639"/>
                      <a:gd name="connsiteY188" fmla="*/ 44702 h 606722"/>
                      <a:gd name="connsiteX189" fmla="*/ 393048 w 607639"/>
                      <a:gd name="connsiteY189" fmla="*/ 55989 h 606722"/>
                      <a:gd name="connsiteX190" fmla="*/ 418325 w 607639"/>
                      <a:gd name="connsiteY190" fmla="*/ 28261 h 606722"/>
                      <a:gd name="connsiteX191" fmla="*/ 430875 w 607639"/>
                      <a:gd name="connsiteY191" fmla="*/ 26306 h 606722"/>
                      <a:gd name="connsiteX192" fmla="*/ 481964 w 607639"/>
                      <a:gd name="connsiteY192" fmla="*/ 55811 h 606722"/>
                      <a:gd name="connsiteX193" fmla="*/ 486503 w 607639"/>
                      <a:gd name="connsiteY193" fmla="*/ 67809 h 606722"/>
                      <a:gd name="connsiteX194" fmla="*/ 474487 w 607639"/>
                      <a:gd name="connsiteY194" fmla="*/ 103268 h 606722"/>
                      <a:gd name="connsiteX195" fmla="*/ 504927 w 607639"/>
                      <a:gd name="connsiteY195" fmla="*/ 133751 h 606722"/>
                      <a:gd name="connsiteX196" fmla="*/ 540707 w 607639"/>
                      <a:gd name="connsiteY196" fmla="*/ 122286 h 606722"/>
                      <a:gd name="connsiteX197" fmla="*/ 552545 w 607639"/>
                      <a:gd name="connsiteY197" fmla="*/ 126908 h 606722"/>
                      <a:gd name="connsiteX198" fmla="*/ 582095 w 607639"/>
                      <a:gd name="connsiteY198" fmla="*/ 177920 h 606722"/>
                      <a:gd name="connsiteX199" fmla="*/ 579959 w 607639"/>
                      <a:gd name="connsiteY199" fmla="*/ 190628 h 606722"/>
                      <a:gd name="connsiteX200" fmla="*/ 551922 w 607639"/>
                      <a:gd name="connsiteY200" fmla="*/ 215245 h 606722"/>
                      <a:gd name="connsiteX201" fmla="*/ 562959 w 607639"/>
                      <a:gd name="connsiteY201" fmla="*/ 256926 h 606722"/>
                      <a:gd name="connsiteX202" fmla="*/ 599629 w 607639"/>
                      <a:gd name="connsiteY202" fmla="*/ 264835 h 606722"/>
                      <a:gd name="connsiteX203" fmla="*/ 607639 w 607639"/>
                      <a:gd name="connsiteY203" fmla="*/ 274700 h 606722"/>
                      <a:gd name="connsiteX204" fmla="*/ 607550 w 607639"/>
                      <a:gd name="connsiteY204" fmla="*/ 333710 h 606722"/>
                      <a:gd name="connsiteX205" fmla="*/ 599451 w 607639"/>
                      <a:gd name="connsiteY205" fmla="*/ 343575 h 606722"/>
                      <a:gd name="connsiteX206" fmla="*/ 562781 w 607639"/>
                      <a:gd name="connsiteY206" fmla="*/ 350951 h 606722"/>
                      <a:gd name="connsiteX207" fmla="*/ 551477 w 607639"/>
                      <a:gd name="connsiteY207" fmla="*/ 392454 h 606722"/>
                      <a:gd name="connsiteX208" fmla="*/ 579247 w 607639"/>
                      <a:gd name="connsiteY208" fmla="*/ 417693 h 606722"/>
                      <a:gd name="connsiteX209" fmla="*/ 581205 w 607639"/>
                      <a:gd name="connsiteY209" fmla="*/ 430224 h 606722"/>
                      <a:gd name="connsiteX210" fmla="*/ 551744 w 607639"/>
                      <a:gd name="connsiteY210" fmla="*/ 481236 h 606722"/>
                      <a:gd name="connsiteX211" fmla="*/ 539728 w 607639"/>
                      <a:gd name="connsiteY211" fmla="*/ 485769 h 606722"/>
                      <a:gd name="connsiteX212" fmla="*/ 504215 w 607639"/>
                      <a:gd name="connsiteY212" fmla="*/ 473771 h 606722"/>
                      <a:gd name="connsiteX213" fmla="*/ 473686 w 607639"/>
                      <a:gd name="connsiteY213" fmla="*/ 504165 h 606722"/>
                      <a:gd name="connsiteX214" fmla="*/ 485079 w 607639"/>
                      <a:gd name="connsiteY214" fmla="*/ 539891 h 606722"/>
                      <a:gd name="connsiteX215" fmla="*/ 480540 w 607639"/>
                      <a:gd name="connsiteY215" fmla="*/ 551711 h 606722"/>
                      <a:gd name="connsiteX216" fmla="*/ 429362 w 607639"/>
                      <a:gd name="connsiteY216" fmla="*/ 581216 h 606722"/>
                      <a:gd name="connsiteX217" fmla="*/ 416723 w 607639"/>
                      <a:gd name="connsiteY217" fmla="*/ 579083 h 606722"/>
                      <a:gd name="connsiteX218" fmla="*/ 391979 w 607639"/>
                      <a:gd name="connsiteY218" fmla="*/ 551089 h 606722"/>
                      <a:gd name="connsiteX219" fmla="*/ 350325 w 607639"/>
                      <a:gd name="connsiteY219" fmla="*/ 562109 h 606722"/>
                      <a:gd name="connsiteX220" fmla="*/ 342404 w 607639"/>
                      <a:gd name="connsiteY220" fmla="*/ 598724 h 606722"/>
                      <a:gd name="connsiteX221" fmla="*/ 332524 w 607639"/>
                      <a:gd name="connsiteY221" fmla="*/ 606722 h 606722"/>
                      <a:gd name="connsiteX222" fmla="*/ 273424 w 607639"/>
                      <a:gd name="connsiteY222" fmla="*/ 606722 h 606722"/>
                      <a:gd name="connsiteX223" fmla="*/ 263545 w 607639"/>
                      <a:gd name="connsiteY223" fmla="*/ 598546 h 606722"/>
                      <a:gd name="connsiteX224" fmla="*/ 256157 w 607639"/>
                      <a:gd name="connsiteY224" fmla="*/ 561931 h 606722"/>
                      <a:gd name="connsiteX225" fmla="*/ 214503 w 607639"/>
                      <a:gd name="connsiteY225" fmla="*/ 550644 h 606722"/>
                      <a:gd name="connsiteX226" fmla="*/ 189314 w 607639"/>
                      <a:gd name="connsiteY226" fmla="*/ 578372 h 606722"/>
                      <a:gd name="connsiteX227" fmla="*/ 176765 w 607639"/>
                      <a:gd name="connsiteY227" fmla="*/ 580327 h 606722"/>
                      <a:gd name="connsiteX228" fmla="*/ 125587 w 607639"/>
                      <a:gd name="connsiteY228" fmla="*/ 550911 h 606722"/>
                      <a:gd name="connsiteX229" fmla="*/ 121047 w 607639"/>
                      <a:gd name="connsiteY229" fmla="*/ 538913 h 606722"/>
                      <a:gd name="connsiteX230" fmla="*/ 133063 w 607639"/>
                      <a:gd name="connsiteY230" fmla="*/ 503365 h 606722"/>
                      <a:gd name="connsiteX231" fmla="*/ 102712 w 607639"/>
                      <a:gd name="connsiteY231" fmla="*/ 472971 h 606722"/>
                      <a:gd name="connsiteX232" fmla="*/ 66932 w 607639"/>
                      <a:gd name="connsiteY232" fmla="*/ 484347 h 606722"/>
                      <a:gd name="connsiteX233" fmla="*/ 55094 w 607639"/>
                      <a:gd name="connsiteY233" fmla="*/ 479814 h 606722"/>
                      <a:gd name="connsiteX234" fmla="*/ 25544 w 607639"/>
                      <a:gd name="connsiteY234" fmla="*/ 428713 h 606722"/>
                      <a:gd name="connsiteX235" fmla="*/ 27591 w 607639"/>
                      <a:gd name="connsiteY235" fmla="*/ 416094 h 606722"/>
                      <a:gd name="connsiteX236" fmla="*/ 55717 w 607639"/>
                      <a:gd name="connsiteY236" fmla="*/ 391388 h 606722"/>
                      <a:gd name="connsiteX237" fmla="*/ 44591 w 607639"/>
                      <a:gd name="connsiteY237" fmla="*/ 349796 h 606722"/>
                      <a:gd name="connsiteX238" fmla="*/ 8010 w 607639"/>
                      <a:gd name="connsiteY238" fmla="*/ 341887 h 606722"/>
                      <a:gd name="connsiteX239" fmla="*/ 0 w 607639"/>
                      <a:gd name="connsiteY239" fmla="*/ 332022 h 606722"/>
                      <a:gd name="connsiteX240" fmla="*/ 0 w 607639"/>
                      <a:gd name="connsiteY240" fmla="*/ 273012 h 606722"/>
                      <a:gd name="connsiteX241" fmla="*/ 8099 w 607639"/>
                      <a:gd name="connsiteY241" fmla="*/ 263058 h 606722"/>
                      <a:gd name="connsiteX242" fmla="*/ 44858 w 607639"/>
                      <a:gd name="connsiteY242" fmla="*/ 255771 h 606722"/>
                      <a:gd name="connsiteX243" fmla="*/ 56073 w 607639"/>
                      <a:gd name="connsiteY243" fmla="*/ 214179 h 606722"/>
                      <a:gd name="connsiteX244" fmla="*/ 28303 w 607639"/>
                      <a:gd name="connsiteY244" fmla="*/ 189029 h 606722"/>
                      <a:gd name="connsiteX245" fmla="*/ 26345 w 607639"/>
                      <a:gd name="connsiteY245" fmla="*/ 176498 h 606722"/>
                      <a:gd name="connsiteX246" fmla="*/ 55895 w 607639"/>
                      <a:gd name="connsiteY246" fmla="*/ 125397 h 606722"/>
                      <a:gd name="connsiteX247" fmla="*/ 67911 w 607639"/>
                      <a:gd name="connsiteY247" fmla="*/ 120865 h 606722"/>
                      <a:gd name="connsiteX248" fmla="*/ 103424 w 607639"/>
                      <a:gd name="connsiteY248" fmla="*/ 132862 h 606722"/>
                      <a:gd name="connsiteX249" fmla="*/ 133953 w 607639"/>
                      <a:gd name="connsiteY249" fmla="*/ 102557 h 606722"/>
                      <a:gd name="connsiteX250" fmla="*/ 122472 w 607639"/>
                      <a:gd name="connsiteY250" fmla="*/ 66831 h 606722"/>
                      <a:gd name="connsiteX251" fmla="*/ 127100 w 607639"/>
                      <a:gd name="connsiteY251" fmla="*/ 54922 h 606722"/>
                      <a:gd name="connsiteX252" fmla="*/ 178189 w 607639"/>
                      <a:gd name="connsiteY252" fmla="*/ 25506 h 606722"/>
                      <a:gd name="connsiteX253" fmla="*/ 190828 w 607639"/>
                      <a:gd name="connsiteY253" fmla="*/ 27550 h 606722"/>
                      <a:gd name="connsiteX254" fmla="*/ 215571 w 607639"/>
                      <a:gd name="connsiteY254" fmla="*/ 55633 h 606722"/>
                      <a:gd name="connsiteX255" fmla="*/ 257314 w 607639"/>
                      <a:gd name="connsiteY255" fmla="*/ 44524 h 606722"/>
                      <a:gd name="connsiteX256" fmla="*/ 265236 w 607639"/>
                      <a:gd name="connsiteY256" fmla="*/ 7998 h 606722"/>
                      <a:gd name="connsiteX257" fmla="*/ 275116 w 607639"/>
                      <a:gd name="connsiteY257" fmla="*/ 0 h 6067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</a:cxnLst>
                    <a:rect l="l" t="t" r="r" b="b"/>
                    <a:pathLst>
                      <a:path w="607639" h="606722">
                        <a:moveTo>
                          <a:pt x="292209" y="383192"/>
                        </a:moveTo>
                        <a:cubicBezTo>
                          <a:pt x="297102" y="385947"/>
                          <a:pt x="298703" y="392168"/>
                          <a:pt x="295945" y="396968"/>
                        </a:cubicBezTo>
                        <a:lnTo>
                          <a:pt x="250126" y="476244"/>
                        </a:lnTo>
                        <a:cubicBezTo>
                          <a:pt x="285269" y="487176"/>
                          <a:pt x="322459" y="487176"/>
                          <a:pt x="357513" y="476244"/>
                        </a:cubicBezTo>
                        <a:lnTo>
                          <a:pt x="311693" y="396968"/>
                        </a:lnTo>
                        <a:cubicBezTo>
                          <a:pt x="308846" y="392168"/>
                          <a:pt x="310536" y="385947"/>
                          <a:pt x="315341" y="383192"/>
                        </a:cubicBezTo>
                        <a:cubicBezTo>
                          <a:pt x="320234" y="380348"/>
                          <a:pt x="326373" y="382037"/>
                          <a:pt x="329220" y="386836"/>
                        </a:cubicBezTo>
                        <a:lnTo>
                          <a:pt x="381179" y="476777"/>
                        </a:lnTo>
                        <a:cubicBezTo>
                          <a:pt x="382602" y="479355"/>
                          <a:pt x="382958" y="482376"/>
                          <a:pt x="381891" y="485220"/>
                        </a:cubicBezTo>
                        <a:cubicBezTo>
                          <a:pt x="380912" y="487976"/>
                          <a:pt x="378777" y="490197"/>
                          <a:pt x="376019" y="491264"/>
                        </a:cubicBezTo>
                        <a:cubicBezTo>
                          <a:pt x="352619" y="500240"/>
                          <a:pt x="328331" y="504684"/>
                          <a:pt x="303775" y="504684"/>
                        </a:cubicBezTo>
                        <a:cubicBezTo>
                          <a:pt x="279308" y="504684"/>
                          <a:pt x="255019" y="500240"/>
                          <a:pt x="231620" y="491264"/>
                        </a:cubicBezTo>
                        <a:cubicBezTo>
                          <a:pt x="228862" y="490197"/>
                          <a:pt x="226638" y="487976"/>
                          <a:pt x="225659" y="485220"/>
                        </a:cubicBezTo>
                        <a:cubicBezTo>
                          <a:pt x="224680" y="482376"/>
                          <a:pt x="224947" y="479355"/>
                          <a:pt x="226460" y="476777"/>
                        </a:cubicBezTo>
                        <a:lnTo>
                          <a:pt x="278418" y="386836"/>
                        </a:lnTo>
                        <a:cubicBezTo>
                          <a:pt x="281176" y="382037"/>
                          <a:pt x="287404" y="380348"/>
                          <a:pt x="292209" y="383192"/>
                        </a:cubicBezTo>
                        <a:close/>
                        <a:moveTo>
                          <a:pt x="389652" y="322696"/>
                        </a:moveTo>
                        <a:lnTo>
                          <a:pt x="493616" y="322696"/>
                        </a:lnTo>
                        <a:cubicBezTo>
                          <a:pt x="496642" y="322696"/>
                          <a:pt x="499402" y="324029"/>
                          <a:pt x="501360" y="326252"/>
                        </a:cubicBezTo>
                        <a:cubicBezTo>
                          <a:pt x="503229" y="328563"/>
                          <a:pt x="504119" y="331497"/>
                          <a:pt x="503674" y="334430"/>
                        </a:cubicBezTo>
                        <a:cubicBezTo>
                          <a:pt x="499669" y="359143"/>
                          <a:pt x="491480" y="382433"/>
                          <a:pt x="479196" y="403679"/>
                        </a:cubicBezTo>
                        <a:cubicBezTo>
                          <a:pt x="466913" y="424836"/>
                          <a:pt x="450891" y="443593"/>
                          <a:pt x="431398" y="459417"/>
                        </a:cubicBezTo>
                        <a:cubicBezTo>
                          <a:pt x="429618" y="460839"/>
                          <a:pt x="427304" y="461639"/>
                          <a:pt x="424989" y="461639"/>
                        </a:cubicBezTo>
                        <a:cubicBezTo>
                          <a:pt x="424366" y="461639"/>
                          <a:pt x="423832" y="461639"/>
                          <a:pt x="423209" y="461461"/>
                        </a:cubicBezTo>
                        <a:cubicBezTo>
                          <a:pt x="420272" y="460928"/>
                          <a:pt x="417691" y="459150"/>
                          <a:pt x="416266" y="456572"/>
                        </a:cubicBezTo>
                        <a:lnTo>
                          <a:pt x="364285" y="366699"/>
                        </a:lnTo>
                        <a:cubicBezTo>
                          <a:pt x="361436" y="361810"/>
                          <a:pt x="363127" y="355676"/>
                          <a:pt x="367934" y="352831"/>
                        </a:cubicBezTo>
                        <a:cubicBezTo>
                          <a:pt x="372830" y="350076"/>
                          <a:pt x="378971" y="351765"/>
                          <a:pt x="381820" y="356565"/>
                        </a:cubicBezTo>
                        <a:lnTo>
                          <a:pt x="427660" y="435859"/>
                        </a:lnTo>
                        <a:cubicBezTo>
                          <a:pt x="441189" y="423414"/>
                          <a:pt x="452582" y="409191"/>
                          <a:pt x="461661" y="393545"/>
                        </a:cubicBezTo>
                        <a:cubicBezTo>
                          <a:pt x="470741" y="377811"/>
                          <a:pt x="477327" y="360832"/>
                          <a:pt x="481422" y="342964"/>
                        </a:cubicBezTo>
                        <a:lnTo>
                          <a:pt x="389652" y="342964"/>
                        </a:lnTo>
                        <a:cubicBezTo>
                          <a:pt x="384045" y="342964"/>
                          <a:pt x="379594" y="338430"/>
                          <a:pt x="379594" y="332830"/>
                        </a:cubicBezTo>
                        <a:cubicBezTo>
                          <a:pt x="379594" y="327230"/>
                          <a:pt x="384045" y="322696"/>
                          <a:pt x="389652" y="322696"/>
                        </a:cubicBezTo>
                        <a:close/>
                        <a:moveTo>
                          <a:pt x="113930" y="322696"/>
                        </a:moveTo>
                        <a:lnTo>
                          <a:pt x="217944" y="322696"/>
                        </a:lnTo>
                        <a:cubicBezTo>
                          <a:pt x="223461" y="322696"/>
                          <a:pt x="227999" y="327230"/>
                          <a:pt x="227999" y="332830"/>
                        </a:cubicBezTo>
                        <a:cubicBezTo>
                          <a:pt x="227999" y="338430"/>
                          <a:pt x="223461" y="342964"/>
                          <a:pt x="217944" y="342964"/>
                        </a:cubicBezTo>
                        <a:lnTo>
                          <a:pt x="126209" y="342964"/>
                        </a:lnTo>
                        <a:cubicBezTo>
                          <a:pt x="130301" y="360921"/>
                          <a:pt x="136886" y="377811"/>
                          <a:pt x="145962" y="393545"/>
                        </a:cubicBezTo>
                        <a:cubicBezTo>
                          <a:pt x="155037" y="409280"/>
                          <a:pt x="166426" y="423414"/>
                          <a:pt x="179951" y="435859"/>
                        </a:cubicBezTo>
                        <a:lnTo>
                          <a:pt x="225774" y="356565"/>
                        </a:lnTo>
                        <a:cubicBezTo>
                          <a:pt x="228533" y="351765"/>
                          <a:pt x="234672" y="350076"/>
                          <a:pt x="239566" y="352831"/>
                        </a:cubicBezTo>
                        <a:cubicBezTo>
                          <a:pt x="244460" y="355676"/>
                          <a:pt x="246061" y="361810"/>
                          <a:pt x="243303" y="366699"/>
                        </a:cubicBezTo>
                        <a:lnTo>
                          <a:pt x="191340" y="456572"/>
                        </a:lnTo>
                        <a:cubicBezTo>
                          <a:pt x="189827" y="459150"/>
                          <a:pt x="187336" y="460928"/>
                          <a:pt x="184400" y="461461"/>
                        </a:cubicBezTo>
                        <a:cubicBezTo>
                          <a:pt x="183777" y="461639"/>
                          <a:pt x="183154" y="461639"/>
                          <a:pt x="182531" y="461639"/>
                        </a:cubicBezTo>
                        <a:cubicBezTo>
                          <a:pt x="180218" y="461639"/>
                          <a:pt x="177993" y="460839"/>
                          <a:pt x="176214" y="459417"/>
                        </a:cubicBezTo>
                        <a:cubicBezTo>
                          <a:pt x="156728" y="443593"/>
                          <a:pt x="140623" y="424925"/>
                          <a:pt x="128433" y="403679"/>
                        </a:cubicBezTo>
                        <a:cubicBezTo>
                          <a:pt x="116154" y="382433"/>
                          <a:pt x="107879" y="359143"/>
                          <a:pt x="103964" y="334430"/>
                        </a:cubicBezTo>
                        <a:cubicBezTo>
                          <a:pt x="103519" y="331497"/>
                          <a:pt x="104320" y="328563"/>
                          <a:pt x="106278" y="326252"/>
                        </a:cubicBezTo>
                        <a:cubicBezTo>
                          <a:pt x="108146" y="324029"/>
                          <a:pt x="110993" y="322696"/>
                          <a:pt x="113930" y="322696"/>
                        </a:cubicBezTo>
                        <a:close/>
                        <a:moveTo>
                          <a:pt x="303775" y="262874"/>
                        </a:moveTo>
                        <a:cubicBezTo>
                          <a:pt x="281444" y="262874"/>
                          <a:pt x="263294" y="281011"/>
                          <a:pt x="263294" y="303325"/>
                        </a:cubicBezTo>
                        <a:cubicBezTo>
                          <a:pt x="263294" y="325640"/>
                          <a:pt x="281444" y="343777"/>
                          <a:pt x="303775" y="343777"/>
                        </a:cubicBezTo>
                        <a:cubicBezTo>
                          <a:pt x="326107" y="343777"/>
                          <a:pt x="344256" y="325640"/>
                          <a:pt x="344256" y="303325"/>
                        </a:cubicBezTo>
                        <a:cubicBezTo>
                          <a:pt x="344256" y="281011"/>
                          <a:pt x="326107" y="262874"/>
                          <a:pt x="303775" y="262874"/>
                        </a:cubicBezTo>
                        <a:close/>
                        <a:moveTo>
                          <a:pt x="303775" y="242604"/>
                        </a:moveTo>
                        <a:cubicBezTo>
                          <a:pt x="337317" y="242604"/>
                          <a:pt x="364541" y="269898"/>
                          <a:pt x="364541" y="303325"/>
                        </a:cubicBezTo>
                        <a:cubicBezTo>
                          <a:pt x="364541" y="336842"/>
                          <a:pt x="337317" y="364047"/>
                          <a:pt x="303775" y="364047"/>
                        </a:cubicBezTo>
                        <a:cubicBezTo>
                          <a:pt x="270323" y="364047"/>
                          <a:pt x="243098" y="336842"/>
                          <a:pt x="243098" y="303325"/>
                        </a:cubicBezTo>
                        <a:cubicBezTo>
                          <a:pt x="243098" y="269898"/>
                          <a:pt x="270323" y="242604"/>
                          <a:pt x="303775" y="242604"/>
                        </a:cubicBezTo>
                        <a:close/>
                        <a:moveTo>
                          <a:pt x="423209" y="143640"/>
                        </a:moveTo>
                        <a:cubicBezTo>
                          <a:pt x="426057" y="143107"/>
                          <a:pt x="429084" y="143818"/>
                          <a:pt x="431398" y="145684"/>
                        </a:cubicBezTo>
                        <a:cubicBezTo>
                          <a:pt x="450802" y="161412"/>
                          <a:pt x="466913" y="180162"/>
                          <a:pt x="479196" y="201399"/>
                        </a:cubicBezTo>
                        <a:cubicBezTo>
                          <a:pt x="491480" y="222637"/>
                          <a:pt x="499669" y="245918"/>
                          <a:pt x="503674" y="270621"/>
                        </a:cubicBezTo>
                        <a:cubicBezTo>
                          <a:pt x="504119" y="273554"/>
                          <a:pt x="503229" y="276486"/>
                          <a:pt x="501360" y="278708"/>
                        </a:cubicBezTo>
                        <a:cubicBezTo>
                          <a:pt x="499402" y="281018"/>
                          <a:pt x="496642" y="282262"/>
                          <a:pt x="493616" y="282262"/>
                        </a:cubicBezTo>
                        <a:lnTo>
                          <a:pt x="389652" y="282262"/>
                        </a:lnTo>
                        <a:cubicBezTo>
                          <a:pt x="384045" y="282262"/>
                          <a:pt x="379505" y="277730"/>
                          <a:pt x="379505" y="272221"/>
                        </a:cubicBezTo>
                        <a:cubicBezTo>
                          <a:pt x="379505" y="266623"/>
                          <a:pt x="384045" y="262091"/>
                          <a:pt x="389652" y="262091"/>
                        </a:cubicBezTo>
                        <a:lnTo>
                          <a:pt x="481422" y="262091"/>
                        </a:lnTo>
                        <a:cubicBezTo>
                          <a:pt x="477327" y="244141"/>
                          <a:pt x="470741" y="227169"/>
                          <a:pt x="461661" y="211529"/>
                        </a:cubicBezTo>
                        <a:cubicBezTo>
                          <a:pt x="452582" y="195801"/>
                          <a:pt x="441189" y="181583"/>
                          <a:pt x="427660" y="169143"/>
                        </a:cubicBezTo>
                        <a:lnTo>
                          <a:pt x="381820" y="248495"/>
                        </a:lnTo>
                        <a:cubicBezTo>
                          <a:pt x="378971" y="253294"/>
                          <a:pt x="372830" y="254982"/>
                          <a:pt x="367934" y="252138"/>
                        </a:cubicBezTo>
                        <a:cubicBezTo>
                          <a:pt x="363127" y="249384"/>
                          <a:pt x="361436" y="243252"/>
                          <a:pt x="364285" y="238365"/>
                        </a:cubicBezTo>
                        <a:lnTo>
                          <a:pt x="416266" y="148527"/>
                        </a:lnTo>
                        <a:cubicBezTo>
                          <a:pt x="417691" y="145951"/>
                          <a:pt x="420272" y="144173"/>
                          <a:pt x="423209" y="143640"/>
                        </a:cubicBezTo>
                        <a:close/>
                        <a:moveTo>
                          <a:pt x="184400" y="143499"/>
                        </a:moveTo>
                        <a:cubicBezTo>
                          <a:pt x="187336" y="144122"/>
                          <a:pt x="189827" y="145899"/>
                          <a:pt x="191340" y="148477"/>
                        </a:cubicBezTo>
                        <a:lnTo>
                          <a:pt x="243303" y="238349"/>
                        </a:lnTo>
                        <a:cubicBezTo>
                          <a:pt x="246061" y="243238"/>
                          <a:pt x="244460" y="249371"/>
                          <a:pt x="239566" y="252127"/>
                        </a:cubicBezTo>
                        <a:cubicBezTo>
                          <a:pt x="234672" y="254972"/>
                          <a:pt x="228533" y="253283"/>
                          <a:pt x="225774" y="248483"/>
                        </a:cubicBezTo>
                        <a:lnTo>
                          <a:pt x="179951" y="169190"/>
                        </a:lnTo>
                        <a:cubicBezTo>
                          <a:pt x="166426" y="181635"/>
                          <a:pt x="154948" y="195769"/>
                          <a:pt x="145962" y="211503"/>
                        </a:cubicBezTo>
                        <a:cubicBezTo>
                          <a:pt x="136886" y="227148"/>
                          <a:pt x="130301" y="244127"/>
                          <a:pt x="126209" y="262083"/>
                        </a:cubicBezTo>
                        <a:lnTo>
                          <a:pt x="217855" y="262083"/>
                        </a:lnTo>
                        <a:cubicBezTo>
                          <a:pt x="223461" y="262083"/>
                          <a:pt x="227999" y="266617"/>
                          <a:pt x="227999" y="272217"/>
                        </a:cubicBezTo>
                        <a:cubicBezTo>
                          <a:pt x="227999" y="277728"/>
                          <a:pt x="223461" y="282262"/>
                          <a:pt x="217855" y="282262"/>
                        </a:cubicBezTo>
                        <a:lnTo>
                          <a:pt x="113930" y="282262"/>
                        </a:lnTo>
                        <a:cubicBezTo>
                          <a:pt x="110993" y="282262"/>
                          <a:pt x="108146" y="281017"/>
                          <a:pt x="106278" y="278706"/>
                        </a:cubicBezTo>
                        <a:cubicBezTo>
                          <a:pt x="104320" y="276484"/>
                          <a:pt x="103519" y="273550"/>
                          <a:pt x="103964" y="270617"/>
                        </a:cubicBezTo>
                        <a:cubicBezTo>
                          <a:pt x="107879" y="245905"/>
                          <a:pt x="116154" y="222615"/>
                          <a:pt x="128433" y="201369"/>
                        </a:cubicBezTo>
                        <a:cubicBezTo>
                          <a:pt x="140623" y="180212"/>
                          <a:pt x="156728" y="161456"/>
                          <a:pt x="176214" y="145633"/>
                        </a:cubicBezTo>
                        <a:cubicBezTo>
                          <a:pt x="178438" y="143766"/>
                          <a:pt x="181464" y="142966"/>
                          <a:pt x="184400" y="143499"/>
                        </a:cubicBezTo>
                        <a:close/>
                        <a:moveTo>
                          <a:pt x="303819" y="100364"/>
                        </a:moveTo>
                        <a:cubicBezTo>
                          <a:pt x="328219" y="100364"/>
                          <a:pt x="352619" y="104830"/>
                          <a:pt x="376019" y="113762"/>
                        </a:cubicBezTo>
                        <a:cubicBezTo>
                          <a:pt x="378777" y="114829"/>
                          <a:pt x="380912" y="117051"/>
                          <a:pt x="381891" y="119806"/>
                        </a:cubicBezTo>
                        <a:cubicBezTo>
                          <a:pt x="382958" y="122561"/>
                          <a:pt x="382602" y="125672"/>
                          <a:pt x="381179" y="128249"/>
                        </a:cubicBezTo>
                        <a:lnTo>
                          <a:pt x="329220" y="218192"/>
                        </a:lnTo>
                        <a:cubicBezTo>
                          <a:pt x="326373" y="222991"/>
                          <a:pt x="320234" y="224680"/>
                          <a:pt x="315341" y="221836"/>
                        </a:cubicBezTo>
                        <a:cubicBezTo>
                          <a:pt x="310536" y="219081"/>
                          <a:pt x="308846" y="212859"/>
                          <a:pt x="311693" y="208060"/>
                        </a:cubicBezTo>
                        <a:lnTo>
                          <a:pt x="357513" y="128693"/>
                        </a:lnTo>
                        <a:cubicBezTo>
                          <a:pt x="322370" y="117762"/>
                          <a:pt x="285180" y="117762"/>
                          <a:pt x="250126" y="128693"/>
                        </a:cubicBezTo>
                        <a:lnTo>
                          <a:pt x="295945" y="208060"/>
                        </a:lnTo>
                        <a:cubicBezTo>
                          <a:pt x="298703" y="212859"/>
                          <a:pt x="297102" y="219081"/>
                          <a:pt x="292209" y="221836"/>
                        </a:cubicBezTo>
                        <a:cubicBezTo>
                          <a:pt x="290607" y="222814"/>
                          <a:pt x="288917" y="223169"/>
                          <a:pt x="287226" y="223169"/>
                        </a:cubicBezTo>
                        <a:cubicBezTo>
                          <a:pt x="283667" y="223169"/>
                          <a:pt x="280287" y="221392"/>
                          <a:pt x="278418" y="218192"/>
                        </a:cubicBezTo>
                        <a:lnTo>
                          <a:pt x="226460" y="128249"/>
                        </a:lnTo>
                        <a:cubicBezTo>
                          <a:pt x="224947" y="125672"/>
                          <a:pt x="224680" y="122561"/>
                          <a:pt x="225659" y="119806"/>
                        </a:cubicBezTo>
                        <a:cubicBezTo>
                          <a:pt x="226638" y="117051"/>
                          <a:pt x="228862" y="114829"/>
                          <a:pt x="231620" y="113762"/>
                        </a:cubicBezTo>
                        <a:cubicBezTo>
                          <a:pt x="255019" y="104830"/>
                          <a:pt x="279419" y="100364"/>
                          <a:pt x="303819" y="100364"/>
                        </a:cubicBezTo>
                        <a:close/>
                        <a:moveTo>
                          <a:pt x="283304" y="20174"/>
                        </a:moveTo>
                        <a:lnTo>
                          <a:pt x="275650" y="55544"/>
                        </a:lnTo>
                        <a:cubicBezTo>
                          <a:pt x="274760" y="59632"/>
                          <a:pt x="271377" y="62743"/>
                          <a:pt x="267194" y="63365"/>
                        </a:cubicBezTo>
                        <a:cubicBezTo>
                          <a:pt x="249927" y="66031"/>
                          <a:pt x="232838" y="70564"/>
                          <a:pt x="216194" y="76962"/>
                        </a:cubicBezTo>
                        <a:cubicBezTo>
                          <a:pt x="212278" y="78473"/>
                          <a:pt x="207739" y="77407"/>
                          <a:pt x="204979" y="74207"/>
                        </a:cubicBezTo>
                        <a:lnTo>
                          <a:pt x="181126" y="47102"/>
                        </a:lnTo>
                        <a:lnTo>
                          <a:pt x="144278" y="68431"/>
                        </a:lnTo>
                        <a:lnTo>
                          <a:pt x="155314" y="102913"/>
                        </a:lnTo>
                        <a:cubicBezTo>
                          <a:pt x="156650" y="106912"/>
                          <a:pt x="155314" y="111266"/>
                          <a:pt x="152021" y="113844"/>
                        </a:cubicBezTo>
                        <a:cubicBezTo>
                          <a:pt x="138225" y="124864"/>
                          <a:pt x="125676" y="137395"/>
                          <a:pt x="114639" y="150992"/>
                        </a:cubicBezTo>
                        <a:cubicBezTo>
                          <a:pt x="111969" y="154369"/>
                          <a:pt x="107519" y="155613"/>
                          <a:pt x="103513" y="154280"/>
                        </a:cubicBezTo>
                        <a:lnTo>
                          <a:pt x="69246" y="142727"/>
                        </a:lnTo>
                        <a:lnTo>
                          <a:pt x="47974" y="179519"/>
                        </a:lnTo>
                        <a:lnTo>
                          <a:pt x="74764" y="203870"/>
                        </a:lnTo>
                        <a:cubicBezTo>
                          <a:pt x="77968" y="206625"/>
                          <a:pt x="78947" y="211069"/>
                          <a:pt x="77434" y="214979"/>
                        </a:cubicBezTo>
                        <a:cubicBezTo>
                          <a:pt x="70937" y="231509"/>
                          <a:pt x="66309" y="248661"/>
                          <a:pt x="63639" y="265813"/>
                        </a:cubicBezTo>
                        <a:cubicBezTo>
                          <a:pt x="63015" y="270079"/>
                          <a:pt x="59811" y="273367"/>
                          <a:pt x="55628" y="274256"/>
                        </a:cubicBezTo>
                        <a:lnTo>
                          <a:pt x="20293" y="281277"/>
                        </a:lnTo>
                        <a:lnTo>
                          <a:pt x="20293" y="323846"/>
                        </a:lnTo>
                        <a:lnTo>
                          <a:pt x="55628" y="331489"/>
                        </a:lnTo>
                        <a:cubicBezTo>
                          <a:pt x="59722" y="332377"/>
                          <a:pt x="62837" y="335666"/>
                          <a:pt x="63461" y="339843"/>
                        </a:cubicBezTo>
                        <a:cubicBezTo>
                          <a:pt x="66131" y="357083"/>
                          <a:pt x="70670" y="374236"/>
                          <a:pt x="77078" y="390766"/>
                        </a:cubicBezTo>
                        <a:cubicBezTo>
                          <a:pt x="78591" y="394676"/>
                          <a:pt x="77523" y="399208"/>
                          <a:pt x="74319" y="401963"/>
                        </a:cubicBezTo>
                        <a:lnTo>
                          <a:pt x="47173" y="425781"/>
                        </a:lnTo>
                        <a:lnTo>
                          <a:pt x="68534" y="462662"/>
                        </a:lnTo>
                        <a:lnTo>
                          <a:pt x="103068" y="451553"/>
                        </a:lnTo>
                        <a:cubicBezTo>
                          <a:pt x="107074" y="450309"/>
                          <a:pt x="111435" y="451642"/>
                          <a:pt x="114016" y="454930"/>
                        </a:cubicBezTo>
                        <a:cubicBezTo>
                          <a:pt x="125053" y="468617"/>
                          <a:pt x="137602" y="481147"/>
                          <a:pt x="151220" y="492167"/>
                        </a:cubicBezTo>
                        <a:cubicBezTo>
                          <a:pt x="154513" y="494833"/>
                          <a:pt x="155848" y="499277"/>
                          <a:pt x="154513" y="503276"/>
                        </a:cubicBezTo>
                        <a:lnTo>
                          <a:pt x="142943" y="537491"/>
                        </a:lnTo>
                        <a:lnTo>
                          <a:pt x="179791" y="558732"/>
                        </a:lnTo>
                        <a:lnTo>
                          <a:pt x="204178" y="531981"/>
                        </a:lnTo>
                        <a:cubicBezTo>
                          <a:pt x="206938" y="528871"/>
                          <a:pt x="211388" y="527805"/>
                          <a:pt x="215304" y="529315"/>
                        </a:cubicBezTo>
                        <a:cubicBezTo>
                          <a:pt x="231948" y="535803"/>
                          <a:pt x="249037" y="540424"/>
                          <a:pt x="266215" y="543090"/>
                        </a:cubicBezTo>
                        <a:cubicBezTo>
                          <a:pt x="270487" y="543801"/>
                          <a:pt x="273780" y="547001"/>
                          <a:pt x="274671" y="551089"/>
                        </a:cubicBezTo>
                        <a:lnTo>
                          <a:pt x="281702" y="586459"/>
                        </a:lnTo>
                        <a:lnTo>
                          <a:pt x="324335" y="586459"/>
                        </a:lnTo>
                        <a:lnTo>
                          <a:pt x="331990" y="551089"/>
                        </a:lnTo>
                        <a:cubicBezTo>
                          <a:pt x="332880" y="547001"/>
                          <a:pt x="336262" y="543890"/>
                          <a:pt x="340356" y="543268"/>
                        </a:cubicBezTo>
                        <a:cubicBezTo>
                          <a:pt x="357623" y="540691"/>
                          <a:pt x="374801" y="536070"/>
                          <a:pt x="391356" y="529760"/>
                        </a:cubicBezTo>
                        <a:cubicBezTo>
                          <a:pt x="395273" y="528160"/>
                          <a:pt x="399812" y="529315"/>
                          <a:pt x="402571" y="532426"/>
                        </a:cubicBezTo>
                        <a:lnTo>
                          <a:pt x="426424" y="559531"/>
                        </a:lnTo>
                        <a:lnTo>
                          <a:pt x="463362" y="538291"/>
                        </a:lnTo>
                        <a:lnTo>
                          <a:pt x="452236" y="503809"/>
                        </a:lnTo>
                        <a:cubicBezTo>
                          <a:pt x="450990" y="499810"/>
                          <a:pt x="452325" y="495456"/>
                          <a:pt x="455618" y="492789"/>
                        </a:cubicBezTo>
                        <a:cubicBezTo>
                          <a:pt x="469325" y="481769"/>
                          <a:pt x="481875" y="469327"/>
                          <a:pt x="492911" y="455641"/>
                        </a:cubicBezTo>
                        <a:cubicBezTo>
                          <a:pt x="495582" y="452353"/>
                          <a:pt x="500032" y="451020"/>
                          <a:pt x="504037" y="452442"/>
                        </a:cubicBezTo>
                        <a:lnTo>
                          <a:pt x="538304" y="463995"/>
                        </a:lnTo>
                        <a:lnTo>
                          <a:pt x="559576" y="427114"/>
                        </a:lnTo>
                        <a:lnTo>
                          <a:pt x="532786" y="402852"/>
                        </a:lnTo>
                        <a:cubicBezTo>
                          <a:pt x="529671" y="400008"/>
                          <a:pt x="528603" y="395565"/>
                          <a:pt x="530205" y="391654"/>
                        </a:cubicBezTo>
                        <a:cubicBezTo>
                          <a:pt x="536613" y="375124"/>
                          <a:pt x="541241" y="358061"/>
                          <a:pt x="543911" y="340820"/>
                        </a:cubicBezTo>
                        <a:cubicBezTo>
                          <a:pt x="544623" y="336643"/>
                          <a:pt x="547828" y="333266"/>
                          <a:pt x="552011" y="332466"/>
                        </a:cubicBezTo>
                        <a:lnTo>
                          <a:pt x="587346" y="325357"/>
                        </a:lnTo>
                        <a:lnTo>
                          <a:pt x="587346" y="282876"/>
                        </a:lnTo>
                        <a:lnTo>
                          <a:pt x="552011" y="275233"/>
                        </a:lnTo>
                        <a:cubicBezTo>
                          <a:pt x="547828" y="274345"/>
                          <a:pt x="544712" y="270968"/>
                          <a:pt x="544089" y="266791"/>
                        </a:cubicBezTo>
                        <a:cubicBezTo>
                          <a:pt x="541508" y="249550"/>
                          <a:pt x="536969" y="232486"/>
                          <a:pt x="530561" y="215868"/>
                        </a:cubicBezTo>
                        <a:cubicBezTo>
                          <a:pt x="528959" y="211957"/>
                          <a:pt x="530116" y="207425"/>
                          <a:pt x="533320" y="204670"/>
                        </a:cubicBezTo>
                        <a:lnTo>
                          <a:pt x="560377" y="180852"/>
                        </a:lnTo>
                        <a:lnTo>
                          <a:pt x="539105" y="144060"/>
                        </a:lnTo>
                        <a:lnTo>
                          <a:pt x="504571" y="155080"/>
                        </a:lnTo>
                        <a:cubicBezTo>
                          <a:pt x="500566" y="156324"/>
                          <a:pt x="496205" y="155080"/>
                          <a:pt x="493534" y="151792"/>
                        </a:cubicBezTo>
                        <a:cubicBezTo>
                          <a:pt x="482498" y="138017"/>
                          <a:pt x="470037" y="125486"/>
                          <a:pt x="456330" y="114466"/>
                        </a:cubicBezTo>
                        <a:cubicBezTo>
                          <a:pt x="453037" y="111800"/>
                          <a:pt x="451791" y="107356"/>
                          <a:pt x="453126" y="103357"/>
                        </a:cubicBezTo>
                        <a:lnTo>
                          <a:pt x="464697" y="69142"/>
                        </a:lnTo>
                        <a:lnTo>
                          <a:pt x="427760" y="47901"/>
                        </a:lnTo>
                        <a:lnTo>
                          <a:pt x="403461" y="74652"/>
                        </a:lnTo>
                        <a:cubicBezTo>
                          <a:pt x="400613" y="77762"/>
                          <a:pt x="396163" y="78829"/>
                          <a:pt x="392246" y="77318"/>
                        </a:cubicBezTo>
                        <a:cubicBezTo>
                          <a:pt x="375691" y="70830"/>
                          <a:pt x="358602" y="66209"/>
                          <a:pt x="341335" y="63543"/>
                        </a:cubicBezTo>
                        <a:cubicBezTo>
                          <a:pt x="337152" y="62921"/>
                          <a:pt x="333770" y="59721"/>
                          <a:pt x="332969" y="55544"/>
                        </a:cubicBezTo>
                        <a:lnTo>
                          <a:pt x="325849" y="20263"/>
                        </a:lnTo>
                        <a:close/>
                        <a:moveTo>
                          <a:pt x="275116" y="0"/>
                        </a:moveTo>
                        <a:lnTo>
                          <a:pt x="334126" y="0"/>
                        </a:lnTo>
                        <a:cubicBezTo>
                          <a:pt x="339021" y="0"/>
                          <a:pt x="343116" y="3377"/>
                          <a:pt x="344095" y="8176"/>
                        </a:cubicBezTo>
                        <a:lnTo>
                          <a:pt x="351482" y="44702"/>
                        </a:lnTo>
                        <a:cubicBezTo>
                          <a:pt x="365456" y="47279"/>
                          <a:pt x="379430" y="51101"/>
                          <a:pt x="393048" y="55989"/>
                        </a:cubicBezTo>
                        <a:lnTo>
                          <a:pt x="418325" y="28261"/>
                        </a:lnTo>
                        <a:cubicBezTo>
                          <a:pt x="421529" y="24795"/>
                          <a:pt x="426692" y="23906"/>
                          <a:pt x="430875" y="26306"/>
                        </a:cubicBezTo>
                        <a:lnTo>
                          <a:pt x="481964" y="55811"/>
                        </a:lnTo>
                        <a:cubicBezTo>
                          <a:pt x="486147" y="58210"/>
                          <a:pt x="488105" y="63276"/>
                          <a:pt x="486503" y="67809"/>
                        </a:cubicBezTo>
                        <a:lnTo>
                          <a:pt x="474487" y="103268"/>
                        </a:lnTo>
                        <a:cubicBezTo>
                          <a:pt x="485435" y="112511"/>
                          <a:pt x="495582" y="122731"/>
                          <a:pt x="504927" y="133751"/>
                        </a:cubicBezTo>
                        <a:lnTo>
                          <a:pt x="540707" y="122286"/>
                        </a:lnTo>
                        <a:cubicBezTo>
                          <a:pt x="545247" y="120865"/>
                          <a:pt x="550142" y="122731"/>
                          <a:pt x="552545" y="126908"/>
                        </a:cubicBezTo>
                        <a:lnTo>
                          <a:pt x="582095" y="177920"/>
                        </a:lnTo>
                        <a:cubicBezTo>
                          <a:pt x="584498" y="182097"/>
                          <a:pt x="583608" y="187429"/>
                          <a:pt x="579959" y="190628"/>
                        </a:cubicBezTo>
                        <a:lnTo>
                          <a:pt x="551922" y="215245"/>
                        </a:lnTo>
                        <a:cubicBezTo>
                          <a:pt x="556728" y="228843"/>
                          <a:pt x="560466" y="242795"/>
                          <a:pt x="562959" y="256926"/>
                        </a:cubicBezTo>
                        <a:lnTo>
                          <a:pt x="599629" y="264835"/>
                        </a:lnTo>
                        <a:cubicBezTo>
                          <a:pt x="604257" y="265813"/>
                          <a:pt x="607639" y="269901"/>
                          <a:pt x="607639" y="274700"/>
                        </a:cubicBezTo>
                        <a:lnTo>
                          <a:pt x="607550" y="333710"/>
                        </a:lnTo>
                        <a:cubicBezTo>
                          <a:pt x="607550" y="338509"/>
                          <a:pt x="604168" y="342686"/>
                          <a:pt x="599451" y="343575"/>
                        </a:cubicBezTo>
                        <a:lnTo>
                          <a:pt x="562781" y="350951"/>
                        </a:lnTo>
                        <a:cubicBezTo>
                          <a:pt x="560199" y="364993"/>
                          <a:pt x="556461" y="378857"/>
                          <a:pt x="551477" y="392454"/>
                        </a:cubicBezTo>
                        <a:lnTo>
                          <a:pt x="579247" y="417693"/>
                        </a:lnTo>
                        <a:cubicBezTo>
                          <a:pt x="582807" y="420893"/>
                          <a:pt x="583608" y="426047"/>
                          <a:pt x="581205" y="430224"/>
                        </a:cubicBezTo>
                        <a:lnTo>
                          <a:pt x="551744" y="481236"/>
                        </a:lnTo>
                        <a:cubicBezTo>
                          <a:pt x="549252" y="485413"/>
                          <a:pt x="544267" y="487368"/>
                          <a:pt x="539728" y="485769"/>
                        </a:cubicBezTo>
                        <a:lnTo>
                          <a:pt x="504215" y="473771"/>
                        </a:lnTo>
                        <a:cubicBezTo>
                          <a:pt x="494870" y="484702"/>
                          <a:pt x="484634" y="494833"/>
                          <a:pt x="473686" y="504165"/>
                        </a:cubicBezTo>
                        <a:lnTo>
                          <a:pt x="485079" y="539891"/>
                        </a:lnTo>
                        <a:cubicBezTo>
                          <a:pt x="486592" y="544423"/>
                          <a:pt x="484634" y="549311"/>
                          <a:pt x="480540" y="551711"/>
                        </a:cubicBezTo>
                        <a:lnTo>
                          <a:pt x="429362" y="581216"/>
                        </a:lnTo>
                        <a:cubicBezTo>
                          <a:pt x="425178" y="583616"/>
                          <a:pt x="419927" y="582727"/>
                          <a:pt x="416723" y="579083"/>
                        </a:cubicBezTo>
                        <a:lnTo>
                          <a:pt x="391979" y="551089"/>
                        </a:lnTo>
                        <a:cubicBezTo>
                          <a:pt x="378362" y="555888"/>
                          <a:pt x="364388" y="559620"/>
                          <a:pt x="350325" y="562109"/>
                        </a:cubicBezTo>
                        <a:lnTo>
                          <a:pt x="342404" y="598724"/>
                        </a:lnTo>
                        <a:cubicBezTo>
                          <a:pt x="341335" y="603345"/>
                          <a:pt x="337241" y="606722"/>
                          <a:pt x="332524" y="606722"/>
                        </a:cubicBezTo>
                        <a:lnTo>
                          <a:pt x="273424" y="606722"/>
                        </a:lnTo>
                        <a:cubicBezTo>
                          <a:pt x="268618" y="606722"/>
                          <a:pt x="264435" y="603256"/>
                          <a:pt x="263545" y="598546"/>
                        </a:cubicBezTo>
                        <a:lnTo>
                          <a:pt x="256157" y="561931"/>
                        </a:lnTo>
                        <a:cubicBezTo>
                          <a:pt x="242095" y="559354"/>
                          <a:pt x="228121" y="555532"/>
                          <a:pt x="214503" y="550644"/>
                        </a:cubicBezTo>
                        <a:lnTo>
                          <a:pt x="189314" y="578372"/>
                        </a:lnTo>
                        <a:cubicBezTo>
                          <a:pt x="186110" y="581927"/>
                          <a:pt x="180859" y="582727"/>
                          <a:pt x="176765" y="580327"/>
                        </a:cubicBezTo>
                        <a:lnTo>
                          <a:pt x="125587" y="550911"/>
                        </a:lnTo>
                        <a:cubicBezTo>
                          <a:pt x="121403" y="548423"/>
                          <a:pt x="119534" y="543446"/>
                          <a:pt x="121047" y="538913"/>
                        </a:cubicBezTo>
                        <a:lnTo>
                          <a:pt x="133063" y="503365"/>
                        </a:lnTo>
                        <a:cubicBezTo>
                          <a:pt x="122204" y="494123"/>
                          <a:pt x="111969" y="483902"/>
                          <a:pt x="102712" y="472971"/>
                        </a:cubicBezTo>
                        <a:lnTo>
                          <a:pt x="66932" y="484347"/>
                        </a:lnTo>
                        <a:cubicBezTo>
                          <a:pt x="62392" y="485857"/>
                          <a:pt x="57408" y="483902"/>
                          <a:pt x="55094" y="479814"/>
                        </a:cubicBezTo>
                        <a:lnTo>
                          <a:pt x="25544" y="428713"/>
                        </a:lnTo>
                        <a:cubicBezTo>
                          <a:pt x="23052" y="424537"/>
                          <a:pt x="23942" y="419293"/>
                          <a:pt x="27591" y="416094"/>
                        </a:cubicBezTo>
                        <a:lnTo>
                          <a:pt x="55717" y="391388"/>
                        </a:lnTo>
                        <a:cubicBezTo>
                          <a:pt x="50822" y="377790"/>
                          <a:pt x="47173" y="363838"/>
                          <a:pt x="44591" y="349796"/>
                        </a:cubicBezTo>
                        <a:lnTo>
                          <a:pt x="8010" y="341887"/>
                        </a:lnTo>
                        <a:cubicBezTo>
                          <a:pt x="3293" y="340820"/>
                          <a:pt x="0" y="336732"/>
                          <a:pt x="0" y="332022"/>
                        </a:cubicBezTo>
                        <a:lnTo>
                          <a:pt x="0" y="273012"/>
                        </a:lnTo>
                        <a:cubicBezTo>
                          <a:pt x="0" y="268213"/>
                          <a:pt x="3382" y="264036"/>
                          <a:pt x="8099" y="263058"/>
                        </a:cubicBezTo>
                        <a:lnTo>
                          <a:pt x="44858" y="255771"/>
                        </a:lnTo>
                        <a:cubicBezTo>
                          <a:pt x="47440" y="241729"/>
                          <a:pt x="51178" y="227776"/>
                          <a:pt x="56073" y="214179"/>
                        </a:cubicBezTo>
                        <a:lnTo>
                          <a:pt x="28303" y="189029"/>
                        </a:lnTo>
                        <a:cubicBezTo>
                          <a:pt x="24832" y="185829"/>
                          <a:pt x="23942" y="180586"/>
                          <a:pt x="26345" y="176498"/>
                        </a:cubicBezTo>
                        <a:lnTo>
                          <a:pt x="55895" y="125397"/>
                        </a:lnTo>
                        <a:cubicBezTo>
                          <a:pt x="58298" y="121220"/>
                          <a:pt x="63372" y="119354"/>
                          <a:pt x="67911" y="120865"/>
                        </a:cubicBezTo>
                        <a:lnTo>
                          <a:pt x="103424" y="132862"/>
                        </a:lnTo>
                        <a:cubicBezTo>
                          <a:pt x="112681" y="122020"/>
                          <a:pt x="123006" y="111800"/>
                          <a:pt x="133953" y="102557"/>
                        </a:cubicBezTo>
                        <a:lnTo>
                          <a:pt x="122472" y="66831"/>
                        </a:lnTo>
                        <a:cubicBezTo>
                          <a:pt x="121047" y="62299"/>
                          <a:pt x="122917" y="57322"/>
                          <a:pt x="127100" y="54922"/>
                        </a:cubicBezTo>
                        <a:lnTo>
                          <a:pt x="178189" y="25506"/>
                        </a:lnTo>
                        <a:cubicBezTo>
                          <a:pt x="182372" y="23106"/>
                          <a:pt x="187712" y="23906"/>
                          <a:pt x="190828" y="27550"/>
                        </a:cubicBezTo>
                        <a:lnTo>
                          <a:pt x="215571" y="55633"/>
                        </a:lnTo>
                        <a:cubicBezTo>
                          <a:pt x="229189" y="50745"/>
                          <a:pt x="243163" y="47013"/>
                          <a:pt x="257314" y="44524"/>
                        </a:cubicBezTo>
                        <a:lnTo>
                          <a:pt x="265236" y="7998"/>
                        </a:lnTo>
                        <a:cubicBezTo>
                          <a:pt x="266215" y="3288"/>
                          <a:pt x="270309" y="0"/>
                          <a:pt x="275116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solidFill>
                      <a:schemeClr val="bg1"/>
                    </a:solidFill>
                  </a:ln>
                </p:spPr>
                <p:txBody>
                  <a:bodyPr/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endParaRPr lang="zh-CN" altLang="en-US"/>
                  </a:p>
                </p:txBody>
              </p:sp>
            </p:grpSp>
            <p:grpSp>
              <p:nvGrpSpPr>
                <p:cNvPr id="15" name="iṥḷïḓè"/>
                <p:cNvGrpSpPr/>
                <p:nvPr/>
              </p:nvGrpSpPr>
              <p:grpSpPr>
                <a:xfrm>
                  <a:off x="2241957" y="1942844"/>
                  <a:ext cx="1751849" cy="1383711"/>
                  <a:chOff x="2241957" y="1942844"/>
                  <a:chExt cx="1751849" cy="1383711"/>
                </a:xfrm>
              </p:grpSpPr>
              <p:cxnSp>
                <p:nvCxnSpPr>
                  <p:cNvPr id="28" name="直接连接符 27"/>
                  <p:cNvCxnSpPr/>
                  <p:nvPr/>
                </p:nvCxnSpPr>
                <p:spPr>
                  <a:xfrm flipV="1">
                    <a:off x="3127373" y="1942844"/>
                    <a:ext cx="0" cy="1383711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" name="肘形连接符 34"/>
                  <p:cNvCxnSpPr/>
                  <p:nvPr/>
                </p:nvCxnSpPr>
                <p:spPr>
                  <a:xfrm rot="16200000" flipV="1">
                    <a:off x="2422005" y="2699715"/>
                    <a:ext cx="942387" cy="273705"/>
                  </a:xfrm>
                  <a:prstGeom prst="bentConnector3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" name="肘形连接符 35"/>
                  <p:cNvCxnSpPr/>
                  <p:nvPr/>
                </p:nvCxnSpPr>
                <p:spPr>
                  <a:xfrm rot="16200000" flipV="1">
                    <a:off x="2240580" y="2629386"/>
                    <a:ext cx="677605" cy="674852"/>
                  </a:xfrm>
                  <a:prstGeom prst="bentConnector3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1" name="肘形连接符 36"/>
                  <p:cNvCxnSpPr/>
                  <p:nvPr/>
                </p:nvCxnSpPr>
                <p:spPr>
                  <a:xfrm rot="5400000" flipH="1" flipV="1">
                    <a:off x="2881879" y="2699321"/>
                    <a:ext cx="942387" cy="273705"/>
                  </a:xfrm>
                  <a:prstGeom prst="bentConnector3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2" name="肘形连接符 37"/>
                  <p:cNvCxnSpPr/>
                  <p:nvPr/>
                </p:nvCxnSpPr>
                <p:spPr>
                  <a:xfrm rot="5400000" flipH="1" flipV="1">
                    <a:off x="3317577" y="2631335"/>
                    <a:ext cx="677605" cy="674852"/>
                  </a:xfrm>
                  <a:prstGeom prst="bentConnector3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6" name="îṧḷïḍe"/>
                <p:cNvGrpSpPr/>
                <p:nvPr/>
              </p:nvGrpSpPr>
              <p:grpSpPr>
                <a:xfrm>
                  <a:off x="3353073" y="1895914"/>
                  <a:ext cx="444108" cy="444108"/>
                  <a:chOff x="2895559" y="1478721"/>
                  <a:chExt cx="444108" cy="444108"/>
                </a:xfrm>
              </p:grpSpPr>
              <p:sp>
                <p:nvSpPr>
                  <p:cNvPr id="26" name="íslídè"/>
                  <p:cNvSpPr/>
                  <p:nvPr/>
                </p:nvSpPr>
                <p:spPr>
                  <a:xfrm>
                    <a:off x="2895559" y="1478721"/>
                    <a:ext cx="444108" cy="444108"/>
                  </a:xfrm>
                  <a:prstGeom prst="round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no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27" name="ïṩḻîḓê"/>
                  <p:cNvSpPr/>
                  <p:nvPr/>
                </p:nvSpPr>
                <p:spPr bwMode="auto">
                  <a:xfrm>
                    <a:off x="2964620" y="1568076"/>
                    <a:ext cx="325507" cy="253799"/>
                  </a:xfrm>
                  <a:custGeom>
                    <a:avLst/>
                    <a:gdLst>
                      <a:gd name="connsiteX0" fmla="*/ 350674 w 606368"/>
                      <a:gd name="connsiteY0" fmla="*/ 312816 h 472788"/>
                      <a:gd name="connsiteX1" fmla="*/ 357012 w 606368"/>
                      <a:gd name="connsiteY1" fmla="*/ 315395 h 472788"/>
                      <a:gd name="connsiteX2" fmla="*/ 359601 w 606368"/>
                      <a:gd name="connsiteY2" fmla="*/ 321707 h 472788"/>
                      <a:gd name="connsiteX3" fmla="*/ 357012 w 606368"/>
                      <a:gd name="connsiteY3" fmla="*/ 327931 h 472788"/>
                      <a:gd name="connsiteX4" fmla="*/ 350674 w 606368"/>
                      <a:gd name="connsiteY4" fmla="*/ 330598 h 472788"/>
                      <a:gd name="connsiteX5" fmla="*/ 344337 w 606368"/>
                      <a:gd name="connsiteY5" fmla="*/ 327931 h 472788"/>
                      <a:gd name="connsiteX6" fmla="*/ 341748 w 606368"/>
                      <a:gd name="connsiteY6" fmla="*/ 321707 h 472788"/>
                      <a:gd name="connsiteX7" fmla="*/ 344337 w 606368"/>
                      <a:gd name="connsiteY7" fmla="*/ 315395 h 472788"/>
                      <a:gd name="connsiteX8" fmla="*/ 350674 w 606368"/>
                      <a:gd name="connsiteY8" fmla="*/ 312816 h 472788"/>
                      <a:gd name="connsiteX9" fmla="*/ 303219 w 606368"/>
                      <a:gd name="connsiteY9" fmla="*/ 312816 h 472788"/>
                      <a:gd name="connsiteX10" fmla="*/ 309443 w 606368"/>
                      <a:gd name="connsiteY10" fmla="*/ 315395 h 472788"/>
                      <a:gd name="connsiteX11" fmla="*/ 312110 w 606368"/>
                      <a:gd name="connsiteY11" fmla="*/ 321707 h 472788"/>
                      <a:gd name="connsiteX12" fmla="*/ 309443 w 606368"/>
                      <a:gd name="connsiteY12" fmla="*/ 327931 h 472788"/>
                      <a:gd name="connsiteX13" fmla="*/ 303219 w 606368"/>
                      <a:gd name="connsiteY13" fmla="*/ 330598 h 472788"/>
                      <a:gd name="connsiteX14" fmla="*/ 296906 w 606368"/>
                      <a:gd name="connsiteY14" fmla="*/ 327931 h 472788"/>
                      <a:gd name="connsiteX15" fmla="*/ 294328 w 606368"/>
                      <a:gd name="connsiteY15" fmla="*/ 321707 h 472788"/>
                      <a:gd name="connsiteX16" fmla="*/ 296906 w 606368"/>
                      <a:gd name="connsiteY16" fmla="*/ 315395 h 472788"/>
                      <a:gd name="connsiteX17" fmla="*/ 303219 w 606368"/>
                      <a:gd name="connsiteY17" fmla="*/ 312816 h 472788"/>
                      <a:gd name="connsiteX18" fmla="*/ 255729 w 606368"/>
                      <a:gd name="connsiteY18" fmla="*/ 312816 h 472788"/>
                      <a:gd name="connsiteX19" fmla="*/ 262042 w 606368"/>
                      <a:gd name="connsiteY19" fmla="*/ 315395 h 472788"/>
                      <a:gd name="connsiteX20" fmla="*/ 264620 w 606368"/>
                      <a:gd name="connsiteY20" fmla="*/ 321707 h 472788"/>
                      <a:gd name="connsiteX21" fmla="*/ 262042 w 606368"/>
                      <a:gd name="connsiteY21" fmla="*/ 327931 h 472788"/>
                      <a:gd name="connsiteX22" fmla="*/ 255729 w 606368"/>
                      <a:gd name="connsiteY22" fmla="*/ 330598 h 472788"/>
                      <a:gd name="connsiteX23" fmla="*/ 249505 w 606368"/>
                      <a:gd name="connsiteY23" fmla="*/ 327931 h 472788"/>
                      <a:gd name="connsiteX24" fmla="*/ 246838 w 606368"/>
                      <a:gd name="connsiteY24" fmla="*/ 321707 h 472788"/>
                      <a:gd name="connsiteX25" fmla="*/ 249505 w 606368"/>
                      <a:gd name="connsiteY25" fmla="*/ 315395 h 472788"/>
                      <a:gd name="connsiteX26" fmla="*/ 255729 w 606368"/>
                      <a:gd name="connsiteY26" fmla="*/ 312816 h 472788"/>
                      <a:gd name="connsiteX27" fmla="*/ 379153 w 606368"/>
                      <a:gd name="connsiteY27" fmla="*/ 180012 h 472788"/>
                      <a:gd name="connsiteX28" fmla="*/ 388673 w 606368"/>
                      <a:gd name="connsiteY28" fmla="*/ 180012 h 472788"/>
                      <a:gd name="connsiteX29" fmla="*/ 426040 w 606368"/>
                      <a:gd name="connsiteY29" fmla="*/ 217339 h 472788"/>
                      <a:gd name="connsiteX30" fmla="*/ 426040 w 606368"/>
                      <a:gd name="connsiteY30" fmla="*/ 245778 h 472788"/>
                      <a:gd name="connsiteX31" fmla="*/ 445614 w 606368"/>
                      <a:gd name="connsiteY31" fmla="*/ 265330 h 472788"/>
                      <a:gd name="connsiteX32" fmla="*/ 454511 w 606368"/>
                      <a:gd name="connsiteY32" fmla="*/ 274217 h 472788"/>
                      <a:gd name="connsiteX33" fmla="*/ 445614 w 606368"/>
                      <a:gd name="connsiteY33" fmla="*/ 283104 h 472788"/>
                      <a:gd name="connsiteX34" fmla="*/ 426040 w 606368"/>
                      <a:gd name="connsiteY34" fmla="*/ 302656 h 472788"/>
                      <a:gd name="connsiteX35" fmla="*/ 426040 w 606368"/>
                      <a:gd name="connsiteY35" fmla="*/ 331096 h 472788"/>
                      <a:gd name="connsiteX36" fmla="*/ 388673 w 606368"/>
                      <a:gd name="connsiteY36" fmla="*/ 368422 h 472788"/>
                      <a:gd name="connsiteX37" fmla="*/ 379153 w 606368"/>
                      <a:gd name="connsiteY37" fmla="*/ 368422 h 472788"/>
                      <a:gd name="connsiteX38" fmla="*/ 370256 w 606368"/>
                      <a:gd name="connsiteY38" fmla="*/ 359535 h 472788"/>
                      <a:gd name="connsiteX39" fmla="*/ 379153 w 606368"/>
                      <a:gd name="connsiteY39" fmla="*/ 350648 h 472788"/>
                      <a:gd name="connsiteX40" fmla="*/ 388673 w 606368"/>
                      <a:gd name="connsiteY40" fmla="*/ 350648 h 472788"/>
                      <a:gd name="connsiteX41" fmla="*/ 408246 w 606368"/>
                      <a:gd name="connsiteY41" fmla="*/ 331096 h 472788"/>
                      <a:gd name="connsiteX42" fmla="*/ 408246 w 606368"/>
                      <a:gd name="connsiteY42" fmla="*/ 302656 h 472788"/>
                      <a:gd name="connsiteX43" fmla="*/ 421414 w 606368"/>
                      <a:gd name="connsiteY43" fmla="*/ 274217 h 472788"/>
                      <a:gd name="connsiteX44" fmla="*/ 408246 w 606368"/>
                      <a:gd name="connsiteY44" fmla="*/ 245778 h 472788"/>
                      <a:gd name="connsiteX45" fmla="*/ 408246 w 606368"/>
                      <a:gd name="connsiteY45" fmla="*/ 217339 h 472788"/>
                      <a:gd name="connsiteX46" fmla="*/ 388673 w 606368"/>
                      <a:gd name="connsiteY46" fmla="*/ 197787 h 472788"/>
                      <a:gd name="connsiteX47" fmla="*/ 379153 w 606368"/>
                      <a:gd name="connsiteY47" fmla="*/ 197787 h 472788"/>
                      <a:gd name="connsiteX48" fmla="*/ 370256 w 606368"/>
                      <a:gd name="connsiteY48" fmla="*/ 188899 h 472788"/>
                      <a:gd name="connsiteX49" fmla="*/ 379153 w 606368"/>
                      <a:gd name="connsiteY49" fmla="*/ 180012 h 472788"/>
                      <a:gd name="connsiteX50" fmla="*/ 217779 w 606368"/>
                      <a:gd name="connsiteY50" fmla="*/ 180012 h 472788"/>
                      <a:gd name="connsiteX51" fmla="*/ 227212 w 606368"/>
                      <a:gd name="connsiteY51" fmla="*/ 180012 h 472788"/>
                      <a:gd name="connsiteX52" fmla="*/ 236111 w 606368"/>
                      <a:gd name="connsiteY52" fmla="*/ 188899 h 472788"/>
                      <a:gd name="connsiteX53" fmla="*/ 227212 w 606368"/>
                      <a:gd name="connsiteY53" fmla="*/ 197787 h 472788"/>
                      <a:gd name="connsiteX54" fmla="*/ 217779 w 606368"/>
                      <a:gd name="connsiteY54" fmla="*/ 197787 h 472788"/>
                      <a:gd name="connsiteX55" fmla="*/ 198202 w 606368"/>
                      <a:gd name="connsiteY55" fmla="*/ 217339 h 472788"/>
                      <a:gd name="connsiteX56" fmla="*/ 198202 w 606368"/>
                      <a:gd name="connsiteY56" fmla="*/ 245778 h 472788"/>
                      <a:gd name="connsiteX57" fmla="*/ 184942 w 606368"/>
                      <a:gd name="connsiteY57" fmla="*/ 274217 h 472788"/>
                      <a:gd name="connsiteX58" fmla="*/ 198202 w 606368"/>
                      <a:gd name="connsiteY58" fmla="*/ 302656 h 472788"/>
                      <a:gd name="connsiteX59" fmla="*/ 198202 w 606368"/>
                      <a:gd name="connsiteY59" fmla="*/ 331096 h 472788"/>
                      <a:gd name="connsiteX60" fmla="*/ 217779 w 606368"/>
                      <a:gd name="connsiteY60" fmla="*/ 350648 h 472788"/>
                      <a:gd name="connsiteX61" fmla="*/ 227212 w 606368"/>
                      <a:gd name="connsiteY61" fmla="*/ 350648 h 472788"/>
                      <a:gd name="connsiteX62" fmla="*/ 236111 w 606368"/>
                      <a:gd name="connsiteY62" fmla="*/ 359535 h 472788"/>
                      <a:gd name="connsiteX63" fmla="*/ 227212 w 606368"/>
                      <a:gd name="connsiteY63" fmla="*/ 368422 h 472788"/>
                      <a:gd name="connsiteX64" fmla="*/ 217779 w 606368"/>
                      <a:gd name="connsiteY64" fmla="*/ 368422 h 472788"/>
                      <a:gd name="connsiteX65" fmla="*/ 180404 w 606368"/>
                      <a:gd name="connsiteY65" fmla="*/ 331096 h 472788"/>
                      <a:gd name="connsiteX66" fmla="*/ 180404 w 606368"/>
                      <a:gd name="connsiteY66" fmla="*/ 302656 h 472788"/>
                      <a:gd name="connsiteX67" fmla="*/ 160826 w 606368"/>
                      <a:gd name="connsiteY67" fmla="*/ 283104 h 472788"/>
                      <a:gd name="connsiteX68" fmla="*/ 151927 w 606368"/>
                      <a:gd name="connsiteY68" fmla="*/ 274217 h 472788"/>
                      <a:gd name="connsiteX69" fmla="*/ 160826 w 606368"/>
                      <a:gd name="connsiteY69" fmla="*/ 265330 h 472788"/>
                      <a:gd name="connsiteX70" fmla="*/ 180404 w 606368"/>
                      <a:gd name="connsiteY70" fmla="*/ 245778 h 472788"/>
                      <a:gd name="connsiteX71" fmla="*/ 180404 w 606368"/>
                      <a:gd name="connsiteY71" fmla="*/ 217339 h 472788"/>
                      <a:gd name="connsiteX72" fmla="*/ 217779 w 606368"/>
                      <a:gd name="connsiteY72" fmla="*/ 180012 h 472788"/>
                      <a:gd name="connsiteX73" fmla="*/ 17800 w 606368"/>
                      <a:gd name="connsiteY73" fmla="*/ 93580 h 472788"/>
                      <a:gd name="connsiteX74" fmla="*/ 17800 w 606368"/>
                      <a:gd name="connsiteY74" fmla="*/ 425954 h 472788"/>
                      <a:gd name="connsiteX75" fmla="*/ 46904 w 606368"/>
                      <a:gd name="connsiteY75" fmla="*/ 455014 h 472788"/>
                      <a:gd name="connsiteX76" fmla="*/ 559553 w 606368"/>
                      <a:gd name="connsiteY76" fmla="*/ 455014 h 472788"/>
                      <a:gd name="connsiteX77" fmla="*/ 588568 w 606368"/>
                      <a:gd name="connsiteY77" fmla="*/ 425954 h 472788"/>
                      <a:gd name="connsiteX78" fmla="*/ 588568 w 606368"/>
                      <a:gd name="connsiteY78" fmla="*/ 93580 h 472788"/>
                      <a:gd name="connsiteX79" fmla="*/ 540536 w 606368"/>
                      <a:gd name="connsiteY79" fmla="*/ 37823 h 472788"/>
                      <a:gd name="connsiteX80" fmla="*/ 559577 w 606368"/>
                      <a:gd name="connsiteY80" fmla="*/ 37823 h 472788"/>
                      <a:gd name="connsiteX81" fmla="*/ 568474 w 606368"/>
                      <a:gd name="connsiteY81" fmla="*/ 46714 h 472788"/>
                      <a:gd name="connsiteX82" fmla="*/ 559577 w 606368"/>
                      <a:gd name="connsiteY82" fmla="*/ 55605 h 472788"/>
                      <a:gd name="connsiteX83" fmla="*/ 540536 w 606368"/>
                      <a:gd name="connsiteY83" fmla="*/ 55605 h 472788"/>
                      <a:gd name="connsiteX84" fmla="*/ 531639 w 606368"/>
                      <a:gd name="connsiteY84" fmla="*/ 46714 h 472788"/>
                      <a:gd name="connsiteX85" fmla="*/ 540536 w 606368"/>
                      <a:gd name="connsiteY85" fmla="*/ 37823 h 472788"/>
                      <a:gd name="connsiteX86" fmla="*/ 141776 w 606368"/>
                      <a:gd name="connsiteY86" fmla="*/ 37823 h 472788"/>
                      <a:gd name="connsiteX87" fmla="*/ 502628 w 606368"/>
                      <a:gd name="connsiteY87" fmla="*/ 37823 h 472788"/>
                      <a:gd name="connsiteX88" fmla="*/ 511529 w 606368"/>
                      <a:gd name="connsiteY88" fmla="*/ 46714 h 472788"/>
                      <a:gd name="connsiteX89" fmla="*/ 502628 w 606368"/>
                      <a:gd name="connsiteY89" fmla="*/ 55605 h 472788"/>
                      <a:gd name="connsiteX90" fmla="*/ 141776 w 606368"/>
                      <a:gd name="connsiteY90" fmla="*/ 55605 h 472788"/>
                      <a:gd name="connsiteX91" fmla="*/ 132875 w 606368"/>
                      <a:gd name="connsiteY91" fmla="*/ 46714 h 472788"/>
                      <a:gd name="connsiteX92" fmla="*/ 141776 w 606368"/>
                      <a:gd name="connsiteY92" fmla="*/ 37823 h 472788"/>
                      <a:gd name="connsiteX93" fmla="*/ 103872 w 606368"/>
                      <a:gd name="connsiteY93" fmla="*/ 37823 h 472788"/>
                      <a:gd name="connsiteX94" fmla="*/ 110096 w 606368"/>
                      <a:gd name="connsiteY94" fmla="*/ 40490 h 472788"/>
                      <a:gd name="connsiteX95" fmla="*/ 112763 w 606368"/>
                      <a:gd name="connsiteY95" fmla="*/ 46714 h 472788"/>
                      <a:gd name="connsiteX96" fmla="*/ 110096 w 606368"/>
                      <a:gd name="connsiteY96" fmla="*/ 53027 h 472788"/>
                      <a:gd name="connsiteX97" fmla="*/ 103872 w 606368"/>
                      <a:gd name="connsiteY97" fmla="*/ 55605 h 472788"/>
                      <a:gd name="connsiteX98" fmla="*/ 97559 w 606368"/>
                      <a:gd name="connsiteY98" fmla="*/ 53027 h 472788"/>
                      <a:gd name="connsiteX99" fmla="*/ 94981 w 606368"/>
                      <a:gd name="connsiteY99" fmla="*/ 46714 h 472788"/>
                      <a:gd name="connsiteX100" fmla="*/ 97559 w 606368"/>
                      <a:gd name="connsiteY100" fmla="*/ 40490 h 472788"/>
                      <a:gd name="connsiteX101" fmla="*/ 103872 w 606368"/>
                      <a:gd name="connsiteY101" fmla="*/ 37823 h 472788"/>
                      <a:gd name="connsiteX102" fmla="*/ 75364 w 606368"/>
                      <a:gd name="connsiteY102" fmla="*/ 37823 h 472788"/>
                      <a:gd name="connsiteX103" fmla="*/ 81588 w 606368"/>
                      <a:gd name="connsiteY103" fmla="*/ 40490 h 472788"/>
                      <a:gd name="connsiteX104" fmla="*/ 84255 w 606368"/>
                      <a:gd name="connsiteY104" fmla="*/ 46714 h 472788"/>
                      <a:gd name="connsiteX105" fmla="*/ 81588 w 606368"/>
                      <a:gd name="connsiteY105" fmla="*/ 53027 h 472788"/>
                      <a:gd name="connsiteX106" fmla="*/ 75364 w 606368"/>
                      <a:gd name="connsiteY106" fmla="*/ 55605 h 472788"/>
                      <a:gd name="connsiteX107" fmla="*/ 69051 w 606368"/>
                      <a:gd name="connsiteY107" fmla="*/ 53027 h 472788"/>
                      <a:gd name="connsiteX108" fmla="*/ 66473 w 606368"/>
                      <a:gd name="connsiteY108" fmla="*/ 46714 h 472788"/>
                      <a:gd name="connsiteX109" fmla="*/ 69051 w 606368"/>
                      <a:gd name="connsiteY109" fmla="*/ 40490 h 472788"/>
                      <a:gd name="connsiteX110" fmla="*/ 75364 w 606368"/>
                      <a:gd name="connsiteY110" fmla="*/ 37823 h 472788"/>
                      <a:gd name="connsiteX111" fmla="*/ 46926 w 606368"/>
                      <a:gd name="connsiteY111" fmla="*/ 37823 h 472788"/>
                      <a:gd name="connsiteX112" fmla="*/ 53150 w 606368"/>
                      <a:gd name="connsiteY112" fmla="*/ 40490 h 472788"/>
                      <a:gd name="connsiteX113" fmla="*/ 55817 w 606368"/>
                      <a:gd name="connsiteY113" fmla="*/ 46714 h 472788"/>
                      <a:gd name="connsiteX114" fmla="*/ 53150 w 606368"/>
                      <a:gd name="connsiteY114" fmla="*/ 53027 h 472788"/>
                      <a:gd name="connsiteX115" fmla="*/ 46926 w 606368"/>
                      <a:gd name="connsiteY115" fmla="*/ 55605 h 472788"/>
                      <a:gd name="connsiteX116" fmla="*/ 40613 w 606368"/>
                      <a:gd name="connsiteY116" fmla="*/ 53027 h 472788"/>
                      <a:gd name="connsiteX117" fmla="*/ 38035 w 606368"/>
                      <a:gd name="connsiteY117" fmla="*/ 46714 h 472788"/>
                      <a:gd name="connsiteX118" fmla="*/ 40613 w 606368"/>
                      <a:gd name="connsiteY118" fmla="*/ 40490 h 472788"/>
                      <a:gd name="connsiteX119" fmla="*/ 46926 w 606368"/>
                      <a:gd name="connsiteY119" fmla="*/ 37823 h 472788"/>
                      <a:gd name="connsiteX120" fmla="*/ 46904 w 606368"/>
                      <a:gd name="connsiteY120" fmla="*/ 17774 h 472788"/>
                      <a:gd name="connsiteX121" fmla="*/ 17800 w 606368"/>
                      <a:gd name="connsiteY121" fmla="*/ 46746 h 472788"/>
                      <a:gd name="connsiteX122" fmla="*/ 17800 w 606368"/>
                      <a:gd name="connsiteY122" fmla="*/ 75806 h 472788"/>
                      <a:gd name="connsiteX123" fmla="*/ 588568 w 606368"/>
                      <a:gd name="connsiteY123" fmla="*/ 75806 h 472788"/>
                      <a:gd name="connsiteX124" fmla="*/ 588568 w 606368"/>
                      <a:gd name="connsiteY124" fmla="*/ 46746 h 472788"/>
                      <a:gd name="connsiteX125" fmla="*/ 559553 w 606368"/>
                      <a:gd name="connsiteY125" fmla="*/ 17774 h 472788"/>
                      <a:gd name="connsiteX126" fmla="*/ 46904 w 606368"/>
                      <a:gd name="connsiteY126" fmla="*/ 0 h 472788"/>
                      <a:gd name="connsiteX127" fmla="*/ 559553 w 606368"/>
                      <a:gd name="connsiteY127" fmla="*/ 0 h 472788"/>
                      <a:gd name="connsiteX128" fmla="*/ 606368 w 606368"/>
                      <a:gd name="connsiteY128" fmla="*/ 46746 h 472788"/>
                      <a:gd name="connsiteX129" fmla="*/ 606368 w 606368"/>
                      <a:gd name="connsiteY129" fmla="*/ 425954 h 472788"/>
                      <a:gd name="connsiteX130" fmla="*/ 559553 w 606368"/>
                      <a:gd name="connsiteY130" fmla="*/ 472788 h 472788"/>
                      <a:gd name="connsiteX131" fmla="*/ 46904 w 606368"/>
                      <a:gd name="connsiteY131" fmla="*/ 472788 h 472788"/>
                      <a:gd name="connsiteX132" fmla="*/ 0 w 606368"/>
                      <a:gd name="connsiteY132" fmla="*/ 425954 h 472788"/>
                      <a:gd name="connsiteX133" fmla="*/ 0 w 606368"/>
                      <a:gd name="connsiteY133" fmla="*/ 46746 h 472788"/>
                      <a:gd name="connsiteX134" fmla="*/ 46904 w 606368"/>
                      <a:gd name="connsiteY134" fmla="*/ 0 h 4727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</a:cxnLst>
                    <a:rect l="l" t="t" r="r" b="b"/>
                    <a:pathLst>
                      <a:path w="606368" h="472788">
                        <a:moveTo>
                          <a:pt x="350674" y="312816"/>
                        </a:moveTo>
                        <a:cubicBezTo>
                          <a:pt x="352995" y="312816"/>
                          <a:pt x="355316" y="313705"/>
                          <a:pt x="357012" y="315395"/>
                        </a:cubicBezTo>
                        <a:cubicBezTo>
                          <a:pt x="358619" y="317084"/>
                          <a:pt x="359601" y="319307"/>
                          <a:pt x="359601" y="321707"/>
                        </a:cubicBezTo>
                        <a:cubicBezTo>
                          <a:pt x="359601" y="324019"/>
                          <a:pt x="358619" y="326330"/>
                          <a:pt x="357012" y="327931"/>
                        </a:cubicBezTo>
                        <a:cubicBezTo>
                          <a:pt x="355316" y="329620"/>
                          <a:pt x="352995" y="330598"/>
                          <a:pt x="350674" y="330598"/>
                        </a:cubicBezTo>
                        <a:cubicBezTo>
                          <a:pt x="348354" y="330598"/>
                          <a:pt x="346033" y="329620"/>
                          <a:pt x="344337" y="327931"/>
                        </a:cubicBezTo>
                        <a:cubicBezTo>
                          <a:pt x="342730" y="326330"/>
                          <a:pt x="341748" y="324019"/>
                          <a:pt x="341748" y="321707"/>
                        </a:cubicBezTo>
                        <a:cubicBezTo>
                          <a:pt x="341748" y="319307"/>
                          <a:pt x="342730" y="317084"/>
                          <a:pt x="344337" y="315395"/>
                        </a:cubicBezTo>
                        <a:cubicBezTo>
                          <a:pt x="346033" y="313705"/>
                          <a:pt x="348354" y="312816"/>
                          <a:pt x="350674" y="312816"/>
                        </a:cubicBezTo>
                        <a:close/>
                        <a:moveTo>
                          <a:pt x="303219" y="312816"/>
                        </a:moveTo>
                        <a:cubicBezTo>
                          <a:pt x="305531" y="312816"/>
                          <a:pt x="307842" y="313705"/>
                          <a:pt x="309443" y="315395"/>
                        </a:cubicBezTo>
                        <a:cubicBezTo>
                          <a:pt x="311132" y="317084"/>
                          <a:pt x="312110" y="319307"/>
                          <a:pt x="312110" y="321707"/>
                        </a:cubicBezTo>
                        <a:cubicBezTo>
                          <a:pt x="312110" y="324019"/>
                          <a:pt x="311132" y="326330"/>
                          <a:pt x="309443" y="327931"/>
                        </a:cubicBezTo>
                        <a:cubicBezTo>
                          <a:pt x="307842" y="329620"/>
                          <a:pt x="305531" y="330598"/>
                          <a:pt x="303219" y="330598"/>
                        </a:cubicBezTo>
                        <a:cubicBezTo>
                          <a:pt x="300818" y="330598"/>
                          <a:pt x="298596" y="329620"/>
                          <a:pt x="296906" y="327931"/>
                        </a:cubicBezTo>
                        <a:cubicBezTo>
                          <a:pt x="295217" y="326330"/>
                          <a:pt x="294328" y="324019"/>
                          <a:pt x="294328" y="321707"/>
                        </a:cubicBezTo>
                        <a:cubicBezTo>
                          <a:pt x="294328" y="319307"/>
                          <a:pt x="295217" y="317084"/>
                          <a:pt x="296906" y="315395"/>
                        </a:cubicBezTo>
                        <a:cubicBezTo>
                          <a:pt x="298596" y="313705"/>
                          <a:pt x="300818" y="312816"/>
                          <a:pt x="303219" y="312816"/>
                        </a:cubicBezTo>
                        <a:close/>
                        <a:moveTo>
                          <a:pt x="255729" y="312816"/>
                        </a:moveTo>
                        <a:cubicBezTo>
                          <a:pt x="258130" y="312816"/>
                          <a:pt x="260352" y="313705"/>
                          <a:pt x="262042" y="315395"/>
                        </a:cubicBezTo>
                        <a:cubicBezTo>
                          <a:pt x="263731" y="317084"/>
                          <a:pt x="264620" y="319307"/>
                          <a:pt x="264620" y="321707"/>
                        </a:cubicBezTo>
                        <a:cubicBezTo>
                          <a:pt x="264620" y="324019"/>
                          <a:pt x="263731" y="326330"/>
                          <a:pt x="262042" y="327931"/>
                        </a:cubicBezTo>
                        <a:cubicBezTo>
                          <a:pt x="260352" y="329620"/>
                          <a:pt x="258130" y="330598"/>
                          <a:pt x="255729" y="330598"/>
                        </a:cubicBezTo>
                        <a:cubicBezTo>
                          <a:pt x="253417" y="330598"/>
                          <a:pt x="251106" y="329620"/>
                          <a:pt x="249505" y="327931"/>
                        </a:cubicBezTo>
                        <a:cubicBezTo>
                          <a:pt x="247816" y="326330"/>
                          <a:pt x="246838" y="324019"/>
                          <a:pt x="246838" y="321707"/>
                        </a:cubicBezTo>
                        <a:cubicBezTo>
                          <a:pt x="246838" y="319307"/>
                          <a:pt x="247816" y="317084"/>
                          <a:pt x="249505" y="315395"/>
                        </a:cubicBezTo>
                        <a:cubicBezTo>
                          <a:pt x="251106" y="313705"/>
                          <a:pt x="253417" y="312816"/>
                          <a:pt x="255729" y="312816"/>
                        </a:cubicBezTo>
                        <a:close/>
                        <a:moveTo>
                          <a:pt x="379153" y="180012"/>
                        </a:moveTo>
                        <a:lnTo>
                          <a:pt x="388673" y="180012"/>
                        </a:lnTo>
                        <a:cubicBezTo>
                          <a:pt x="409225" y="180012"/>
                          <a:pt x="426040" y="196809"/>
                          <a:pt x="426040" y="217339"/>
                        </a:cubicBezTo>
                        <a:lnTo>
                          <a:pt x="426040" y="245778"/>
                        </a:lnTo>
                        <a:cubicBezTo>
                          <a:pt x="426040" y="256620"/>
                          <a:pt x="434760" y="265330"/>
                          <a:pt x="445614" y="265330"/>
                        </a:cubicBezTo>
                        <a:cubicBezTo>
                          <a:pt x="450507" y="265330"/>
                          <a:pt x="454511" y="269329"/>
                          <a:pt x="454511" y="274217"/>
                        </a:cubicBezTo>
                        <a:cubicBezTo>
                          <a:pt x="454511" y="279194"/>
                          <a:pt x="450507" y="283104"/>
                          <a:pt x="445614" y="283104"/>
                        </a:cubicBezTo>
                        <a:cubicBezTo>
                          <a:pt x="434760" y="283104"/>
                          <a:pt x="426040" y="291903"/>
                          <a:pt x="426040" y="302656"/>
                        </a:cubicBezTo>
                        <a:lnTo>
                          <a:pt x="426040" y="331096"/>
                        </a:lnTo>
                        <a:cubicBezTo>
                          <a:pt x="426040" y="351714"/>
                          <a:pt x="409225" y="368422"/>
                          <a:pt x="388673" y="368422"/>
                        </a:cubicBezTo>
                        <a:lnTo>
                          <a:pt x="379153" y="368422"/>
                        </a:lnTo>
                        <a:cubicBezTo>
                          <a:pt x="374260" y="368422"/>
                          <a:pt x="370256" y="364512"/>
                          <a:pt x="370256" y="359535"/>
                        </a:cubicBezTo>
                        <a:cubicBezTo>
                          <a:pt x="370256" y="354647"/>
                          <a:pt x="374260" y="350648"/>
                          <a:pt x="379153" y="350648"/>
                        </a:cubicBezTo>
                        <a:lnTo>
                          <a:pt x="388673" y="350648"/>
                        </a:lnTo>
                        <a:cubicBezTo>
                          <a:pt x="399438" y="350648"/>
                          <a:pt x="408246" y="341938"/>
                          <a:pt x="408246" y="331096"/>
                        </a:cubicBezTo>
                        <a:lnTo>
                          <a:pt x="408246" y="302656"/>
                        </a:lnTo>
                        <a:cubicBezTo>
                          <a:pt x="408246" y="291281"/>
                          <a:pt x="413318" y="281060"/>
                          <a:pt x="421414" y="274217"/>
                        </a:cubicBezTo>
                        <a:cubicBezTo>
                          <a:pt x="413318" y="267374"/>
                          <a:pt x="408246" y="257154"/>
                          <a:pt x="408246" y="245778"/>
                        </a:cubicBezTo>
                        <a:lnTo>
                          <a:pt x="408246" y="217339"/>
                        </a:lnTo>
                        <a:cubicBezTo>
                          <a:pt x="408246" y="206585"/>
                          <a:pt x="399438" y="197787"/>
                          <a:pt x="388673" y="197787"/>
                        </a:cubicBezTo>
                        <a:lnTo>
                          <a:pt x="379153" y="197787"/>
                        </a:lnTo>
                        <a:cubicBezTo>
                          <a:pt x="374260" y="197787"/>
                          <a:pt x="370256" y="193876"/>
                          <a:pt x="370256" y="188899"/>
                        </a:cubicBezTo>
                        <a:cubicBezTo>
                          <a:pt x="370256" y="184011"/>
                          <a:pt x="374260" y="180012"/>
                          <a:pt x="379153" y="180012"/>
                        </a:cubicBezTo>
                        <a:close/>
                        <a:moveTo>
                          <a:pt x="217779" y="180012"/>
                        </a:moveTo>
                        <a:lnTo>
                          <a:pt x="227212" y="180012"/>
                        </a:lnTo>
                        <a:cubicBezTo>
                          <a:pt x="232195" y="180012"/>
                          <a:pt x="236111" y="184011"/>
                          <a:pt x="236111" y="188899"/>
                        </a:cubicBezTo>
                        <a:cubicBezTo>
                          <a:pt x="236111" y="193876"/>
                          <a:pt x="232195" y="197787"/>
                          <a:pt x="227212" y="197787"/>
                        </a:cubicBezTo>
                        <a:lnTo>
                          <a:pt x="217779" y="197787"/>
                        </a:lnTo>
                        <a:cubicBezTo>
                          <a:pt x="206922" y="197787"/>
                          <a:pt x="198202" y="206585"/>
                          <a:pt x="198202" y="217339"/>
                        </a:cubicBezTo>
                        <a:lnTo>
                          <a:pt x="198202" y="245778"/>
                        </a:lnTo>
                        <a:cubicBezTo>
                          <a:pt x="198202" y="257154"/>
                          <a:pt x="193040" y="267374"/>
                          <a:pt x="184942" y="274217"/>
                        </a:cubicBezTo>
                        <a:cubicBezTo>
                          <a:pt x="193040" y="281060"/>
                          <a:pt x="198202" y="291281"/>
                          <a:pt x="198202" y="302656"/>
                        </a:cubicBezTo>
                        <a:lnTo>
                          <a:pt x="198202" y="331096"/>
                        </a:lnTo>
                        <a:cubicBezTo>
                          <a:pt x="198202" y="341938"/>
                          <a:pt x="206922" y="350648"/>
                          <a:pt x="217779" y="350648"/>
                        </a:cubicBezTo>
                        <a:lnTo>
                          <a:pt x="227212" y="350648"/>
                        </a:lnTo>
                        <a:cubicBezTo>
                          <a:pt x="232195" y="350648"/>
                          <a:pt x="236111" y="354647"/>
                          <a:pt x="236111" y="359535"/>
                        </a:cubicBezTo>
                        <a:cubicBezTo>
                          <a:pt x="236111" y="364512"/>
                          <a:pt x="232195" y="368422"/>
                          <a:pt x="227212" y="368422"/>
                        </a:cubicBezTo>
                        <a:lnTo>
                          <a:pt x="217779" y="368422"/>
                        </a:lnTo>
                        <a:cubicBezTo>
                          <a:pt x="197134" y="368422"/>
                          <a:pt x="180404" y="351714"/>
                          <a:pt x="180404" y="331096"/>
                        </a:cubicBezTo>
                        <a:lnTo>
                          <a:pt x="180404" y="302656"/>
                        </a:lnTo>
                        <a:cubicBezTo>
                          <a:pt x="180404" y="291903"/>
                          <a:pt x="171594" y="283104"/>
                          <a:pt x="160826" y="283104"/>
                        </a:cubicBezTo>
                        <a:cubicBezTo>
                          <a:pt x="155843" y="283104"/>
                          <a:pt x="151927" y="279194"/>
                          <a:pt x="151927" y="274217"/>
                        </a:cubicBezTo>
                        <a:cubicBezTo>
                          <a:pt x="151927" y="269329"/>
                          <a:pt x="155843" y="265330"/>
                          <a:pt x="160826" y="265330"/>
                        </a:cubicBezTo>
                        <a:cubicBezTo>
                          <a:pt x="171594" y="265330"/>
                          <a:pt x="180404" y="256620"/>
                          <a:pt x="180404" y="245778"/>
                        </a:cubicBezTo>
                        <a:lnTo>
                          <a:pt x="180404" y="217339"/>
                        </a:lnTo>
                        <a:cubicBezTo>
                          <a:pt x="180404" y="196809"/>
                          <a:pt x="197134" y="180012"/>
                          <a:pt x="217779" y="180012"/>
                        </a:cubicBezTo>
                        <a:close/>
                        <a:moveTo>
                          <a:pt x="17800" y="93580"/>
                        </a:moveTo>
                        <a:lnTo>
                          <a:pt x="17800" y="425954"/>
                        </a:lnTo>
                        <a:cubicBezTo>
                          <a:pt x="17800" y="441950"/>
                          <a:pt x="30884" y="455014"/>
                          <a:pt x="46904" y="455014"/>
                        </a:cubicBezTo>
                        <a:lnTo>
                          <a:pt x="559553" y="455014"/>
                        </a:lnTo>
                        <a:cubicBezTo>
                          <a:pt x="575573" y="455014"/>
                          <a:pt x="588568" y="441950"/>
                          <a:pt x="588568" y="425954"/>
                        </a:cubicBezTo>
                        <a:lnTo>
                          <a:pt x="588568" y="93580"/>
                        </a:lnTo>
                        <a:close/>
                        <a:moveTo>
                          <a:pt x="540536" y="37823"/>
                        </a:moveTo>
                        <a:lnTo>
                          <a:pt x="559577" y="37823"/>
                        </a:lnTo>
                        <a:cubicBezTo>
                          <a:pt x="564470" y="37823"/>
                          <a:pt x="568474" y="41824"/>
                          <a:pt x="568474" y="46714"/>
                        </a:cubicBezTo>
                        <a:cubicBezTo>
                          <a:pt x="568474" y="51693"/>
                          <a:pt x="564470" y="55605"/>
                          <a:pt x="559577" y="55605"/>
                        </a:cubicBezTo>
                        <a:lnTo>
                          <a:pt x="540536" y="55605"/>
                        </a:lnTo>
                        <a:cubicBezTo>
                          <a:pt x="535643" y="55605"/>
                          <a:pt x="531639" y="51693"/>
                          <a:pt x="531639" y="46714"/>
                        </a:cubicBezTo>
                        <a:cubicBezTo>
                          <a:pt x="531639" y="41824"/>
                          <a:pt x="535643" y="37823"/>
                          <a:pt x="540536" y="37823"/>
                        </a:cubicBezTo>
                        <a:close/>
                        <a:moveTo>
                          <a:pt x="141776" y="37823"/>
                        </a:moveTo>
                        <a:lnTo>
                          <a:pt x="502628" y="37823"/>
                        </a:lnTo>
                        <a:cubicBezTo>
                          <a:pt x="507524" y="37823"/>
                          <a:pt x="511529" y="41824"/>
                          <a:pt x="511529" y="46714"/>
                        </a:cubicBezTo>
                        <a:cubicBezTo>
                          <a:pt x="511529" y="51693"/>
                          <a:pt x="507524" y="55605"/>
                          <a:pt x="502628" y="55605"/>
                        </a:cubicBezTo>
                        <a:lnTo>
                          <a:pt x="141776" y="55605"/>
                        </a:lnTo>
                        <a:cubicBezTo>
                          <a:pt x="136881" y="55605"/>
                          <a:pt x="132875" y="51693"/>
                          <a:pt x="132875" y="46714"/>
                        </a:cubicBezTo>
                        <a:cubicBezTo>
                          <a:pt x="132875" y="41824"/>
                          <a:pt x="136881" y="37823"/>
                          <a:pt x="141776" y="37823"/>
                        </a:cubicBezTo>
                        <a:close/>
                        <a:moveTo>
                          <a:pt x="103872" y="37823"/>
                        </a:moveTo>
                        <a:cubicBezTo>
                          <a:pt x="106184" y="37823"/>
                          <a:pt x="108495" y="38801"/>
                          <a:pt x="110096" y="40490"/>
                        </a:cubicBezTo>
                        <a:cubicBezTo>
                          <a:pt x="111785" y="42091"/>
                          <a:pt x="112763" y="44402"/>
                          <a:pt x="112763" y="46714"/>
                        </a:cubicBezTo>
                        <a:cubicBezTo>
                          <a:pt x="112763" y="49115"/>
                          <a:pt x="111785" y="51337"/>
                          <a:pt x="110096" y="53027"/>
                        </a:cubicBezTo>
                        <a:cubicBezTo>
                          <a:pt x="108495" y="54716"/>
                          <a:pt x="106184" y="55605"/>
                          <a:pt x="103872" y="55605"/>
                        </a:cubicBezTo>
                        <a:cubicBezTo>
                          <a:pt x="101471" y="55605"/>
                          <a:pt x="99249" y="54716"/>
                          <a:pt x="97559" y="53027"/>
                        </a:cubicBezTo>
                        <a:cubicBezTo>
                          <a:pt x="95870" y="51337"/>
                          <a:pt x="94981" y="49115"/>
                          <a:pt x="94981" y="46714"/>
                        </a:cubicBezTo>
                        <a:cubicBezTo>
                          <a:pt x="94981" y="44402"/>
                          <a:pt x="95870" y="42091"/>
                          <a:pt x="97559" y="40490"/>
                        </a:cubicBezTo>
                        <a:cubicBezTo>
                          <a:pt x="99249" y="38801"/>
                          <a:pt x="101471" y="37823"/>
                          <a:pt x="103872" y="37823"/>
                        </a:cubicBezTo>
                        <a:close/>
                        <a:moveTo>
                          <a:pt x="75364" y="37823"/>
                        </a:moveTo>
                        <a:cubicBezTo>
                          <a:pt x="77676" y="37823"/>
                          <a:pt x="79987" y="38801"/>
                          <a:pt x="81588" y="40490"/>
                        </a:cubicBezTo>
                        <a:cubicBezTo>
                          <a:pt x="83277" y="42091"/>
                          <a:pt x="84255" y="44402"/>
                          <a:pt x="84255" y="46714"/>
                        </a:cubicBezTo>
                        <a:cubicBezTo>
                          <a:pt x="84255" y="49115"/>
                          <a:pt x="83277" y="51337"/>
                          <a:pt x="81588" y="53027"/>
                        </a:cubicBezTo>
                        <a:cubicBezTo>
                          <a:pt x="79987" y="54716"/>
                          <a:pt x="77676" y="55605"/>
                          <a:pt x="75364" y="55605"/>
                        </a:cubicBezTo>
                        <a:cubicBezTo>
                          <a:pt x="72963" y="55605"/>
                          <a:pt x="70741" y="54716"/>
                          <a:pt x="69051" y="53027"/>
                        </a:cubicBezTo>
                        <a:cubicBezTo>
                          <a:pt x="67362" y="51337"/>
                          <a:pt x="66473" y="49115"/>
                          <a:pt x="66473" y="46714"/>
                        </a:cubicBezTo>
                        <a:cubicBezTo>
                          <a:pt x="66473" y="44402"/>
                          <a:pt x="67362" y="42091"/>
                          <a:pt x="69051" y="40490"/>
                        </a:cubicBezTo>
                        <a:cubicBezTo>
                          <a:pt x="70741" y="38801"/>
                          <a:pt x="72963" y="37823"/>
                          <a:pt x="75364" y="37823"/>
                        </a:cubicBezTo>
                        <a:close/>
                        <a:moveTo>
                          <a:pt x="46926" y="37823"/>
                        </a:moveTo>
                        <a:cubicBezTo>
                          <a:pt x="49238" y="37823"/>
                          <a:pt x="51549" y="38801"/>
                          <a:pt x="53150" y="40490"/>
                        </a:cubicBezTo>
                        <a:cubicBezTo>
                          <a:pt x="54839" y="42091"/>
                          <a:pt x="55817" y="44402"/>
                          <a:pt x="55817" y="46714"/>
                        </a:cubicBezTo>
                        <a:cubicBezTo>
                          <a:pt x="55817" y="49115"/>
                          <a:pt x="54839" y="51337"/>
                          <a:pt x="53150" y="53027"/>
                        </a:cubicBezTo>
                        <a:cubicBezTo>
                          <a:pt x="51549" y="54716"/>
                          <a:pt x="49238" y="55605"/>
                          <a:pt x="46926" y="55605"/>
                        </a:cubicBezTo>
                        <a:cubicBezTo>
                          <a:pt x="44525" y="55605"/>
                          <a:pt x="42303" y="54716"/>
                          <a:pt x="40613" y="53027"/>
                        </a:cubicBezTo>
                        <a:cubicBezTo>
                          <a:pt x="38924" y="51337"/>
                          <a:pt x="38035" y="49115"/>
                          <a:pt x="38035" y="46714"/>
                        </a:cubicBezTo>
                        <a:cubicBezTo>
                          <a:pt x="38035" y="44402"/>
                          <a:pt x="38924" y="42091"/>
                          <a:pt x="40613" y="40490"/>
                        </a:cubicBezTo>
                        <a:cubicBezTo>
                          <a:pt x="42303" y="38801"/>
                          <a:pt x="44525" y="37823"/>
                          <a:pt x="46926" y="37823"/>
                        </a:cubicBezTo>
                        <a:close/>
                        <a:moveTo>
                          <a:pt x="46904" y="17774"/>
                        </a:moveTo>
                        <a:cubicBezTo>
                          <a:pt x="30884" y="17774"/>
                          <a:pt x="17800" y="30749"/>
                          <a:pt x="17800" y="46746"/>
                        </a:cubicBezTo>
                        <a:lnTo>
                          <a:pt x="17800" y="75806"/>
                        </a:lnTo>
                        <a:lnTo>
                          <a:pt x="588568" y="75806"/>
                        </a:lnTo>
                        <a:lnTo>
                          <a:pt x="588568" y="46746"/>
                        </a:lnTo>
                        <a:cubicBezTo>
                          <a:pt x="588568" y="30749"/>
                          <a:pt x="575573" y="17774"/>
                          <a:pt x="559553" y="17774"/>
                        </a:cubicBezTo>
                        <a:close/>
                        <a:moveTo>
                          <a:pt x="46904" y="0"/>
                        </a:moveTo>
                        <a:lnTo>
                          <a:pt x="559553" y="0"/>
                        </a:lnTo>
                        <a:cubicBezTo>
                          <a:pt x="585364" y="0"/>
                          <a:pt x="606368" y="20973"/>
                          <a:pt x="606368" y="46746"/>
                        </a:cubicBezTo>
                        <a:lnTo>
                          <a:pt x="606368" y="425954"/>
                        </a:lnTo>
                        <a:cubicBezTo>
                          <a:pt x="606368" y="451726"/>
                          <a:pt x="585364" y="472788"/>
                          <a:pt x="559553" y="472788"/>
                        </a:cubicBezTo>
                        <a:lnTo>
                          <a:pt x="46904" y="472788"/>
                        </a:lnTo>
                        <a:cubicBezTo>
                          <a:pt x="21004" y="472788"/>
                          <a:pt x="0" y="451726"/>
                          <a:pt x="0" y="425954"/>
                        </a:cubicBezTo>
                        <a:lnTo>
                          <a:pt x="0" y="46746"/>
                        </a:lnTo>
                        <a:cubicBezTo>
                          <a:pt x="0" y="20973"/>
                          <a:pt x="21004" y="0"/>
                          <a:pt x="46904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solidFill>
                      <a:schemeClr val="bg1"/>
                    </a:solidFill>
                  </a:ln>
                </p:spPr>
                <p:txBody>
                  <a:bodyPr/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endParaRPr lang="zh-CN" altLang="en-US"/>
                  </a:p>
                </p:txBody>
              </p:sp>
            </p:grpSp>
            <p:grpSp>
              <p:nvGrpSpPr>
                <p:cNvPr id="17" name="íš1ïḋê"/>
                <p:cNvGrpSpPr/>
                <p:nvPr/>
              </p:nvGrpSpPr>
              <p:grpSpPr>
                <a:xfrm>
                  <a:off x="2401911" y="1895914"/>
                  <a:ext cx="444108" cy="444108"/>
                  <a:chOff x="2895559" y="1478721"/>
                  <a:chExt cx="444108" cy="444108"/>
                </a:xfrm>
              </p:grpSpPr>
              <p:sp>
                <p:nvSpPr>
                  <p:cNvPr id="24" name="ïṣľîḓè"/>
                  <p:cNvSpPr/>
                  <p:nvPr/>
                </p:nvSpPr>
                <p:spPr>
                  <a:xfrm>
                    <a:off x="2895559" y="1478721"/>
                    <a:ext cx="444108" cy="444108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no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25" name="iṥḻíḓè"/>
                  <p:cNvSpPr/>
                  <p:nvPr/>
                </p:nvSpPr>
                <p:spPr bwMode="auto">
                  <a:xfrm>
                    <a:off x="2964619" y="1532466"/>
                    <a:ext cx="325507" cy="325015"/>
                  </a:xfrm>
                  <a:custGeom>
                    <a:avLst/>
                    <a:gdLst>
                      <a:gd name="T0" fmla="*/ 6396 w 6827"/>
                      <a:gd name="T1" fmla="*/ 6036 h 6827"/>
                      <a:gd name="T2" fmla="*/ 5665 w 6827"/>
                      <a:gd name="T3" fmla="*/ 3018 h 6827"/>
                      <a:gd name="T4" fmla="*/ 4446 w 6827"/>
                      <a:gd name="T5" fmla="*/ 2332 h 6827"/>
                      <a:gd name="T6" fmla="*/ 4643 w 6827"/>
                      <a:gd name="T7" fmla="*/ 1791 h 6827"/>
                      <a:gd name="T8" fmla="*/ 4491 w 6827"/>
                      <a:gd name="T9" fmla="*/ 314 h 6827"/>
                      <a:gd name="T10" fmla="*/ 2335 w 6827"/>
                      <a:gd name="T11" fmla="*/ 314 h 6827"/>
                      <a:gd name="T12" fmla="*/ 2184 w 6827"/>
                      <a:gd name="T13" fmla="*/ 1791 h 6827"/>
                      <a:gd name="T14" fmla="*/ 2380 w 6827"/>
                      <a:gd name="T15" fmla="*/ 2332 h 6827"/>
                      <a:gd name="T16" fmla="*/ 1161 w 6827"/>
                      <a:gd name="T17" fmla="*/ 3018 h 6827"/>
                      <a:gd name="T18" fmla="*/ 431 w 6827"/>
                      <a:gd name="T19" fmla="*/ 6036 h 6827"/>
                      <a:gd name="T20" fmla="*/ 0 w 6827"/>
                      <a:gd name="T21" fmla="*/ 6278 h 6827"/>
                      <a:gd name="T22" fmla="*/ 242 w 6827"/>
                      <a:gd name="T23" fmla="*/ 6827 h 6827"/>
                      <a:gd name="T24" fmla="*/ 2084 w 6827"/>
                      <a:gd name="T25" fmla="*/ 6585 h 6827"/>
                      <a:gd name="T26" fmla="*/ 2088 w 6827"/>
                      <a:gd name="T27" fmla="*/ 6539 h 6827"/>
                      <a:gd name="T28" fmla="*/ 2587 w 6827"/>
                      <a:gd name="T29" fmla="*/ 6539 h 6827"/>
                      <a:gd name="T30" fmla="*/ 2829 w 6827"/>
                      <a:gd name="T31" fmla="*/ 6827 h 6827"/>
                      <a:gd name="T32" fmla="*/ 4240 w 6827"/>
                      <a:gd name="T33" fmla="*/ 6585 h 6827"/>
                      <a:gd name="T34" fmla="*/ 4563 w 6827"/>
                      <a:gd name="T35" fmla="*/ 6539 h 6827"/>
                      <a:gd name="T36" fmla="*/ 4743 w 6827"/>
                      <a:gd name="T37" fmla="*/ 6585 h 6827"/>
                      <a:gd name="T38" fmla="*/ 6585 w 6827"/>
                      <a:gd name="T39" fmla="*/ 6827 h 6827"/>
                      <a:gd name="T40" fmla="*/ 6827 w 6827"/>
                      <a:gd name="T41" fmla="*/ 6278 h 6827"/>
                      <a:gd name="T42" fmla="*/ 1868 w 6827"/>
                      <a:gd name="T43" fmla="*/ 6585 h 6827"/>
                      <a:gd name="T44" fmla="*/ 1842 w 6827"/>
                      <a:gd name="T45" fmla="*/ 6611 h 6827"/>
                      <a:gd name="T46" fmla="*/ 216 w 6827"/>
                      <a:gd name="T47" fmla="*/ 6585 h 6827"/>
                      <a:gd name="T48" fmla="*/ 242 w 6827"/>
                      <a:gd name="T49" fmla="*/ 6252 h 6827"/>
                      <a:gd name="T50" fmla="*/ 1868 w 6827"/>
                      <a:gd name="T51" fmla="*/ 6278 h 6827"/>
                      <a:gd name="T52" fmla="*/ 2162 w 6827"/>
                      <a:gd name="T53" fmla="*/ 6324 h 6827"/>
                      <a:gd name="T54" fmla="*/ 2084 w 6827"/>
                      <a:gd name="T55" fmla="*/ 6324 h 6827"/>
                      <a:gd name="T56" fmla="*/ 1842 w 6827"/>
                      <a:gd name="T57" fmla="*/ 6036 h 6827"/>
                      <a:gd name="T58" fmla="*/ 647 w 6827"/>
                      <a:gd name="T59" fmla="*/ 3748 h 6827"/>
                      <a:gd name="T60" fmla="*/ 2331 w 6827"/>
                      <a:gd name="T61" fmla="*/ 3234 h 6827"/>
                      <a:gd name="T62" fmla="*/ 2332 w 6827"/>
                      <a:gd name="T63" fmla="*/ 1634 h 6827"/>
                      <a:gd name="T64" fmla="*/ 3413 w 6827"/>
                      <a:gd name="T65" fmla="*/ 216 h 6827"/>
                      <a:gd name="T66" fmla="*/ 4495 w 6827"/>
                      <a:gd name="T67" fmla="*/ 1634 h 6827"/>
                      <a:gd name="T68" fmla="*/ 4268 w 6827"/>
                      <a:gd name="T69" fmla="*/ 3018 h 6827"/>
                      <a:gd name="T70" fmla="*/ 2595 w 6827"/>
                      <a:gd name="T71" fmla="*/ 2347 h 6827"/>
                      <a:gd name="T72" fmla="*/ 4024 w 6827"/>
                      <a:gd name="T73" fmla="*/ 6585 h 6827"/>
                      <a:gd name="T74" fmla="*/ 2829 w 6827"/>
                      <a:gd name="T75" fmla="*/ 6611 h 6827"/>
                      <a:gd name="T76" fmla="*/ 2803 w 6827"/>
                      <a:gd name="T77" fmla="*/ 6432 h 6827"/>
                      <a:gd name="T78" fmla="*/ 2803 w 6827"/>
                      <a:gd name="T79" fmla="*/ 6431 h 6827"/>
                      <a:gd name="T80" fmla="*/ 2829 w 6827"/>
                      <a:gd name="T81" fmla="*/ 6252 h 6827"/>
                      <a:gd name="T82" fmla="*/ 4024 w 6827"/>
                      <a:gd name="T83" fmla="*/ 6278 h 6827"/>
                      <a:gd name="T84" fmla="*/ 4240 w 6827"/>
                      <a:gd name="T85" fmla="*/ 6324 h 6827"/>
                      <a:gd name="T86" fmla="*/ 3998 w 6827"/>
                      <a:gd name="T87" fmla="*/ 6036 h 6827"/>
                      <a:gd name="T88" fmla="*/ 2587 w 6827"/>
                      <a:gd name="T89" fmla="*/ 6278 h 6827"/>
                      <a:gd name="T90" fmla="*/ 2377 w 6827"/>
                      <a:gd name="T91" fmla="*/ 6324 h 6827"/>
                      <a:gd name="T92" fmla="*/ 4280 w 6827"/>
                      <a:gd name="T93" fmla="*/ 3234 h 6827"/>
                      <a:gd name="T94" fmla="*/ 4240 w 6827"/>
                      <a:gd name="T95" fmla="*/ 6324 h 6827"/>
                      <a:gd name="T96" fmla="*/ 6585 w 6827"/>
                      <a:gd name="T97" fmla="*/ 6611 h 6827"/>
                      <a:gd name="T98" fmla="*/ 4958 w 6827"/>
                      <a:gd name="T99" fmla="*/ 6585 h 6827"/>
                      <a:gd name="T100" fmla="*/ 4958 w 6827"/>
                      <a:gd name="T101" fmla="*/ 6431 h 6827"/>
                      <a:gd name="T102" fmla="*/ 4958 w 6827"/>
                      <a:gd name="T103" fmla="*/ 6278 h 6827"/>
                      <a:gd name="T104" fmla="*/ 5256 w 6827"/>
                      <a:gd name="T105" fmla="*/ 6252 h 6827"/>
                      <a:gd name="T106" fmla="*/ 5256 w 6827"/>
                      <a:gd name="T107" fmla="*/ 6036 h 6827"/>
                      <a:gd name="T108" fmla="*/ 4743 w 6827"/>
                      <a:gd name="T109" fmla="*/ 6278 h 6827"/>
                      <a:gd name="T110" fmla="*/ 4665 w 6827"/>
                      <a:gd name="T111" fmla="*/ 6324 h 6827"/>
                      <a:gd name="T112" fmla="*/ 5665 w 6827"/>
                      <a:gd name="T113" fmla="*/ 3234 h 6827"/>
                      <a:gd name="T114" fmla="*/ 6180 w 6827"/>
                      <a:gd name="T115" fmla="*/ 6036 h 6827"/>
                      <a:gd name="T116" fmla="*/ 5624 w 6827"/>
                      <a:gd name="T117" fmla="*/ 6144 h 6827"/>
                      <a:gd name="T118" fmla="*/ 6585 w 6827"/>
                      <a:gd name="T119" fmla="*/ 6252 h 6827"/>
                      <a:gd name="T120" fmla="*/ 6611 w 6827"/>
                      <a:gd name="T121" fmla="*/ 6585 h 68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6827" h="6827">
                        <a:moveTo>
                          <a:pt x="6585" y="6036"/>
                        </a:moveTo>
                        <a:lnTo>
                          <a:pt x="6396" y="6036"/>
                        </a:lnTo>
                        <a:lnTo>
                          <a:pt x="6396" y="3748"/>
                        </a:lnTo>
                        <a:cubicBezTo>
                          <a:pt x="6396" y="3346"/>
                          <a:pt x="6068" y="3018"/>
                          <a:pt x="5665" y="3018"/>
                        </a:cubicBezTo>
                        <a:lnTo>
                          <a:pt x="4484" y="3018"/>
                        </a:lnTo>
                        <a:lnTo>
                          <a:pt x="4446" y="2332"/>
                        </a:lnTo>
                        <a:cubicBezTo>
                          <a:pt x="4446" y="2329"/>
                          <a:pt x="4446" y="2327"/>
                          <a:pt x="4446" y="2325"/>
                        </a:cubicBezTo>
                        <a:cubicBezTo>
                          <a:pt x="4421" y="2130"/>
                          <a:pt x="4495" y="1930"/>
                          <a:pt x="4643" y="1791"/>
                        </a:cubicBezTo>
                        <a:cubicBezTo>
                          <a:pt x="4849" y="1596"/>
                          <a:pt x="4958" y="1362"/>
                          <a:pt x="4958" y="1114"/>
                        </a:cubicBezTo>
                        <a:cubicBezTo>
                          <a:pt x="4958" y="809"/>
                          <a:pt x="4792" y="525"/>
                          <a:pt x="4491" y="314"/>
                        </a:cubicBezTo>
                        <a:cubicBezTo>
                          <a:pt x="4202" y="112"/>
                          <a:pt x="3819" y="0"/>
                          <a:pt x="3413" y="0"/>
                        </a:cubicBezTo>
                        <a:cubicBezTo>
                          <a:pt x="3008" y="0"/>
                          <a:pt x="2625" y="112"/>
                          <a:pt x="2335" y="314"/>
                        </a:cubicBezTo>
                        <a:cubicBezTo>
                          <a:pt x="2034" y="525"/>
                          <a:pt x="1868" y="809"/>
                          <a:pt x="1868" y="1114"/>
                        </a:cubicBezTo>
                        <a:cubicBezTo>
                          <a:pt x="1868" y="1362"/>
                          <a:pt x="1978" y="1596"/>
                          <a:pt x="2184" y="1791"/>
                        </a:cubicBezTo>
                        <a:cubicBezTo>
                          <a:pt x="2332" y="1930"/>
                          <a:pt x="2405" y="2130"/>
                          <a:pt x="2381" y="2325"/>
                        </a:cubicBezTo>
                        <a:cubicBezTo>
                          <a:pt x="2381" y="2327"/>
                          <a:pt x="2380" y="2330"/>
                          <a:pt x="2380" y="2332"/>
                        </a:cubicBezTo>
                        <a:lnTo>
                          <a:pt x="2343" y="3018"/>
                        </a:lnTo>
                        <a:lnTo>
                          <a:pt x="1161" y="3018"/>
                        </a:lnTo>
                        <a:cubicBezTo>
                          <a:pt x="759" y="3018"/>
                          <a:pt x="431" y="3346"/>
                          <a:pt x="431" y="3748"/>
                        </a:cubicBezTo>
                        <a:lnTo>
                          <a:pt x="431" y="6036"/>
                        </a:lnTo>
                        <a:lnTo>
                          <a:pt x="242" y="6036"/>
                        </a:lnTo>
                        <a:cubicBezTo>
                          <a:pt x="108" y="6036"/>
                          <a:pt x="0" y="6145"/>
                          <a:pt x="0" y="6278"/>
                        </a:cubicBezTo>
                        <a:lnTo>
                          <a:pt x="0" y="6585"/>
                        </a:lnTo>
                        <a:cubicBezTo>
                          <a:pt x="0" y="6718"/>
                          <a:pt x="108" y="6827"/>
                          <a:pt x="242" y="6827"/>
                        </a:cubicBezTo>
                        <a:lnTo>
                          <a:pt x="1842" y="6827"/>
                        </a:lnTo>
                        <a:cubicBezTo>
                          <a:pt x="1976" y="6827"/>
                          <a:pt x="2084" y="6718"/>
                          <a:pt x="2084" y="6585"/>
                        </a:cubicBezTo>
                        <a:lnTo>
                          <a:pt x="2084" y="6539"/>
                        </a:lnTo>
                        <a:lnTo>
                          <a:pt x="2088" y="6539"/>
                        </a:lnTo>
                        <a:lnTo>
                          <a:pt x="2264" y="6539"/>
                        </a:lnTo>
                        <a:lnTo>
                          <a:pt x="2587" y="6539"/>
                        </a:lnTo>
                        <a:lnTo>
                          <a:pt x="2587" y="6585"/>
                        </a:lnTo>
                        <a:cubicBezTo>
                          <a:pt x="2587" y="6718"/>
                          <a:pt x="2695" y="6827"/>
                          <a:pt x="2829" y="6827"/>
                        </a:cubicBezTo>
                        <a:lnTo>
                          <a:pt x="3998" y="6827"/>
                        </a:lnTo>
                        <a:cubicBezTo>
                          <a:pt x="4131" y="6827"/>
                          <a:pt x="4240" y="6718"/>
                          <a:pt x="4240" y="6585"/>
                        </a:cubicBezTo>
                        <a:lnTo>
                          <a:pt x="4240" y="6539"/>
                        </a:lnTo>
                        <a:lnTo>
                          <a:pt x="4563" y="6539"/>
                        </a:lnTo>
                        <a:lnTo>
                          <a:pt x="4743" y="6539"/>
                        </a:lnTo>
                        <a:lnTo>
                          <a:pt x="4743" y="6585"/>
                        </a:lnTo>
                        <a:cubicBezTo>
                          <a:pt x="4743" y="6718"/>
                          <a:pt x="4851" y="6827"/>
                          <a:pt x="4984" y="6827"/>
                        </a:cubicBezTo>
                        <a:lnTo>
                          <a:pt x="6585" y="6827"/>
                        </a:lnTo>
                        <a:cubicBezTo>
                          <a:pt x="6718" y="6827"/>
                          <a:pt x="6827" y="6718"/>
                          <a:pt x="6827" y="6585"/>
                        </a:cubicBezTo>
                        <a:lnTo>
                          <a:pt x="6827" y="6278"/>
                        </a:lnTo>
                        <a:cubicBezTo>
                          <a:pt x="6827" y="6145"/>
                          <a:pt x="6718" y="6036"/>
                          <a:pt x="6585" y="6036"/>
                        </a:cubicBezTo>
                        <a:close/>
                        <a:moveTo>
                          <a:pt x="1868" y="6585"/>
                        </a:moveTo>
                        <a:lnTo>
                          <a:pt x="1868" y="6585"/>
                        </a:lnTo>
                        <a:cubicBezTo>
                          <a:pt x="1868" y="6599"/>
                          <a:pt x="1857" y="6611"/>
                          <a:pt x="1842" y="6611"/>
                        </a:cubicBezTo>
                        <a:lnTo>
                          <a:pt x="242" y="6611"/>
                        </a:lnTo>
                        <a:cubicBezTo>
                          <a:pt x="227" y="6611"/>
                          <a:pt x="216" y="6599"/>
                          <a:pt x="216" y="6585"/>
                        </a:cubicBezTo>
                        <a:lnTo>
                          <a:pt x="216" y="6278"/>
                        </a:lnTo>
                        <a:cubicBezTo>
                          <a:pt x="216" y="6263"/>
                          <a:pt x="227" y="6252"/>
                          <a:pt x="242" y="6252"/>
                        </a:cubicBezTo>
                        <a:lnTo>
                          <a:pt x="1842" y="6252"/>
                        </a:lnTo>
                        <a:cubicBezTo>
                          <a:pt x="1857" y="6252"/>
                          <a:pt x="1868" y="6263"/>
                          <a:pt x="1868" y="6278"/>
                        </a:cubicBezTo>
                        <a:lnTo>
                          <a:pt x="1868" y="6585"/>
                        </a:lnTo>
                        <a:close/>
                        <a:moveTo>
                          <a:pt x="2162" y="6324"/>
                        </a:moveTo>
                        <a:lnTo>
                          <a:pt x="2088" y="6324"/>
                        </a:lnTo>
                        <a:lnTo>
                          <a:pt x="2084" y="6324"/>
                        </a:lnTo>
                        <a:lnTo>
                          <a:pt x="2084" y="6278"/>
                        </a:lnTo>
                        <a:cubicBezTo>
                          <a:pt x="2084" y="6144"/>
                          <a:pt x="1976" y="6036"/>
                          <a:pt x="1842" y="6036"/>
                        </a:cubicBezTo>
                        <a:lnTo>
                          <a:pt x="647" y="6036"/>
                        </a:lnTo>
                        <a:lnTo>
                          <a:pt x="647" y="3748"/>
                        </a:lnTo>
                        <a:cubicBezTo>
                          <a:pt x="647" y="3464"/>
                          <a:pt x="877" y="3234"/>
                          <a:pt x="1161" y="3234"/>
                        </a:cubicBezTo>
                        <a:lnTo>
                          <a:pt x="2331" y="3234"/>
                        </a:lnTo>
                        <a:lnTo>
                          <a:pt x="2162" y="6324"/>
                        </a:lnTo>
                        <a:close/>
                        <a:moveTo>
                          <a:pt x="2332" y="1634"/>
                        </a:moveTo>
                        <a:cubicBezTo>
                          <a:pt x="2170" y="1481"/>
                          <a:pt x="2084" y="1301"/>
                          <a:pt x="2084" y="1114"/>
                        </a:cubicBezTo>
                        <a:cubicBezTo>
                          <a:pt x="2084" y="619"/>
                          <a:pt x="2680" y="216"/>
                          <a:pt x="3413" y="216"/>
                        </a:cubicBezTo>
                        <a:cubicBezTo>
                          <a:pt x="4146" y="216"/>
                          <a:pt x="4743" y="619"/>
                          <a:pt x="4743" y="1114"/>
                        </a:cubicBezTo>
                        <a:cubicBezTo>
                          <a:pt x="4743" y="1301"/>
                          <a:pt x="4657" y="1481"/>
                          <a:pt x="4495" y="1634"/>
                        </a:cubicBezTo>
                        <a:cubicBezTo>
                          <a:pt x="4298" y="1819"/>
                          <a:pt x="4200" y="2086"/>
                          <a:pt x="4231" y="2347"/>
                        </a:cubicBezTo>
                        <a:lnTo>
                          <a:pt x="4268" y="3018"/>
                        </a:lnTo>
                        <a:lnTo>
                          <a:pt x="2559" y="3018"/>
                        </a:lnTo>
                        <a:lnTo>
                          <a:pt x="2595" y="2347"/>
                        </a:lnTo>
                        <a:cubicBezTo>
                          <a:pt x="2627" y="2086"/>
                          <a:pt x="2528" y="1819"/>
                          <a:pt x="2332" y="1634"/>
                        </a:cubicBezTo>
                        <a:close/>
                        <a:moveTo>
                          <a:pt x="4024" y="6585"/>
                        </a:moveTo>
                        <a:cubicBezTo>
                          <a:pt x="4024" y="6599"/>
                          <a:pt x="4012" y="6611"/>
                          <a:pt x="3998" y="6611"/>
                        </a:cubicBezTo>
                        <a:lnTo>
                          <a:pt x="2829" y="6611"/>
                        </a:lnTo>
                        <a:cubicBezTo>
                          <a:pt x="2814" y="6611"/>
                          <a:pt x="2803" y="6599"/>
                          <a:pt x="2803" y="6585"/>
                        </a:cubicBezTo>
                        <a:lnTo>
                          <a:pt x="2803" y="6432"/>
                        </a:lnTo>
                        <a:lnTo>
                          <a:pt x="2803" y="6431"/>
                        </a:lnTo>
                        <a:lnTo>
                          <a:pt x="2803" y="6431"/>
                        </a:lnTo>
                        <a:lnTo>
                          <a:pt x="2803" y="6278"/>
                        </a:lnTo>
                        <a:cubicBezTo>
                          <a:pt x="2803" y="6263"/>
                          <a:pt x="2814" y="6252"/>
                          <a:pt x="2829" y="6252"/>
                        </a:cubicBezTo>
                        <a:lnTo>
                          <a:pt x="3998" y="6252"/>
                        </a:lnTo>
                        <a:cubicBezTo>
                          <a:pt x="4012" y="6252"/>
                          <a:pt x="4024" y="6263"/>
                          <a:pt x="4024" y="6278"/>
                        </a:cubicBezTo>
                        <a:lnTo>
                          <a:pt x="4024" y="6585"/>
                        </a:lnTo>
                        <a:close/>
                        <a:moveTo>
                          <a:pt x="4240" y="6324"/>
                        </a:moveTo>
                        <a:lnTo>
                          <a:pt x="4240" y="6278"/>
                        </a:lnTo>
                        <a:cubicBezTo>
                          <a:pt x="4240" y="6144"/>
                          <a:pt x="4132" y="6036"/>
                          <a:pt x="3998" y="6036"/>
                        </a:cubicBezTo>
                        <a:lnTo>
                          <a:pt x="2829" y="6036"/>
                        </a:lnTo>
                        <a:cubicBezTo>
                          <a:pt x="2695" y="6036"/>
                          <a:pt x="2587" y="6144"/>
                          <a:pt x="2587" y="6278"/>
                        </a:cubicBezTo>
                        <a:lnTo>
                          <a:pt x="2587" y="6324"/>
                        </a:lnTo>
                        <a:lnTo>
                          <a:pt x="2377" y="6324"/>
                        </a:lnTo>
                        <a:lnTo>
                          <a:pt x="2547" y="3234"/>
                        </a:lnTo>
                        <a:lnTo>
                          <a:pt x="4280" y="3234"/>
                        </a:lnTo>
                        <a:lnTo>
                          <a:pt x="4449" y="6324"/>
                        </a:lnTo>
                        <a:lnTo>
                          <a:pt x="4240" y="6324"/>
                        </a:lnTo>
                        <a:close/>
                        <a:moveTo>
                          <a:pt x="6611" y="6585"/>
                        </a:moveTo>
                        <a:cubicBezTo>
                          <a:pt x="6611" y="6599"/>
                          <a:pt x="6599" y="6611"/>
                          <a:pt x="6585" y="6611"/>
                        </a:cubicBezTo>
                        <a:lnTo>
                          <a:pt x="4984" y="6611"/>
                        </a:lnTo>
                        <a:cubicBezTo>
                          <a:pt x="4970" y="6611"/>
                          <a:pt x="4958" y="6599"/>
                          <a:pt x="4958" y="6585"/>
                        </a:cubicBezTo>
                        <a:lnTo>
                          <a:pt x="4958" y="6432"/>
                        </a:lnTo>
                        <a:lnTo>
                          <a:pt x="4958" y="6431"/>
                        </a:lnTo>
                        <a:lnTo>
                          <a:pt x="4958" y="6431"/>
                        </a:lnTo>
                        <a:lnTo>
                          <a:pt x="4958" y="6278"/>
                        </a:lnTo>
                        <a:cubicBezTo>
                          <a:pt x="4958" y="6263"/>
                          <a:pt x="4970" y="6252"/>
                          <a:pt x="4984" y="6252"/>
                        </a:cubicBezTo>
                        <a:lnTo>
                          <a:pt x="5256" y="6252"/>
                        </a:lnTo>
                        <a:cubicBezTo>
                          <a:pt x="5316" y="6252"/>
                          <a:pt x="5364" y="6204"/>
                          <a:pt x="5364" y="6144"/>
                        </a:cubicBezTo>
                        <a:cubicBezTo>
                          <a:pt x="5364" y="6084"/>
                          <a:pt x="5316" y="6036"/>
                          <a:pt x="5256" y="6036"/>
                        </a:cubicBezTo>
                        <a:lnTo>
                          <a:pt x="4984" y="6036"/>
                        </a:lnTo>
                        <a:cubicBezTo>
                          <a:pt x="4851" y="6036"/>
                          <a:pt x="4743" y="6144"/>
                          <a:pt x="4743" y="6278"/>
                        </a:cubicBezTo>
                        <a:lnTo>
                          <a:pt x="4743" y="6324"/>
                        </a:lnTo>
                        <a:lnTo>
                          <a:pt x="4665" y="6324"/>
                        </a:lnTo>
                        <a:lnTo>
                          <a:pt x="4496" y="3234"/>
                        </a:lnTo>
                        <a:lnTo>
                          <a:pt x="5665" y="3234"/>
                        </a:lnTo>
                        <a:cubicBezTo>
                          <a:pt x="5950" y="3234"/>
                          <a:pt x="6180" y="3464"/>
                          <a:pt x="6180" y="3748"/>
                        </a:cubicBezTo>
                        <a:lnTo>
                          <a:pt x="6180" y="6036"/>
                        </a:lnTo>
                        <a:lnTo>
                          <a:pt x="5731" y="6036"/>
                        </a:lnTo>
                        <a:cubicBezTo>
                          <a:pt x="5672" y="6036"/>
                          <a:pt x="5624" y="6084"/>
                          <a:pt x="5624" y="6144"/>
                        </a:cubicBezTo>
                        <a:cubicBezTo>
                          <a:pt x="5624" y="6204"/>
                          <a:pt x="5672" y="6252"/>
                          <a:pt x="5731" y="6252"/>
                        </a:cubicBezTo>
                        <a:lnTo>
                          <a:pt x="6585" y="6252"/>
                        </a:lnTo>
                        <a:cubicBezTo>
                          <a:pt x="6599" y="6252"/>
                          <a:pt x="6611" y="6263"/>
                          <a:pt x="6611" y="6278"/>
                        </a:cubicBezTo>
                        <a:lnTo>
                          <a:pt x="6611" y="6585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solidFill>
                      <a:schemeClr val="bg1"/>
                    </a:solidFill>
                  </a:ln>
                </p:spPr>
                <p:txBody>
                  <a:bodyPr/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endParaRPr lang="zh-CN" altLang="en-US"/>
                  </a:p>
                </p:txBody>
              </p:sp>
            </p:grpSp>
            <p:grpSp>
              <p:nvGrpSpPr>
                <p:cNvPr id="18" name="íṩľîḑé"/>
                <p:cNvGrpSpPr/>
                <p:nvPr/>
              </p:nvGrpSpPr>
              <p:grpSpPr>
                <a:xfrm>
                  <a:off x="1888546" y="2156746"/>
                  <a:ext cx="444108" cy="444108"/>
                  <a:chOff x="2895559" y="1478721"/>
                  <a:chExt cx="444108" cy="444108"/>
                </a:xfrm>
              </p:grpSpPr>
              <p:sp>
                <p:nvSpPr>
                  <p:cNvPr id="22" name="îŝḷíďe"/>
                  <p:cNvSpPr/>
                  <p:nvPr/>
                </p:nvSpPr>
                <p:spPr>
                  <a:xfrm>
                    <a:off x="2895559" y="1478721"/>
                    <a:ext cx="444108" cy="444108"/>
                  </a:xfrm>
                  <a:prstGeom prst="round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no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endParaRPr lang="zh-CN" altLang="en-US" dirty="0"/>
                  </a:p>
                </p:txBody>
              </p:sp>
              <p:sp>
                <p:nvSpPr>
                  <p:cNvPr id="23" name="išļîḍe"/>
                  <p:cNvSpPr/>
                  <p:nvPr/>
                </p:nvSpPr>
                <p:spPr bwMode="auto">
                  <a:xfrm>
                    <a:off x="2964619" y="1533384"/>
                    <a:ext cx="325507" cy="323180"/>
                  </a:xfrm>
                  <a:custGeom>
                    <a:avLst/>
                    <a:gdLst>
                      <a:gd name="T0" fmla="*/ 5319 w 6878"/>
                      <a:gd name="T1" fmla="*/ 4183 h 6839"/>
                      <a:gd name="T2" fmla="*/ 4884 w 6878"/>
                      <a:gd name="T3" fmla="*/ 3824 h 6839"/>
                      <a:gd name="T4" fmla="*/ 5318 w 6878"/>
                      <a:gd name="T5" fmla="*/ 2217 h 6839"/>
                      <a:gd name="T6" fmla="*/ 6462 w 6878"/>
                      <a:gd name="T7" fmla="*/ 980 h 6839"/>
                      <a:gd name="T8" fmla="*/ 5938 w 6878"/>
                      <a:gd name="T9" fmla="*/ 327 h 6839"/>
                      <a:gd name="T10" fmla="*/ 5457 w 6878"/>
                      <a:gd name="T11" fmla="*/ 1016 h 6839"/>
                      <a:gd name="T12" fmla="*/ 5452 w 6878"/>
                      <a:gd name="T13" fmla="*/ 182 h 6839"/>
                      <a:gd name="T14" fmla="*/ 4816 w 6878"/>
                      <a:gd name="T15" fmla="*/ 249 h 6839"/>
                      <a:gd name="T16" fmla="*/ 3333 w 6878"/>
                      <a:gd name="T17" fmla="*/ 2834 h 6839"/>
                      <a:gd name="T18" fmla="*/ 1455 w 6878"/>
                      <a:gd name="T19" fmla="*/ 601 h 6839"/>
                      <a:gd name="T20" fmla="*/ 50 w 6878"/>
                      <a:gd name="T21" fmla="*/ 388 h 6839"/>
                      <a:gd name="T22" fmla="*/ 698 w 6878"/>
                      <a:gd name="T23" fmla="*/ 1515 h 6839"/>
                      <a:gd name="T24" fmla="*/ 1533 w 6878"/>
                      <a:gd name="T25" fmla="*/ 4634 h 6839"/>
                      <a:gd name="T26" fmla="*/ 389 w 6878"/>
                      <a:gd name="T27" fmla="*/ 5871 h 6839"/>
                      <a:gd name="T28" fmla="*/ 913 w 6878"/>
                      <a:gd name="T29" fmla="*/ 6524 h 6839"/>
                      <a:gd name="T30" fmla="*/ 1389 w 6878"/>
                      <a:gd name="T31" fmla="*/ 5833 h 6839"/>
                      <a:gd name="T32" fmla="*/ 1399 w 6878"/>
                      <a:gd name="T33" fmla="*/ 6668 h 6839"/>
                      <a:gd name="T34" fmla="*/ 1542 w 6878"/>
                      <a:gd name="T35" fmla="*/ 6834 h 6839"/>
                      <a:gd name="T36" fmla="*/ 2690 w 6878"/>
                      <a:gd name="T37" fmla="*/ 4844 h 6839"/>
                      <a:gd name="T38" fmla="*/ 3824 w 6878"/>
                      <a:gd name="T39" fmla="*/ 4884 h 6839"/>
                      <a:gd name="T40" fmla="*/ 4183 w 6878"/>
                      <a:gd name="T41" fmla="*/ 5319 h 6839"/>
                      <a:gd name="T42" fmla="*/ 6217 w 6878"/>
                      <a:gd name="T43" fmla="*/ 6839 h 6839"/>
                      <a:gd name="T44" fmla="*/ 6721 w 6878"/>
                      <a:gd name="T45" fmla="*/ 5934 h 6839"/>
                      <a:gd name="T46" fmla="*/ 4986 w 6878"/>
                      <a:gd name="T47" fmla="*/ 442 h 6839"/>
                      <a:gd name="T48" fmla="*/ 5022 w 6878"/>
                      <a:gd name="T49" fmla="*/ 775 h 6839"/>
                      <a:gd name="T50" fmla="*/ 6111 w 6878"/>
                      <a:gd name="T51" fmla="*/ 635 h 6839"/>
                      <a:gd name="T52" fmla="*/ 5696 w 6878"/>
                      <a:gd name="T53" fmla="*/ 1695 h 6839"/>
                      <a:gd name="T54" fmla="*/ 3515 w 6878"/>
                      <a:gd name="T55" fmla="*/ 3016 h 6839"/>
                      <a:gd name="T56" fmla="*/ 2112 w 6878"/>
                      <a:gd name="T57" fmla="*/ 5773 h 6839"/>
                      <a:gd name="T58" fmla="*/ 1806 w 6878"/>
                      <a:gd name="T59" fmla="*/ 6229 h 6839"/>
                      <a:gd name="T60" fmla="*/ 1081 w 6878"/>
                      <a:gd name="T61" fmla="*/ 5625 h 6839"/>
                      <a:gd name="T62" fmla="*/ 646 w 6878"/>
                      <a:gd name="T63" fmla="*/ 5867 h 6839"/>
                      <a:gd name="T64" fmla="*/ 1715 w 6878"/>
                      <a:gd name="T65" fmla="*/ 4816 h 6839"/>
                      <a:gd name="T66" fmla="*/ 2509 w 6878"/>
                      <a:gd name="T67" fmla="*/ 4662 h 6839"/>
                      <a:gd name="T68" fmla="*/ 1051 w 6878"/>
                      <a:gd name="T69" fmla="*/ 1289 h 6839"/>
                      <a:gd name="T70" fmla="*/ 498 w 6878"/>
                      <a:gd name="T71" fmla="*/ 304 h 6839"/>
                      <a:gd name="T72" fmla="*/ 1282 w 6878"/>
                      <a:gd name="T73" fmla="*/ 1094 h 6839"/>
                      <a:gd name="T74" fmla="*/ 4286 w 6878"/>
                      <a:gd name="T75" fmla="*/ 4422 h 6839"/>
                      <a:gd name="T76" fmla="*/ 4170 w 6878"/>
                      <a:gd name="T77" fmla="*/ 5049 h 6839"/>
                      <a:gd name="T78" fmla="*/ 5049 w 6878"/>
                      <a:gd name="T79" fmla="*/ 4170 h 6839"/>
                      <a:gd name="T80" fmla="*/ 6540 w 6878"/>
                      <a:gd name="T81" fmla="*/ 6319 h 6839"/>
                      <a:gd name="T82" fmla="*/ 4650 w 6878"/>
                      <a:gd name="T83" fmla="*/ 5074 h 6839"/>
                      <a:gd name="T84" fmla="*/ 6540 w 6878"/>
                      <a:gd name="T85" fmla="*/ 6319 h 68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6878" h="6839">
                        <a:moveTo>
                          <a:pt x="6721" y="5934"/>
                        </a:moveTo>
                        <a:lnTo>
                          <a:pt x="5224" y="4436"/>
                        </a:lnTo>
                        <a:lnTo>
                          <a:pt x="5319" y="4183"/>
                        </a:lnTo>
                        <a:cubicBezTo>
                          <a:pt x="5336" y="4136"/>
                          <a:pt x="5325" y="4083"/>
                          <a:pt x="5289" y="4047"/>
                        </a:cubicBezTo>
                        <a:lnTo>
                          <a:pt x="5066" y="3824"/>
                        </a:lnTo>
                        <a:cubicBezTo>
                          <a:pt x="5016" y="3774"/>
                          <a:pt x="4934" y="3774"/>
                          <a:pt x="4884" y="3824"/>
                        </a:cubicBezTo>
                        <a:lnTo>
                          <a:pt x="4603" y="4104"/>
                        </a:lnTo>
                        <a:lnTo>
                          <a:pt x="4016" y="3518"/>
                        </a:lnTo>
                        <a:lnTo>
                          <a:pt x="5318" y="2217"/>
                        </a:lnTo>
                        <a:cubicBezTo>
                          <a:pt x="5443" y="2091"/>
                          <a:pt x="5601" y="1996"/>
                          <a:pt x="5775" y="1940"/>
                        </a:cubicBezTo>
                        <a:cubicBezTo>
                          <a:pt x="5923" y="1892"/>
                          <a:pt x="6061" y="1808"/>
                          <a:pt x="6171" y="1697"/>
                        </a:cubicBezTo>
                        <a:cubicBezTo>
                          <a:pt x="6363" y="1506"/>
                          <a:pt x="6466" y="1251"/>
                          <a:pt x="6462" y="980"/>
                        </a:cubicBezTo>
                        <a:cubicBezTo>
                          <a:pt x="6457" y="709"/>
                          <a:pt x="6346" y="458"/>
                          <a:pt x="6148" y="272"/>
                        </a:cubicBezTo>
                        <a:cubicBezTo>
                          <a:pt x="6116" y="241"/>
                          <a:pt x="6070" y="230"/>
                          <a:pt x="6028" y="241"/>
                        </a:cubicBezTo>
                        <a:cubicBezTo>
                          <a:pt x="5985" y="252"/>
                          <a:pt x="5951" y="285"/>
                          <a:pt x="5938" y="327"/>
                        </a:cubicBezTo>
                        <a:lnTo>
                          <a:pt x="5775" y="850"/>
                        </a:lnTo>
                        <a:cubicBezTo>
                          <a:pt x="5754" y="914"/>
                          <a:pt x="5710" y="967"/>
                          <a:pt x="5650" y="999"/>
                        </a:cubicBezTo>
                        <a:cubicBezTo>
                          <a:pt x="5590" y="1030"/>
                          <a:pt x="5522" y="1036"/>
                          <a:pt x="5457" y="1016"/>
                        </a:cubicBezTo>
                        <a:cubicBezTo>
                          <a:pt x="5351" y="983"/>
                          <a:pt x="5279" y="886"/>
                          <a:pt x="5279" y="775"/>
                        </a:cubicBezTo>
                        <a:cubicBezTo>
                          <a:pt x="5279" y="749"/>
                          <a:pt x="5283" y="724"/>
                          <a:pt x="5291" y="699"/>
                        </a:cubicBezTo>
                        <a:lnTo>
                          <a:pt x="5452" y="182"/>
                        </a:lnTo>
                        <a:cubicBezTo>
                          <a:pt x="5465" y="140"/>
                          <a:pt x="5456" y="93"/>
                          <a:pt x="5426" y="60"/>
                        </a:cubicBezTo>
                        <a:cubicBezTo>
                          <a:pt x="5397" y="26"/>
                          <a:pt x="5353" y="10"/>
                          <a:pt x="5309" y="17"/>
                        </a:cubicBezTo>
                        <a:cubicBezTo>
                          <a:pt x="5125" y="47"/>
                          <a:pt x="4954" y="127"/>
                          <a:pt x="4816" y="249"/>
                        </a:cubicBezTo>
                        <a:cubicBezTo>
                          <a:pt x="4572" y="464"/>
                          <a:pt x="4448" y="784"/>
                          <a:pt x="4484" y="1106"/>
                        </a:cubicBezTo>
                        <a:cubicBezTo>
                          <a:pt x="4521" y="1436"/>
                          <a:pt x="4403" y="1765"/>
                          <a:pt x="4161" y="2007"/>
                        </a:cubicBezTo>
                        <a:lnTo>
                          <a:pt x="3333" y="2834"/>
                        </a:lnTo>
                        <a:lnTo>
                          <a:pt x="1547" y="1048"/>
                        </a:lnTo>
                        <a:lnTo>
                          <a:pt x="1515" y="698"/>
                        </a:lnTo>
                        <a:cubicBezTo>
                          <a:pt x="1511" y="658"/>
                          <a:pt x="1489" y="622"/>
                          <a:pt x="1455" y="601"/>
                        </a:cubicBezTo>
                        <a:lnTo>
                          <a:pt x="547" y="32"/>
                        </a:lnTo>
                        <a:cubicBezTo>
                          <a:pt x="497" y="0"/>
                          <a:pt x="430" y="7"/>
                          <a:pt x="388" y="50"/>
                        </a:cubicBezTo>
                        <a:lnTo>
                          <a:pt x="50" y="388"/>
                        </a:lnTo>
                        <a:cubicBezTo>
                          <a:pt x="7" y="431"/>
                          <a:pt x="0" y="497"/>
                          <a:pt x="32" y="547"/>
                        </a:cubicBezTo>
                        <a:lnTo>
                          <a:pt x="601" y="1455"/>
                        </a:lnTo>
                        <a:cubicBezTo>
                          <a:pt x="622" y="1489"/>
                          <a:pt x="658" y="1511"/>
                          <a:pt x="698" y="1515"/>
                        </a:cubicBezTo>
                        <a:lnTo>
                          <a:pt x="1048" y="1547"/>
                        </a:lnTo>
                        <a:lnTo>
                          <a:pt x="2835" y="3333"/>
                        </a:lnTo>
                        <a:lnTo>
                          <a:pt x="1533" y="4634"/>
                        </a:lnTo>
                        <a:cubicBezTo>
                          <a:pt x="1408" y="4759"/>
                          <a:pt x="1250" y="4855"/>
                          <a:pt x="1076" y="4911"/>
                        </a:cubicBezTo>
                        <a:cubicBezTo>
                          <a:pt x="925" y="4960"/>
                          <a:pt x="792" y="5041"/>
                          <a:pt x="680" y="5154"/>
                        </a:cubicBezTo>
                        <a:cubicBezTo>
                          <a:pt x="488" y="5345"/>
                          <a:pt x="385" y="5600"/>
                          <a:pt x="389" y="5871"/>
                        </a:cubicBezTo>
                        <a:cubicBezTo>
                          <a:pt x="393" y="6142"/>
                          <a:pt x="505" y="6393"/>
                          <a:pt x="703" y="6579"/>
                        </a:cubicBezTo>
                        <a:cubicBezTo>
                          <a:pt x="735" y="6609"/>
                          <a:pt x="781" y="6621"/>
                          <a:pt x="823" y="6610"/>
                        </a:cubicBezTo>
                        <a:cubicBezTo>
                          <a:pt x="866" y="6598"/>
                          <a:pt x="900" y="6566"/>
                          <a:pt x="913" y="6524"/>
                        </a:cubicBezTo>
                        <a:lnTo>
                          <a:pt x="1077" y="6001"/>
                        </a:lnTo>
                        <a:cubicBezTo>
                          <a:pt x="1097" y="5937"/>
                          <a:pt x="1141" y="5884"/>
                          <a:pt x="1201" y="5852"/>
                        </a:cubicBezTo>
                        <a:cubicBezTo>
                          <a:pt x="1259" y="5822"/>
                          <a:pt x="1326" y="5815"/>
                          <a:pt x="1389" y="5833"/>
                        </a:cubicBezTo>
                        <a:cubicBezTo>
                          <a:pt x="1390" y="5834"/>
                          <a:pt x="1392" y="5834"/>
                          <a:pt x="1394" y="5835"/>
                        </a:cubicBezTo>
                        <a:cubicBezTo>
                          <a:pt x="1527" y="5876"/>
                          <a:pt x="1602" y="6019"/>
                          <a:pt x="1560" y="6152"/>
                        </a:cubicBezTo>
                        <a:lnTo>
                          <a:pt x="1399" y="6668"/>
                        </a:lnTo>
                        <a:cubicBezTo>
                          <a:pt x="1386" y="6711"/>
                          <a:pt x="1395" y="6757"/>
                          <a:pt x="1425" y="6791"/>
                        </a:cubicBezTo>
                        <a:cubicBezTo>
                          <a:pt x="1449" y="6819"/>
                          <a:pt x="1485" y="6835"/>
                          <a:pt x="1522" y="6835"/>
                        </a:cubicBezTo>
                        <a:cubicBezTo>
                          <a:pt x="1529" y="6835"/>
                          <a:pt x="1535" y="6835"/>
                          <a:pt x="1542" y="6834"/>
                        </a:cubicBezTo>
                        <a:cubicBezTo>
                          <a:pt x="1726" y="6804"/>
                          <a:pt x="1896" y="6724"/>
                          <a:pt x="2035" y="6602"/>
                        </a:cubicBezTo>
                        <a:cubicBezTo>
                          <a:pt x="2279" y="6387"/>
                          <a:pt x="2403" y="6067"/>
                          <a:pt x="2367" y="5745"/>
                        </a:cubicBezTo>
                        <a:cubicBezTo>
                          <a:pt x="2330" y="5414"/>
                          <a:pt x="2448" y="5086"/>
                          <a:pt x="2690" y="4844"/>
                        </a:cubicBezTo>
                        <a:lnTo>
                          <a:pt x="3518" y="4017"/>
                        </a:lnTo>
                        <a:lnTo>
                          <a:pt x="4104" y="4603"/>
                        </a:lnTo>
                        <a:lnTo>
                          <a:pt x="3824" y="4884"/>
                        </a:lnTo>
                        <a:cubicBezTo>
                          <a:pt x="3774" y="4934"/>
                          <a:pt x="3774" y="5016"/>
                          <a:pt x="3824" y="5066"/>
                        </a:cubicBezTo>
                        <a:lnTo>
                          <a:pt x="4047" y="5289"/>
                        </a:lnTo>
                        <a:cubicBezTo>
                          <a:pt x="4083" y="5325"/>
                          <a:pt x="4136" y="5336"/>
                          <a:pt x="4183" y="5319"/>
                        </a:cubicBezTo>
                        <a:lnTo>
                          <a:pt x="4436" y="5224"/>
                        </a:lnTo>
                        <a:lnTo>
                          <a:pt x="5934" y="6721"/>
                        </a:lnTo>
                        <a:cubicBezTo>
                          <a:pt x="6012" y="6800"/>
                          <a:pt x="6115" y="6839"/>
                          <a:pt x="6217" y="6839"/>
                        </a:cubicBezTo>
                        <a:cubicBezTo>
                          <a:pt x="6320" y="6839"/>
                          <a:pt x="6423" y="6800"/>
                          <a:pt x="6501" y="6721"/>
                        </a:cubicBezTo>
                        <a:lnTo>
                          <a:pt x="6721" y="6501"/>
                        </a:lnTo>
                        <a:cubicBezTo>
                          <a:pt x="6878" y="6345"/>
                          <a:pt x="6878" y="6090"/>
                          <a:pt x="6721" y="5934"/>
                        </a:cubicBezTo>
                        <a:close/>
                        <a:moveTo>
                          <a:pt x="4342" y="2189"/>
                        </a:moveTo>
                        <a:cubicBezTo>
                          <a:pt x="4640" y="1891"/>
                          <a:pt x="4785" y="1486"/>
                          <a:pt x="4739" y="1077"/>
                        </a:cubicBezTo>
                        <a:cubicBezTo>
                          <a:pt x="4713" y="839"/>
                          <a:pt x="4805" y="601"/>
                          <a:pt x="4986" y="442"/>
                        </a:cubicBezTo>
                        <a:cubicBezTo>
                          <a:pt x="5031" y="403"/>
                          <a:pt x="5080" y="369"/>
                          <a:pt x="5133" y="342"/>
                        </a:cubicBezTo>
                        <a:lnTo>
                          <a:pt x="5046" y="622"/>
                        </a:lnTo>
                        <a:cubicBezTo>
                          <a:pt x="5030" y="672"/>
                          <a:pt x="5022" y="723"/>
                          <a:pt x="5022" y="775"/>
                        </a:cubicBezTo>
                        <a:cubicBezTo>
                          <a:pt x="5022" y="999"/>
                          <a:pt x="5166" y="1195"/>
                          <a:pt x="5381" y="1262"/>
                        </a:cubicBezTo>
                        <a:cubicBezTo>
                          <a:pt x="5649" y="1345"/>
                          <a:pt x="5936" y="1195"/>
                          <a:pt x="6020" y="926"/>
                        </a:cubicBezTo>
                        <a:lnTo>
                          <a:pt x="6111" y="635"/>
                        </a:lnTo>
                        <a:cubicBezTo>
                          <a:pt x="6170" y="740"/>
                          <a:pt x="6203" y="859"/>
                          <a:pt x="6205" y="984"/>
                        </a:cubicBezTo>
                        <a:cubicBezTo>
                          <a:pt x="6208" y="1185"/>
                          <a:pt x="6131" y="1373"/>
                          <a:pt x="5990" y="1515"/>
                        </a:cubicBezTo>
                        <a:cubicBezTo>
                          <a:pt x="5906" y="1598"/>
                          <a:pt x="5808" y="1659"/>
                          <a:pt x="5696" y="1695"/>
                        </a:cubicBezTo>
                        <a:cubicBezTo>
                          <a:pt x="5483" y="1763"/>
                          <a:pt x="5289" y="1881"/>
                          <a:pt x="5136" y="2035"/>
                        </a:cubicBezTo>
                        <a:lnTo>
                          <a:pt x="3835" y="3336"/>
                        </a:lnTo>
                        <a:lnTo>
                          <a:pt x="3515" y="3016"/>
                        </a:lnTo>
                        <a:lnTo>
                          <a:pt x="4342" y="2189"/>
                        </a:lnTo>
                        <a:close/>
                        <a:moveTo>
                          <a:pt x="2509" y="4662"/>
                        </a:moveTo>
                        <a:cubicBezTo>
                          <a:pt x="2211" y="4960"/>
                          <a:pt x="2066" y="5365"/>
                          <a:pt x="2112" y="5773"/>
                        </a:cubicBezTo>
                        <a:cubicBezTo>
                          <a:pt x="2138" y="6012"/>
                          <a:pt x="2046" y="6250"/>
                          <a:pt x="1866" y="6409"/>
                        </a:cubicBezTo>
                        <a:cubicBezTo>
                          <a:pt x="1821" y="6448"/>
                          <a:pt x="1771" y="6482"/>
                          <a:pt x="1718" y="6509"/>
                        </a:cubicBezTo>
                        <a:lnTo>
                          <a:pt x="1806" y="6229"/>
                        </a:lnTo>
                        <a:cubicBezTo>
                          <a:pt x="1888" y="5962"/>
                          <a:pt x="1741" y="5678"/>
                          <a:pt x="1477" y="5592"/>
                        </a:cubicBezTo>
                        <a:cubicBezTo>
                          <a:pt x="1475" y="5591"/>
                          <a:pt x="1473" y="5590"/>
                          <a:pt x="1470" y="5589"/>
                        </a:cubicBezTo>
                        <a:cubicBezTo>
                          <a:pt x="1340" y="5549"/>
                          <a:pt x="1202" y="5561"/>
                          <a:pt x="1081" y="5625"/>
                        </a:cubicBezTo>
                        <a:cubicBezTo>
                          <a:pt x="960" y="5688"/>
                          <a:pt x="872" y="5794"/>
                          <a:pt x="831" y="5925"/>
                        </a:cubicBezTo>
                        <a:lnTo>
                          <a:pt x="740" y="6216"/>
                        </a:lnTo>
                        <a:cubicBezTo>
                          <a:pt x="681" y="6110"/>
                          <a:pt x="648" y="5991"/>
                          <a:pt x="646" y="5867"/>
                        </a:cubicBezTo>
                        <a:cubicBezTo>
                          <a:pt x="643" y="5666"/>
                          <a:pt x="719" y="5478"/>
                          <a:pt x="861" y="5336"/>
                        </a:cubicBezTo>
                        <a:cubicBezTo>
                          <a:pt x="945" y="5252"/>
                          <a:pt x="1043" y="5192"/>
                          <a:pt x="1155" y="5156"/>
                        </a:cubicBezTo>
                        <a:cubicBezTo>
                          <a:pt x="1368" y="5087"/>
                          <a:pt x="1562" y="4970"/>
                          <a:pt x="1715" y="4816"/>
                        </a:cubicBezTo>
                        <a:lnTo>
                          <a:pt x="3016" y="3515"/>
                        </a:lnTo>
                        <a:lnTo>
                          <a:pt x="3336" y="3835"/>
                        </a:lnTo>
                        <a:lnTo>
                          <a:pt x="2509" y="4662"/>
                        </a:lnTo>
                        <a:close/>
                        <a:moveTo>
                          <a:pt x="1184" y="1320"/>
                        </a:moveTo>
                        <a:cubicBezTo>
                          <a:pt x="1159" y="1295"/>
                          <a:pt x="1126" y="1282"/>
                          <a:pt x="1094" y="1282"/>
                        </a:cubicBezTo>
                        <a:cubicBezTo>
                          <a:pt x="1079" y="1282"/>
                          <a:pt x="1065" y="1284"/>
                          <a:pt x="1051" y="1289"/>
                        </a:cubicBezTo>
                        <a:lnTo>
                          <a:pt x="785" y="1265"/>
                        </a:lnTo>
                        <a:lnTo>
                          <a:pt x="304" y="497"/>
                        </a:lnTo>
                        <a:lnTo>
                          <a:pt x="498" y="304"/>
                        </a:lnTo>
                        <a:lnTo>
                          <a:pt x="1265" y="785"/>
                        </a:lnTo>
                        <a:lnTo>
                          <a:pt x="1289" y="1051"/>
                        </a:lnTo>
                        <a:cubicBezTo>
                          <a:pt x="1285" y="1065"/>
                          <a:pt x="1282" y="1079"/>
                          <a:pt x="1282" y="1094"/>
                        </a:cubicBezTo>
                        <a:cubicBezTo>
                          <a:pt x="1282" y="1128"/>
                          <a:pt x="1296" y="1160"/>
                          <a:pt x="1320" y="1184"/>
                        </a:cubicBezTo>
                        <a:lnTo>
                          <a:pt x="4422" y="4286"/>
                        </a:lnTo>
                        <a:lnTo>
                          <a:pt x="4286" y="4422"/>
                        </a:lnTo>
                        <a:lnTo>
                          <a:pt x="1184" y="1320"/>
                        </a:lnTo>
                        <a:close/>
                        <a:moveTo>
                          <a:pt x="4397" y="4964"/>
                        </a:moveTo>
                        <a:lnTo>
                          <a:pt x="4170" y="5049"/>
                        </a:lnTo>
                        <a:lnTo>
                          <a:pt x="4096" y="4975"/>
                        </a:lnTo>
                        <a:lnTo>
                          <a:pt x="4975" y="4096"/>
                        </a:lnTo>
                        <a:lnTo>
                          <a:pt x="5049" y="4170"/>
                        </a:lnTo>
                        <a:lnTo>
                          <a:pt x="4964" y="4397"/>
                        </a:lnTo>
                        <a:lnTo>
                          <a:pt x="4397" y="4964"/>
                        </a:lnTo>
                        <a:close/>
                        <a:moveTo>
                          <a:pt x="6540" y="6319"/>
                        </a:moveTo>
                        <a:lnTo>
                          <a:pt x="6319" y="6540"/>
                        </a:lnTo>
                        <a:cubicBezTo>
                          <a:pt x="6263" y="6596"/>
                          <a:pt x="6172" y="6596"/>
                          <a:pt x="6115" y="6540"/>
                        </a:cubicBezTo>
                        <a:lnTo>
                          <a:pt x="4650" y="5074"/>
                        </a:lnTo>
                        <a:lnTo>
                          <a:pt x="5074" y="4650"/>
                        </a:lnTo>
                        <a:lnTo>
                          <a:pt x="6540" y="6115"/>
                        </a:lnTo>
                        <a:cubicBezTo>
                          <a:pt x="6596" y="6172"/>
                          <a:pt x="6596" y="6263"/>
                          <a:pt x="6540" y="6319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solidFill>
                      <a:schemeClr val="bg1"/>
                    </a:solidFill>
                  </a:ln>
                </p:spPr>
                <p:txBody>
                  <a:bodyPr/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endParaRPr lang="zh-CN" altLang="en-US"/>
                  </a:p>
                </p:txBody>
              </p:sp>
            </p:grpSp>
            <p:grpSp>
              <p:nvGrpSpPr>
                <p:cNvPr id="19" name="iṩ1ïḑe"/>
                <p:cNvGrpSpPr/>
                <p:nvPr/>
              </p:nvGrpSpPr>
              <p:grpSpPr>
                <a:xfrm>
                  <a:off x="3872219" y="2156154"/>
                  <a:ext cx="444108" cy="444108"/>
                  <a:chOff x="2895559" y="1478721"/>
                  <a:chExt cx="444108" cy="444108"/>
                </a:xfrm>
              </p:grpSpPr>
              <p:sp>
                <p:nvSpPr>
                  <p:cNvPr id="20" name="iṥľiḋé"/>
                  <p:cNvSpPr/>
                  <p:nvPr/>
                </p:nvSpPr>
                <p:spPr>
                  <a:xfrm>
                    <a:off x="2895559" y="1478721"/>
                    <a:ext cx="444108" cy="444108"/>
                  </a:xfrm>
                  <a:prstGeom prst="round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no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endParaRPr lang="zh-CN" altLang="en-US" dirty="0"/>
                  </a:p>
                </p:txBody>
              </p:sp>
              <p:sp>
                <p:nvSpPr>
                  <p:cNvPr id="21" name="íṡḷiḓé"/>
                  <p:cNvSpPr/>
                  <p:nvPr/>
                </p:nvSpPr>
                <p:spPr bwMode="auto">
                  <a:xfrm>
                    <a:off x="2964620" y="1550149"/>
                    <a:ext cx="325507" cy="289651"/>
                  </a:xfrm>
                  <a:custGeom>
                    <a:avLst/>
                    <a:gdLst>
                      <a:gd name="T0" fmla="*/ 6317 w 6996"/>
                      <a:gd name="T1" fmla="*/ 509 h 6235"/>
                      <a:gd name="T2" fmla="*/ 5086 w 6996"/>
                      <a:gd name="T3" fmla="*/ 0 h 6235"/>
                      <a:gd name="T4" fmla="*/ 3854 w 6996"/>
                      <a:gd name="T5" fmla="*/ 509 h 6235"/>
                      <a:gd name="T6" fmla="*/ 387 w 6996"/>
                      <a:gd name="T7" fmla="*/ 3976 h 6235"/>
                      <a:gd name="T8" fmla="*/ 0 w 6996"/>
                      <a:gd name="T9" fmla="*/ 4912 h 6235"/>
                      <a:gd name="T10" fmla="*/ 387 w 6996"/>
                      <a:gd name="T11" fmla="*/ 5848 h 6235"/>
                      <a:gd name="T12" fmla="*/ 1323 w 6996"/>
                      <a:gd name="T13" fmla="*/ 6235 h 6235"/>
                      <a:gd name="T14" fmla="*/ 2259 w 6996"/>
                      <a:gd name="T15" fmla="*/ 5848 h 6235"/>
                      <a:gd name="T16" fmla="*/ 5234 w 6996"/>
                      <a:gd name="T17" fmla="*/ 2873 h 6235"/>
                      <a:gd name="T18" fmla="*/ 5499 w 6996"/>
                      <a:gd name="T19" fmla="*/ 2233 h 6235"/>
                      <a:gd name="T20" fmla="*/ 5234 w 6996"/>
                      <a:gd name="T21" fmla="*/ 1593 h 6235"/>
                      <a:gd name="T22" fmla="*/ 4593 w 6996"/>
                      <a:gd name="T23" fmla="*/ 1327 h 6235"/>
                      <a:gd name="T24" fmla="*/ 3953 w 6996"/>
                      <a:gd name="T25" fmla="*/ 1593 h 6235"/>
                      <a:gd name="T26" fmla="*/ 1304 w 6996"/>
                      <a:gd name="T27" fmla="*/ 4242 h 6235"/>
                      <a:gd name="T28" fmla="*/ 1599 w 6996"/>
                      <a:gd name="T29" fmla="*/ 4537 h 6235"/>
                      <a:gd name="T30" fmla="*/ 4248 w 6996"/>
                      <a:gd name="T31" fmla="*/ 1888 h 6235"/>
                      <a:gd name="T32" fmla="*/ 4593 w 6996"/>
                      <a:gd name="T33" fmla="*/ 1745 h 6235"/>
                      <a:gd name="T34" fmla="*/ 4938 w 6996"/>
                      <a:gd name="T35" fmla="*/ 1888 h 6235"/>
                      <a:gd name="T36" fmla="*/ 5081 w 6996"/>
                      <a:gd name="T37" fmla="*/ 2233 h 6235"/>
                      <a:gd name="T38" fmla="*/ 4938 w 6996"/>
                      <a:gd name="T39" fmla="*/ 2578 h 6235"/>
                      <a:gd name="T40" fmla="*/ 1963 w 6996"/>
                      <a:gd name="T41" fmla="*/ 5552 h 6235"/>
                      <a:gd name="T42" fmla="*/ 1323 w 6996"/>
                      <a:gd name="T43" fmla="*/ 5817 h 6235"/>
                      <a:gd name="T44" fmla="*/ 683 w 6996"/>
                      <a:gd name="T45" fmla="*/ 5552 h 6235"/>
                      <a:gd name="T46" fmla="*/ 418 w 6996"/>
                      <a:gd name="T47" fmla="*/ 4912 h 6235"/>
                      <a:gd name="T48" fmla="*/ 683 w 6996"/>
                      <a:gd name="T49" fmla="*/ 4272 h 6235"/>
                      <a:gd name="T50" fmla="*/ 4150 w 6996"/>
                      <a:gd name="T51" fmla="*/ 804 h 6235"/>
                      <a:gd name="T52" fmla="*/ 5086 w 6996"/>
                      <a:gd name="T53" fmla="*/ 418 h 6235"/>
                      <a:gd name="T54" fmla="*/ 6022 w 6996"/>
                      <a:gd name="T55" fmla="*/ 804 h 6235"/>
                      <a:gd name="T56" fmla="*/ 6022 w 6996"/>
                      <a:gd name="T57" fmla="*/ 2676 h 6235"/>
                      <a:gd name="T58" fmla="*/ 2880 w 6996"/>
                      <a:gd name="T59" fmla="*/ 5818 h 6235"/>
                      <a:gd name="T60" fmla="*/ 3176 w 6996"/>
                      <a:gd name="T61" fmla="*/ 6114 h 6235"/>
                      <a:gd name="T62" fmla="*/ 6317 w 6996"/>
                      <a:gd name="T63" fmla="*/ 2972 h 6235"/>
                      <a:gd name="T64" fmla="*/ 6317 w 6996"/>
                      <a:gd name="T65" fmla="*/ 509 h 62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6996" h="6235">
                        <a:moveTo>
                          <a:pt x="6317" y="509"/>
                        </a:moveTo>
                        <a:cubicBezTo>
                          <a:pt x="5989" y="180"/>
                          <a:pt x="5552" y="0"/>
                          <a:pt x="5086" y="0"/>
                        </a:cubicBezTo>
                        <a:cubicBezTo>
                          <a:pt x="4620" y="0"/>
                          <a:pt x="4183" y="180"/>
                          <a:pt x="3854" y="509"/>
                        </a:cubicBezTo>
                        <a:lnTo>
                          <a:pt x="387" y="3976"/>
                        </a:lnTo>
                        <a:cubicBezTo>
                          <a:pt x="138" y="4226"/>
                          <a:pt x="0" y="4558"/>
                          <a:pt x="0" y="4912"/>
                        </a:cubicBezTo>
                        <a:cubicBezTo>
                          <a:pt x="0" y="5266"/>
                          <a:pt x="138" y="5598"/>
                          <a:pt x="387" y="5848"/>
                        </a:cubicBezTo>
                        <a:cubicBezTo>
                          <a:pt x="637" y="6098"/>
                          <a:pt x="969" y="6235"/>
                          <a:pt x="1323" y="6235"/>
                        </a:cubicBezTo>
                        <a:cubicBezTo>
                          <a:pt x="1677" y="6235"/>
                          <a:pt x="2009" y="6098"/>
                          <a:pt x="2259" y="5848"/>
                        </a:cubicBezTo>
                        <a:lnTo>
                          <a:pt x="5234" y="2873"/>
                        </a:lnTo>
                        <a:cubicBezTo>
                          <a:pt x="5405" y="2702"/>
                          <a:pt x="5499" y="2475"/>
                          <a:pt x="5499" y="2233"/>
                        </a:cubicBezTo>
                        <a:cubicBezTo>
                          <a:pt x="5499" y="1991"/>
                          <a:pt x="5405" y="1764"/>
                          <a:pt x="5234" y="1593"/>
                        </a:cubicBezTo>
                        <a:cubicBezTo>
                          <a:pt x="5063" y="1422"/>
                          <a:pt x="4835" y="1327"/>
                          <a:pt x="4593" y="1327"/>
                        </a:cubicBezTo>
                        <a:cubicBezTo>
                          <a:pt x="4351" y="1327"/>
                          <a:pt x="4124" y="1422"/>
                          <a:pt x="3953" y="1593"/>
                        </a:cubicBezTo>
                        <a:lnTo>
                          <a:pt x="1304" y="4242"/>
                        </a:lnTo>
                        <a:lnTo>
                          <a:pt x="1599" y="4537"/>
                        </a:lnTo>
                        <a:lnTo>
                          <a:pt x="4248" y="1888"/>
                        </a:lnTo>
                        <a:cubicBezTo>
                          <a:pt x="4341" y="1796"/>
                          <a:pt x="4463" y="1745"/>
                          <a:pt x="4593" y="1745"/>
                        </a:cubicBezTo>
                        <a:cubicBezTo>
                          <a:pt x="4724" y="1745"/>
                          <a:pt x="4846" y="1796"/>
                          <a:pt x="4938" y="1888"/>
                        </a:cubicBezTo>
                        <a:cubicBezTo>
                          <a:pt x="5030" y="1980"/>
                          <a:pt x="5081" y="2103"/>
                          <a:pt x="5081" y="2233"/>
                        </a:cubicBezTo>
                        <a:cubicBezTo>
                          <a:pt x="5081" y="2363"/>
                          <a:pt x="5030" y="2486"/>
                          <a:pt x="4938" y="2578"/>
                        </a:cubicBezTo>
                        <a:lnTo>
                          <a:pt x="1963" y="5552"/>
                        </a:lnTo>
                        <a:cubicBezTo>
                          <a:pt x="1793" y="5723"/>
                          <a:pt x="1565" y="5817"/>
                          <a:pt x="1323" y="5817"/>
                        </a:cubicBezTo>
                        <a:cubicBezTo>
                          <a:pt x="1081" y="5817"/>
                          <a:pt x="853" y="5723"/>
                          <a:pt x="683" y="5552"/>
                        </a:cubicBezTo>
                        <a:cubicBezTo>
                          <a:pt x="512" y="5382"/>
                          <a:pt x="418" y="5154"/>
                          <a:pt x="418" y="4912"/>
                        </a:cubicBezTo>
                        <a:cubicBezTo>
                          <a:pt x="418" y="4670"/>
                          <a:pt x="512" y="4442"/>
                          <a:pt x="683" y="4272"/>
                        </a:cubicBezTo>
                        <a:lnTo>
                          <a:pt x="4150" y="804"/>
                        </a:lnTo>
                        <a:cubicBezTo>
                          <a:pt x="4399" y="555"/>
                          <a:pt x="4732" y="418"/>
                          <a:pt x="5086" y="418"/>
                        </a:cubicBezTo>
                        <a:cubicBezTo>
                          <a:pt x="5440" y="418"/>
                          <a:pt x="5772" y="555"/>
                          <a:pt x="6022" y="804"/>
                        </a:cubicBezTo>
                        <a:cubicBezTo>
                          <a:pt x="6538" y="1321"/>
                          <a:pt x="6538" y="2160"/>
                          <a:pt x="6022" y="2676"/>
                        </a:cubicBezTo>
                        <a:lnTo>
                          <a:pt x="2880" y="5818"/>
                        </a:lnTo>
                        <a:lnTo>
                          <a:pt x="3176" y="6114"/>
                        </a:lnTo>
                        <a:lnTo>
                          <a:pt x="6317" y="2972"/>
                        </a:lnTo>
                        <a:cubicBezTo>
                          <a:pt x="6996" y="2293"/>
                          <a:pt x="6996" y="1188"/>
                          <a:pt x="6317" y="509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solidFill>
                      <a:schemeClr val="bg1"/>
                    </a:solidFill>
                  </a:ln>
                </p:spPr>
                <p:txBody>
                  <a:bodyPr/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endParaRPr lang="zh-CN" altLang="en-US"/>
                  </a:p>
                </p:txBody>
              </p:sp>
            </p:grpSp>
          </p:grpSp>
        </p:grpSp>
      </p:grpSp>
      <p:sp>
        <p:nvSpPr>
          <p:cNvPr id="52" name="ï$ļiďé"/>
          <p:cNvSpPr/>
          <p:nvPr/>
        </p:nvSpPr>
        <p:spPr>
          <a:xfrm>
            <a:off x="793946" y="1267117"/>
            <a:ext cx="675011" cy="675015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53" name="ïṡḷiḋè"/>
          <p:cNvSpPr/>
          <p:nvPr/>
        </p:nvSpPr>
        <p:spPr bwMode="auto">
          <a:xfrm>
            <a:off x="959991" y="1442234"/>
            <a:ext cx="344191" cy="337479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200" dirty="0"/>
          </a:p>
        </p:txBody>
      </p:sp>
      <p:sp>
        <p:nvSpPr>
          <p:cNvPr id="54" name="ï$ļiďé"/>
          <p:cNvSpPr/>
          <p:nvPr/>
        </p:nvSpPr>
        <p:spPr>
          <a:xfrm>
            <a:off x="795216" y="4917732"/>
            <a:ext cx="675011" cy="675015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55" name="ïṡḷiḋè"/>
          <p:cNvSpPr/>
          <p:nvPr/>
        </p:nvSpPr>
        <p:spPr bwMode="auto">
          <a:xfrm>
            <a:off x="958721" y="5086499"/>
            <a:ext cx="344191" cy="337479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200" dirty="0"/>
          </a:p>
        </p:txBody>
      </p:sp>
      <p:pic>
        <p:nvPicPr>
          <p:cNvPr id="3" name="Picture 24" descr="Screen Shot 2019-03-12 at 11.14.11 AM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2975" y="3402965"/>
            <a:ext cx="3593465" cy="251904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6" name="ïš1ïḑé"/>
          <p:cNvSpPr txBox="1"/>
          <p:nvPr/>
        </p:nvSpPr>
        <p:spPr>
          <a:xfrm>
            <a:off x="1631575" y="1112642"/>
            <a:ext cx="4236301" cy="471827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p>
            <a:r>
              <a:rPr lang="en-US" sz="1400" b="1" dirty="0">
                <a:solidFill>
                  <a:schemeClr val="tx1"/>
                </a:solidFill>
              </a:rPr>
              <a:t>Background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ym typeface="+mn-ea"/>
              </a:rPr>
              <a:t>Introduction and background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5" name="e387484c-6468-4da9-bc90-b5ff7f67368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0134" y="1471613"/>
            <a:ext cx="10686415" cy="3914775"/>
            <a:chOff x="670134" y="1471613"/>
            <a:chExt cx="10686415" cy="3914775"/>
          </a:xfrm>
        </p:grpSpPr>
        <p:grpSp>
          <p:nvGrpSpPr>
            <p:cNvPr id="6" name="îṣľîḓe"/>
            <p:cNvGrpSpPr/>
            <p:nvPr/>
          </p:nvGrpSpPr>
          <p:grpSpPr>
            <a:xfrm>
              <a:off x="5116513" y="1471613"/>
              <a:ext cx="2106676" cy="3914775"/>
              <a:chOff x="5116513" y="1471613"/>
              <a:chExt cx="2106676" cy="3914775"/>
            </a:xfrm>
          </p:grpSpPr>
          <p:sp>
            <p:nvSpPr>
              <p:cNvPr id="14" name="iṧlíḍè"/>
              <p:cNvSpPr/>
              <p:nvPr/>
            </p:nvSpPr>
            <p:spPr bwMode="auto">
              <a:xfrm>
                <a:off x="5334632" y="4598150"/>
                <a:ext cx="1594972" cy="788238"/>
              </a:xfrm>
              <a:custGeom>
                <a:avLst/>
                <a:gdLst>
                  <a:gd name="T0" fmla="*/ 1594788 w 6658"/>
                  <a:gd name="T1" fmla="*/ 0 h 3291"/>
                  <a:gd name="T2" fmla="*/ 1594788 w 6658"/>
                  <a:gd name="T3" fmla="*/ 0 h 3291"/>
                  <a:gd name="T4" fmla="*/ 788411 w 6658"/>
                  <a:gd name="T5" fmla="*/ 9099 h 3291"/>
                  <a:gd name="T6" fmla="*/ 788411 w 6658"/>
                  <a:gd name="T7" fmla="*/ 9099 h 3291"/>
                  <a:gd name="T8" fmla="*/ 0 w 6658"/>
                  <a:gd name="T9" fmla="*/ 0 h 3291"/>
                  <a:gd name="T10" fmla="*/ 132240 w 6658"/>
                  <a:gd name="T11" fmla="*/ 318699 h 3291"/>
                  <a:gd name="T12" fmla="*/ 282687 w 6658"/>
                  <a:gd name="T13" fmla="*/ 728625 h 3291"/>
                  <a:gd name="T14" fmla="*/ 797514 w 6658"/>
                  <a:gd name="T15" fmla="*/ 787768 h 3291"/>
                  <a:gd name="T16" fmla="*/ 1312101 w 6658"/>
                  <a:gd name="T17" fmla="*/ 728625 h 3291"/>
                  <a:gd name="T18" fmla="*/ 1457996 w 6658"/>
                  <a:gd name="T19" fmla="*/ 318699 h 3291"/>
                  <a:gd name="T20" fmla="*/ 1594788 w 6658"/>
                  <a:gd name="T21" fmla="*/ 0 h 329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658" h="3291">
                    <a:moveTo>
                      <a:pt x="6657" y="0"/>
                    </a:moveTo>
                    <a:lnTo>
                      <a:pt x="6657" y="0"/>
                    </a:lnTo>
                    <a:cubicBezTo>
                      <a:pt x="3291" y="38"/>
                      <a:pt x="3291" y="38"/>
                      <a:pt x="3291" y="3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552" y="494"/>
                      <a:pt x="552" y="1331"/>
                    </a:cubicBezTo>
                    <a:cubicBezTo>
                      <a:pt x="552" y="1788"/>
                      <a:pt x="495" y="2758"/>
                      <a:pt x="1180" y="3043"/>
                    </a:cubicBezTo>
                    <a:cubicBezTo>
                      <a:pt x="1674" y="3252"/>
                      <a:pt x="1978" y="3290"/>
                      <a:pt x="3329" y="3290"/>
                    </a:cubicBezTo>
                    <a:cubicBezTo>
                      <a:pt x="4679" y="3290"/>
                      <a:pt x="4963" y="3252"/>
                      <a:pt x="5477" y="3043"/>
                    </a:cubicBezTo>
                    <a:cubicBezTo>
                      <a:pt x="6143" y="2758"/>
                      <a:pt x="6086" y="1788"/>
                      <a:pt x="6086" y="1331"/>
                    </a:cubicBezTo>
                    <a:cubicBezTo>
                      <a:pt x="6086" y="494"/>
                      <a:pt x="6657" y="0"/>
                      <a:pt x="6657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" name="îšḻîḑe"/>
              <p:cNvSpPr/>
              <p:nvPr/>
            </p:nvSpPr>
            <p:spPr bwMode="auto">
              <a:xfrm>
                <a:off x="5334632" y="1471613"/>
                <a:ext cx="1594972" cy="789295"/>
              </a:xfrm>
              <a:custGeom>
                <a:avLst/>
                <a:gdLst>
                  <a:gd name="T0" fmla="*/ 1594788 w 6658"/>
                  <a:gd name="T1" fmla="*/ 788824 h 3292"/>
                  <a:gd name="T2" fmla="*/ 1594788 w 6658"/>
                  <a:gd name="T3" fmla="*/ 788824 h 3292"/>
                  <a:gd name="T4" fmla="*/ 788411 w 6658"/>
                  <a:gd name="T5" fmla="*/ 779716 h 3292"/>
                  <a:gd name="T6" fmla="*/ 788411 w 6658"/>
                  <a:gd name="T7" fmla="*/ 779716 h 3292"/>
                  <a:gd name="T8" fmla="*/ 0 w 6658"/>
                  <a:gd name="T9" fmla="*/ 788824 h 3292"/>
                  <a:gd name="T10" fmla="*/ 132240 w 6658"/>
                  <a:gd name="T11" fmla="*/ 465001 h 3292"/>
                  <a:gd name="T12" fmla="*/ 282687 w 6658"/>
                  <a:gd name="T13" fmla="*/ 59204 h 3292"/>
                  <a:gd name="T14" fmla="*/ 797514 w 6658"/>
                  <a:gd name="T15" fmla="*/ 0 h 3292"/>
                  <a:gd name="T16" fmla="*/ 1312101 w 6658"/>
                  <a:gd name="T17" fmla="*/ 59204 h 3292"/>
                  <a:gd name="T18" fmla="*/ 1457996 w 6658"/>
                  <a:gd name="T19" fmla="*/ 469555 h 3292"/>
                  <a:gd name="T20" fmla="*/ 1594788 w 6658"/>
                  <a:gd name="T21" fmla="*/ 788824 h 329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658" h="3292">
                    <a:moveTo>
                      <a:pt x="6657" y="3291"/>
                    </a:moveTo>
                    <a:lnTo>
                      <a:pt x="6657" y="3291"/>
                    </a:lnTo>
                    <a:cubicBezTo>
                      <a:pt x="3291" y="3253"/>
                      <a:pt x="3291" y="3253"/>
                      <a:pt x="3291" y="3253"/>
                    </a:cubicBezTo>
                    <a:cubicBezTo>
                      <a:pt x="0" y="3291"/>
                      <a:pt x="0" y="3291"/>
                      <a:pt x="0" y="3291"/>
                    </a:cubicBezTo>
                    <a:cubicBezTo>
                      <a:pt x="0" y="3291"/>
                      <a:pt x="552" y="2796"/>
                      <a:pt x="552" y="1940"/>
                    </a:cubicBezTo>
                    <a:cubicBezTo>
                      <a:pt x="552" y="1503"/>
                      <a:pt x="495" y="533"/>
                      <a:pt x="1180" y="247"/>
                    </a:cubicBezTo>
                    <a:cubicBezTo>
                      <a:pt x="1674" y="19"/>
                      <a:pt x="1978" y="0"/>
                      <a:pt x="3329" y="0"/>
                    </a:cubicBezTo>
                    <a:cubicBezTo>
                      <a:pt x="4679" y="0"/>
                      <a:pt x="4963" y="38"/>
                      <a:pt x="5477" y="247"/>
                    </a:cubicBezTo>
                    <a:cubicBezTo>
                      <a:pt x="6143" y="533"/>
                      <a:pt x="6086" y="1503"/>
                      <a:pt x="6086" y="1959"/>
                    </a:cubicBezTo>
                    <a:cubicBezTo>
                      <a:pt x="6086" y="2796"/>
                      <a:pt x="6657" y="3291"/>
                      <a:pt x="6657" y="3291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grpSp>
            <p:nvGrpSpPr>
              <p:cNvPr id="16" name="isľidê"/>
              <p:cNvGrpSpPr/>
              <p:nvPr/>
            </p:nvGrpSpPr>
            <p:grpSpPr bwMode="auto">
              <a:xfrm>
                <a:off x="7081647" y="2817814"/>
                <a:ext cx="141542" cy="1228725"/>
                <a:chOff x="6491103" y="2554204"/>
                <a:chExt cx="212725" cy="1846076"/>
              </a:xfrm>
            </p:grpSpPr>
            <p:sp>
              <p:nvSpPr>
                <p:cNvPr id="23" name="ïśľïḍè"/>
                <p:cNvSpPr/>
                <p:nvPr/>
              </p:nvSpPr>
              <p:spPr bwMode="auto">
                <a:xfrm>
                  <a:off x="6554899" y="3644566"/>
                  <a:ext cx="112774" cy="755473"/>
                </a:xfrm>
                <a:custGeom>
                  <a:avLst/>
                  <a:gdLst>
                    <a:gd name="T0" fmla="*/ 112282 w 229"/>
                    <a:gd name="T1" fmla="*/ 734816 h 2816"/>
                    <a:gd name="T2" fmla="*/ 112282 w 229"/>
                    <a:gd name="T3" fmla="*/ 734816 h 2816"/>
                    <a:gd name="T4" fmla="*/ 55648 w 229"/>
                    <a:gd name="T5" fmla="*/ 755205 h 2816"/>
                    <a:gd name="T6" fmla="*/ 0 w 229"/>
                    <a:gd name="T7" fmla="*/ 734816 h 2816"/>
                    <a:gd name="T8" fmla="*/ 0 w 229"/>
                    <a:gd name="T9" fmla="*/ 20389 h 2816"/>
                    <a:gd name="T10" fmla="*/ 55648 w 229"/>
                    <a:gd name="T11" fmla="*/ 0 h 2816"/>
                    <a:gd name="T12" fmla="*/ 112282 w 229"/>
                    <a:gd name="T13" fmla="*/ 20389 h 2816"/>
                    <a:gd name="T14" fmla="*/ 112282 w 229"/>
                    <a:gd name="T15" fmla="*/ 734816 h 28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29" h="2816">
                      <a:moveTo>
                        <a:pt x="228" y="2739"/>
                      </a:moveTo>
                      <a:lnTo>
                        <a:pt x="228" y="2739"/>
                      </a:lnTo>
                      <a:cubicBezTo>
                        <a:pt x="228" y="2778"/>
                        <a:pt x="189" y="2815"/>
                        <a:pt x="113" y="2815"/>
                      </a:cubicBezTo>
                      <a:cubicBezTo>
                        <a:pt x="57" y="2815"/>
                        <a:pt x="0" y="2778"/>
                        <a:pt x="0" y="2739"/>
                      </a:cubicBezTo>
                      <a:cubicBezTo>
                        <a:pt x="0" y="76"/>
                        <a:pt x="0" y="76"/>
                        <a:pt x="0" y="76"/>
                      </a:cubicBezTo>
                      <a:cubicBezTo>
                        <a:pt x="0" y="38"/>
                        <a:pt x="57" y="0"/>
                        <a:pt x="113" y="0"/>
                      </a:cubicBezTo>
                      <a:cubicBezTo>
                        <a:pt x="189" y="0"/>
                        <a:pt x="228" y="38"/>
                        <a:pt x="228" y="76"/>
                      </a:cubicBezTo>
                      <a:lnTo>
                        <a:pt x="228" y="2739"/>
                      </a:lnTo>
                    </a:path>
                  </a:pathLst>
                </a:custGeom>
                <a:solidFill>
                  <a:srgbClr val="939598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808080"/>
                      </a:solidFill>
                      <a:bevel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7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4" name="iš1iḓe"/>
                <p:cNvSpPr/>
                <p:nvPr/>
              </p:nvSpPr>
              <p:spPr bwMode="auto">
                <a:xfrm>
                  <a:off x="6548745" y="3644199"/>
                  <a:ext cx="93050" cy="756081"/>
                </a:xfrm>
                <a:custGeom>
                  <a:avLst/>
                  <a:gdLst>
                    <a:gd name="T0" fmla="*/ 190 w 191"/>
                    <a:gd name="T1" fmla="*/ 2739 h 2816"/>
                    <a:gd name="T2" fmla="*/ 190 w 191"/>
                    <a:gd name="T3" fmla="*/ 2739 h 2816"/>
                    <a:gd name="T4" fmla="*/ 95 w 191"/>
                    <a:gd name="T5" fmla="*/ 2815 h 2816"/>
                    <a:gd name="T6" fmla="*/ 0 w 191"/>
                    <a:gd name="T7" fmla="*/ 2739 h 2816"/>
                    <a:gd name="T8" fmla="*/ 0 w 191"/>
                    <a:gd name="T9" fmla="*/ 76 h 2816"/>
                    <a:gd name="T10" fmla="*/ 95 w 191"/>
                    <a:gd name="T11" fmla="*/ 0 h 2816"/>
                    <a:gd name="T12" fmla="*/ 190 w 191"/>
                    <a:gd name="T13" fmla="*/ 76 h 2816"/>
                    <a:gd name="T14" fmla="*/ 190 w 191"/>
                    <a:gd name="T15" fmla="*/ 2739 h 28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1" h="2816">
                      <a:moveTo>
                        <a:pt x="190" y="2739"/>
                      </a:moveTo>
                      <a:lnTo>
                        <a:pt x="190" y="2739"/>
                      </a:lnTo>
                      <a:cubicBezTo>
                        <a:pt x="190" y="2778"/>
                        <a:pt x="152" y="2815"/>
                        <a:pt x="95" y="2815"/>
                      </a:cubicBezTo>
                      <a:cubicBezTo>
                        <a:pt x="56" y="2815"/>
                        <a:pt x="0" y="2778"/>
                        <a:pt x="0" y="2739"/>
                      </a:cubicBezTo>
                      <a:cubicBezTo>
                        <a:pt x="0" y="76"/>
                        <a:pt x="0" y="76"/>
                        <a:pt x="0" y="76"/>
                      </a:cubicBezTo>
                      <a:cubicBezTo>
                        <a:pt x="0" y="38"/>
                        <a:pt x="56" y="0"/>
                        <a:pt x="95" y="0"/>
                      </a:cubicBezTo>
                      <a:cubicBezTo>
                        <a:pt x="152" y="0"/>
                        <a:pt x="190" y="38"/>
                        <a:pt x="190" y="76"/>
                      </a:cubicBezTo>
                      <a:lnTo>
                        <a:pt x="190" y="2739"/>
                      </a:ln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5" name="íṡḻiḓè"/>
                <p:cNvSpPr/>
                <p:nvPr/>
              </p:nvSpPr>
              <p:spPr bwMode="auto">
                <a:xfrm>
                  <a:off x="6491103" y="2554288"/>
                  <a:ext cx="212725" cy="650875"/>
                </a:xfrm>
                <a:custGeom>
                  <a:avLst/>
                  <a:gdLst>
                    <a:gd name="T0" fmla="*/ 212364 w 590"/>
                    <a:gd name="T1" fmla="*/ 561596 h 1808"/>
                    <a:gd name="T2" fmla="*/ 212364 w 590"/>
                    <a:gd name="T3" fmla="*/ 561596 h 1808"/>
                    <a:gd name="T4" fmla="*/ 102757 w 590"/>
                    <a:gd name="T5" fmla="*/ 650515 h 1808"/>
                    <a:gd name="T6" fmla="*/ 0 w 590"/>
                    <a:gd name="T7" fmla="*/ 561596 h 1808"/>
                    <a:gd name="T8" fmla="*/ 0 w 590"/>
                    <a:gd name="T9" fmla="*/ 96119 h 1808"/>
                    <a:gd name="T10" fmla="*/ 102757 w 590"/>
                    <a:gd name="T11" fmla="*/ 0 h 1808"/>
                    <a:gd name="T12" fmla="*/ 212364 w 590"/>
                    <a:gd name="T13" fmla="*/ 96119 h 1808"/>
                    <a:gd name="T14" fmla="*/ 212364 w 590"/>
                    <a:gd name="T15" fmla="*/ 561596 h 180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590" h="1808">
                      <a:moveTo>
                        <a:pt x="589" y="1560"/>
                      </a:moveTo>
                      <a:lnTo>
                        <a:pt x="589" y="1560"/>
                      </a:lnTo>
                      <a:cubicBezTo>
                        <a:pt x="589" y="1693"/>
                        <a:pt x="456" y="1807"/>
                        <a:pt x="285" y="1807"/>
                      </a:cubicBezTo>
                      <a:cubicBezTo>
                        <a:pt x="133" y="1807"/>
                        <a:pt x="0" y="1693"/>
                        <a:pt x="0" y="1560"/>
                      </a:cubicBezTo>
                      <a:cubicBezTo>
                        <a:pt x="0" y="267"/>
                        <a:pt x="0" y="267"/>
                        <a:pt x="0" y="267"/>
                      </a:cubicBezTo>
                      <a:cubicBezTo>
                        <a:pt x="0" y="114"/>
                        <a:pt x="133" y="0"/>
                        <a:pt x="285" y="0"/>
                      </a:cubicBezTo>
                      <a:cubicBezTo>
                        <a:pt x="456" y="0"/>
                        <a:pt x="589" y="114"/>
                        <a:pt x="589" y="267"/>
                      </a:cubicBezTo>
                      <a:lnTo>
                        <a:pt x="589" y="1560"/>
                      </a:lnTo>
                    </a:path>
                  </a:pathLst>
                </a:custGeom>
                <a:solidFill>
                  <a:srgbClr val="939598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808080"/>
                      </a:solidFill>
                      <a:bevel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7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6" name="íṣ1ïḑé"/>
                <p:cNvSpPr/>
                <p:nvPr/>
              </p:nvSpPr>
              <p:spPr bwMode="auto">
                <a:xfrm>
                  <a:off x="6491483" y="2554204"/>
                  <a:ext cx="198029" cy="651135"/>
                </a:xfrm>
                <a:custGeom>
                  <a:avLst/>
                  <a:gdLst>
                    <a:gd name="T0" fmla="*/ 361 w 552"/>
                    <a:gd name="T1" fmla="*/ 1769 h 1808"/>
                    <a:gd name="T2" fmla="*/ 361 w 552"/>
                    <a:gd name="T3" fmla="*/ 1769 h 1808"/>
                    <a:gd name="T4" fmla="*/ 437 w 552"/>
                    <a:gd name="T5" fmla="*/ 1769 h 1808"/>
                    <a:gd name="T6" fmla="*/ 513 w 552"/>
                    <a:gd name="T7" fmla="*/ 1693 h 1808"/>
                    <a:gd name="T8" fmla="*/ 361 w 552"/>
                    <a:gd name="T9" fmla="*/ 1693 h 1808"/>
                    <a:gd name="T10" fmla="*/ 361 w 552"/>
                    <a:gd name="T11" fmla="*/ 1579 h 1808"/>
                    <a:gd name="T12" fmla="*/ 551 w 552"/>
                    <a:gd name="T13" fmla="*/ 1579 h 1808"/>
                    <a:gd name="T14" fmla="*/ 551 w 552"/>
                    <a:gd name="T15" fmla="*/ 1541 h 1808"/>
                    <a:gd name="T16" fmla="*/ 551 w 552"/>
                    <a:gd name="T17" fmla="*/ 1484 h 1808"/>
                    <a:gd name="T18" fmla="*/ 361 w 552"/>
                    <a:gd name="T19" fmla="*/ 1484 h 1808"/>
                    <a:gd name="T20" fmla="*/ 361 w 552"/>
                    <a:gd name="T21" fmla="*/ 1370 h 1808"/>
                    <a:gd name="T22" fmla="*/ 551 w 552"/>
                    <a:gd name="T23" fmla="*/ 1370 h 1808"/>
                    <a:gd name="T24" fmla="*/ 551 w 552"/>
                    <a:gd name="T25" fmla="*/ 1293 h 1808"/>
                    <a:gd name="T26" fmla="*/ 361 w 552"/>
                    <a:gd name="T27" fmla="*/ 1293 h 1808"/>
                    <a:gd name="T28" fmla="*/ 361 w 552"/>
                    <a:gd name="T29" fmla="*/ 1179 h 1808"/>
                    <a:gd name="T30" fmla="*/ 551 w 552"/>
                    <a:gd name="T31" fmla="*/ 1179 h 1808"/>
                    <a:gd name="T32" fmla="*/ 551 w 552"/>
                    <a:gd name="T33" fmla="*/ 1103 h 1808"/>
                    <a:gd name="T34" fmla="*/ 361 w 552"/>
                    <a:gd name="T35" fmla="*/ 1103 h 1808"/>
                    <a:gd name="T36" fmla="*/ 361 w 552"/>
                    <a:gd name="T37" fmla="*/ 989 h 1808"/>
                    <a:gd name="T38" fmla="*/ 551 w 552"/>
                    <a:gd name="T39" fmla="*/ 989 h 1808"/>
                    <a:gd name="T40" fmla="*/ 551 w 552"/>
                    <a:gd name="T41" fmla="*/ 913 h 1808"/>
                    <a:gd name="T42" fmla="*/ 361 w 552"/>
                    <a:gd name="T43" fmla="*/ 913 h 1808"/>
                    <a:gd name="T44" fmla="*/ 361 w 552"/>
                    <a:gd name="T45" fmla="*/ 799 h 1808"/>
                    <a:gd name="T46" fmla="*/ 551 w 552"/>
                    <a:gd name="T47" fmla="*/ 799 h 1808"/>
                    <a:gd name="T48" fmla="*/ 551 w 552"/>
                    <a:gd name="T49" fmla="*/ 723 h 1808"/>
                    <a:gd name="T50" fmla="*/ 361 w 552"/>
                    <a:gd name="T51" fmla="*/ 723 h 1808"/>
                    <a:gd name="T52" fmla="*/ 361 w 552"/>
                    <a:gd name="T53" fmla="*/ 590 h 1808"/>
                    <a:gd name="T54" fmla="*/ 551 w 552"/>
                    <a:gd name="T55" fmla="*/ 590 h 1808"/>
                    <a:gd name="T56" fmla="*/ 551 w 552"/>
                    <a:gd name="T57" fmla="*/ 514 h 1808"/>
                    <a:gd name="T58" fmla="*/ 361 w 552"/>
                    <a:gd name="T59" fmla="*/ 514 h 1808"/>
                    <a:gd name="T60" fmla="*/ 361 w 552"/>
                    <a:gd name="T61" fmla="*/ 399 h 1808"/>
                    <a:gd name="T62" fmla="*/ 551 w 552"/>
                    <a:gd name="T63" fmla="*/ 399 h 1808"/>
                    <a:gd name="T64" fmla="*/ 551 w 552"/>
                    <a:gd name="T65" fmla="*/ 323 h 1808"/>
                    <a:gd name="T66" fmla="*/ 361 w 552"/>
                    <a:gd name="T67" fmla="*/ 323 h 1808"/>
                    <a:gd name="T68" fmla="*/ 361 w 552"/>
                    <a:gd name="T69" fmla="*/ 209 h 1808"/>
                    <a:gd name="T70" fmla="*/ 551 w 552"/>
                    <a:gd name="T71" fmla="*/ 209 h 1808"/>
                    <a:gd name="T72" fmla="*/ 513 w 552"/>
                    <a:gd name="T73" fmla="*/ 133 h 1808"/>
                    <a:gd name="T74" fmla="*/ 361 w 552"/>
                    <a:gd name="T75" fmla="*/ 133 h 1808"/>
                    <a:gd name="T76" fmla="*/ 361 w 552"/>
                    <a:gd name="T77" fmla="*/ 19 h 1808"/>
                    <a:gd name="T78" fmla="*/ 266 w 552"/>
                    <a:gd name="T79" fmla="*/ 0 h 1808"/>
                    <a:gd name="T80" fmla="*/ 0 w 552"/>
                    <a:gd name="T81" fmla="*/ 286 h 1808"/>
                    <a:gd name="T82" fmla="*/ 0 w 552"/>
                    <a:gd name="T83" fmla="*/ 1541 h 1808"/>
                    <a:gd name="T84" fmla="*/ 266 w 552"/>
                    <a:gd name="T85" fmla="*/ 1807 h 1808"/>
                    <a:gd name="T86" fmla="*/ 361 w 552"/>
                    <a:gd name="T87" fmla="*/ 1807 h 1808"/>
                    <a:gd name="T88" fmla="*/ 361 w 552"/>
                    <a:gd name="T89" fmla="*/ 1769 h 1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552" h="1808">
                      <a:moveTo>
                        <a:pt x="361" y="1769"/>
                      </a:moveTo>
                      <a:lnTo>
                        <a:pt x="361" y="1769"/>
                      </a:lnTo>
                      <a:cubicBezTo>
                        <a:pt x="437" y="1769"/>
                        <a:pt x="437" y="1769"/>
                        <a:pt x="437" y="1769"/>
                      </a:cubicBezTo>
                      <a:cubicBezTo>
                        <a:pt x="456" y="1750"/>
                        <a:pt x="494" y="1712"/>
                        <a:pt x="513" y="1693"/>
                      </a:cubicBezTo>
                      <a:cubicBezTo>
                        <a:pt x="361" y="1693"/>
                        <a:pt x="361" y="1693"/>
                        <a:pt x="361" y="1693"/>
                      </a:cubicBezTo>
                      <a:cubicBezTo>
                        <a:pt x="361" y="1579"/>
                        <a:pt x="361" y="1579"/>
                        <a:pt x="361" y="1579"/>
                      </a:cubicBezTo>
                      <a:cubicBezTo>
                        <a:pt x="551" y="1579"/>
                        <a:pt x="551" y="1579"/>
                        <a:pt x="551" y="1579"/>
                      </a:cubicBezTo>
                      <a:cubicBezTo>
                        <a:pt x="551" y="1560"/>
                        <a:pt x="551" y="1541"/>
                        <a:pt x="551" y="1541"/>
                      </a:cubicBezTo>
                      <a:cubicBezTo>
                        <a:pt x="551" y="1484"/>
                        <a:pt x="551" y="1484"/>
                        <a:pt x="551" y="1484"/>
                      </a:cubicBezTo>
                      <a:cubicBezTo>
                        <a:pt x="361" y="1484"/>
                        <a:pt x="361" y="1484"/>
                        <a:pt x="361" y="1484"/>
                      </a:cubicBezTo>
                      <a:cubicBezTo>
                        <a:pt x="361" y="1370"/>
                        <a:pt x="361" y="1370"/>
                        <a:pt x="361" y="1370"/>
                      </a:cubicBezTo>
                      <a:cubicBezTo>
                        <a:pt x="551" y="1370"/>
                        <a:pt x="551" y="1370"/>
                        <a:pt x="551" y="1370"/>
                      </a:cubicBezTo>
                      <a:cubicBezTo>
                        <a:pt x="551" y="1293"/>
                        <a:pt x="551" y="1293"/>
                        <a:pt x="551" y="1293"/>
                      </a:cubicBezTo>
                      <a:cubicBezTo>
                        <a:pt x="361" y="1293"/>
                        <a:pt x="361" y="1293"/>
                        <a:pt x="361" y="1293"/>
                      </a:cubicBezTo>
                      <a:cubicBezTo>
                        <a:pt x="361" y="1179"/>
                        <a:pt x="361" y="1179"/>
                        <a:pt x="361" y="1179"/>
                      </a:cubicBezTo>
                      <a:cubicBezTo>
                        <a:pt x="551" y="1179"/>
                        <a:pt x="551" y="1179"/>
                        <a:pt x="551" y="1179"/>
                      </a:cubicBezTo>
                      <a:cubicBezTo>
                        <a:pt x="551" y="1103"/>
                        <a:pt x="551" y="1103"/>
                        <a:pt x="551" y="1103"/>
                      </a:cubicBezTo>
                      <a:cubicBezTo>
                        <a:pt x="361" y="1103"/>
                        <a:pt x="361" y="1103"/>
                        <a:pt x="361" y="1103"/>
                      </a:cubicBezTo>
                      <a:cubicBezTo>
                        <a:pt x="361" y="989"/>
                        <a:pt x="361" y="989"/>
                        <a:pt x="361" y="989"/>
                      </a:cubicBezTo>
                      <a:cubicBezTo>
                        <a:pt x="551" y="989"/>
                        <a:pt x="551" y="989"/>
                        <a:pt x="551" y="989"/>
                      </a:cubicBezTo>
                      <a:cubicBezTo>
                        <a:pt x="551" y="913"/>
                        <a:pt x="551" y="913"/>
                        <a:pt x="551" y="913"/>
                      </a:cubicBezTo>
                      <a:cubicBezTo>
                        <a:pt x="361" y="913"/>
                        <a:pt x="361" y="913"/>
                        <a:pt x="361" y="913"/>
                      </a:cubicBezTo>
                      <a:cubicBezTo>
                        <a:pt x="361" y="799"/>
                        <a:pt x="361" y="799"/>
                        <a:pt x="361" y="799"/>
                      </a:cubicBezTo>
                      <a:cubicBezTo>
                        <a:pt x="551" y="799"/>
                        <a:pt x="551" y="799"/>
                        <a:pt x="551" y="799"/>
                      </a:cubicBezTo>
                      <a:cubicBezTo>
                        <a:pt x="551" y="723"/>
                        <a:pt x="551" y="723"/>
                        <a:pt x="551" y="723"/>
                      </a:cubicBezTo>
                      <a:cubicBezTo>
                        <a:pt x="361" y="723"/>
                        <a:pt x="361" y="723"/>
                        <a:pt x="361" y="723"/>
                      </a:cubicBezTo>
                      <a:cubicBezTo>
                        <a:pt x="361" y="590"/>
                        <a:pt x="361" y="590"/>
                        <a:pt x="361" y="590"/>
                      </a:cubicBezTo>
                      <a:cubicBezTo>
                        <a:pt x="551" y="590"/>
                        <a:pt x="551" y="590"/>
                        <a:pt x="551" y="590"/>
                      </a:cubicBezTo>
                      <a:cubicBezTo>
                        <a:pt x="551" y="514"/>
                        <a:pt x="551" y="514"/>
                        <a:pt x="551" y="514"/>
                      </a:cubicBezTo>
                      <a:cubicBezTo>
                        <a:pt x="361" y="514"/>
                        <a:pt x="361" y="514"/>
                        <a:pt x="361" y="514"/>
                      </a:cubicBezTo>
                      <a:cubicBezTo>
                        <a:pt x="361" y="399"/>
                        <a:pt x="361" y="399"/>
                        <a:pt x="361" y="399"/>
                      </a:cubicBezTo>
                      <a:cubicBezTo>
                        <a:pt x="551" y="399"/>
                        <a:pt x="551" y="399"/>
                        <a:pt x="551" y="399"/>
                      </a:cubicBezTo>
                      <a:cubicBezTo>
                        <a:pt x="551" y="323"/>
                        <a:pt x="551" y="323"/>
                        <a:pt x="551" y="323"/>
                      </a:cubicBezTo>
                      <a:cubicBezTo>
                        <a:pt x="361" y="323"/>
                        <a:pt x="361" y="323"/>
                        <a:pt x="361" y="323"/>
                      </a:cubicBezTo>
                      <a:cubicBezTo>
                        <a:pt x="361" y="209"/>
                        <a:pt x="361" y="209"/>
                        <a:pt x="361" y="209"/>
                      </a:cubicBezTo>
                      <a:cubicBezTo>
                        <a:pt x="551" y="209"/>
                        <a:pt x="551" y="209"/>
                        <a:pt x="551" y="209"/>
                      </a:cubicBezTo>
                      <a:cubicBezTo>
                        <a:pt x="532" y="191"/>
                        <a:pt x="532" y="152"/>
                        <a:pt x="513" y="133"/>
                      </a:cubicBezTo>
                      <a:cubicBezTo>
                        <a:pt x="361" y="133"/>
                        <a:pt x="361" y="133"/>
                        <a:pt x="361" y="133"/>
                      </a:cubicBezTo>
                      <a:cubicBezTo>
                        <a:pt x="361" y="19"/>
                        <a:pt x="361" y="19"/>
                        <a:pt x="361" y="19"/>
                      </a:cubicBezTo>
                      <a:cubicBezTo>
                        <a:pt x="342" y="19"/>
                        <a:pt x="304" y="0"/>
                        <a:pt x="266" y="0"/>
                      </a:cubicBezTo>
                      <a:cubicBezTo>
                        <a:pt x="113" y="0"/>
                        <a:pt x="0" y="133"/>
                        <a:pt x="0" y="286"/>
                      </a:cubicBezTo>
                      <a:cubicBezTo>
                        <a:pt x="0" y="1541"/>
                        <a:pt x="0" y="1541"/>
                        <a:pt x="0" y="1541"/>
                      </a:cubicBezTo>
                      <a:cubicBezTo>
                        <a:pt x="0" y="1693"/>
                        <a:pt x="113" y="1807"/>
                        <a:pt x="266" y="1807"/>
                      </a:cubicBezTo>
                      <a:cubicBezTo>
                        <a:pt x="304" y="1807"/>
                        <a:pt x="342" y="1807"/>
                        <a:pt x="361" y="1807"/>
                      </a:cubicBezTo>
                      <a:lnTo>
                        <a:pt x="361" y="1769"/>
                      </a:ln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  <p:sp>
            <p:nvSpPr>
              <p:cNvPr id="17" name="ïşľîḋè"/>
              <p:cNvSpPr/>
              <p:nvPr/>
            </p:nvSpPr>
            <p:spPr bwMode="auto">
              <a:xfrm>
                <a:off x="5116513" y="2238375"/>
                <a:ext cx="2035175" cy="2390775"/>
              </a:xfrm>
              <a:custGeom>
                <a:avLst/>
                <a:gdLst>
                  <a:gd name="T0" fmla="*/ 7855 w 7856"/>
                  <a:gd name="T1" fmla="*/ 8102 h 9225"/>
                  <a:gd name="T2" fmla="*/ 7855 w 7856"/>
                  <a:gd name="T3" fmla="*/ 8102 h 9225"/>
                  <a:gd name="T4" fmla="*/ 6733 w 7856"/>
                  <a:gd name="T5" fmla="*/ 9186 h 9225"/>
                  <a:gd name="T6" fmla="*/ 1084 w 7856"/>
                  <a:gd name="T7" fmla="*/ 9186 h 9225"/>
                  <a:gd name="T8" fmla="*/ 0 w 7856"/>
                  <a:gd name="T9" fmla="*/ 8045 h 9225"/>
                  <a:gd name="T10" fmla="*/ 0 w 7856"/>
                  <a:gd name="T11" fmla="*/ 1275 h 9225"/>
                  <a:gd name="T12" fmla="*/ 1142 w 7856"/>
                  <a:gd name="T13" fmla="*/ 0 h 9225"/>
                  <a:gd name="T14" fmla="*/ 6676 w 7856"/>
                  <a:gd name="T15" fmla="*/ 0 h 9225"/>
                  <a:gd name="T16" fmla="*/ 7855 w 7856"/>
                  <a:gd name="T17" fmla="*/ 1065 h 9225"/>
                  <a:gd name="T18" fmla="*/ 7855 w 7856"/>
                  <a:gd name="T19" fmla="*/ 8102 h 9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56" h="9225">
                    <a:moveTo>
                      <a:pt x="7855" y="8102"/>
                    </a:moveTo>
                    <a:lnTo>
                      <a:pt x="7855" y="8102"/>
                    </a:lnTo>
                    <a:cubicBezTo>
                      <a:pt x="7855" y="8882"/>
                      <a:pt x="7342" y="9186"/>
                      <a:pt x="6733" y="9186"/>
                    </a:cubicBezTo>
                    <a:cubicBezTo>
                      <a:pt x="1084" y="9186"/>
                      <a:pt x="1084" y="9186"/>
                      <a:pt x="1084" y="9186"/>
                    </a:cubicBezTo>
                    <a:cubicBezTo>
                      <a:pt x="419" y="9224"/>
                      <a:pt x="0" y="8578"/>
                      <a:pt x="0" y="8045"/>
                    </a:cubicBezTo>
                    <a:cubicBezTo>
                      <a:pt x="0" y="6352"/>
                      <a:pt x="0" y="1275"/>
                      <a:pt x="0" y="1275"/>
                    </a:cubicBezTo>
                    <a:cubicBezTo>
                      <a:pt x="0" y="685"/>
                      <a:pt x="362" y="0"/>
                      <a:pt x="1142" y="0"/>
                    </a:cubicBezTo>
                    <a:cubicBezTo>
                      <a:pt x="6676" y="0"/>
                      <a:pt x="6676" y="0"/>
                      <a:pt x="6676" y="0"/>
                    </a:cubicBezTo>
                    <a:cubicBezTo>
                      <a:pt x="7570" y="0"/>
                      <a:pt x="7855" y="666"/>
                      <a:pt x="7855" y="1065"/>
                    </a:cubicBezTo>
                    <a:cubicBezTo>
                      <a:pt x="7855" y="8102"/>
                      <a:pt x="7855" y="8102"/>
                      <a:pt x="7855" y="8102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8" name="iṧḻiḓè"/>
              <p:cNvSpPr/>
              <p:nvPr/>
            </p:nvSpPr>
            <p:spPr bwMode="auto">
              <a:xfrm>
                <a:off x="5188867" y="2328532"/>
                <a:ext cx="1882278" cy="2210448"/>
              </a:xfrm>
              <a:custGeom>
                <a:avLst/>
                <a:gdLst>
                  <a:gd name="T0" fmla="*/ 1882104 w 7856"/>
                  <a:gd name="T1" fmla="*/ 1940791 h 9225"/>
                  <a:gd name="T2" fmla="*/ 1882104 w 7856"/>
                  <a:gd name="T3" fmla="*/ 1940791 h 9225"/>
                  <a:gd name="T4" fmla="*/ 1613267 w 7856"/>
                  <a:gd name="T5" fmla="*/ 2200458 h 9225"/>
                  <a:gd name="T6" fmla="*/ 259733 w 7856"/>
                  <a:gd name="T7" fmla="*/ 2200458 h 9225"/>
                  <a:gd name="T8" fmla="*/ 0 w 7856"/>
                  <a:gd name="T9" fmla="*/ 1927137 h 9225"/>
                  <a:gd name="T10" fmla="*/ 0 w 7856"/>
                  <a:gd name="T11" fmla="*/ 305420 h 9225"/>
                  <a:gd name="T12" fmla="*/ 273630 w 7856"/>
                  <a:gd name="T13" fmla="*/ 0 h 9225"/>
                  <a:gd name="T14" fmla="*/ 1599609 w 7856"/>
                  <a:gd name="T15" fmla="*/ 0 h 9225"/>
                  <a:gd name="T16" fmla="*/ 1882104 w 7856"/>
                  <a:gd name="T17" fmla="*/ 255115 h 9225"/>
                  <a:gd name="T18" fmla="*/ 1882104 w 7856"/>
                  <a:gd name="T19" fmla="*/ 1940791 h 922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7856" h="9225">
                    <a:moveTo>
                      <a:pt x="7855" y="8102"/>
                    </a:moveTo>
                    <a:lnTo>
                      <a:pt x="7855" y="8102"/>
                    </a:lnTo>
                    <a:cubicBezTo>
                      <a:pt x="7855" y="8882"/>
                      <a:pt x="7342" y="9186"/>
                      <a:pt x="6733" y="9186"/>
                    </a:cubicBezTo>
                    <a:cubicBezTo>
                      <a:pt x="1084" y="9186"/>
                      <a:pt x="1084" y="9186"/>
                      <a:pt x="1084" y="9186"/>
                    </a:cubicBezTo>
                    <a:cubicBezTo>
                      <a:pt x="419" y="9224"/>
                      <a:pt x="0" y="8578"/>
                      <a:pt x="0" y="8045"/>
                    </a:cubicBezTo>
                    <a:cubicBezTo>
                      <a:pt x="0" y="6352"/>
                      <a:pt x="0" y="1275"/>
                      <a:pt x="0" y="1275"/>
                    </a:cubicBezTo>
                    <a:cubicBezTo>
                      <a:pt x="0" y="685"/>
                      <a:pt x="362" y="0"/>
                      <a:pt x="1142" y="0"/>
                    </a:cubicBezTo>
                    <a:cubicBezTo>
                      <a:pt x="6676" y="0"/>
                      <a:pt x="6676" y="0"/>
                      <a:pt x="6676" y="0"/>
                    </a:cubicBezTo>
                    <a:cubicBezTo>
                      <a:pt x="7570" y="0"/>
                      <a:pt x="7855" y="666"/>
                      <a:pt x="7855" y="1065"/>
                    </a:cubicBezTo>
                    <a:cubicBezTo>
                      <a:pt x="7855" y="8102"/>
                      <a:pt x="7855" y="8102"/>
                      <a:pt x="7855" y="8102"/>
                    </a:cubicBezTo>
                  </a:path>
                </a:pathLst>
              </a:custGeom>
              <a:solidFill>
                <a:srgbClr val="6D6E7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bevel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9" name="íśḻîḓé"/>
              <p:cNvSpPr/>
              <p:nvPr/>
            </p:nvSpPr>
            <p:spPr bwMode="auto">
              <a:xfrm>
                <a:off x="5316538" y="2474913"/>
                <a:ext cx="1625600" cy="1908175"/>
              </a:xfrm>
              <a:custGeom>
                <a:avLst/>
                <a:gdLst>
                  <a:gd name="T0" fmla="*/ 7855 w 7856"/>
                  <a:gd name="T1" fmla="*/ 8102 h 9225"/>
                  <a:gd name="T2" fmla="*/ 7855 w 7856"/>
                  <a:gd name="T3" fmla="*/ 8102 h 9225"/>
                  <a:gd name="T4" fmla="*/ 6733 w 7856"/>
                  <a:gd name="T5" fmla="*/ 9186 h 9225"/>
                  <a:gd name="T6" fmla="*/ 1084 w 7856"/>
                  <a:gd name="T7" fmla="*/ 9186 h 9225"/>
                  <a:gd name="T8" fmla="*/ 0 w 7856"/>
                  <a:gd name="T9" fmla="*/ 8045 h 9225"/>
                  <a:gd name="T10" fmla="*/ 0 w 7856"/>
                  <a:gd name="T11" fmla="*/ 1275 h 9225"/>
                  <a:gd name="T12" fmla="*/ 1142 w 7856"/>
                  <a:gd name="T13" fmla="*/ 0 h 9225"/>
                  <a:gd name="T14" fmla="*/ 6676 w 7856"/>
                  <a:gd name="T15" fmla="*/ 0 h 9225"/>
                  <a:gd name="T16" fmla="*/ 7855 w 7856"/>
                  <a:gd name="T17" fmla="*/ 1065 h 9225"/>
                  <a:gd name="T18" fmla="*/ 7855 w 7856"/>
                  <a:gd name="T19" fmla="*/ 8102 h 9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56" h="9225">
                    <a:moveTo>
                      <a:pt x="7855" y="8102"/>
                    </a:moveTo>
                    <a:lnTo>
                      <a:pt x="7855" y="8102"/>
                    </a:lnTo>
                    <a:cubicBezTo>
                      <a:pt x="7855" y="8882"/>
                      <a:pt x="7342" y="9186"/>
                      <a:pt x="6733" y="9186"/>
                    </a:cubicBezTo>
                    <a:cubicBezTo>
                      <a:pt x="1084" y="9186"/>
                      <a:pt x="1084" y="9186"/>
                      <a:pt x="1084" y="9186"/>
                    </a:cubicBezTo>
                    <a:cubicBezTo>
                      <a:pt x="419" y="9224"/>
                      <a:pt x="0" y="8578"/>
                      <a:pt x="0" y="8045"/>
                    </a:cubicBezTo>
                    <a:cubicBezTo>
                      <a:pt x="0" y="6352"/>
                      <a:pt x="0" y="1275"/>
                      <a:pt x="0" y="1275"/>
                    </a:cubicBezTo>
                    <a:cubicBezTo>
                      <a:pt x="0" y="685"/>
                      <a:pt x="362" y="0"/>
                      <a:pt x="1142" y="0"/>
                    </a:cubicBezTo>
                    <a:cubicBezTo>
                      <a:pt x="6676" y="0"/>
                      <a:pt x="6676" y="0"/>
                      <a:pt x="6676" y="0"/>
                    </a:cubicBezTo>
                    <a:cubicBezTo>
                      <a:pt x="7570" y="0"/>
                      <a:pt x="7855" y="666"/>
                      <a:pt x="7855" y="1065"/>
                    </a:cubicBezTo>
                    <a:cubicBezTo>
                      <a:pt x="7855" y="8102"/>
                      <a:pt x="7855" y="8102"/>
                      <a:pt x="7855" y="8102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txBody>
              <a:bodyPr anchor="ctr"/>
              <a:lstStyle/>
              <a:p>
                <a:pPr algn="ctr"/>
              </a:p>
            </p:txBody>
          </p:sp>
          <p:grpSp>
            <p:nvGrpSpPr>
              <p:cNvPr id="20" name="íṧḷïdê"/>
              <p:cNvGrpSpPr/>
              <p:nvPr/>
            </p:nvGrpSpPr>
            <p:grpSpPr bwMode="auto">
              <a:xfrm>
                <a:off x="5607050" y="3055938"/>
                <a:ext cx="1044575" cy="681037"/>
                <a:chOff x="9451687" y="279400"/>
                <a:chExt cx="2020940" cy="1318778"/>
              </a:xfrm>
            </p:grpSpPr>
            <p:sp>
              <p:nvSpPr>
                <p:cNvPr id="21" name="ï$1ide"/>
                <p:cNvSpPr/>
                <p:nvPr/>
              </p:nvSpPr>
              <p:spPr>
                <a:xfrm rot="5400000">
                  <a:off x="9775272" y="278306"/>
                  <a:ext cx="992926" cy="995113"/>
                </a:xfrm>
                <a:prstGeom prst="rt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22" name="íṥlíḍe"/>
                <p:cNvSpPr/>
                <p:nvPr/>
              </p:nvSpPr>
              <p:spPr>
                <a:xfrm>
                  <a:off x="9451687" y="605252"/>
                  <a:ext cx="2020940" cy="992926"/>
                </a:xfrm>
                <a:prstGeom prst="triangle">
                  <a:avLst>
                    <a:gd name="adj" fmla="val 48900"/>
                  </a:avLst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</a:p>
              </p:txBody>
            </p:sp>
          </p:grpSp>
        </p:grpSp>
        <p:sp>
          <p:nvSpPr>
            <p:cNvPr id="10" name="íṥḻíďè"/>
            <p:cNvSpPr/>
            <p:nvPr/>
          </p:nvSpPr>
          <p:spPr bwMode="auto">
            <a:xfrm>
              <a:off x="7672279" y="2399983"/>
              <a:ext cx="3684270" cy="1982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90204" pitchFamily="34" charset="0"/>
                <a:buChar char="•"/>
              </a:pPr>
              <a:r>
                <a:rPr lang="en-US" altLang="zh-CN" sz="1400" dirty="0">
                  <a:sym typeface="+mn-ea"/>
                </a:rPr>
                <a:t>Robots have the ability to complete the automatic delivery service.</a:t>
              </a:r>
              <a:endParaRPr lang="en-US" altLang="zh-CN" sz="1400" dirty="0"/>
            </a:p>
            <a:p>
              <a:pPr marL="171450" indent="-171450">
                <a:lnSpc>
                  <a:spcPct val="150000"/>
                </a:lnSpc>
                <a:buFont typeface="Arial" panose="020B0604020202090204" pitchFamily="34" charset="0"/>
                <a:buChar char="•"/>
              </a:pPr>
              <a:r>
                <a:rPr lang="en-US" altLang="zh-CN" sz="1400" dirty="0"/>
                <a:t>A method to send orders by robot through the QR code.</a:t>
              </a:r>
              <a:endParaRPr lang="en-US" altLang="zh-CN" sz="1400" dirty="0"/>
            </a:p>
            <a:p>
              <a:pPr marL="171450" indent="-171450">
                <a:lnSpc>
                  <a:spcPct val="150000"/>
                </a:lnSpc>
                <a:buFont typeface="Arial" panose="020B0604020202090204" pitchFamily="34" charset="0"/>
                <a:buChar char="•"/>
              </a:pPr>
              <a:r>
                <a:rPr lang="en-US" altLang="zh-CN" sz="1400" dirty="0"/>
                <a:t>The evaluate system</a:t>
              </a:r>
              <a:endParaRPr lang="en-US" altLang="zh-CN" sz="1400" dirty="0"/>
            </a:p>
          </p:txBody>
        </p:sp>
        <p:grpSp>
          <p:nvGrpSpPr>
            <p:cNvPr id="11" name="iŝlídè"/>
            <p:cNvGrpSpPr/>
            <p:nvPr/>
          </p:nvGrpSpPr>
          <p:grpSpPr>
            <a:xfrm>
              <a:off x="670134" y="1646228"/>
              <a:ext cx="3895725" cy="3171825"/>
              <a:chOff x="671698" y="1834772"/>
              <a:chExt cx="3540225" cy="3171825"/>
            </a:xfrm>
          </p:grpSpPr>
          <p:sp>
            <p:nvSpPr>
              <p:cNvPr id="12" name="îṥḻídé"/>
              <p:cNvSpPr/>
              <p:nvPr/>
            </p:nvSpPr>
            <p:spPr>
              <a:xfrm>
                <a:off x="687278" y="2427862"/>
                <a:ext cx="3524645" cy="2578735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0000" anchor="t" anchorCtr="0"/>
              <a:lstStyle/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en-US" altLang="zh-CN" sz="1400" dirty="0"/>
                  <a:t>Intelligent voice system greet with customers</a:t>
                </a:r>
                <a:endParaRPr lang="en-US" altLang="zh-CN" sz="14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en-US" altLang="zh-CN" sz="1400" dirty="0"/>
                  <a:t>After check in, the G-mapping manager can plan the nearest route to the destination</a:t>
                </a:r>
                <a:endParaRPr lang="en-US" altLang="zh-CN" sz="14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en-US" altLang="zh-CN" sz="1400" dirty="0"/>
                  <a:t>Robot can lead the customer to the corresponding room by Navigation (consider the different floors)</a:t>
                </a:r>
                <a:endParaRPr lang="en-US" altLang="zh-CN" sz="14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endParaRPr lang="en-US" altLang="zh-CN" sz="1400" dirty="0"/>
              </a:p>
            </p:txBody>
          </p:sp>
          <p:sp>
            <p:nvSpPr>
              <p:cNvPr id="13" name="iṣľïdé"/>
              <p:cNvSpPr txBox="1"/>
              <p:nvPr/>
            </p:nvSpPr>
            <p:spPr bwMode="auto">
              <a:xfrm>
                <a:off x="671698" y="1834772"/>
                <a:ext cx="352477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Robot working function : </a:t>
                </a:r>
                <a:endParaRPr lang="en-US" altLang="zh-CN" sz="2000" b="1" dirty="0"/>
              </a:p>
            </p:txBody>
          </p:sp>
        </p:grpSp>
      </p:grpSp>
      <p:pic>
        <p:nvPicPr>
          <p:cNvPr id="3" name="Picture -21474826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7490" y="2475230"/>
            <a:ext cx="1624965" cy="190817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ardware Design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sz="1400" dirty="0"/>
              <a:t>WENJING ZHANG</a:t>
            </a:r>
            <a:endParaRPr lang="en-US" altLang="zh-CN" sz="1400" dirty="0"/>
          </a:p>
        </p:txBody>
      </p:sp>
      <p:sp>
        <p:nvSpPr>
          <p:cNvPr id="9" name="文本框 8"/>
          <p:cNvSpPr txBox="1"/>
          <p:nvPr/>
        </p:nvSpPr>
        <p:spPr>
          <a:xfrm>
            <a:off x="3121655" y="2548160"/>
            <a:ext cx="1029773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9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ardware' parts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5" name="3d38886e-2382-4dbe-abe1-b9c3aaa0a329" descr="OQAAAB+LCAAAAAAABACrVlIpqSxIVbJSCs5NLCpxyUxML0rM9SxJzVXSUfJMUbLKK83J0VFyysxLycxLdy/KLy0oVrKKjq0FALpUkis5AAAA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73532" y="1237871"/>
            <a:ext cx="10651906" cy="4702601"/>
            <a:chOff x="773531" y="1237871"/>
            <a:chExt cx="10651908" cy="4702602"/>
          </a:xfrm>
        </p:grpSpPr>
        <p:grpSp>
          <p:nvGrpSpPr>
            <p:cNvPr id="6" name="iṡľïḓê"/>
            <p:cNvGrpSpPr>
              <a:grpSpLocks noChangeAspect="1"/>
            </p:cNvGrpSpPr>
            <p:nvPr/>
          </p:nvGrpSpPr>
          <p:grpSpPr bwMode="auto">
            <a:xfrm>
              <a:off x="3226528" y="1237871"/>
              <a:ext cx="5713882" cy="4702602"/>
              <a:chOff x="932" y="564"/>
              <a:chExt cx="3876" cy="3190"/>
            </a:xfrm>
            <a:solidFill>
              <a:srgbClr val="F2F2F2"/>
            </a:solidFill>
          </p:grpSpPr>
          <p:sp>
            <p:nvSpPr>
              <p:cNvPr id="42" name="iŝľîḓê"/>
              <p:cNvSpPr/>
              <p:nvPr/>
            </p:nvSpPr>
            <p:spPr bwMode="auto">
              <a:xfrm>
                <a:off x="2569" y="604"/>
                <a:ext cx="1690" cy="1441"/>
              </a:xfrm>
              <a:custGeom>
                <a:avLst/>
                <a:gdLst>
                  <a:gd name="T0" fmla="*/ 673 w 714"/>
                  <a:gd name="T1" fmla="*/ 51 h 609"/>
                  <a:gd name="T2" fmla="*/ 632 w 714"/>
                  <a:gd name="T3" fmla="*/ 59 h 609"/>
                  <a:gd name="T4" fmla="*/ 609 w 714"/>
                  <a:gd name="T5" fmla="*/ 28 h 609"/>
                  <a:gd name="T6" fmla="*/ 584 w 714"/>
                  <a:gd name="T7" fmla="*/ 30 h 609"/>
                  <a:gd name="T8" fmla="*/ 564 w 714"/>
                  <a:gd name="T9" fmla="*/ 11 h 609"/>
                  <a:gd name="T10" fmla="*/ 570 w 714"/>
                  <a:gd name="T11" fmla="*/ 22 h 609"/>
                  <a:gd name="T12" fmla="*/ 575 w 714"/>
                  <a:gd name="T13" fmla="*/ 42 h 609"/>
                  <a:gd name="T14" fmla="*/ 553 w 714"/>
                  <a:gd name="T15" fmla="*/ 122 h 609"/>
                  <a:gd name="T16" fmla="*/ 491 w 714"/>
                  <a:gd name="T17" fmla="*/ 157 h 609"/>
                  <a:gd name="T18" fmla="*/ 522 w 714"/>
                  <a:gd name="T19" fmla="*/ 214 h 609"/>
                  <a:gd name="T20" fmla="*/ 568 w 714"/>
                  <a:gd name="T21" fmla="*/ 214 h 609"/>
                  <a:gd name="T22" fmla="*/ 509 w 714"/>
                  <a:gd name="T23" fmla="*/ 270 h 609"/>
                  <a:gd name="T24" fmla="*/ 455 w 714"/>
                  <a:gd name="T25" fmla="*/ 332 h 609"/>
                  <a:gd name="T26" fmla="*/ 393 w 714"/>
                  <a:gd name="T27" fmla="*/ 364 h 609"/>
                  <a:gd name="T28" fmla="*/ 353 w 714"/>
                  <a:gd name="T29" fmla="*/ 422 h 609"/>
                  <a:gd name="T30" fmla="*/ 215 w 714"/>
                  <a:gd name="T31" fmla="*/ 465 h 609"/>
                  <a:gd name="T32" fmla="*/ 101 w 714"/>
                  <a:gd name="T33" fmla="*/ 427 h 609"/>
                  <a:gd name="T34" fmla="*/ 1 w 714"/>
                  <a:gd name="T35" fmla="*/ 422 h 609"/>
                  <a:gd name="T36" fmla="*/ 12 w 714"/>
                  <a:gd name="T37" fmla="*/ 454 h 609"/>
                  <a:gd name="T38" fmla="*/ 23 w 714"/>
                  <a:gd name="T39" fmla="*/ 494 h 609"/>
                  <a:gd name="T40" fmla="*/ 69 w 714"/>
                  <a:gd name="T41" fmla="*/ 483 h 609"/>
                  <a:gd name="T42" fmla="*/ 69 w 714"/>
                  <a:gd name="T43" fmla="*/ 522 h 609"/>
                  <a:gd name="T44" fmla="*/ 95 w 714"/>
                  <a:gd name="T45" fmla="*/ 541 h 609"/>
                  <a:gd name="T46" fmla="*/ 109 w 714"/>
                  <a:gd name="T47" fmla="*/ 559 h 609"/>
                  <a:gd name="T48" fmla="*/ 121 w 714"/>
                  <a:gd name="T49" fmla="*/ 556 h 609"/>
                  <a:gd name="T50" fmla="*/ 180 w 714"/>
                  <a:gd name="T51" fmla="*/ 535 h 609"/>
                  <a:gd name="T52" fmla="*/ 191 w 714"/>
                  <a:gd name="T53" fmla="*/ 562 h 609"/>
                  <a:gd name="T54" fmla="*/ 167 w 714"/>
                  <a:gd name="T55" fmla="*/ 581 h 609"/>
                  <a:gd name="T56" fmla="*/ 209 w 714"/>
                  <a:gd name="T57" fmla="*/ 605 h 609"/>
                  <a:gd name="T58" fmla="*/ 237 w 714"/>
                  <a:gd name="T59" fmla="*/ 553 h 609"/>
                  <a:gd name="T60" fmla="*/ 261 w 714"/>
                  <a:gd name="T61" fmla="*/ 546 h 609"/>
                  <a:gd name="T62" fmla="*/ 270 w 714"/>
                  <a:gd name="T63" fmla="*/ 590 h 609"/>
                  <a:gd name="T64" fmla="*/ 307 w 714"/>
                  <a:gd name="T65" fmla="*/ 608 h 609"/>
                  <a:gd name="T66" fmla="*/ 333 w 714"/>
                  <a:gd name="T67" fmla="*/ 564 h 609"/>
                  <a:gd name="T68" fmla="*/ 367 w 714"/>
                  <a:gd name="T69" fmla="*/ 538 h 609"/>
                  <a:gd name="T70" fmla="*/ 377 w 714"/>
                  <a:gd name="T71" fmla="*/ 533 h 609"/>
                  <a:gd name="T72" fmla="*/ 403 w 714"/>
                  <a:gd name="T73" fmla="*/ 526 h 609"/>
                  <a:gd name="T74" fmla="*/ 425 w 714"/>
                  <a:gd name="T75" fmla="*/ 503 h 609"/>
                  <a:gd name="T76" fmla="*/ 457 w 714"/>
                  <a:gd name="T77" fmla="*/ 492 h 609"/>
                  <a:gd name="T78" fmla="*/ 456 w 714"/>
                  <a:gd name="T79" fmla="*/ 462 h 609"/>
                  <a:gd name="T80" fmla="*/ 479 w 714"/>
                  <a:gd name="T81" fmla="*/ 420 h 609"/>
                  <a:gd name="T82" fmla="*/ 494 w 714"/>
                  <a:gd name="T83" fmla="*/ 448 h 609"/>
                  <a:gd name="T84" fmla="*/ 506 w 714"/>
                  <a:gd name="T85" fmla="*/ 432 h 609"/>
                  <a:gd name="T86" fmla="*/ 537 w 714"/>
                  <a:gd name="T87" fmla="*/ 403 h 609"/>
                  <a:gd name="T88" fmla="*/ 562 w 714"/>
                  <a:gd name="T89" fmla="*/ 398 h 609"/>
                  <a:gd name="T90" fmla="*/ 572 w 714"/>
                  <a:gd name="T91" fmla="*/ 417 h 609"/>
                  <a:gd name="T92" fmla="*/ 601 w 714"/>
                  <a:gd name="T93" fmla="*/ 444 h 609"/>
                  <a:gd name="T94" fmla="*/ 613 w 714"/>
                  <a:gd name="T95" fmla="*/ 436 h 609"/>
                  <a:gd name="T96" fmla="*/ 633 w 714"/>
                  <a:gd name="T97" fmla="*/ 416 h 609"/>
                  <a:gd name="T98" fmla="*/ 677 w 714"/>
                  <a:gd name="T99" fmla="*/ 385 h 609"/>
                  <a:gd name="T100" fmla="*/ 712 w 714"/>
                  <a:gd name="T101" fmla="*/ 354 h 609"/>
                  <a:gd name="T102" fmla="*/ 699 w 714"/>
                  <a:gd name="T103" fmla="*/ 324 h 609"/>
                  <a:gd name="T104" fmla="*/ 674 w 714"/>
                  <a:gd name="T105" fmla="*/ 322 h 609"/>
                  <a:gd name="T106" fmla="*/ 657 w 714"/>
                  <a:gd name="T107" fmla="*/ 295 h 609"/>
                  <a:gd name="T108" fmla="*/ 637 w 714"/>
                  <a:gd name="T109" fmla="*/ 263 h 609"/>
                  <a:gd name="T110" fmla="*/ 652 w 714"/>
                  <a:gd name="T111" fmla="*/ 254 h 609"/>
                  <a:gd name="T112" fmla="*/ 662 w 714"/>
                  <a:gd name="T113" fmla="*/ 226 h 609"/>
                  <a:gd name="T114" fmla="*/ 657 w 714"/>
                  <a:gd name="T115" fmla="*/ 190 h 609"/>
                  <a:gd name="T116" fmla="*/ 672 w 714"/>
                  <a:gd name="T117" fmla="*/ 168 h 609"/>
                  <a:gd name="T118" fmla="*/ 691 w 714"/>
                  <a:gd name="T119" fmla="*/ 163 h 609"/>
                  <a:gd name="T120" fmla="*/ 699 w 714"/>
                  <a:gd name="T121" fmla="*/ 125 h 609"/>
                  <a:gd name="T122" fmla="*/ 701 w 714"/>
                  <a:gd name="T123" fmla="*/ 84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14" h="609">
                    <a:moveTo>
                      <a:pt x="699" y="64"/>
                    </a:moveTo>
                    <a:cubicBezTo>
                      <a:pt x="697" y="56"/>
                      <a:pt x="697" y="56"/>
                      <a:pt x="697" y="56"/>
                    </a:cubicBezTo>
                    <a:cubicBezTo>
                      <a:pt x="689" y="43"/>
                      <a:pt x="689" y="43"/>
                      <a:pt x="689" y="43"/>
                    </a:cubicBezTo>
                    <a:cubicBezTo>
                      <a:pt x="683" y="40"/>
                      <a:pt x="683" y="40"/>
                      <a:pt x="683" y="40"/>
                    </a:cubicBezTo>
                    <a:cubicBezTo>
                      <a:pt x="677" y="43"/>
                      <a:pt x="677" y="43"/>
                      <a:pt x="677" y="43"/>
                    </a:cubicBezTo>
                    <a:cubicBezTo>
                      <a:pt x="674" y="50"/>
                      <a:pt x="674" y="50"/>
                      <a:pt x="674" y="50"/>
                    </a:cubicBezTo>
                    <a:cubicBezTo>
                      <a:pt x="673" y="51"/>
                      <a:pt x="673" y="51"/>
                      <a:pt x="673" y="51"/>
                    </a:cubicBezTo>
                    <a:cubicBezTo>
                      <a:pt x="673" y="51"/>
                      <a:pt x="673" y="51"/>
                      <a:pt x="673" y="51"/>
                    </a:cubicBezTo>
                    <a:cubicBezTo>
                      <a:pt x="672" y="51"/>
                      <a:pt x="672" y="51"/>
                      <a:pt x="672" y="51"/>
                    </a:cubicBezTo>
                    <a:cubicBezTo>
                      <a:pt x="661" y="53"/>
                      <a:pt x="661" y="53"/>
                      <a:pt x="661" y="53"/>
                    </a:cubicBezTo>
                    <a:cubicBezTo>
                      <a:pt x="660" y="54"/>
                      <a:pt x="659" y="54"/>
                      <a:pt x="658" y="56"/>
                    </a:cubicBezTo>
                    <a:cubicBezTo>
                      <a:pt x="655" y="58"/>
                      <a:pt x="655" y="58"/>
                      <a:pt x="655" y="58"/>
                    </a:cubicBezTo>
                    <a:cubicBezTo>
                      <a:pt x="649" y="63"/>
                      <a:pt x="649" y="63"/>
                      <a:pt x="649" y="63"/>
                    </a:cubicBezTo>
                    <a:cubicBezTo>
                      <a:pt x="648" y="64"/>
                      <a:pt x="648" y="64"/>
                      <a:pt x="648" y="64"/>
                    </a:cubicBezTo>
                    <a:cubicBezTo>
                      <a:pt x="643" y="65"/>
                      <a:pt x="643" y="65"/>
                      <a:pt x="643" y="65"/>
                    </a:cubicBezTo>
                    <a:cubicBezTo>
                      <a:pt x="640" y="64"/>
                      <a:pt x="637" y="62"/>
                      <a:pt x="632" y="59"/>
                    </a:cubicBezTo>
                    <a:cubicBezTo>
                      <a:pt x="631" y="58"/>
                      <a:pt x="631" y="58"/>
                      <a:pt x="631" y="58"/>
                    </a:cubicBezTo>
                    <a:cubicBezTo>
                      <a:pt x="623" y="50"/>
                      <a:pt x="619" y="45"/>
                      <a:pt x="619" y="42"/>
                    </a:cubicBezTo>
                    <a:cubicBezTo>
                      <a:pt x="619" y="31"/>
                      <a:pt x="619" y="31"/>
                      <a:pt x="619" y="31"/>
                    </a:cubicBezTo>
                    <a:cubicBezTo>
                      <a:pt x="619" y="31"/>
                      <a:pt x="619" y="31"/>
                      <a:pt x="619" y="31"/>
                    </a:cubicBezTo>
                    <a:cubicBezTo>
                      <a:pt x="619" y="30"/>
                      <a:pt x="619" y="30"/>
                      <a:pt x="619" y="30"/>
                    </a:cubicBezTo>
                    <a:cubicBezTo>
                      <a:pt x="621" y="28"/>
                      <a:pt x="621" y="28"/>
                      <a:pt x="621" y="28"/>
                    </a:cubicBezTo>
                    <a:cubicBezTo>
                      <a:pt x="609" y="24"/>
                      <a:pt x="609" y="24"/>
                      <a:pt x="609" y="24"/>
                    </a:cubicBezTo>
                    <a:cubicBezTo>
                      <a:pt x="609" y="28"/>
                      <a:pt x="609" y="28"/>
                      <a:pt x="609" y="28"/>
                    </a:cubicBezTo>
                    <a:cubicBezTo>
                      <a:pt x="609" y="30"/>
                      <a:pt x="607" y="31"/>
                      <a:pt x="605" y="32"/>
                    </a:cubicBezTo>
                    <a:cubicBezTo>
                      <a:pt x="601" y="34"/>
                      <a:pt x="601" y="34"/>
                      <a:pt x="601" y="34"/>
                    </a:cubicBezTo>
                    <a:cubicBezTo>
                      <a:pt x="600" y="34"/>
                      <a:pt x="600" y="34"/>
                      <a:pt x="600" y="34"/>
                    </a:cubicBezTo>
                    <a:cubicBezTo>
                      <a:pt x="600" y="33"/>
                      <a:pt x="600" y="33"/>
                      <a:pt x="600" y="33"/>
                    </a:cubicBezTo>
                    <a:cubicBezTo>
                      <a:pt x="594" y="32"/>
                      <a:pt x="594" y="32"/>
                      <a:pt x="594" y="32"/>
                    </a:cubicBezTo>
                    <a:cubicBezTo>
                      <a:pt x="595" y="36"/>
                      <a:pt x="595" y="36"/>
                      <a:pt x="595" y="36"/>
                    </a:cubicBezTo>
                    <a:cubicBezTo>
                      <a:pt x="585" y="30"/>
                      <a:pt x="585" y="30"/>
                      <a:pt x="585" y="30"/>
                    </a:cubicBezTo>
                    <a:cubicBezTo>
                      <a:pt x="584" y="30"/>
                      <a:pt x="584" y="30"/>
                      <a:pt x="584" y="30"/>
                    </a:cubicBezTo>
                    <a:cubicBezTo>
                      <a:pt x="584" y="29"/>
                      <a:pt x="584" y="29"/>
                      <a:pt x="584" y="29"/>
                    </a:cubicBezTo>
                    <a:cubicBezTo>
                      <a:pt x="584" y="29"/>
                      <a:pt x="584" y="29"/>
                      <a:pt x="584" y="29"/>
                    </a:cubicBezTo>
                    <a:cubicBezTo>
                      <a:pt x="582" y="25"/>
                      <a:pt x="581" y="20"/>
                      <a:pt x="581" y="16"/>
                    </a:cubicBezTo>
                    <a:cubicBezTo>
                      <a:pt x="581" y="12"/>
                      <a:pt x="582" y="9"/>
                      <a:pt x="583" y="8"/>
                    </a:cubicBezTo>
                    <a:cubicBezTo>
                      <a:pt x="586" y="3"/>
                      <a:pt x="586" y="3"/>
                      <a:pt x="586" y="3"/>
                    </a:cubicBezTo>
                    <a:cubicBezTo>
                      <a:pt x="585" y="0"/>
                      <a:pt x="585" y="0"/>
                      <a:pt x="585" y="0"/>
                    </a:cubicBezTo>
                    <a:cubicBezTo>
                      <a:pt x="575" y="1"/>
                      <a:pt x="575" y="1"/>
                      <a:pt x="575" y="1"/>
                    </a:cubicBezTo>
                    <a:cubicBezTo>
                      <a:pt x="569" y="2"/>
                      <a:pt x="566" y="5"/>
                      <a:pt x="564" y="11"/>
                    </a:cubicBezTo>
                    <a:cubicBezTo>
                      <a:pt x="564" y="11"/>
                      <a:pt x="564" y="11"/>
                      <a:pt x="564" y="11"/>
                    </a:cubicBezTo>
                    <a:cubicBezTo>
                      <a:pt x="564" y="11"/>
                      <a:pt x="564" y="11"/>
                      <a:pt x="564" y="11"/>
                    </a:cubicBezTo>
                    <a:cubicBezTo>
                      <a:pt x="558" y="20"/>
                      <a:pt x="558" y="20"/>
                      <a:pt x="558" y="20"/>
                    </a:cubicBezTo>
                    <a:cubicBezTo>
                      <a:pt x="564" y="20"/>
                      <a:pt x="564" y="20"/>
                      <a:pt x="564" y="20"/>
                    </a:cubicBezTo>
                    <a:cubicBezTo>
                      <a:pt x="564" y="20"/>
                      <a:pt x="564" y="20"/>
                      <a:pt x="564" y="20"/>
                    </a:cubicBezTo>
                    <a:cubicBezTo>
                      <a:pt x="565" y="20"/>
                      <a:pt x="565" y="20"/>
                      <a:pt x="565" y="20"/>
                    </a:cubicBezTo>
                    <a:cubicBezTo>
                      <a:pt x="565" y="20"/>
                      <a:pt x="565" y="20"/>
                      <a:pt x="565" y="20"/>
                    </a:cubicBezTo>
                    <a:cubicBezTo>
                      <a:pt x="570" y="22"/>
                      <a:pt x="570" y="22"/>
                      <a:pt x="570" y="22"/>
                    </a:cubicBezTo>
                    <a:cubicBezTo>
                      <a:pt x="571" y="22"/>
                      <a:pt x="571" y="22"/>
                      <a:pt x="571" y="22"/>
                    </a:cubicBezTo>
                    <a:cubicBezTo>
                      <a:pt x="571" y="23"/>
                      <a:pt x="571" y="23"/>
                      <a:pt x="571" y="23"/>
                    </a:cubicBezTo>
                    <a:cubicBezTo>
                      <a:pt x="571" y="24"/>
                      <a:pt x="571" y="24"/>
                      <a:pt x="571" y="24"/>
                    </a:cubicBezTo>
                    <a:cubicBezTo>
                      <a:pt x="572" y="32"/>
                      <a:pt x="572" y="32"/>
                      <a:pt x="572" y="32"/>
                    </a:cubicBezTo>
                    <a:cubicBezTo>
                      <a:pt x="575" y="40"/>
                      <a:pt x="575" y="40"/>
                      <a:pt x="575" y="40"/>
                    </a:cubicBezTo>
                    <a:cubicBezTo>
                      <a:pt x="575" y="41"/>
                      <a:pt x="575" y="41"/>
                      <a:pt x="575" y="41"/>
                    </a:cubicBezTo>
                    <a:cubicBezTo>
                      <a:pt x="575" y="41"/>
                      <a:pt x="575" y="41"/>
                      <a:pt x="575" y="41"/>
                    </a:cubicBezTo>
                    <a:cubicBezTo>
                      <a:pt x="575" y="42"/>
                      <a:pt x="575" y="42"/>
                      <a:pt x="575" y="42"/>
                    </a:cubicBezTo>
                    <a:cubicBezTo>
                      <a:pt x="561" y="68"/>
                      <a:pt x="561" y="68"/>
                      <a:pt x="561" y="68"/>
                    </a:cubicBezTo>
                    <a:cubicBezTo>
                      <a:pt x="559" y="71"/>
                      <a:pt x="558" y="81"/>
                      <a:pt x="557" y="95"/>
                    </a:cubicBezTo>
                    <a:cubicBezTo>
                      <a:pt x="557" y="96"/>
                      <a:pt x="557" y="96"/>
                      <a:pt x="557" y="96"/>
                    </a:cubicBezTo>
                    <a:cubicBezTo>
                      <a:pt x="552" y="106"/>
                      <a:pt x="552" y="106"/>
                      <a:pt x="552" y="106"/>
                    </a:cubicBezTo>
                    <a:cubicBezTo>
                      <a:pt x="555" y="110"/>
                      <a:pt x="555" y="110"/>
                      <a:pt x="555" y="110"/>
                    </a:cubicBezTo>
                    <a:cubicBezTo>
                      <a:pt x="555" y="111"/>
                      <a:pt x="555" y="111"/>
                      <a:pt x="555" y="111"/>
                    </a:cubicBezTo>
                    <a:cubicBezTo>
                      <a:pt x="556" y="117"/>
                      <a:pt x="555" y="121"/>
                      <a:pt x="554" y="122"/>
                    </a:cubicBezTo>
                    <a:cubicBezTo>
                      <a:pt x="553" y="122"/>
                      <a:pt x="553" y="122"/>
                      <a:pt x="553" y="122"/>
                    </a:cubicBezTo>
                    <a:cubicBezTo>
                      <a:pt x="550" y="124"/>
                      <a:pt x="541" y="133"/>
                      <a:pt x="526" y="151"/>
                    </a:cubicBezTo>
                    <a:cubicBezTo>
                      <a:pt x="525" y="152"/>
                      <a:pt x="525" y="152"/>
                      <a:pt x="525" y="152"/>
                    </a:cubicBezTo>
                    <a:cubicBezTo>
                      <a:pt x="524" y="152"/>
                      <a:pt x="524" y="152"/>
                      <a:pt x="524" y="152"/>
                    </a:cubicBezTo>
                    <a:cubicBezTo>
                      <a:pt x="523" y="151"/>
                      <a:pt x="523" y="151"/>
                      <a:pt x="523" y="151"/>
                    </a:cubicBezTo>
                    <a:cubicBezTo>
                      <a:pt x="517" y="148"/>
                      <a:pt x="513" y="144"/>
                      <a:pt x="510" y="141"/>
                    </a:cubicBezTo>
                    <a:cubicBezTo>
                      <a:pt x="507" y="140"/>
                      <a:pt x="501" y="138"/>
                      <a:pt x="491" y="138"/>
                    </a:cubicBezTo>
                    <a:cubicBezTo>
                      <a:pt x="491" y="157"/>
                      <a:pt x="491" y="157"/>
                      <a:pt x="491" y="157"/>
                    </a:cubicBezTo>
                    <a:cubicBezTo>
                      <a:pt x="491" y="157"/>
                      <a:pt x="491" y="157"/>
                      <a:pt x="491" y="157"/>
                    </a:cubicBezTo>
                    <a:cubicBezTo>
                      <a:pt x="483" y="192"/>
                      <a:pt x="483" y="192"/>
                      <a:pt x="483" y="192"/>
                    </a:cubicBezTo>
                    <a:cubicBezTo>
                      <a:pt x="482" y="196"/>
                      <a:pt x="481" y="204"/>
                      <a:pt x="481" y="216"/>
                    </a:cubicBezTo>
                    <a:cubicBezTo>
                      <a:pt x="484" y="220"/>
                      <a:pt x="484" y="220"/>
                      <a:pt x="484" y="220"/>
                    </a:cubicBezTo>
                    <a:cubicBezTo>
                      <a:pt x="487" y="215"/>
                      <a:pt x="487" y="215"/>
                      <a:pt x="487" y="215"/>
                    </a:cubicBezTo>
                    <a:cubicBezTo>
                      <a:pt x="487" y="215"/>
                      <a:pt x="487" y="215"/>
                      <a:pt x="487" y="215"/>
                    </a:cubicBezTo>
                    <a:cubicBezTo>
                      <a:pt x="487" y="214"/>
                      <a:pt x="487" y="214"/>
                      <a:pt x="487" y="214"/>
                    </a:cubicBezTo>
                    <a:cubicBezTo>
                      <a:pt x="497" y="210"/>
                      <a:pt x="497" y="210"/>
                      <a:pt x="497" y="210"/>
                    </a:cubicBezTo>
                    <a:cubicBezTo>
                      <a:pt x="522" y="214"/>
                      <a:pt x="522" y="214"/>
                      <a:pt x="522" y="214"/>
                    </a:cubicBezTo>
                    <a:cubicBezTo>
                      <a:pt x="525" y="210"/>
                      <a:pt x="525" y="210"/>
                      <a:pt x="525" y="210"/>
                    </a:cubicBezTo>
                    <a:cubicBezTo>
                      <a:pt x="529" y="204"/>
                      <a:pt x="529" y="204"/>
                      <a:pt x="529" y="204"/>
                    </a:cubicBezTo>
                    <a:cubicBezTo>
                      <a:pt x="529" y="204"/>
                      <a:pt x="529" y="204"/>
                      <a:pt x="529" y="204"/>
                    </a:cubicBezTo>
                    <a:cubicBezTo>
                      <a:pt x="529" y="204"/>
                      <a:pt x="529" y="204"/>
                      <a:pt x="529" y="204"/>
                    </a:cubicBezTo>
                    <a:cubicBezTo>
                      <a:pt x="530" y="203"/>
                      <a:pt x="530" y="203"/>
                      <a:pt x="530" y="203"/>
                    </a:cubicBezTo>
                    <a:cubicBezTo>
                      <a:pt x="540" y="201"/>
                      <a:pt x="540" y="201"/>
                      <a:pt x="540" y="201"/>
                    </a:cubicBezTo>
                    <a:cubicBezTo>
                      <a:pt x="553" y="200"/>
                      <a:pt x="553" y="200"/>
                      <a:pt x="553" y="200"/>
                    </a:cubicBezTo>
                    <a:cubicBezTo>
                      <a:pt x="557" y="201"/>
                      <a:pt x="562" y="206"/>
                      <a:pt x="568" y="214"/>
                    </a:cubicBezTo>
                    <a:cubicBezTo>
                      <a:pt x="584" y="222"/>
                      <a:pt x="593" y="230"/>
                      <a:pt x="595" y="236"/>
                    </a:cubicBezTo>
                    <a:cubicBezTo>
                      <a:pt x="596" y="239"/>
                      <a:pt x="596" y="242"/>
                      <a:pt x="595" y="244"/>
                    </a:cubicBezTo>
                    <a:cubicBezTo>
                      <a:pt x="593" y="247"/>
                      <a:pt x="591" y="249"/>
                      <a:pt x="587" y="249"/>
                    </a:cubicBezTo>
                    <a:cubicBezTo>
                      <a:pt x="586" y="249"/>
                      <a:pt x="586" y="249"/>
                      <a:pt x="586" y="249"/>
                    </a:cubicBezTo>
                    <a:cubicBezTo>
                      <a:pt x="567" y="248"/>
                      <a:pt x="555" y="248"/>
                      <a:pt x="551" y="250"/>
                    </a:cubicBezTo>
                    <a:cubicBezTo>
                      <a:pt x="542" y="256"/>
                      <a:pt x="542" y="256"/>
                      <a:pt x="542" y="256"/>
                    </a:cubicBezTo>
                    <a:cubicBezTo>
                      <a:pt x="530" y="265"/>
                      <a:pt x="522" y="269"/>
                      <a:pt x="517" y="269"/>
                    </a:cubicBezTo>
                    <a:cubicBezTo>
                      <a:pt x="509" y="270"/>
                      <a:pt x="509" y="270"/>
                      <a:pt x="509" y="270"/>
                    </a:cubicBezTo>
                    <a:cubicBezTo>
                      <a:pt x="505" y="290"/>
                      <a:pt x="505" y="290"/>
                      <a:pt x="505" y="290"/>
                    </a:cubicBezTo>
                    <a:cubicBezTo>
                      <a:pt x="503" y="296"/>
                      <a:pt x="501" y="300"/>
                      <a:pt x="498" y="303"/>
                    </a:cubicBezTo>
                    <a:cubicBezTo>
                      <a:pt x="495" y="306"/>
                      <a:pt x="490" y="308"/>
                      <a:pt x="483" y="310"/>
                    </a:cubicBezTo>
                    <a:cubicBezTo>
                      <a:pt x="476" y="311"/>
                      <a:pt x="469" y="314"/>
                      <a:pt x="463" y="317"/>
                    </a:cubicBezTo>
                    <a:cubicBezTo>
                      <a:pt x="457" y="332"/>
                      <a:pt x="457" y="332"/>
                      <a:pt x="457" y="332"/>
                    </a:cubicBezTo>
                    <a:cubicBezTo>
                      <a:pt x="456" y="332"/>
                      <a:pt x="456" y="332"/>
                      <a:pt x="456" y="332"/>
                    </a:cubicBezTo>
                    <a:cubicBezTo>
                      <a:pt x="456" y="332"/>
                      <a:pt x="456" y="332"/>
                      <a:pt x="456" y="332"/>
                    </a:cubicBezTo>
                    <a:cubicBezTo>
                      <a:pt x="455" y="332"/>
                      <a:pt x="455" y="332"/>
                      <a:pt x="455" y="332"/>
                    </a:cubicBezTo>
                    <a:cubicBezTo>
                      <a:pt x="437" y="340"/>
                      <a:pt x="437" y="340"/>
                      <a:pt x="437" y="340"/>
                    </a:cubicBezTo>
                    <a:cubicBezTo>
                      <a:pt x="436" y="340"/>
                      <a:pt x="436" y="340"/>
                      <a:pt x="436" y="340"/>
                    </a:cubicBezTo>
                    <a:cubicBezTo>
                      <a:pt x="427" y="338"/>
                      <a:pt x="427" y="338"/>
                      <a:pt x="427" y="338"/>
                    </a:cubicBezTo>
                    <a:cubicBezTo>
                      <a:pt x="419" y="336"/>
                      <a:pt x="414" y="334"/>
                      <a:pt x="410" y="332"/>
                    </a:cubicBezTo>
                    <a:cubicBezTo>
                      <a:pt x="405" y="330"/>
                      <a:pt x="400" y="329"/>
                      <a:pt x="395" y="331"/>
                    </a:cubicBezTo>
                    <a:cubicBezTo>
                      <a:pt x="390" y="338"/>
                      <a:pt x="387" y="346"/>
                      <a:pt x="388" y="355"/>
                    </a:cubicBezTo>
                    <a:cubicBezTo>
                      <a:pt x="388" y="360"/>
                      <a:pt x="389" y="363"/>
                      <a:pt x="391" y="364"/>
                    </a:cubicBezTo>
                    <a:cubicBezTo>
                      <a:pt x="393" y="364"/>
                      <a:pt x="393" y="364"/>
                      <a:pt x="393" y="364"/>
                    </a:cubicBezTo>
                    <a:cubicBezTo>
                      <a:pt x="397" y="362"/>
                      <a:pt x="397" y="362"/>
                      <a:pt x="397" y="362"/>
                    </a:cubicBezTo>
                    <a:cubicBezTo>
                      <a:pt x="397" y="374"/>
                      <a:pt x="397" y="374"/>
                      <a:pt x="397" y="374"/>
                    </a:cubicBezTo>
                    <a:cubicBezTo>
                      <a:pt x="397" y="379"/>
                      <a:pt x="396" y="382"/>
                      <a:pt x="393" y="384"/>
                    </a:cubicBezTo>
                    <a:cubicBezTo>
                      <a:pt x="391" y="386"/>
                      <a:pt x="387" y="388"/>
                      <a:pt x="382" y="389"/>
                    </a:cubicBezTo>
                    <a:cubicBezTo>
                      <a:pt x="379" y="390"/>
                      <a:pt x="379" y="390"/>
                      <a:pt x="379" y="390"/>
                    </a:cubicBezTo>
                    <a:cubicBezTo>
                      <a:pt x="375" y="392"/>
                      <a:pt x="366" y="402"/>
                      <a:pt x="354" y="422"/>
                    </a:cubicBezTo>
                    <a:cubicBezTo>
                      <a:pt x="354" y="422"/>
                      <a:pt x="354" y="422"/>
                      <a:pt x="354" y="422"/>
                    </a:cubicBezTo>
                    <a:cubicBezTo>
                      <a:pt x="353" y="422"/>
                      <a:pt x="353" y="422"/>
                      <a:pt x="353" y="422"/>
                    </a:cubicBezTo>
                    <a:cubicBezTo>
                      <a:pt x="341" y="430"/>
                      <a:pt x="341" y="430"/>
                      <a:pt x="341" y="430"/>
                    </a:cubicBezTo>
                    <a:cubicBezTo>
                      <a:pt x="343" y="430"/>
                      <a:pt x="345" y="430"/>
                      <a:pt x="344" y="432"/>
                    </a:cubicBezTo>
                    <a:cubicBezTo>
                      <a:pt x="344" y="434"/>
                      <a:pt x="343" y="434"/>
                      <a:pt x="339" y="434"/>
                    </a:cubicBezTo>
                    <a:cubicBezTo>
                      <a:pt x="305" y="434"/>
                      <a:pt x="305" y="434"/>
                      <a:pt x="305" y="434"/>
                    </a:cubicBezTo>
                    <a:cubicBezTo>
                      <a:pt x="267" y="432"/>
                      <a:pt x="238" y="443"/>
                      <a:pt x="217" y="464"/>
                    </a:cubicBezTo>
                    <a:cubicBezTo>
                      <a:pt x="216" y="465"/>
                      <a:pt x="216" y="465"/>
                      <a:pt x="216" y="465"/>
                    </a:cubicBezTo>
                    <a:cubicBezTo>
                      <a:pt x="215" y="465"/>
                      <a:pt x="215" y="465"/>
                      <a:pt x="215" y="465"/>
                    </a:cubicBezTo>
                    <a:cubicBezTo>
                      <a:pt x="215" y="465"/>
                      <a:pt x="215" y="465"/>
                      <a:pt x="215" y="465"/>
                    </a:cubicBezTo>
                    <a:cubicBezTo>
                      <a:pt x="201" y="467"/>
                      <a:pt x="201" y="467"/>
                      <a:pt x="201" y="467"/>
                    </a:cubicBezTo>
                    <a:cubicBezTo>
                      <a:pt x="200" y="467"/>
                      <a:pt x="200" y="467"/>
                      <a:pt x="200" y="467"/>
                    </a:cubicBezTo>
                    <a:cubicBezTo>
                      <a:pt x="199" y="467"/>
                      <a:pt x="199" y="467"/>
                      <a:pt x="199" y="467"/>
                    </a:cubicBezTo>
                    <a:cubicBezTo>
                      <a:pt x="195" y="458"/>
                      <a:pt x="195" y="458"/>
                      <a:pt x="195" y="458"/>
                    </a:cubicBezTo>
                    <a:cubicBezTo>
                      <a:pt x="181" y="461"/>
                      <a:pt x="181" y="461"/>
                      <a:pt x="181" y="461"/>
                    </a:cubicBezTo>
                    <a:cubicBezTo>
                      <a:pt x="173" y="462"/>
                      <a:pt x="163" y="460"/>
                      <a:pt x="152" y="454"/>
                    </a:cubicBezTo>
                    <a:cubicBezTo>
                      <a:pt x="142" y="450"/>
                      <a:pt x="133" y="444"/>
                      <a:pt x="123" y="436"/>
                    </a:cubicBezTo>
                    <a:cubicBezTo>
                      <a:pt x="117" y="432"/>
                      <a:pt x="110" y="428"/>
                      <a:pt x="101" y="427"/>
                    </a:cubicBezTo>
                    <a:cubicBezTo>
                      <a:pt x="88" y="426"/>
                      <a:pt x="88" y="426"/>
                      <a:pt x="88" y="426"/>
                    </a:cubicBezTo>
                    <a:cubicBezTo>
                      <a:pt x="74" y="428"/>
                      <a:pt x="74" y="428"/>
                      <a:pt x="74" y="428"/>
                    </a:cubicBezTo>
                    <a:cubicBezTo>
                      <a:pt x="63" y="429"/>
                      <a:pt x="53" y="429"/>
                      <a:pt x="43" y="428"/>
                    </a:cubicBezTo>
                    <a:cubicBezTo>
                      <a:pt x="32" y="428"/>
                      <a:pt x="18" y="424"/>
                      <a:pt x="1" y="419"/>
                    </a:cubicBezTo>
                    <a:cubicBezTo>
                      <a:pt x="0" y="422"/>
                      <a:pt x="0" y="422"/>
                      <a:pt x="0" y="422"/>
                    </a:cubicBezTo>
                    <a:cubicBezTo>
                      <a:pt x="0" y="422"/>
                      <a:pt x="0" y="422"/>
                      <a:pt x="0" y="422"/>
                    </a:cubicBezTo>
                    <a:cubicBezTo>
                      <a:pt x="1" y="422"/>
                      <a:pt x="1" y="422"/>
                      <a:pt x="1" y="422"/>
                    </a:cubicBezTo>
                    <a:cubicBezTo>
                      <a:pt x="1" y="422"/>
                      <a:pt x="1" y="422"/>
                      <a:pt x="1" y="422"/>
                    </a:cubicBezTo>
                    <a:cubicBezTo>
                      <a:pt x="1" y="422"/>
                      <a:pt x="1" y="422"/>
                      <a:pt x="1" y="422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5" y="434"/>
                      <a:pt x="5" y="434"/>
                      <a:pt x="5" y="434"/>
                    </a:cubicBezTo>
                    <a:cubicBezTo>
                      <a:pt x="13" y="444"/>
                      <a:pt x="13" y="444"/>
                      <a:pt x="13" y="444"/>
                    </a:cubicBezTo>
                    <a:cubicBezTo>
                      <a:pt x="14" y="446"/>
                      <a:pt x="14" y="446"/>
                      <a:pt x="14" y="446"/>
                    </a:cubicBezTo>
                    <a:cubicBezTo>
                      <a:pt x="12" y="453"/>
                      <a:pt x="12" y="453"/>
                      <a:pt x="12" y="453"/>
                    </a:cubicBezTo>
                    <a:cubicBezTo>
                      <a:pt x="12" y="454"/>
                      <a:pt x="12" y="454"/>
                      <a:pt x="12" y="454"/>
                    </a:cubicBezTo>
                    <a:cubicBezTo>
                      <a:pt x="12" y="454"/>
                      <a:pt x="12" y="454"/>
                      <a:pt x="12" y="454"/>
                    </a:cubicBezTo>
                    <a:cubicBezTo>
                      <a:pt x="7" y="460"/>
                      <a:pt x="7" y="460"/>
                      <a:pt x="7" y="460"/>
                    </a:cubicBezTo>
                    <a:cubicBezTo>
                      <a:pt x="12" y="465"/>
                      <a:pt x="12" y="465"/>
                      <a:pt x="12" y="465"/>
                    </a:cubicBezTo>
                    <a:cubicBezTo>
                      <a:pt x="14" y="467"/>
                      <a:pt x="15" y="469"/>
                      <a:pt x="15" y="470"/>
                    </a:cubicBezTo>
                    <a:cubicBezTo>
                      <a:pt x="17" y="478"/>
                      <a:pt x="17" y="478"/>
                      <a:pt x="17" y="478"/>
                    </a:cubicBezTo>
                    <a:cubicBezTo>
                      <a:pt x="23" y="484"/>
                      <a:pt x="23" y="484"/>
                      <a:pt x="23" y="484"/>
                    </a:cubicBezTo>
                    <a:cubicBezTo>
                      <a:pt x="23" y="485"/>
                      <a:pt x="23" y="485"/>
                      <a:pt x="23" y="485"/>
                    </a:cubicBezTo>
                    <a:cubicBezTo>
                      <a:pt x="23" y="490"/>
                      <a:pt x="23" y="490"/>
                      <a:pt x="23" y="490"/>
                    </a:cubicBezTo>
                    <a:cubicBezTo>
                      <a:pt x="23" y="494"/>
                      <a:pt x="23" y="494"/>
                      <a:pt x="23" y="494"/>
                    </a:cubicBezTo>
                    <a:cubicBezTo>
                      <a:pt x="27" y="497"/>
                      <a:pt x="27" y="497"/>
                      <a:pt x="27" y="497"/>
                    </a:cubicBezTo>
                    <a:cubicBezTo>
                      <a:pt x="29" y="496"/>
                      <a:pt x="29" y="496"/>
                      <a:pt x="29" y="496"/>
                    </a:cubicBezTo>
                    <a:cubicBezTo>
                      <a:pt x="30" y="495"/>
                      <a:pt x="30" y="495"/>
                      <a:pt x="30" y="495"/>
                    </a:cubicBezTo>
                    <a:cubicBezTo>
                      <a:pt x="31" y="492"/>
                      <a:pt x="33" y="490"/>
                      <a:pt x="36" y="490"/>
                    </a:cubicBezTo>
                    <a:cubicBezTo>
                      <a:pt x="39" y="488"/>
                      <a:pt x="39" y="488"/>
                      <a:pt x="39" y="488"/>
                    </a:cubicBezTo>
                    <a:cubicBezTo>
                      <a:pt x="60" y="486"/>
                      <a:pt x="60" y="486"/>
                      <a:pt x="60" y="486"/>
                    </a:cubicBezTo>
                    <a:cubicBezTo>
                      <a:pt x="69" y="483"/>
                      <a:pt x="69" y="483"/>
                      <a:pt x="69" y="483"/>
                    </a:cubicBezTo>
                    <a:cubicBezTo>
                      <a:pt x="69" y="483"/>
                      <a:pt x="69" y="483"/>
                      <a:pt x="69" y="483"/>
                    </a:cubicBezTo>
                    <a:cubicBezTo>
                      <a:pt x="71" y="482"/>
                      <a:pt x="71" y="482"/>
                      <a:pt x="71" y="482"/>
                    </a:cubicBezTo>
                    <a:cubicBezTo>
                      <a:pt x="75" y="492"/>
                      <a:pt x="75" y="492"/>
                      <a:pt x="75" y="492"/>
                    </a:cubicBezTo>
                    <a:cubicBezTo>
                      <a:pt x="75" y="492"/>
                      <a:pt x="75" y="492"/>
                      <a:pt x="75" y="492"/>
                    </a:cubicBezTo>
                    <a:cubicBezTo>
                      <a:pt x="75" y="492"/>
                      <a:pt x="75" y="492"/>
                      <a:pt x="75" y="492"/>
                    </a:cubicBezTo>
                    <a:cubicBezTo>
                      <a:pt x="76" y="494"/>
                      <a:pt x="75" y="496"/>
                      <a:pt x="74" y="498"/>
                    </a:cubicBezTo>
                    <a:cubicBezTo>
                      <a:pt x="63" y="514"/>
                      <a:pt x="63" y="514"/>
                      <a:pt x="63" y="514"/>
                    </a:cubicBezTo>
                    <a:cubicBezTo>
                      <a:pt x="63" y="517"/>
                      <a:pt x="63" y="517"/>
                      <a:pt x="63" y="517"/>
                    </a:cubicBezTo>
                    <a:cubicBezTo>
                      <a:pt x="69" y="522"/>
                      <a:pt x="69" y="522"/>
                      <a:pt x="69" y="522"/>
                    </a:cubicBezTo>
                    <a:cubicBezTo>
                      <a:pt x="74" y="526"/>
                      <a:pt x="74" y="526"/>
                      <a:pt x="74" y="526"/>
                    </a:cubicBezTo>
                    <a:cubicBezTo>
                      <a:pt x="74" y="526"/>
                      <a:pt x="74" y="526"/>
                      <a:pt x="74" y="526"/>
                    </a:cubicBezTo>
                    <a:cubicBezTo>
                      <a:pt x="77" y="529"/>
                      <a:pt x="79" y="531"/>
                      <a:pt x="81" y="532"/>
                    </a:cubicBezTo>
                    <a:cubicBezTo>
                      <a:pt x="84" y="532"/>
                      <a:pt x="87" y="535"/>
                      <a:pt x="89" y="538"/>
                    </a:cubicBezTo>
                    <a:cubicBezTo>
                      <a:pt x="89" y="539"/>
                      <a:pt x="89" y="539"/>
                      <a:pt x="89" y="539"/>
                    </a:cubicBezTo>
                    <a:cubicBezTo>
                      <a:pt x="93" y="541"/>
                      <a:pt x="93" y="541"/>
                      <a:pt x="93" y="541"/>
                    </a:cubicBezTo>
                    <a:cubicBezTo>
                      <a:pt x="95" y="541"/>
                      <a:pt x="95" y="541"/>
                      <a:pt x="95" y="541"/>
                    </a:cubicBezTo>
                    <a:cubicBezTo>
                      <a:pt x="95" y="541"/>
                      <a:pt x="95" y="541"/>
                      <a:pt x="95" y="541"/>
                    </a:cubicBezTo>
                    <a:cubicBezTo>
                      <a:pt x="96" y="546"/>
                      <a:pt x="96" y="546"/>
                      <a:pt x="96" y="546"/>
                    </a:cubicBezTo>
                    <a:cubicBezTo>
                      <a:pt x="96" y="546"/>
                      <a:pt x="96" y="546"/>
                      <a:pt x="96" y="546"/>
                    </a:cubicBezTo>
                    <a:cubicBezTo>
                      <a:pt x="97" y="550"/>
                      <a:pt x="97" y="550"/>
                      <a:pt x="97" y="550"/>
                    </a:cubicBezTo>
                    <a:cubicBezTo>
                      <a:pt x="98" y="556"/>
                      <a:pt x="98" y="556"/>
                      <a:pt x="98" y="556"/>
                    </a:cubicBezTo>
                    <a:cubicBezTo>
                      <a:pt x="108" y="558"/>
                      <a:pt x="108" y="558"/>
                      <a:pt x="108" y="558"/>
                    </a:cubicBezTo>
                    <a:cubicBezTo>
                      <a:pt x="109" y="558"/>
                      <a:pt x="109" y="558"/>
                      <a:pt x="109" y="558"/>
                    </a:cubicBezTo>
                    <a:cubicBezTo>
                      <a:pt x="109" y="558"/>
                      <a:pt x="109" y="558"/>
                      <a:pt x="109" y="558"/>
                    </a:cubicBezTo>
                    <a:cubicBezTo>
                      <a:pt x="109" y="559"/>
                      <a:pt x="109" y="559"/>
                      <a:pt x="109" y="559"/>
                    </a:cubicBezTo>
                    <a:cubicBezTo>
                      <a:pt x="110" y="560"/>
                      <a:pt x="110" y="560"/>
                      <a:pt x="110" y="560"/>
                    </a:cubicBezTo>
                    <a:cubicBezTo>
                      <a:pt x="113" y="565"/>
                      <a:pt x="113" y="565"/>
                      <a:pt x="113" y="565"/>
                    </a:cubicBezTo>
                    <a:cubicBezTo>
                      <a:pt x="121" y="568"/>
                      <a:pt x="121" y="568"/>
                      <a:pt x="121" y="568"/>
                    </a:cubicBezTo>
                    <a:cubicBezTo>
                      <a:pt x="126" y="565"/>
                      <a:pt x="126" y="565"/>
                      <a:pt x="126" y="565"/>
                    </a:cubicBezTo>
                    <a:cubicBezTo>
                      <a:pt x="125" y="562"/>
                      <a:pt x="125" y="562"/>
                      <a:pt x="125" y="562"/>
                    </a:cubicBezTo>
                    <a:cubicBezTo>
                      <a:pt x="120" y="557"/>
                      <a:pt x="120" y="557"/>
                      <a:pt x="120" y="557"/>
                    </a:cubicBezTo>
                    <a:cubicBezTo>
                      <a:pt x="121" y="556"/>
                      <a:pt x="121" y="556"/>
                      <a:pt x="121" y="556"/>
                    </a:cubicBezTo>
                    <a:cubicBezTo>
                      <a:pt x="121" y="556"/>
                      <a:pt x="121" y="556"/>
                      <a:pt x="121" y="556"/>
                    </a:cubicBezTo>
                    <a:cubicBezTo>
                      <a:pt x="125" y="547"/>
                      <a:pt x="125" y="547"/>
                      <a:pt x="125" y="547"/>
                    </a:cubicBezTo>
                    <a:cubicBezTo>
                      <a:pt x="135" y="547"/>
                      <a:pt x="135" y="547"/>
                      <a:pt x="135" y="547"/>
                    </a:cubicBezTo>
                    <a:cubicBezTo>
                      <a:pt x="135" y="548"/>
                      <a:pt x="135" y="548"/>
                      <a:pt x="135" y="548"/>
                    </a:cubicBezTo>
                    <a:cubicBezTo>
                      <a:pt x="149" y="552"/>
                      <a:pt x="149" y="552"/>
                      <a:pt x="149" y="552"/>
                    </a:cubicBezTo>
                    <a:cubicBezTo>
                      <a:pt x="157" y="551"/>
                      <a:pt x="157" y="551"/>
                      <a:pt x="157" y="551"/>
                    </a:cubicBezTo>
                    <a:cubicBezTo>
                      <a:pt x="163" y="546"/>
                      <a:pt x="163" y="546"/>
                      <a:pt x="163" y="546"/>
                    </a:cubicBezTo>
                    <a:cubicBezTo>
                      <a:pt x="169" y="537"/>
                      <a:pt x="174" y="534"/>
                      <a:pt x="177" y="536"/>
                    </a:cubicBezTo>
                    <a:cubicBezTo>
                      <a:pt x="180" y="535"/>
                      <a:pt x="180" y="535"/>
                      <a:pt x="180" y="535"/>
                    </a:cubicBezTo>
                    <a:cubicBezTo>
                      <a:pt x="183" y="535"/>
                      <a:pt x="185" y="536"/>
                      <a:pt x="187" y="536"/>
                    </a:cubicBezTo>
                    <a:cubicBezTo>
                      <a:pt x="187" y="537"/>
                      <a:pt x="187" y="538"/>
                      <a:pt x="187" y="538"/>
                    </a:cubicBezTo>
                    <a:cubicBezTo>
                      <a:pt x="187" y="540"/>
                      <a:pt x="189" y="543"/>
                      <a:pt x="191" y="548"/>
                    </a:cubicBezTo>
                    <a:cubicBezTo>
                      <a:pt x="191" y="548"/>
                      <a:pt x="191" y="548"/>
                      <a:pt x="191" y="548"/>
                    </a:cubicBezTo>
                    <a:cubicBezTo>
                      <a:pt x="191" y="548"/>
                      <a:pt x="191" y="548"/>
                      <a:pt x="191" y="548"/>
                    </a:cubicBezTo>
                    <a:cubicBezTo>
                      <a:pt x="193" y="554"/>
                      <a:pt x="193" y="554"/>
                      <a:pt x="193" y="554"/>
                    </a:cubicBezTo>
                    <a:cubicBezTo>
                      <a:pt x="193" y="555"/>
                      <a:pt x="193" y="555"/>
                      <a:pt x="193" y="555"/>
                    </a:cubicBezTo>
                    <a:cubicBezTo>
                      <a:pt x="191" y="562"/>
                      <a:pt x="191" y="562"/>
                      <a:pt x="191" y="562"/>
                    </a:cubicBezTo>
                    <a:cubicBezTo>
                      <a:pt x="191" y="562"/>
                      <a:pt x="191" y="562"/>
                      <a:pt x="191" y="562"/>
                    </a:cubicBezTo>
                    <a:cubicBezTo>
                      <a:pt x="191" y="562"/>
                      <a:pt x="191" y="562"/>
                      <a:pt x="191" y="562"/>
                    </a:cubicBezTo>
                    <a:cubicBezTo>
                      <a:pt x="191" y="562"/>
                      <a:pt x="191" y="562"/>
                      <a:pt x="191" y="562"/>
                    </a:cubicBezTo>
                    <a:cubicBezTo>
                      <a:pt x="184" y="570"/>
                      <a:pt x="184" y="570"/>
                      <a:pt x="184" y="570"/>
                    </a:cubicBezTo>
                    <a:cubicBezTo>
                      <a:pt x="183" y="571"/>
                      <a:pt x="183" y="571"/>
                      <a:pt x="183" y="571"/>
                    </a:cubicBezTo>
                    <a:cubicBezTo>
                      <a:pt x="183" y="571"/>
                      <a:pt x="183" y="571"/>
                      <a:pt x="183" y="571"/>
                    </a:cubicBezTo>
                    <a:cubicBezTo>
                      <a:pt x="169" y="577"/>
                      <a:pt x="169" y="577"/>
                      <a:pt x="169" y="577"/>
                    </a:cubicBezTo>
                    <a:cubicBezTo>
                      <a:pt x="167" y="581"/>
                      <a:pt x="167" y="581"/>
                      <a:pt x="167" y="581"/>
                    </a:cubicBezTo>
                    <a:cubicBezTo>
                      <a:pt x="165" y="593"/>
                      <a:pt x="165" y="593"/>
                      <a:pt x="165" y="593"/>
                    </a:cubicBezTo>
                    <a:cubicBezTo>
                      <a:pt x="166" y="598"/>
                      <a:pt x="166" y="598"/>
                      <a:pt x="166" y="598"/>
                    </a:cubicBezTo>
                    <a:cubicBezTo>
                      <a:pt x="170" y="604"/>
                      <a:pt x="170" y="604"/>
                      <a:pt x="170" y="604"/>
                    </a:cubicBezTo>
                    <a:cubicBezTo>
                      <a:pt x="171" y="606"/>
                      <a:pt x="171" y="606"/>
                      <a:pt x="171" y="606"/>
                    </a:cubicBezTo>
                    <a:cubicBezTo>
                      <a:pt x="176" y="609"/>
                      <a:pt x="176" y="609"/>
                      <a:pt x="176" y="609"/>
                    </a:cubicBezTo>
                    <a:cubicBezTo>
                      <a:pt x="193" y="609"/>
                      <a:pt x="193" y="609"/>
                      <a:pt x="193" y="609"/>
                    </a:cubicBezTo>
                    <a:cubicBezTo>
                      <a:pt x="207" y="607"/>
                      <a:pt x="207" y="607"/>
                      <a:pt x="207" y="607"/>
                    </a:cubicBezTo>
                    <a:cubicBezTo>
                      <a:pt x="209" y="605"/>
                      <a:pt x="209" y="605"/>
                      <a:pt x="209" y="605"/>
                    </a:cubicBezTo>
                    <a:cubicBezTo>
                      <a:pt x="211" y="602"/>
                      <a:pt x="213" y="602"/>
                      <a:pt x="214" y="602"/>
                    </a:cubicBezTo>
                    <a:cubicBezTo>
                      <a:pt x="224" y="603"/>
                      <a:pt x="224" y="603"/>
                      <a:pt x="224" y="603"/>
                    </a:cubicBezTo>
                    <a:cubicBezTo>
                      <a:pt x="225" y="602"/>
                      <a:pt x="225" y="602"/>
                      <a:pt x="225" y="602"/>
                    </a:cubicBezTo>
                    <a:cubicBezTo>
                      <a:pt x="224" y="599"/>
                      <a:pt x="224" y="596"/>
                      <a:pt x="225" y="594"/>
                    </a:cubicBezTo>
                    <a:cubicBezTo>
                      <a:pt x="229" y="587"/>
                      <a:pt x="229" y="587"/>
                      <a:pt x="229" y="587"/>
                    </a:cubicBezTo>
                    <a:cubicBezTo>
                      <a:pt x="229" y="574"/>
                      <a:pt x="229" y="574"/>
                      <a:pt x="229" y="574"/>
                    </a:cubicBezTo>
                    <a:cubicBezTo>
                      <a:pt x="229" y="574"/>
                      <a:pt x="229" y="574"/>
                      <a:pt x="229" y="574"/>
                    </a:cubicBezTo>
                    <a:cubicBezTo>
                      <a:pt x="237" y="553"/>
                      <a:pt x="237" y="553"/>
                      <a:pt x="237" y="553"/>
                    </a:cubicBezTo>
                    <a:cubicBezTo>
                      <a:pt x="237" y="553"/>
                      <a:pt x="237" y="553"/>
                      <a:pt x="237" y="553"/>
                    </a:cubicBezTo>
                    <a:cubicBezTo>
                      <a:pt x="237" y="552"/>
                      <a:pt x="237" y="552"/>
                      <a:pt x="237" y="552"/>
                    </a:cubicBezTo>
                    <a:cubicBezTo>
                      <a:pt x="237" y="552"/>
                      <a:pt x="237" y="552"/>
                      <a:pt x="237" y="552"/>
                    </a:cubicBezTo>
                    <a:cubicBezTo>
                      <a:pt x="237" y="552"/>
                      <a:pt x="237" y="552"/>
                      <a:pt x="237" y="552"/>
                    </a:cubicBezTo>
                    <a:cubicBezTo>
                      <a:pt x="250" y="542"/>
                      <a:pt x="250" y="542"/>
                      <a:pt x="250" y="542"/>
                    </a:cubicBezTo>
                    <a:cubicBezTo>
                      <a:pt x="251" y="541"/>
                      <a:pt x="251" y="541"/>
                      <a:pt x="251" y="541"/>
                    </a:cubicBezTo>
                    <a:cubicBezTo>
                      <a:pt x="261" y="546"/>
                      <a:pt x="261" y="546"/>
                      <a:pt x="261" y="546"/>
                    </a:cubicBezTo>
                    <a:cubicBezTo>
                      <a:pt x="261" y="546"/>
                      <a:pt x="261" y="546"/>
                      <a:pt x="261" y="546"/>
                    </a:cubicBezTo>
                    <a:cubicBezTo>
                      <a:pt x="267" y="550"/>
                      <a:pt x="270" y="553"/>
                      <a:pt x="270" y="555"/>
                    </a:cubicBezTo>
                    <a:cubicBezTo>
                      <a:pt x="269" y="564"/>
                      <a:pt x="269" y="564"/>
                      <a:pt x="269" y="564"/>
                    </a:cubicBezTo>
                    <a:cubicBezTo>
                      <a:pt x="265" y="570"/>
                      <a:pt x="265" y="570"/>
                      <a:pt x="265" y="570"/>
                    </a:cubicBezTo>
                    <a:cubicBezTo>
                      <a:pt x="263" y="578"/>
                      <a:pt x="263" y="578"/>
                      <a:pt x="263" y="578"/>
                    </a:cubicBezTo>
                    <a:cubicBezTo>
                      <a:pt x="263" y="586"/>
                      <a:pt x="263" y="586"/>
                      <a:pt x="263" y="586"/>
                    </a:cubicBezTo>
                    <a:cubicBezTo>
                      <a:pt x="265" y="590"/>
                      <a:pt x="265" y="590"/>
                      <a:pt x="265" y="590"/>
                    </a:cubicBezTo>
                    <a:cubicBezTo>
                      <a:pt x="269" y="590"/>
                      <a:pt x="269" y="590"/>
                      <a:pt x="269" y="590"/>
                    </a:cubicBezTo>
                    <a:cubicBezTo>
                      <a:pt x="270" y="590"/>
                      <a:pt x="270" y="590"/>
                      <a:pt x="270" y="590"/>
                    </a:cubicBezTo>
                    <a:cubicBezTo>
                      <a:pt x="276" y="590"/>
                      <a:pt x="276" y="590"/>
                      <a:pt x="276" y="590"/>
                    </a:cubicBezTo>
                    <a:cubicBezTo>
                      <a:pt x="279" y="592"/>
                      <a:pt x="281" y="594"/>
                      <a:pt x="283" y="598"/>
                    </a:cubicBezTo>
                    <a:cubicBezTo>
                      <a:pt x="286" y="600"/>
                      <a:pt x="286" y="600"/>
                      <a:pt x="286" y="600"/>
                    </a:cubicBezTo>
                    <a:cubicBezTo>
                      <a:pt x="287" y="600"/>
                      <a:pt x="287" y="600"/>
                      <a:pt x="287" y="600"/>
                    </a:cubicBezTo>
                    <a:cubicBezTo>
                      <a:pt x="287" y="600"/>
                      <a:pt x="287" y="600"/>
                      <a:pt x="287" y="600"/>
                    </a:cubicBezTo>
                    <a:cubicBezTo>
                      <a:pt x="287" y="600"/>
                      <a:pt x="287" y="600"/>
                      <a:pt x="287" y="600"/>
                    </a:cubicBezTo>
                    <a:cubicBezTo>
                      <a:pt x="301" y="606"/>
                      <a:pt x="301" y="606"/>
                      <a:pt x="301" y="606"/>
                    </a:cubicBezTo>
                    <a:cubicBezTo>
                      <a:pt x="307" y="608"/>
                      <a:pt x="307" y="608"/>
                      <a:pt x="307" y="608"/>
                    </a:cubicBezTo>
                    <a:cubicBezTo>
                      <a:pt x="315" y="607"/>
                      <a:pt x="315" y="607"/>
                      <a:pt x="315" y="607"/>
                    </a:cubicBezTo>
                    <a:cubicBezTo>
                      <a:pt x="319" y="602"/>
                      <a:pt x="319" y="602"/>
                      <a:pt x="319" y="602"/>
                    </a:cubicBezTo>
                    <a:cubicBezTo>
                      <a:pt x="323" y="582"/>
                      <a:pt x="323" y="582"/>
                      <a:pt x="323" y="582"/>
                    </a:cubicBezTo>
                    <a:cubicBezTo>
                      <a:pt x="324" y="572"/>
                      <a:pt x="324" y="572"/>
                      <a:pt x="324" y="572"/>
                    </a:cubicBezTo>
                    <a:cubicBezTo>
                      <a:pt x="324" y="571"/>
                      <a:pt x="324" y="571"/>
                      <a:pt x="324" y="571"/>
                    </a:cubicBezTo>
                    <a:cubicBezTo>
                      <a:pt x="325" y="570"/>
                      <a:pt x="325" y="570"/>
                      <a:pt x="325" y="570"/>
                    </a:cubicBezTo>
                    <a:cubicBezTo>
                      <a:pt x="325" y="570"/>
                      <a:pt x="325" y="570"/>
                      <a:pt x="325" y="570"/>
                    </a:cubicBezTo>
                    <a:cubicBezTo>
                      <a:pt x="333" y="564"/>
                      <a:pt x="333" y="564"/>
                      <a:pt x="333" y="564"/>
                    </a:cubicBezTo>
                    <a:cubicBezTo>
                      <a:pt x="337" y="558"/>
                      <a:pt x="337" y="558"/>
                      <a:pt x="337" y="558"/>
                    </a:cubicBezTo>
                    <a:cubicBezTo>
                      <a:pt x="337" y="558"/>
                      <a:pt x="337" y="558"/>
                      <a:pt x="337" y="558"/>
                    </a:cubicBezTo>
                    <a:cubicBezTo>
                      <a:pt x="345" y="554"/>
                      <a:pt x="345" y="554"/>
                      <a:pt x="345" y="554"/>
                    </a:cubicBezTo>
                    <a:cubicBezTo>
                      <a:pt x="350" y="551"/>
                      <a:pt x="350" y="551"/>
                      <a:pt x="350" y="551"/>
                    </a:cubicBezTo>
                    <a:cubicBezTo>
                      <a:pt x="356" y="549"/>
                      <a:pt x="356" y="549"/>
                      <a:pt x="356" y="549"/>
                    </a:cubicBezTo>
                    <a:cubicBezTo>
                      <a:pt x="353" y="537"/>
                      <a:pt x="353" y="537"/>
                      <a:pt x="353" y="537"/>
                    </a:cubicBezTo>
                    <a:cubicBezTo>
                      <a:pt x="367" y="538"/>
                      <a:pt x="367" y="538"/>
                      <a:pt x="367" y="538"/>
                    </a:cubicBezTo>
                    <a:cubicBezTo>
                      <a:pt x="367" y="538"/>
                      <a:pt x="367" y="538"/>
                      <a:pt x="367" y="538"/>
                    </a:cubicBezTo>
                    <a:cubicBezTo>
                      <a:pt x="367" y="539"/>
                      <a:pt x="367" y="539"/>
                      <a:pt x="367" y="539"/>
                    </a:cubicBezTo>
                    <a:cubicBezTo>
                      <a:pt x="367" y="539"/>
                      <a:pt x="367" y="539"/>
                      <a:pt x="367" y="539"/>
                    </a:cubicBezTo>
                    <a:cubicBezTo>
                      <a:pt x="374" y="542"/>
                      <a:pt x="374" y="542"/>
                      <a:pt x="374" y="542"/>
                    </a:cubicBezTo>
                    <a:cubicBezTo>
                      <a:pt x="374" y="542"/>
                      <a:pt x="374" y="542"/>
                      <a:pt x="374" y="542"/>
                    </a:cubicBezTo>
                    <a:cubicBezTo>
                      <a:pt x="374" y="541"/>
                      <a:pt x="374" y="541"/>
                      <a:pt x="374" y="541"/>
                    </a:cubicBezTo>
                    <a:cubicBezTo>
                      <a:pt x="376" y="534"/>
                      <a:pt x="376" y="534"/>
                      <a:pt x="376" y="534"/>
                    </a:cubicBezTo>
                    <a:cubicBezTo>
                      <a:pt x="376" y="532"/>
                      <a:pt x="376" y="532"/>
                      <a:pt x="376" y="532"/>
                    </a:cubicBezTo>
                    <a:cubicBezTo>
                      <a:pt x="377" y="533"/>
                      <a:pt x="377" y="533"/>
                      <a:pt x="377" y="533"/>
                    </a:cubicBezTo>
                    <a:cubicBezTo>
                      <a:pt x="378" y="533"/>
                      <a:pt x="378" y="533"/>
                      <a:pt x="378" y="533"/>
                    </a:cubicBezTo>
                    <a:cubicBezTo>
                      <a:pt x="384" y="534"/>
                      <a:pt x="384" y="534"/>
                      <a:pt x="384" y="534"/>
                    </a:cubicBezTo>
                    <a:cubicBezTo>
                      <a:pt x="387" y="534"/>
                      <a:pt x="387" y="534"/>
                      <a:pt x="387" y="534"/>
                    </a:cubicBezTo>
                    <a:cubicBezTo>
                      <a:pt x="393" y="528"/>
                      <a:pt x="393" y="528"/>
                      <a:pt x="393" y="528"/>
                    </a:cubicBezTo>
                    <a:cubicBezTo>
                      <a:pt x="394" y="528"/>
                      <a:pt x="394" y="528"/>
                      <a:pt x="394" y="528"/>
                    </a:cubicBezTo>
                    <a:cubicBezTo>
                      <a:pt x="394" y="527"/>
                      <a:pt x="394" y="527"/>
                      <a:pt x="394" y="527"/>
                    </a:cubicBezTo>
                    <a:cubicBezTo>
                      <a:pt x="395" y="527"/>
                      <a:pt x="395" y="527"/>
                      <a:pt x="395" y="527"/>
                    </a:cubicBezTo>
                    <a:cubicBezTo>
                      <a:pt x="403" y="526"/>
                      <a:pt x="403" y="526"/>
                      <a:pt x="403" y="526"/>
                    </a:cubicBezTo>
                    <a:cubicBezTo>
                      <a:pt x="409" y="519"/>
                      <a:pt x="409" y="519"/>
                      <a:pt x="409" y="519"/>
                    </a:cubicBezTo>
                    <a:cubicBezTo>
                      <a:pt x="413" y="514"/>
                      <a:pt x="413" y="514"/>
                      <a:pt x="413" y="514"/>
                    </a:cubicBezTo>
                    <a:cubicBezTo>
                      <a:pt x="413" y="508"/>
                      <a:pt x="413" y="508"/>
                      <a:pt x="413" y="508"/>
                    </a:cubicBezTo>
                    <a:cubicBezTo>
                      <a:pt x="413" y="505"/>
                      <a:pt x="414" y="504"/>
                      <a:pt x="417" y="502"/>
                    </a:cubicBezTo>
                    <a:cubicBezTo>
                      <a:pt x="417" y="502"/>
                      <a:pt x="417" y="502"/>
                      <a:pt x="417" y="502"/>
                    </a:cubicBezTo>
                    <a:cubicBezTo>
                      <a:pt x="417" y="502"/>
                      <a:pt x="417" y="502"/>
                      <a:pt x="417" y="502"/>
                    </a:cubicBezTo>
                    <a:cubicBezTo>
                      <a:pt x="418" y="502"/>
                      <a:pt x="418" y="502"/>
                      <a:pt x="418" y="502"/>
                    </a:cubicBezTo>
                    <a:cubicBezTo>
                      <a:pt x="425" y="503"/>
                      <a:pt x="425" y="503"/>
                      <a:pt x="425" y="503"/>
                    </a:cubicBezTo>
                    <a:cubicBezTo>
                      <a:pt x="429" y="501"/>
                      <a:pt x="429" y="501"/>
                      <a:pt x="429" y="501"/>
                    </a:cubicBezTo>
                    <a:cubicBezTo>
                      <a:pt x="430" y="496"/>
                      <a:pt x="430" y="496"/>
                      <a:pt x="430" y="496"/>
                    </a:cubicBezTo>
                    <a:cubicBezTo>
                      <a:pt x="438" y="493"/>
                      <a:pt x="438" y="493"/>
                      <a:pt x="438" y="493"/>
                    </a:cubicBezTo>
                    <a:cubicBezTo>
                      <a:pt x="438" y="493"/>
                      <a:pt x="438" y="493"/>
                      <a:pt x="438" y="493"/>
                    </a:cubicBezTo>
                    <a:cubicBezTo>
                      <a:pt x="439" y="493"/>
                      <a:pt x="439" y="493"/>
                      <a:pt x="439" y="493"/>
                    </a:cubicBezTo>
                    <a:cubicBezTo>
                      <a:pt x="439" y="493"/>
                      <a:pt x="439" y="493"/>
                      <a:pt x="439" y="493"/>
                    </a:cubicBezTo>
                    <a:cubicBezTo>
                      <a:pt x="449" y="494"/>
                      <a:pt x="449" y="494"/>
                      <a:pt x="449" y="494"/>
                    </a:cubicBezTo>
                    <a:cubicBezTo>
                      <a:pt x="457" y="492"/>
                      <a:pt x="457" y="492"/>
                      <a:pt x="457" y="492"/>
                    </a:cubicBezTo>
                    <a:cubicBezTo>
                      <a:pt x="461" y="488"/>
                      <a:pt x="461" y="488"/>
                      <a:pt x="461" y="488"/>
                    </a:cubicBezTo>
                    <a:cubicBezTo>
                      <a:pt x="465" y="481"/>
                      <a:pt x="465" y="481"/>
                      <a:pt x="465" y="481"/>
                    </a:cubicBezTo>
                    <a:cubicBezTo>
                      <a:pt x="459" y="475"/>
                      <a:pt x="459" y="475"/>
                      <a:pt x="459" y="475"/>
                    </a:cubicBezTo>
                    <a:cubicBezTo>
                      <a:pt x="459" y="474"/>
                      <a:pt x="459" y="474"/>
                      <a:pt x="459" y="474"/>
                    </a:cubicBezTo>
                    <a:cubicBezTo>
                      <a:pt x="459" y="474"/>
                      <a:pt x="459" y="474"/>
                      <a:pt x="459" y="474"/>
                    </a:cubicBezTo>
                    <a:cubicBezTo>
                      <a:pt x="457" y="470"/>
                      <a:pt x="457" y="470"/>
                      <a:pt x="457" y="470"/>
                    </a:cubicBezTo>
                    <a:cubicBezTo>
                      <a:pt x="457" y="470"/>
                      <a:pt x="457" y="470"/>
                      <a:pt x="457" y="470"/>
                    </a:cubicBezTo>
                    <a:cubicBezTo>
                      <a:pt x="456" y="462"/>
                      <a:pt x="456" y="462"/>
                      <a:pt x="456" y="462"/>
                    </a:cubicBezTo>
                    <a:cubicBezTo>
                      <a:pt x="456" y="462"/>
                      <a:pt x="456" y="462"/>
                      <a:pt x="456" y="462"/>
                    </a:cubicBezTo>
                    <a:cubicBezTo>
                      <a:pt x="459" y="456"/>
                      <a:pt x="459" y="456"/>
                      <a:pt x="459" y="456"/>
                    </a:cubicBezTo>
                    <a:cubicBezTo>
                      <a:pt x="459" y="454"/>
                      <a:pt x="461" y="451"/>
                      <a:pt x="464" y="448"/>
                    </a:cubicBezTo>
                    <a:cubicBezTo>
                      <a:pt x="468" y="439"/>
                      <a:pt x="468" y="439"/>
                      <a:pt x="468" y="439"/>
                    </a:cubicBezTo>
                    <a:cubicBezTo>
                      <a:pt x="468" y="438"/>
                      <a:pt x="468" y="438"/>
                      <a:pt x="468" y="438"/>
                    </a:cubicBezTo>
                    <a:cubicBezTo>
                      <a:pt x="469" y="438"/>
                      <a:pt x="469" y="438"/>
                      <a:pt x="469" y="438"/>
                    </a:cubicBezTo>
                    <a:cubicBezTo>
                      <a:pt x="473" y="432"/>
                      <a:pt x="473" y="432"/>
                      <a:pt x="473" y="432"/>
                    </a:cubicBezTo>
                    <a:cubicBezTo>
                      <a:pt x="479" y="420"/>
                      <a:pt x="479" y="420"/>
                      <a:pt x="479" y="420"/>
                    </a:cubicBezTo>
                    <a:cubicBezTo>
                      <a:pt x="484" y="428"/>
                      <a:pt x="484" y="428"/>
                      <a:pt x="484" y="428"/>
                    </a:cubicBezTo>
                    <a:cubicBezTo>
                      <a:pt x="485" y="428"/>
                      <a:pt x="485" y="428"/>
                      <a:pt x="485" y="428"/>
                    </a:cubicBezTo>
                    <a:cubicBezTo>
                      <a:pt x="485" y="429"/>
                      <a:pt x="485" y="429"/>
                      <a:pt x="485" y="429"/>
                    </a:cubicBezTo>
                    <a:cubicBezTo>
                      <a:pt x="487" y="437"/>
                      <a:pt x="487" y="437"/>
                      <a:pt x="487" y="437"/>
                    </a:cubicBezTo>
                    <a:cubicBezTo>
                      <a:pt x="487" y="437"/>
                      <a:pt x="487" y="437"/>
                      <a:pt x="487" y="437"/>
                    </a:cubicBezTo>
                    <a:cubicBezTo>
                      <a:pt x="488" y="445"/>
                      <a:pt x="488" y="445"/>
                      <a:pt x="488" y="445"/>
                    </a:cubicBezTo>
                    <a:cubicBezTo>
                      <a:pt x="493" y="448"/>
                      <a:pt x="493" y="448"/>
                      <a:pt x="493" y="448"/>
                    </a:cubicBezTo>
                    <a:cubicBezTo>
                      <a:pt x="494" y="448"/>
                      <a:pt x="494" y="448"/>
                      <a:pt x="494" y="448"/>
                    </a:cubicBezTo>
                    <a:cubicBezTo>
                      <a:pt x="494" y="448"/>
                      <a:pt x="494" y="448"/>
                      <a:pt x="494" y="448"/>
                    </a:cubicBezTo>
                    <a:cubicBezTo>
                      <a:pt x="494" y="448"/>
                      <a:pt x="494" y="448"/>
                      <a:pt x="494" y="448"/>
                    </a:cubicBezTo>
                    <a:cubicBezTo>
                      <a:pt x="495" y="448"/>
                      <a:pt x="495" y="448"/>
                      <a:pt x="495" y="448"/>
                    </a:cubicBezTo>
                    <a:cubicBezTo>
                      <a:pt x="496" y="448"/>
                      <a:pt x="496" y="448"/>
                      <a:pt x="496" y="448"/>
                    </a:cubicBezTo>
                    <a:cubicBezTo>
                      <a:pt x="501" y="440"/>
                      <a:pt x="501" y="440"/>
                      <a:pt x="501" y="440"/>
                    </a:cubicBezTo>
                    <a:cubicBezTo>
                      <a:pt x="503" y="432"/>
                      <a:pt x="503" y="432"/>
                      <a:pt x="503" y="432"/>
                    </a:cubicBezTo>
                    <a:cubicBezTo>
                      <a:pt x="505" y="432"/>
                      <a:pt x="505" y="432"/>
                      <a:pt x="505" y="432"/>
                    </a:cubicBezTo>
                    <a:cubicBezTo>
                      <a:pt x="506" y="432"/>
                      <a:pt x="506" y="432"/>
                      <a:pt x="506" y="432"/>
                    </a:cubicBezTo>
                    <a:cubicBezTo>
                      <a:pt x="517" y="436"/>
                      <a:pt x="517" y="436"/>
                      <a:pt x="517" y="436"/>
                    </a:cubicBezTo>
                    <a:cubicBezTo>
                      <a:pt x="523" y="432"/>
                      <a:pt x="523" y="432"/>
                      <a:pt x="523" y="432"/>
                    </a:cubicBezTo>
                    <a:cubicBezTo>
                      <a:pt x="523" y="432"/>
                      <a:pt x="523" y="432"/>
                      <a:pt x="523" y="432"/>
                    </a:cubicBezTo>
                    <a:cubicBezTo>
                      <a:pt x="524" y="432"/>
                      <a:pt x="524" y="432"/>
                      <a:pt x="524" y="432"/>
                    </a:cubicBezTo>
                    <a:cubicBezTo>
                      <a:pt x="530" y="431"/>
                      <a:pt x="530" y="431"/>
                      <a:pt x="530" y="431"/>
                    </a:cubicBezTo>
                    <a:cubicBezTo>
                      <a:pt x="534" y="424"/>
                      <a:pt x="534" y="424"/>
                      <a:pt x="534" y="424"/>
                    </a:cubicBezTo>
                    <a:cubicBezTo>
                      <a:pt x="534" y="416"/>
                      <a:pt x="534" y="416"/>
                      <a:pt x="534" y="416"/>
                    </a:cubicBezTo>
                    <a:cubicBezTo>
                      <a:pt x="537" y="403"/>
                      <a:pt x="537" y="403"/>
                      <a:pt x="537" y="403"/>
                    </a:cubicBezTo>
                    <a:cubicBezTo>
                      <a:pt x="537" y="404"/>
                      <a:pt x="537" y="404"/>
                      <a:pt x="537" y="404"/>
                    </a:cubicBezTo>
                    <a:cubicBezTo>
                      <a:pt x="539" y="404"/>
                      <a:pt x="539" y="404"/>
                      <a:pt x="539" y="404"/>
                    </a:cubicBezTo>
                    <a:cubicBezTo>
                      <a:pt x="547" y="406"/>
                      <a:pt x="547" y="406"/>
                      <a:pt x="547" y="406"/>
                    </a:cubicBezTo>
                    <a:cubicBezTo>
                      <a:pt x="551" y="398"/>
                      <a:pt x="551" y="398"/>
                      <a:pt x="551" y="398"/>
                    </a:cubicBezTo>
                    <a:cubicBezTo>
                      <a:pt x="552" y="398"/>
                      <a:pt x="552" y="398"/>
                      <a:pt x="552" y="398"/>
                    </a:cubicBezTo>
                    <a:cubicBezTo>
                      <a:pt x="553" y="398"/>
                      <a:pt x="553" y="398"/>
                      <a:pt x="553" y="398"/>
                    </a:cubicBezTo>
                    <a:cubicBezTo>
                      <a:pt x="561" y="398"/>
                      <a:pt x="561" y="398"/>
                      <a:pt x="561" y="398"/>
                    </a:cubicBezTo>
                    <a:cubicBezTo>
                      <a:pt x="562" y="398"/>
                      <a:pt x="562" y="398"/>
                      <a:pt x="562" y="398"/>
                    </a:cubicBezTo>
                    <a:cubicBezTo>
                      <a:pt x="562" y="398"/>
                      <a:pt x="562" y="398"/>
                      <a:pt x="562" y="398"/>
                    </a:cubicBezTo>
                    <a:cubicBezTo>
                      <a:pt x="563" y="398"/>
                      <a:pt x="563" y="398"/>
                      <a:pt x="563" y="398"/>
                    </a:cubicBezTo>
                    <a:cubicBezTo>
                      <a:pt x="567" y="404"/>
                      <a:pt x="567" y="404"/>
                      <a:pt x="567" y="404"/>
                    </a:cubicBezTo>
                    <a:cubicBezTo>
                      <a:pt x="567" y="404"/>
                      <a:pt x="567" y="404"/>
                      <a:pt x="567" y="404"/>
                    </a:cubicBezTo>
                    <a:cubicBezTo>
                      <a:pt x="567" y="405"/>
                      <a:pt x="567" y="405"/>
                      <a:pt x="567" y="405"/>
                    </a:cubicBezTo>
                    <a:cubicBezTo>
                      <a:pt x="567" y="406"/>
                      <a:pt x="567" y="406"/>
                      <a:pt x="567" y="406"/>
                    </a:cubicBezTo>
                    <a:cubicBezTo>
                      <a:pt x="568" y="414"/>
                      <a:pt x="568" y="414"/>
                      <a:pt x="568" y="414"/>
                    </a:cubicBezTo>
                    <a:cubicBezTo>
                      <a:pt x="572" y="417"/>
                      <a:pt x="572" y="417"/>
                      <a:pt x="572" y="417"/>
                    </a:cubicBezTo>
                    <a:cubicBezTo>
                      <a:pt x="577" y="412"/>
                      <a:pt x="577" y="412"/>
                      <a:pt x="577" y="412"/>
                    </a:cubicBezTo>
                    <a:cubicBezTo>
                      <a:pt x="579" y="414"/>
                      <a:pt x="579" y="414"/>
                      <a:pt x="579" y="414"/>
                    </a:cubicBezTo>
                    <a:cubicBezTo>
                      <a:pt x="581" y="416"/>
                      <a:pt x="581" y="418"/>
                      <a:pt x="581" y="420"/>
                    </a:cubicBezTo>
                    <a:cubicBezTo>
                      <a:pt x="581" y="427"/>
                      <a:pt x="581" y="427"/>
                      <a:pt x="581" y="427"/>
                    </a:cubicBezTo>
                    <a:cubicBezTo>
                      <a:pt x="579" y="434"/>
                      <a:pt x="579" y="434"/>
                      <a:pt x="579" y="434"/>
                    </a:cubicBezTo>
                    <a:cubicBezTo>
                      <a:pt x="581" y="438"/>
                      <a:pt x="581" y="438"/>
                      <a:pt x="581" y="438"/>
                    </a:cubicBezTo>
                    <a:cubicBezTo>
                      <a:pt x="585" y="442"/>
                      <a:pt x="585" y="442"/>
                      <a:pt x="585" y="442"/>
                    </a:cubicBezTo>
                    <a:cubicBezTo>
                      <a:pt x="601" y="444"/>
                      <a:pt x="601" y="444"/>
                      <a:pt x="601" y="444"/>
                    </a:cubicBezTo>
                    <a:cubicBezTo>
                      <a:pt x="602" y="445"/>
                      <a:pt x="602" y="445"/>
                      <a:pt x="602" y="445"/>
                    </a:cubicBezTo>
                    <a:cubicBezTo>
                      <a:pt x="602" y="445"/>
                      <a:pt x="602" y="445"/>
                      <a:pt x="602" y="445"/>
                    </a:cubicBezTo>
                    <a:cubicBezTo>
                      <a:pt x="603" y="445"/>
                      <a:pt x="603" y="445"/>
                      <a:pt x="603" y="445"/>
                    </a:cubicBezTo>
                    <a:cubicBezTo>
                      <a:pt x="603" y="445"/>
                      <a:pt x="603" y="445"/>
                      <a:pt x="603" y="445"/>
                    </a:cubicBezTo>
                    <a:cubicBezTo>
                      <a:pt x="604" y="446"/>
                      <a:pt x="604" y="446"/>
                      <a:pt x="604" y="446"/>
                    </a:cubicBezTo>
                    <a:cubicBezTo>
                      <a:pt x="609" y="440"/>
                      <a:pt x="609" y="440"/>
                      <a:pt x="609" y="440"/>
                    </a:cubicBezTo>
                    <a:cubicBezTo>
                      <a:pt x="609" y="440"/>
                      <a:pt x="609" y="440"/>
                      <a:pt x="609" y="440"/>
                    </a:cubicBezTo>
                    <a:cubicBezTo>
                      <a:pt x="613" y="436"/>
                      <a:pt x="613" y="436"/>
                      <a:pt x="613" y="436"/>
                    </a:cubicBezTo>
                    <a:cubicBezTo>
                      <a:pt x="611" y="430"/>
                      <a:pt x="611" y="430"/>
                      <a:pt x="611" y="430"/>
                    </a:cubicBezTo>
                    <a:cubicBezTo>
                      <a:pt x="607" y="404"/>
                      <a:pt x="607" y="404"/>
                      <a:pt x="607" y="404"/>
                    </a:cubicBezTo>
                    <a:cubicBezTo>
                      <a:pt x="619" y="410"/>
                      <a:pt x="619" y="410"/>
                      <a:pt x="619" y="410"/>
                    </a:cubicBezTo>
                    <a:cubicBezTo>
                      <a:pt x="619" y="410"/>
                      <a:pt x="619" y="410"/>
                      <a:pt x="619" y="410"/>
                    </a:cubicBezTo>
                    <a:cubicBezTo>
                      <a:pt x="619" y="410"/>
                      <a:pt x="619" y="410"/>
                      <a:pt x="619" y="410"/>
                    </a:cubicBezTo>
                    <a:cubicBezTo>
                      <a:pt x="625" y="416"/>
                      <a:pt x="625" y="416"/>
                      <a:pt x="625" y="416"/>
                    </a:cubicBezTo>
                    <a:cubicBezTo>
                      <a:pt x="628" y="419"/>
                      <a:pt x="628" y="419"/>
                      <a:pt x="628" y="419"/>
                    </a:cubicBezTo>
                    <a:cubicBezTo>
                      <a:pt x="633" y="416"/>
                      <a:pt x="633" y="416"/>
                      <a:pt x="633" y="416"/>
                    </a:cubicBezTo>
                    <a:cubicBezTo>
                      <a:pt x="649" y="398"/>
                      <a:pt x="649" y="398"/>
                      <a:pt x="649" y="398"/>
                    </a:cubicBezTo>
                    <a:cubicBezTo>
                      <a:pt x="649" y="398"/>
                      <a:pt x="649" y="398"/>
                      <a:pt x="649" y="398"/>
                    </a:cubicBezTo>
                    <a:cubicBezTo>
                      <a:pt x="650" y="398"/>
                      <a:pt x="650" y="398"/>
                      <a:pt x="650" y="398"/>
                    </a:cubicBezTo>
                    <a:cubicBezTo>
                      <a:pt x="656" y="393"/>
                      <a:pt x="656" y="393"/>
                      <a:pt x="656" y="393"/>
                    </a:cubicBezTo>
                    <a:cubicBezTo>
                      <a:pt x="663" y="384"/>
                      <a:pt x="663" y="384"/>
                      <a:pt x="663" y="384"/>
                    </a:cubicBezTo>
                    <a:cubicBezTo>
                      <a:pt x="663" y="383"/>
                      <a:pt x="663" y="383"/>
                      <a:pt x="663" y="383"/>
                    </a:cubicBezTo>
                    <a:cubicBezTo>
                      <a:pt x="672" y="385"/>
                      <a:pt x="672" y="385"/>
                      <a:pt x="672" y="385"/>
                    </a:cubicBezTo>
                    <a:cubicBezTo>
                      <a:pt x="677" y="385"/>
                      <a:pt x="677" y="385"/>
                      <a:pt x="677" y="385"/>
                    </a:cubicBezTo>
                    <a:cubicBezTo>
                      <a:pt x="677" y="382"/>
                      <a:pt x="677" y="379"/>
                      <a:pt x="678" y="378"/>
                    </a:cubicBezTo>
                    <a:cubicBezTo>
                      <a:pt x="685" y="370"/>
                      <a:pt x="685" y="370"/>
                      <a:pt x="685" y="370"/>
                    </a:cubicBezTo>
                    <a:cubicBezTo>
                      <a:pt x="687" y="368"/>
                      <a:pt x="687" y="368"/>
                      <a:pt x="687" y="368"/>
                    </a:cubicBezTo>
                    <a:cubicBezTo>
                      <a:pt x="695" y="371"/>
                      <a:pt x="695" y="371"/>
                      <a:pt x="695" y="371"/>
                    </a:cubicBezTo>
                    <a:cubicBezTo>
                      <a:pt x="704" y="370"/>
                      <a:pt x="704" y="370"/>
                      <a:pt x="704" y="370"/>
                    </a:cubicBezTo>
                    <a:cubicBezTo>
                      <a:pt x="711" y="363"/>
                      <a:pt x="711" y="363"/>
                      <a:pt x="711" y="363"/>
                    </a:cubicBezTo>
                    <a:cubicBezTo>
                      <a:pt x="714" y="357"/>
                      <a:pt x="714" y="357"/>
                      <a:pt x="714" y="357"/>
                    </a:cubicBezTo>
                    <a:cubicBezTo>
                      <a:pt x="712" y="354"/>
                      <a:pt x="712" y="354"/>
                      <a:pt x="712" y="354"/>
                    </a:cubicBezTo>
                    <a:cubicBezTo>
                      <a:pt x="706" y="357"/>
                      <a:pt x="706" y="357"/>
                      <a:pt x="706" y="357"/>
                    </a:cubicBezTo>
                    <a:cubicBezTo>
                      <a:pt x="706" y="356"/>
                      <a:pt x="706" y="356"/>
                      <a:pt x="706" y="356"/>
                    </a:cubicBezTo>
                    <a:cubicBezTo>
                      <a:pt x="705" y="356"/>
                      <a:pt x="705" y="356"/>
                      <a:pt x="705" y="356"/>
                    </a:cubicBezTo>
                    <a:cubicBezTo>
                      <a:pt x="698" y="350"/>
                      <a:pt x="698" y="350"/>
                      <a:pt x="698" y="350"/>
                    </a:cubicBezTo>
                    <a:cubicBezTo>
                      <a:pt x="698" y="349"/>
                      <a:pt x="698" y="349"/>
                      <a:pt x="698" y="349"/>
                    </a:cubicBezTo>
                    <a:cubicBezTo>
                      <a:pt x="701" y="338"/>
                      <a:pt x="701" y="338"/>
                      <a:pt x="701" y="338"/>
                    </a:cubicBezTo>
                    <a:cubicBezTo>
                      <a:pt x="701" y="330"/>
                      <a:pt x="701" y="330"/>
                      <a:pt x="701" y="330"/>
                    </a:cubicBezTo>
                    <a:cubicBezTo>
                      <a:pt x="699" y="324"/>
                      <a:pt x="699" y="324"/>
                      <a:pt x="699" y="324"/>
                    </a:cubicBezTo>
                    <a:cubicBezTo>
                      <a:pt x="694" y="322"/>
                      <a:pt x="694" y="322"/>
                      <a:pt x="694" y="322"/>
                    </a:cubicBezTo>
                    <a:cubicBezTo>
                      <a:pt x="694" y="321"/>
                      <a:pt x="694" y="321"/>
                      <a:pt x="694" y="321"/>
                    </a:cubicBezTo>
                    <a:cubicBezTo>
                      <a:pt x="693" y="321"/>
                      <a:pt x="693" y="321"/>
                      <a:pt x="693" y="321"/>
                    </a:cubicBezTo>
                    <a:cubicBezTo>
                      <a:pt x="693" y="320"/>
                      <a:pt x="693" y="320"/>
                      <a:pt x="693" y="320"/>
                    </a:cubicBezTo>
                    <a:cubicBezTo>
                      <a:pt x="688" y="311"/>
                      <a:pt x="688" y="311"/>
                      <a:pt x="688" y="311"/>
                    </a:cubicBezTo>
                    <a:cubicBezTo>
                      <a:pt x="687" y="310"/>
                      <a:pt x="687" y="310"/>
                      <a:pt x="687" y="310"/>
                    </a:cubicBezTo>
                    <a:cubicBezTo>
                      <a:pt x="681" y="318"/>
                      <a:pt x="681" y="318"/>
                      <a:pt x="681" y="318"/>
                    </a:cubicBezTo>
                    <a:cubicBezTo>
                      <a:pt x="674" y="322"/>
                      <a:pt x="674" y="322"/>
                      <a:pt x="674" y="322"/>
                    </a:cubicBezTo>
                    <a:cubicBezTo>
                      <a:pt x="672" y="323"/>
                      <a:pt x="672" y="323"/>
                      <a:pt x="672" y="323"/>
                    </a:cubicBezTo>
                    <a:cubicBezTo>
                      <a:pt x="672" y="322"/>
                      <a:pt x="672" y="322"/>
                      <a:pt x="672" y="322"/>
                    </a:cubicBezTo>
                    <a:cubicBezTo>
                      <a:pt x="671" y="322"/>
                      <a:pt x="671" y="322"/>
                      <a:pt x="671" y="322"/>
                    </a:cubicBezTo>
                    <a:cubicBezTo>
                      <a:pt x="664" y="315"/>
                      <a:pt x="664" y="315"/>
                      <a:pt x="664" y="315"/>
                    </a:cubicBezTo>
                    <a:cubicBezTo>
                      <a:pt x="664" y="314"/>
                      <a:pt x="664" y="314"/>
                      <a:pt x="664" y="314"/>
                    </a:cubicBezTo>
                    <a:cubicBezTo>
                      <a:pt x="659" y="303"/>
                      <a:pt x="659" y="303"/>
                      <a:pt x="659" y="303"/>
                    </a:cubicBezTo>
                    <a:cubicBezTo>
                      <a:pt x="659" y="303"/>
                      <a:pt x="659" y="303"/>
                      <a:pt x="659" y="303"/>
                    </a:cubicBezTo>
                    <a:cubicBezTo>
                      <a:pt x="657" y="295"/>
                      <a:pt x="657" y="295"/>
                      <a:pt x="657" y="295"/>
                    </a:cubicBezTo>
                    <a:cubicBezTo>
                      <a:pt x="657" y="294"/>
                      <a:pt x="657" y="294"/>
                      <a:pt x="657" y="294"/>
                    </a:cubicBezTo>
                    <a:cubicBezTo>
                      <a:pt x="657" y="294"/>
                      <a:pt x="657" y="294"/>
                      <a:pt x="657" y="294"/>
                    </a:cubicBezTo>
                    <a:cubicBezTo>
                      <a:pt x="657" y="282"/>
                      <a:pt x="657" y="282"/>
                      <a:pt x="657" y="282"/>
                    </a:cubicBezTo>
                    <a:cubicBezTo>
                      <a:pt x="656" y="275"/>
                      <a:pt x="656" y="275"/>
                      <a:pt x="656" y="275"/>
                    </a:cubicBezTo>
                    <a:cubicBezTo>
                      <a:pt x="650" y="273"/>
                      <a:pt x="650" y="273"/>
                      <a:pt x="650" y="273"/>
                    </a:cubicBezTo>
                    <a:cubicBezTo>
                      <a:pt x="650" y="273"/>
                      <a:pt x="650" y="273"/>
                      <a:pt x="650" y="273"/>
                    </a:cubicBezTo>
                    <a:cubicBezTo>
                      <a:pt x="650" y="273"/>
                      <a:pt x="650" y="273"/>
                      <a:pt x="650" y="273"/>
                    </a:cubicBezTo>
                    <a:cubicBezTo>
                      <a:pt x="637" y="263"/>
                      <a:pt x="637" y="263"/>
                      <a:pt x="637" y="263"/>
                    </a:cubicBezTo>
                    <a:cubicBezTo>
                      <a:pt x="638" y="262"/>
                      <a:pt x="638" y="262"/>
                      <a:pt x="638" y="262"/>
                    </a:cubicBezTo>
                    <a:cubicBezTo>
                      <a:pt x="644" y="255"/>
                      <a:pt x="644" y="255"/>
                      <a:pt x="644" y="255"/>
                    </a:cubicBezTo>
                    <a:cubicBezTo>
                      <a:pt x="644" y="255"/>
                      <a:pt x="644" y="255"/>
                      <a:pt x="644" y="255"/>
                    </a:cubicBezTo>
                    <a:cubicBezTo>
                      <a:pt x="644" y="254"/>
                      <a:pt x="644" y="254"/>
                      <a:pt x="644" y="254"/>
                    </a:cubicBezTo>
                    <a:cubicBezTo>
                      <a:pt x="645" y="254"/>
                      <a:pt x="645" y="254"/>
                      <a:pt x="645" y="254"/>
                    </a:cubicBezTo>
                    <a:cubicBezTo>
                      <a:pt x="645" y="254"/>
                      <a:pt x="645" y="254"/>
                      <a:pt x="645" y="254"/>
                    </a:cubicBezTo>
                    <a:cubicBezTo>
                      <a:pt x="651" y="254"/>
                      <a:pt x="651" y="254"/>
                      <a:pt x="651" y="254"/>
                    </a:cubicBezTo>
                    <a:cubicBezTo>
                      <a:pt x="652" y="254"/>
                      <a:pt x="652" y="254"/>
                      <a:pt x="652" y="254"/>
                    </a:cubicBezTo>
                    <a:cubicBezTo>
                      <a:pt x="654" y="254"/>
                      <a:pt x="656" y="255"/>
                      <a:pt x="657" y="257"/>
                    </a:cubicBezTo>
                    <a:cubicBezTo>
                      <a:pt x="663" y="261"/>
                      <a:pt x="663" y="261"/>
                      <a:pt x="663" y="261"/>
                    </a:cubicBezTo>
                    <a:cubicBezTo>
                      <a:pt x="669" y="256"/>
                      <a:pt x="669" y="256"/>
                      <a:pt x="669" y="256"/>
                    </a:cubicBezTo>
                    <a:cubicBezTo>
                      <a:pt x="673" y="250"/>
                      <a:pt x="673" y="250"/>
                      <a:pt x="673" y="250"/>
                    </a:cubicBezTo>
                    <a:cubicBezTo>
                      <a:pt x="673" y="245"/>
                      <a:pt x="673" y="245"/>
                      <a:pt x="673" y="245"/>
                    </a:cubicBezTo>
                    <a:cubicBezTo>
                      <a:pt x="672" y="232"/>
                      <a:pt x="672" y="232"/>
                      <a:pt x="672" y="232"/>
                    </a:cubicBezTo>
                    <a:cubicBezTo>
                      <a:pt x="671" y="227"/>
                      <a:pt x="671" y="227"/>
                      <a:pt x="671" y="227"/>
                    </a:cubicBezTo>
                    <a:cubicBezTo>
                      <a:pt x="662" y="226"/>
                      <a:pt x="662" y="226"/>
                      <a:pt x="662" y="226"/>
                    </a:cubicBezTo>
                    <a:cubicBezTo>
                      <a:pt x="662" y="220"/>
                      <a:pt x="662" y="220"/>
                      <a:pt x="662" y="220"/>
                    </a:cubicBezTo>
                    <a:cubicBezTo>
                      <a:pt x="654" y="210"/>
                      <a:pt x="654" y="210"/>
                      <a:pt x="654" y="210"/>
                    </a:cubicBezTo>
                    <a:cubicBezTo>
                      <a:pt x="653" y="210"/>
                      <a:pt x="653" y="210"/>
                      <a:pt x="653" y="210"/>
                    </a:cubicBezTo>
                    <a:cubicBezTo>
                      <a:pt x="649" y="203"/>
                      <a:pt x="649" y="203"/>
                      <a:pt x="649" y="203"/>
                    </a:cubicBezTo>
                    <a:cubicBezTo>
                      <a:pt x="649" y="202"/>
                      <a:pt x="649" y="202"/>
                      <a:pt x="649" y="202"/>
                    </a:cubicBezTo>
                    <a:cubicBezTo>
                      <a:pt x="649" y="201"/>
                      <a:pt x="649" y="201"/>
                      <a:pt x="649" y="201"/>
                    </a:cubicBezTo>
                    <a:cubicBezTo>
                      <a:pt x="649" y="201"/>
                      <a:pt x="649" y="201"/>
                      <a:pt x="649" y="201"/>
                    </a:cubicBezTo>
                    <a:cubicBezTo>
                      <a:pt x="657" y="190"/>
                      <a:pt x="657" y="190"/>
                      <a:pt x="657" y="190"/>
                    </a:cubicBezTo>
                    <a:cubicBezTo>
                      <a:pt x="657" y="189"/>
                      <a:pt x="657" y="189"/>
                      <a:pt x="657" y="189"/>
                    </a:cubicBezTo>
                    <a:cubicBezTo>
                      <a:pt x="658" y="189"/>
                      <a:pt x="658" y="189"/>
                      <a:pt x="658" y="189"/>
                    </a:cubicBezTo>
                    <a:cubicBezTo>
                      <a:pt x="658" y="188"/>
                      <a:pt x="658" y="188"/>
                      <a:pt x="658" y="188"/>
                    </a:cubicBezTo>
                    <a:cubicBezTo>
                      <a:pt x="659" y="188"/>
                      <a:pt x="659" y="188"/>
                      <a:pt x="659" y="188"/>
                    </a:cubicBezTo>
                    <a:cubicBezTo>
                      <a:pt x="662" y="188"/>
                      <a:pt x="662" y="188"/>
                      <a:pt x="662" y="188"/>
                    </a:cubicBezTo>
                    <a:cubicBezTo>
                      <a:pt x="667" y="184"/>
                      <a:pt x="667" y="184"/>
                      <a:pt x="667" y="184"/>
                    </a:cubicBezTo>
                    <a:cubicBezTo>
                      <a:pt x="672" y="168"/>
                      <a:pt x="672" y="168"/>
                      <a:pt x="672" y="168"/>
                    </a:cubicBezTo>
                    <a:cubicBezTo>
                      <a:pt x="672" y="168"/>
                      <a:pt x="672" y="168"/>
                      <a:pt x="672" y="168"/>
                    </a:cubicBezTo>
                    <a:cubicBezTo>
                      <a:pt x="672" y="168"/>
                      <a:pt x="672" y="168"/>
                      <a:pt x="672" y="168"/>
                    </a:cubicBezTo>
                    <a:cubicBezTo>
                      <a:pt x="679" y="161"/>
                      <a:pt x="679" y="161"/>
                      <a:pt x="679" y="161"/>
                    </a:cubicBezTo>
                    <a:cubicBezTo>
                      <a:pt x="679" y="160"/>
                      <a:pt x="679" y="160"/>
                      <a:pt x="679" y="160"/>
                    </a:cubicBezTo>
                    <a:cubicBezTo>
                      <a:pt x="679" y="160"/>
                      <a:pt x="679" y="160"/>
                      <a:pt x="679" y="160"/>
                    </a:cubicBezTo>
                    <a:cubicBezTo>
                      <a:pt x="679" y="160"/>
                      <a:pt x="679" y="160"/>
                      <a:pt x="679" y="160"/>
                    </a:cubicBezTo>
                    <a:cubicBezTo>
                      <a:pt x="687" y="158"/>
                      <a:pt x="687" y="158"/>
                      <a:pt x="687" y="158"/>
                    </a:cubicBezTo>
                    <a:cubicBezTo>
                      <a:pt x="687" y="159"/>
                      <a:pt x="687" y="159"/>
                      <a:pt x="687" y="159"/>
                    </a:cubicBezTo>
                    <a:cubicBezTo>
                      <a:pt x="691" y="163"/>
                      <a:pt x="691" y="163"/>
                      <a:pt x="691" y="163"/>
                    </a:cubicBezTo>
                    <a:cubicBezTo>
                      <a:pt x="693" y="164"/>
                      <a:pt x="693" y="164"/>
                      <a:pt x="693" y="164"/>
                    </a:cubicBezTo>
                    <a:cubicBezTo>
                      <a:pt x="696" y="151"/>
                      <a:pt x="696" y="151"/>
                      <a:pt x="696" y="151"/>
                    </a:cubicBezTo>
                    <a:cubicBezTo>
                      <a:pt x="693" y="142"/>
                      <a:pt x="693" y="142"/>
                      <a:pt x="693" y="142"/>
                    </a:cubicBezTo>
                    <a:cubicBezTo>
                      <a:pt x="693" y="142"/>
                      <a:pt x="693" y="142"/>
                      <a:pt x="693" y="142"/>
                    </a:cubicBezTo>
                    <a:cubicBezTo>
                      <a:pt x="693" y="141"/>
                      <a:pt x="693" y="141"/>
                      <a:pt x="693" y="141"/>
                    </a:cubicBezTo>
                    <a:cubicBezTo>
                      <a:pt x="694" y="131"/>
                      <a:pt x="694" y="131"/>
                      <a:pt x="694" y="131"/>
                    </a:cubicBezTo>
                    <a:cubicBezTo>
                      <a:pt x="694" y="130"/>
                      <a:pt x="694" y="130"/>
                      <a:pt x="694" y="130"/>
                    </a:cubicBezTo>
                    <a:cubicBezTo>
                      <a:pt x="699" y="125"/>
                      <a:pt x="699" y="125"/>
                      <a:pt x="699" y="125"/>
                    </a:cubicBezTo>
                    <a:cubicBezTo>
                      <a:pt x="702" y="120"/>
                      <a:pt x="702" y="120"/>
                      <a:pt x="702" y="120"/>
                    </a:cubicBezTo>
                    <a:cubicBezTo>
                      <a:pt x="702" y="115"/>
                      <a:pt x="702" y="115"/>
                      <a:pt x="702" y="115"/>
                    </a:cubicBezTo>
                    <a:cubicBezTo>
                      <a:pt x="702" y="112"/>
                      <a:pt x="701" y="108"/>
                      <a:pt x="699" y="102"/>
                    </a:cubicBezTo>
                    <a:cubicBezTo>
                      <a:pt x="699" y="102"/>
                      <a:pt x="699" y="102"/>
                      <a:pt x="699" y="102"/>
                    </a:cubicBezTo>
                    <a:cubicBezTo>
                      <a:pt x="699" y="102"/>
                      <a:pt x="699" y="102"/>
                      <a:pt x="699" y="102"/>
                    </a:cubicBezTo>
                    <a:cubicBezTo>
                      <a:pt x="699" y="93"/>
                      <a:pt x="699" y="93"/>
                      <a:pt x="699" y="93"/>
                    </a:cubicBezTo>
                    <a:cubicBezTo>
                      <a:pt x="699" y="92"/>
                      <a:pt x="699" y="92"/>
                      <a:pt x="699" y="92"/>
                    </a:cubicBezTo>
                    <a:cubicBezTo>
                      <a:pt x="701" y="84"/>
                      <a:pt x="701" y="84"/>
                      <a:pt x="701" y="84"/>
                    </a:cubicBezTo>
                    <a:cubicBezTo>
                      <a:pt x="699" y="80"/>
                      <a:pt x="698" y="78"/>
                      <a:pt x="698" y="76"/>
                    </a:cubicBezTo>
                    <a:lnTo>
                      <a:pt x="699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3" name="ïsliḍê"/>
              <p:cNvSpPr/>
              <p:nvPr/>
            </p:nvSpPr>
            <p:spPr bwMode="auto">
              <a:xfrm>
                <a:off x="2244" y="1579"/>
                <a:ext cx="1080" cy="914"/>
              </a:xfrm>
              <a:custGeom>
                <a:avLst/>
                <a:gdLst>
                  <a:gd name="T0" fmla="*/ 268 w 456"/>
                  <a:gd name="T1" fmla="*/ 154 h 386"/>
                  <a:gd name="T2" fmla="*/ 258 w 456"/>
                  <a:gd name="T3" fmla="*/ 160 h 386"/>
                  <a:gd name="T4" fmla="*/ 222 w 456"/>
                  <a:gd name="T5" fmla="*/ 128 h 386"/>
                  <a:gd name="T6" fmla="*/ 196 w 456"/>
                  <a:gd name="T7" fmla="*/ 107 h 386"/>
                  <a:gd name="T8" fmla="*/ 199 w 456"/>
                  <a:gd name="T9" fmla="*/ 78 h 386"/>
                  <a:gd name="T10" fmla="*/ 170 w 456"/>
                  <a:gd name="T11" fmla="*/ 86 h 386"/>
                  <a:gd name="T12" fmla="*/ 148 w 456"/>
                  <a:gd name="T13" fmla="*/ 58 h 386"/>
                  <a:gd name="T14" fmla="*/ 138 w 456"/>
                  <a:gd name="T15" fmla="*/ 24 h 386"/>
                  <a:gd name="T16" fmla="*/ 128 w 456"/>
                  <a:gd name="T17" fmla="*/ 7 h 386"/>
                  <a:gd name="T18" fmla="*/ 105 w 456"/>
                  <a:gd name="T19" fmla="*/ 15 h 386"/>
                  <a:gd name="T20" fmla="*/ 89 w 456"/>
                  <a:gd name="T21" fmla="*/ 32 h 386"/>
                  <a:gd name="T22" fmla="*/ 49 w 456"/>
                  <a:gd name="T23" fmla="*/ 44 h 386"/>
                  <a:gd name="T24" fmla="*/ 25 w 456"/>
                  <a:gd name="T25" fmla="*/ 73 h 386"/>
                  <a:gd name="T26" fmla="*/ 2 w 456"/>
                  <a:gd name="T27" fmla="*/ 92 h 386"/>
                  <a:gd name="T28" fmla="*/ 33 w 456"/>
                  <a:gd name="T29" fmla="*/ 119 h 386"/>
                  <a:gd name="T30" fmla="*/ 56 w 456"/>
                  <a:gd name="T31" fmla="*/ 127 h 386"/>
                  <a:gd name="T32" fmla="*/ 112 w 456"/>
                  <a:gd name="T33" fmla="*/ 150 h 386"/>
                  <a:gd name="T34" fmla="*/ 152 w 456"/>
                  <a:gd name="T35" fmla="*/ 142 h 386"/>
                  <a:gd name="T36" fmla="*/ 186 w 456"/>
                  <a:gd name="T37" fmla="*/ 156 h 386"/>
                  <a:gd name="T38" fmla="*/ 216 w 456"/>
                  <a:gd name="T39" fmla="*/ 168 h 386"/>
                  <a:gd name="T40" fmla="*/ 262 w 456"/>
                  <a:gd name="T41" fmla="*/ 203 h 386"/>
                  <a:gd name="T42" fmla="*/ 274 w 456"/>
                  <a:gd name="T43" fmla="*/ 220 h 386"/>
                  <a:gd name="T44" fmla="*/ 271 w 456"/>
                  <a:gd name="T45" fmla="*/ 288 h 386"/>
                  <a:gd name="T46" fmla="*/ 252 w 456"/>
                  <a:gd name="T47" fmla="*/ 322 h 386"/>
                  <a:gd name="T48" fmla="*/ 224 w 456"/>
                  <a:gd name="T49" fmla="*/ 333 h 386"/>
                  <a:gd name="T50" fmla="*/ 250 w 456"/>
                  <a:gd name="T51" fmla="*/ 352 h 386"/>
                  <a:gd name="T52" fmla="*/ 262 w 456"/>
                  <a:gd name="T53" fmla="*/ 348 h 386"/>
                  <a:gd name="T54" fmla="*/ 263 w 456"/>
                  <a:gd name="T55" fmla="*/ 335 h 386"/>
                  <a:gd name="T56" fmla="*/ 276 w 456"/>
                  <a:gd name="T57" fmla="*/ 322 h 386"/>
                  <a:gd name="T58" fmla="*/ 288 w 456"/>
                  <a:gd name="T59" fmla="*/ 332 h 386"/>
                  <a:gd name="T60" fmla="*/ 322 w 456"/>
                  <a:gd name="T61" fmla="*/ 346 h 386"/>
                  <a:gd name="T62" fmla="*/ 334 w 456"/>
                  <a:gd name="T63" fmla="*/ 366 h 386"/>
                  <a:gd name="T64" fmla="*/ 364 w 456"/>
                  <a:gd name="T65" fmla="*/ 375 h 386"/>
                  <a:gd name="T66" fmla="*/ 364 w 456"/>
                  <a:gd name="T67" fmla="*/ 357 h 386"/>
                  <a:gd name="T68" fmla="*/ 368 w 456"/>
                  <a:gd name="T69" fmla="*/ 350 h 386"/>
                  <a:gd name="T70" fmla="*/ 383 w 456"/>
                  <a:gd name="T71" fmla="*/ 324 h 386"/>
                  <a:gd name="T72" fmla="*/ 385 w 456"/>
                  <a:gd name="T73" fmla="*/ 307 h 386"/>
                  <a:gd name="T74" fmla="*/ 400 w 456"/>
                  <a:gd name="T75" fmla="*/ 290 h 386"/>
                  <a:gd name="T76" fmla="*/ 423 w 456"/>
                  <a:gd name="T77" fmla="*/ 286 h 386"/>
                  <a:gd name="T78" fmla="*/ 446 w 456"/>
                  <a:gd name="T79" fmla="*/ 278 h 386"/>
                  <a:gd name="T80" fmla="*/ 453 w 456"/>
                  <a:gd name="T81" fmla="*/ 244 h 386"/>
                  <a:gd name="T82" fmla="*/ 412 w 456"/>
                  <a:gd name="T83" fmla="*/ 218 h 386"/>
                  <a:gd name="T84" fmla="*/ 396 w 456"/>
                  <a:gd name="T85" fmla="*/ 246 h 386"/>
                  <a:gd name="T86" fmla="*/ 408 w 456"/>
                  <a:gd name="T87" fmla="*/ 255 h 386"/>
                  <a:gd name="T88" fmla="*/ 406 w 456"/>
                  <a:gd name="T89" fmla="*/ 270 h 386"/>
                  <a:gd name="T90" fmla="*/ 389 w 456"/>
                  <a:gd name="T91" fmla="*/ 275 h 386"/>
                  <a:gd name="T92" fmla="*/ 374 w 456"/>
                  <a:gd name="T93" fmla="*/ 284 h 386"/>
                  <a:gd name="T94" fmla="*/ 363 w 456"/>
                  <a:gd name="T95" fmla="*/ 273 h 386"/>
                  <a:gd name="T96" fmla="*/ 356 w 456"/>
                  <a:gd name="T97" fmla="*/ 256 h 386"/>
                  <a:gd name="T98" fmla="*/ 350 w 456"/>
                  <a:gd name="T99" fmla="*/ 238 h 386"/>
                  <a:gd name="T100" fmla="*/ 326 w 456"/>
                  <a:gd name="T101" fmla="*/ 208 h 386"/>
                  <a:gd name="T102" fmla="*/ 299 w 456"/>
                  <a:gd name="T103" fmla="*/ 188 h 386"/>
                  <a:gd name="T104" fmla="*/ 300 w 456"/>
                  <a:gd name="T105" fmla="*/ 168 h 386"/>
                  <a:gd name="T106" fmla="*/ 325 w 456"/>
                  <a:gd name="T107" fmla="*/ 142 h 386"/>
                  <a:gd name="T108" fmla="*/ 296 w 456"/>
                  <a:gd name="T109" fmla="*/ 143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56" h="386">
                    <a:moveTo>
                      <a:pt x="271" y="140"/>
                    </a:moveTo>
                    <a:cubicBezTo>
                      <a:pt x="265" y="140"/>
                      <a:pt x="265" y="140"/>
                      <a:pt x="265" y="140"/>
                    </a:cubicBezTo>
                    <a:cubicBezTo>
                      <a:pt x="263" y="144"/>
                      <a:pt x="263" y="144"/>
                      <a:pt x="263" y="144"/>
                    </a:cubicBezTo>
                    <a:cubicBezTo>
                      <a:pt x="266" y="148"/>
                      <a:pt x="266" y="148"/>
                      <a:pt x="266" y="148"/>
                    </a:cubicBezTo>
                    <a:cubicBezTo>
                      <a:pt x="266" y="148"/>
                      <a:pt x="266" y="148"/>
                      <a:pt x="266" y="148"/>
                    </a:cubicBezTo>
                    <a:cubicBezTo>
                      <a:pt x="266" y="148"/>
                      <a:pt x="266" y="148"/>
                      <a:pt x="266" y="148"/>
                    </a:cubicBezTo>
                    <a:cubicBezTo>
                      <a:pt x="268" y="154"/>
                      <a:pt x="268" y="154"/>
                      <a:pt x="268" y="154"/>
                    </a:cubicBezTo>
                    <a:cubicBezTo>
                      <a:pt x="268" y="154"/>
                      <a:pt x="268" y="154"/>
                      <a:pt x="268" y="154"/>
                    </a:cubicBezTo>
                    <a:cubicBezTo>
                      <a:pt x="268" y="155"/>
                      <a:pt x="268" y="155"/>
                      <a:pt x="268" y="155"/>
                    </a:cubicBezTo>
                    <a:cubicBezTo>
                      <a:pt x="268" y="156"/>
                      <a:pt x="268" y="156"/>
                      <a:pt x="268" y="156"/>
                    </a:cubicBezTo>
                    <a:cubicBezTo>
                      <a:pt x="259" y="160"/>
                      <a:pt x="259" y="160"/>
                      <a:pt x="259" y="160"/>
                    </a:cubicBezTo>
                    <a:cubicBezTo>
                      <a:pt x="258" y="160"/>
                      <a:pt x="258" y="160"/>
                      <a:pt x="258" y="160"/>
                    </a:cubicBezTo>
                    <a:cubicBezTo>
                      <a:pt x="258" y="160"/>
                      <a:pt x="258" y="160"/>
                      <a:pt x="258" y="160"/>
                    </a:cubicBezTo>
                    <a:cubicBezTo>
                      <a:pt x="258" y="160"/>
                      <a:pt x="258" y="160"/>
                      <a:pt x="258" y="160"/>
                    </a:cubicBezTo>
                    <a:cubicBezTo>
                      <a:pt x="258" y="160"/>
                      <a:pt x="258" y="160"/>
                      <a:pt x="258" y="160"/>
                    </a:cubicBezTo>
                    <a:cubicBezTo>
                      <a:pt x="251" y="160"/>
                      <a:pt x="247" y="158"/>
                      <a:pt x="246" y="155"/>
                    </a:cubicBezTo>
                    <a:cubicBezTo>
                      <a:pt x="244" y="150"/>
                      <a:pt x="244" y="150"/>
                      <a:pt x="244" y="150"/>
                    </a:cubicBezTo>
                    <a:cubicBezTo>
                      <a:pt x="232" y="148"/>
                      <a:pt x="232" y="148"/>
                      <a:pt x="232" y="148"/>
                    </a:cubicBezTo>
                    <a:cubicBezTo>
                      <a:pt x="228" y="132"/>
                      <a:pt x="228" y="132"/>
                      <a:pt x="228" y="132"/>
                    </a:cubicBezTo>
                    <a:cubicBezTo>
                      <a:pt x="226" y="132"/>
                      <a:pt x="224" y="131"/>
                      <a:pt x="223" y="129"/>
                    </a:cubicBezTo>
                    <a:cubicBezTo>
                      <a:pt x="222" y="128"/>
                      <a:pt x="222" y="128"/>
                      <a:pt x="222" y="128"/>
                    </a:cubicBezTo>
                    <a:cubicBezTo>
                      <a:pt x="220" y="126"/>
                      <a:pt x="219" y="124"/>
                      <a:pt x="216" y="124"/>
                    </a:cubicBezTo>
                    <a:cubicBezTo>
                      <a:pt x="213" y="122"/>
                      <a:pt x="210" y="120"/>
                      <a:pt x="208" y="116"/>
                    </a:cubicBezTo>
                    <a:cubicBezTo>
                      <a:pt x="203" y="114"/>
                      <a:pt x="203" y="114"/>
                      <a:pt x="203" y="114"/>
                    </a:cubicBezTo>
                    <a:cubicBezTo>
                      <a:pt x="203" y="114"/>
                      <a:pt x="203" y="114"/>
                      <a:pt x="203" y="114"/>
                    </a:cubicBezTo>
                    <a:cubicBezTo>
                      <a:pt x="203" y="114"/>
                      <a:pt x="203" y="114"/>
                      <a:pt x="203" y="114"/>
                    </a:cubicBezTo>
                    <a:cubicBezTo>
                      <a:pt x="203" y="114"/>
                      <a:pt x="203" y="114"/>
                      <a:pt x="203" y="114"/>
                    </a:cubicBezTo>
                    <a:cubicBezTo>
                      <a:pt x="196" y="107"/>
                      <a:pt x="196" y="107"/>
                      <a:pt x="196" y="107"/>
                    </a:cubicBezTo>
                    <a:cubicBezTo>
                      <a:pt x="196" y="107"/>
                      <a:pt x="196" y="107"/>
                      <a:pt x="196" y="107"/>
                    </a:cubicBezTo>
                    <a:cubicBezTo>
                      <a:pt x="195" y="102"/>
                      <a:pt x="195" y="102"/>
                      <a:pt x="195" y="102"/>
                    </a:cubicBezTo>
                    <a:cubicBezTo>
                      <a:pt x="195" y="101"/>
                      <a:pt x="195" y="101"/>
                      <a:pt x="195" y="101"/>
                    </a:cubicBezTo>
                    <a:cubicBezTo>
                      <a:pt x="208" y="84"/>
                      <a:pt x="208" y="84"/>
                      <a:pt x="208" y="84"/>
                    </a:cubicBezTo>
                    <a:cubicBezTo>
                      <a:pt x="208" y="82"/>
                      <a:pt x="208" y="82"/>
                      <a:pt x="208" y="81"/>
                    </a:cubicBezTo>
                    <a:cubicBezTo>
                      <a:pt x="206" y="76"/>
                      <a:pt x="206" y="76"/>
                      <a:pt x="206" y="76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8" y="78"/>
                      <a:pt x="198" y="78"/>
                      <a:pt x="198" y="78"/>
                    </a:cubicBezTo>
                    <a:cubicBezTo>
                      <a:pt x="198" y="79"/>
                      <a:pt x="198" y="79"/>
                      <a:pt x="198" y="79"/>
                    </a:cubicBezTo>
                    <a:cubicBezTo>
                      <a:pt x="198" y="79"/>
                      <a:pt x="198" y="79"/>
                      <a:pt x="198" y="79"/>
                    </a:cubicBezTo>
                    <a:cubicBezTo>
                      <a:pt x="180" y="80"/>
                      <a:pt x="180" y="80"/>
                      <a:pt x="180" y="80"/>
                    </a:cubicBezTo>
                    <a:cubicBezTo>
                      <a:pt x="174" y="82"/>
                      <a:pt x="174" y="82"/>
                      <a:pt x="174" y="82"/>
                    </a:cubicBezTo>
                    <a:cubicBezTo>
                      <a:pt x="171" y="84"/>
                      <a:pt x="171" y="84"/>
                      <a:pt x="171" y="84"/>
                    </a:cubicBezTo>
                    <a:cubicBezTo>
                      <a:pt x="170" y="86"/>
                      <a:pt x="170" y="86"/>
                      <a:pt x="170" y="86"/>
                    </a:cubicBezTo>
                    <a:cubicBezTo>
                      <a:pt x="168" y="88"/>
                      <a:pt x="166" y="90"/>
                      <a:pt x="162" y="89"/>
                    </a:cubicBezTo>
                    <a:cubicBezTo>
                      <a:pt x="162" y="89"/>
                      <a:pt x="162" y="89"/>
                      <a:pt x="162" y="89"/>
                    </a:cubicBezTo>
                    <a:cubicBezTo>
                      <a:pt x="162" y="88"/>
                      <a:pt x="162" y="88"/>
                      <a:pt x="162" y="88"/>
                    </a:cubicBezTo>
                    <a:cubicBezTo>
                      <a:pt x="156" y="84"/>
                      <a:pt x="156" y="84"/>
                      <a:pt x="156" y="84"/>
                    </a:cubicBezTo>
                    <a:cubicBezTo>
                      <a:pt x="156" y="74"/>
                      <a:pt x="156" y="74"/>
                      <a:pt x="156" y="74"/>
                    </a:cubicBezTo>
                    <a:cubicBezTo>
                      <a:pt x="152" y="72"/>
                      <a:pt x="150" y="69"/>
                      <a:pt x="150" y="67"/>
                    </a:cubicBezTo>
                    <a:cubicBezTo>
                      <a:pt x="148" y="58"/>
                      <a:pt x="148" y="58"/>
                      <a:pt x="148" y="58"/>
                    </a:cubicBezTo>
                    <a:cubicBezTo>
                      <a:pt x="144" y="54"/>
                      <a:pt x="144" y="54"/>
                      <a:pt x="144" y="54"/>
                    </a:cubicBezTo>
                    <a:cubicBezTo>
                      <a:pt x="140" y="50"/>
                      <a:pt x="140" y="50"/>
                      <a:pt x="140" y="50"/>
                    </a:cubicBezTo>
                    <a:cubicBezTo>
                      <a:pt x="138" y="49"/>
                      <a:pt x="138" y="49"/>
                      <a:pt x="138" y="49"/>
                    </a:cubicBezTo>
                    <a:cubicBezTo>
                      <a:pt x="145" y="40"/>
                      <a:pt x="145" y="40"/>
                      <a:pt x="145" y="40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38" y="24"/>
                      <a:pt x="138" y="24"/>
                      <a:pt x="138" y="24"/>
                    </a:cubicBezTo>
                    <a:cubicBezTo>
                      <a:pt x="138" y="24"/>
                      <a:pt x="138" y="24"/>
                      <a:pt x="138" y="24"/>
                    </a:cubicBezTo>
                    <a:cubicBezTo>
                      <a:pt x="138" y="24"/>
                      <a:pt x="138" y="24"/>
                      <a:pt x="138" y="24"/>
                    </a:cubicBezTo>
                    <a:cubicBezTo>
                      <a:pt x="134" y="16"/>
                      <a:pt x="134" y="16"/>
                      <a:pt x="134" y="16"/>
                    </a:cubicBezTo>
                    <a:cubicBezTo>
                      <a:pt x="134" y="16"/>
                      <a:pt x="134" y="16"/>
                      <a:pt x="134" y="16"/>
                    </a:cubicBezTo>
                    <a:cubicBezTo>
                      <a:pt x="134" y="16"/>
                      <a:pt x="134" y="16"/>
                      <a:pt x="134" y="16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28" y="8"/>
                      <a:pt x="128" y="8"/>
                      <a:pt x="128" y="8"/>
                    </a:cubicBezTo>
                    <a:cubicBezTo>
                      <a:pt x="128" y="7"/>
                      <a:pt x="128" y="7"/>
                      <a:pt x="128" y="7"/>
                    </a:cubicBezTo>
                    <a:cubicBezTo>
                      <a:pt x="128" y="7"/>
                      <a:pt x="128" y="7"/>
                      <a:pt x="128" y="7"/>
                    </a:cubicBezTo>
                    <a:cubicBezTo>
                      <a:pt x="128" y="7"/>
                      <a:pt x="128" y="7"/>
                      <a:pt x="128" y="7"/>
                    </a:cubicBezTo>
                    <a:cubicBezTo>
                      <a:pt x="123" y="1"/>
                      <a:pt x="123" y="1"/>
                      <a:pt x="123" y="1"/>
                    </a:cubicBezTo>
                    <a:cubicBezTo>
                      <a:pt x="116" y="0"/>
                      <a:pt x="116" y="0"/>
                      <a:pt x="116" y="0"/>
                    </a:cubicBezTo>
                    <a:cubicBezTo>
                      <a:pt x="108" y="2"/>
                      <a:pt x="108" y="2"/>
                      <a:pt x="108" y="2"/>
                    </a:cubicBezTo>
                    <a:cubicBezTo>
                      <a:pt x="106" y="4"/>
                      <a:pt x="106" y="4"/>
                      <a:pt x="106" y="4"/>
                    </a:cubicBezTo>
                    <a:cubicBezTo>
                      <a:pt x="105" y="15"/>
                      <a:pt x="105" y="15"/>
                      <a:pt x="105" y="15"/>
                    </a:cubicBezTo>
                    <a:cubicBezTo>
                      <a:pt x="105" y="28"/>
                      <a:pt x="105" y="28"/>
                      <a:pt x="105" y="28"/>
                    </a:cubicBezTo>
                    <a:cubicBezTo>
                      <a:pt x="104" y="28"/>
                      <a:pt x="104" y="28"/>
                      <a:pt x="104" y="28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89" y="32"/>
                      <a:pt x="89" y="32"/>
                      <a:pt x="89" y="32"/>
                    </a:cubicBezTo>
                    <a:cubicBezTo>
                      <a:pt x="86" y="34"/>
                      <a:pt x="82" y="36"/>
                      <a:pt x="77" y="37"/>
                    </a:cubicBezTo>
                    <a:cubicBezTo>
                      <a:pt x="76" y="38"/>
                      <a:pt x="76" y="38"/>
                      <a:pt x="76" y="38"/>
                    </a:cubicBezTo>
                    <a:cubicBezTo>
                      <a:pt x="76" y="38"/>
                      <a:pt x="76" y="38"/>
                      <a:pt x="76" y="38"/>
                    </a:cubicBezTo>
                    <a:cubicBezTo>
                      <a:pt x="76" y="38"/>
                      <a:pt x="76" y="38"/>
                      <a:pt x="76" y="38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57" y="40"/>
                      <a:pt x="57" y="40"/>
                      <a:pt x="57" y="40"/>
                    </a:cubicBezTo>
                    <a:cubicBezTo>
                      <a:pt x="56" y="42"/>
                      <a:pt x="53" y="44"/>
                      <a:pt x="49" y="44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4" y="62"/>
                      <a:pt x="32" y="65"/>
                      <a:pt x="30" y="66"/>
                    </a:cubicBezTo>
                    <a:cubicBezTo>
                      <a:pt x="25" y="72"/>
                      <a:pt x="25" y="72"/>
                      <a:pt x="25" y="72"/>
                    </a:cubicBezTo>
                    <a:cubicBezTo>
                      <a:pt x="25" y="73"/>
                      <a:pt x="25" y="73"/>
                      <a:pt x="25" y="73"/>
                    </a:cubicBezTo>
                    <a:cubicBezTo>
                      <a:pt x="25" y="73"/>
                      <a:pt x="25" y="73"/>
                      <a:pt x="25" y="73"/>
                    </a:cubicBezTo>
                    <a:cubicBezTo>
                      <a:pt x="22" y="75"/>
                      <a:pt x="22" y="75"/>
                      <a:pt x="22" y="75"/>
                    </a:cubicBezTo>
                    <a:cubicBezTo>
                      <a:pt x="20" y="76"/>
                      <a:pt x="18" y="76"/>
                      <a:pt x="16" y="76"/>
                    </a:cubicBezTo>
                    <a:cubicBezTo>
                      <a:pt x="6" y="76"/>
                      <a:pt x="6" y="76"/>
                      <a:pt x="6" y="76"/>
                    </a:cubicBezTo>
                    <a:cubicBezTo>
                      <a:pt x="4" y="79"/>
                      <a:pt x="4" y="79"/>
                      <a:pt x="4" y="79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2" y="92"/>
                      <a:pt x="2" y="92"/>
                      <a:pt x="2" y="92"/>
                    </a:cubicBezTo>
                    <a:cubicBezTo>
                      <a:pt x="1" y="108"/>
                      <a:pt x="1" y="108"/>
                      <a:pt x="1" y="108"/>
                    </a:cubicBezTo>
                    <a:cubicBezTo>
                      <a:pt x="4" y="112"/>
                      <a:pt x="4" y="112"/>
                      <a:pt x="4" y="112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1" y="116"/>
                      <a:pt x="11" y="116"/>
                      <a:pt x="11" y="116"/>
                    </a:cubicBezTo>
                    <a:cubicBezTo>
                      <a:pt x="20" y="118"/>
                      <a:pt x="20" y="118"/>
                      <a:pt x="20" y="118"/>
                    </a:cubicBezTo>
                    <a:cubicBezTo>
                      <a:pt x="33" y="119"/>
                      <a:pt x="33" y="119"/>
                      <a:pt x="33" y="119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40" y="118"/>
                      <a:pt x="40" y="118"/>
                      <a:pt x="40" y="118"/>
                    </a:cubicBezTo>
                    <a:cubicBezTo>
                      <a:pt x="50" y="122"/>
                      <a:pt x="50" y="122"/>
                      <a:pt x="50" y="122"/>
                    </a:cubicBezTo>
                    <a:cubicBezTo>
                      <a:pt x="50" y="122"/>
                      <a:pt x="50" y="122"/>
                      <a:pt x="50" y="122"/>
                    </a:cubicBezTo>
                    <a:cubicBezTo>
                      <a:pt x="51" y="122"/>
                      <a:pt x="51" y="122"/>
                      <a:pt x="51" y="122"/>
                    </a:cubicBezTo>
                    <a:cubicBezTo>
                      <a:pt x="56" y="127"/>
                      <a:pt x="56" y="127"/>
                      <a:pt x="56" y="127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69" y="131"/>
                      <a:pt x="69" y="131"/>
                      <a:pt x="69" y="131"/>
                    </a:cubicBezTo>
                    <a:cubicBezTo>
                      <a:pt x="77" y="136"/>
                      <a:pt x="77" y="136"/>
                      <a:pt x="77" y="136"/>
                    </a:cubicBezTo>
                    <a:cubicBezTo>
                      <a:pt x="96" y="154"/>
                      <a:pt x="96" y="154"/>
                      <a:pt x="96" y="154"/>
                    </a:cubicBezTo>
                    <a:cubicBezTo>
                      <a:pt x="105" y="158"/>
                      <a:pt x="105" y="158"/>
                      <a:pt x="105" y="158"/>
                    </a:cubicBezTo>
                    <a:cubicBezTo>
                      <a:pt x="109" y="156"/>
                      <a:pt x="109" y="156"/>
                      <a:pt x="109" y="156"/>
                    </a:cubicBezTo>
                    <a:cubicBezTo>
                      <a:pt x="112" y="150"/>
                      <a:pt x="112" y="150"/>
                      <a:pt x="112" y="150"/>
                    </a:cubicBezTo>
                    <a:cubicBezTo>
                      <a:pt x="110" y="139"/>
                      <a:pt x="110" y="139"/>
                      <a:pt x="110" y="139"/>
                    </a:cubicBezTo>
                    <a:cubicBezTo>
                      <a:pt x="110" y="136"/>
                      <a:pt x="113" y="134"/>
                      <a:pt x="118" y="132"/>
                    </a:cubicBezTo>
                    <a:cubicBezTo>
                      <a:pt x="118" y="131"/>
                      <a:pt x="118" y="131"/>
                      <a:pt x="118" y="131"/>
                    </a:cubicBezTo>
                    <a:cubicBezTo>
                      <a:pt x="143" y="146"/>
                      <a:pt x="143" y="146"/>
                      <a:pt x="143" y="146"/>
                    </a:cubicBezTo>
                    <a:cubicBezTo>
                      <a:pt x="146" y="145"/>
                      <a:pt x="146" y="145"/>
                      <a:pt x="146" y="145"/>
                    </a:cubicBezTo>
                    <a:cubicBezTo>
                      <a:pt x="151" y="142"/>
                      <a:pt x="151" y="142"/>
                      <a:pt x="151" y="142"/>
                    </a:cubicBezTo>
                    <a:cubicBezTo>
                      <a:pt x="152" y="142"/>
                      <a:pt x="152" y="142"/>
                      <a:pt x="152" y="142"/>
                    </a:cubicBezTo>
                    <a:cubicBezTo>
                      <a:pt x="155" y="142"/>
                      <a:pt x="155" y="142"/>
                      <a:pt x="155" y="142"/>
                    </a:cubicBezTo>
                    <a:cubicBezTo>
                      <a:pt x="160" y="138"/>
                      <a:pt x="160" y="138"/>
                      <a:pt x="160" y="138"/>
                    </a:cubicBezTo>
                    <a:cubicBezTo>
                      <a:pt x="161" y="138"/>
                      <a:pt x="161" y="138"/>
                      <a:pt x="161" y="138"/>
                    </a:cubicBezTo>
                    <a:cubicBezTo>
                      <a:pt x="162" y="138"/>
                      <a:pt x="162" y="138"/>
                      <a:pt x="162" y="138"/>
                    </a:cubicBezTo>
                    <a:cubicBezTo>
                      <a:pt x="176" y="148"/>
                      <a:pt x="176" y="148"/>
                      <a:pt x="176" y="148"/>
                    </a:cubicBezTo>
                    <a:cubicBezTo>
                      <a:pt x="177" y="149"/>
                      <a:pt x="177" y="149"/>
                      <a:pt x="177" y="149"/>
                    </a:cubicBezTo>
                    <a:cubicBezTo>
                      <a:pt x="186" y="156"/>
                      <a:pt x="186" y="156"/>
                      <a:pt x="186" y="156"/>
                    </a:cubicBezTo>
                    <a:cubicBezTo>
                      <a:pt x="188" y="158"/>
                      <a:pt x="192" y="161"/>
                      <a:pt x="194" y="165"/>
                    </a:cubicBezTo>
                    <a:cubicBezTo>
                      <a:pt x="199" y="170"/>
                      <a:pt x="199" y="170"/>
                      <a:pt x="199" y="170"/>
                    </a:cubicBezTo>
                    <a:cubicBezTo>
                      <a:pt x="202" y="169"/>
                      <a:pt x="202" y="169"/>
                      <a:pt x="202" y="169"/>
                    </a:cubicBezTo>
                    <a:cubicBezTo>
                      <a:pt x="206" y="162"/>
                      <a:pt x="206" y="162"/>
                      <a:pt x="206" y="162"/>
                    </a:cubicBezTo>
                    <a:cubicBezTo>
                      <a:pt x="215" y="168"/>
                      <a:pt x="215" y="168"/>
                      <a:pt x="215" y="168"/>
                    </a:cubicBezTo>
                    <a:cubicBezTo>
                      <a:pt x="215" y="168"/>
                      <a:pt x="215" y="168"/>
                      <a:pt x="215" y="168"/>
                    </a:cubicBezTo>
                    <a:cubicBezTo>
                      <a:pt x="216" y="168"/>
                      <a:pt x="216" y="168"/>
                      <a:pt x="216" y="168"/>
                    </a:cubicBezTo>
                    <a:cubicBezTo>
                      <a:pt x="216" y="168"/>
                      <a:pt x="216" y="168"/>
                      <a:pt x="216" y="168"/>
                    </a:cubicBezTo>
                    <a:cubicBezTo>
                      <a:pt x="222" y="176"/>
                      <a:pt x="222" y="176"/>
                      <a:pt x="222" y="176"/>
                    </a:cubicBezTo>
                    <a:cubicBezTo>
                      <a:pt x="240" y="190"/>
                      <a:pt x="240" y="190"/>
                      <a:pt x="240" y="190"/>
                    </a:cubicBezTo>
                    <a:cubicBezTo>
                      <a:pt x="240" y="190"/>
                      <a:pt x="240" y="190"/>
                      <a:pt x="240" y="190"/>
                    </a:cubicBezTo>
                    <a:cubicBezTo>
                      <a:pt x="246" y="196"/>
                      <a:pt x="246" y="196"/>
                      <a:pt x="246" y="196"/>
                    </a:cubicBezTo>
                    <a:cubicBezTo>
                      <a:pt x="261" y="191"/>
                      <a:pt x="261" y="191"/>
                      <a:pt x="261" y="191"/>
                    </a:cubicBezTo>
                    <a:cubicBezTo>
                      <a:pt x="262" y="203"/>
                      <a:pt x="262" y="203"/>
                      <a:pt x="262" y="203"/>
                    </a:cubicBezTo>
                    <a:cubicBezTo>
                      <a:pt x="269" y="210"/>
                      <a:pt x="269" y="210"/>
                      <a:pt x="269" y="210"/>
                    </a:cubicBezTo>
                    <a:cubicBezTo>
                      <a:pt x="269" y="210"/>
                      <a:pt x="269" y="210"/>
                      <a:pt x="269" y="210"/>
                    </a:cubicBezTo>
                    <a:cubicBezTo>
                      <a:pt x="269" y="210"/>
                      <a:pt x="269" y="210"/>
                      <a:pt x="269" y="210"/>
                    </a:cubicBezTo>
                    <a:cubicBezTo>
                      <a:pt x="274" y="218"/>
                      <a:pt x="274" y="218"/>
                      <a:pt x="274" y="218"/>
                    </a:cubicBezTo>
                    <a:cubicBezTo>
                      <a:pt x="274" y="219"/>
                      <a:pt x="274" y="219"/>
                      <a:pt x="274" y="219"/>
                    </a:cubicBezTo>
                    <a:cubicBezTo>
                      <a:pt x="274" y="219"/>
                      <a:pt x="274" y="219"/>
                      <a:pt x="274" y="219"/>
                    </a:cubicBezTo>
                    <a:cubicBezTo>
                      <a:pt x="274" y="220"/>
                      <a:pt x="274" y="220"/>
                      <a:pt x="274" y="220"/>
                    </a:cubicBezTo>
                    <a:cubicBezTo>
                      <a:pt x="280" y="247"/>
                      <a:pt x="280" y="247"/>
                      <a:pt x="280" y="247"/>
                    </a:cubicBezTo>
                    <a:cubicBezTo>
                      <a:pt x="286" y="258"/>
                      <a:pt x="286" y="258"/>
                      <a:pt x="286" y="258"/>
                    </a:cubicBezTo>
                    <a:cubicBezTo>
                      <a:pt x="278" y="279"/>
                      <a:pt x="278" y="279"/>
                      <a:pt x="278" y="279"/>
                    </a:cubicBezTo>
                    <a:cubicBezTo>
                      <a:pt x="278" y="280"/>
                      <a:pt x="278" y="280"/>
                      <a:pt x="278" y="280"/>
                    </a:cubicBezTo>
                    <a:cubicBezTo>
                      <a:pt x="272" y="282"/>
                      <a:pt x="272" y="282"/>
                      <a:pt x="272" y="282"/>
                    </a:cubicBezTo>
                    <a:cubicBezTo>
                      <a:pt x="272" y="288"/>
                      <a:pt x="272" y="288"/>
                      <a:pt x="272" y="288"/>
                    </a:cubicBezTo>
                    <a:cubicBezTo>
                      <a:pt x="271" y="288"/>
                      <a:pt x="271" y="288"/>
                      <a:pt x="271" y="288"/>
                    </a:cubicBezTo>
                    <a:cubicBezTo>
                      <a:pt x="264" y="299"/>
                      <a:pt x="264" y="299"/>
                      <a:pt x="264" y="299"/>
                    </a:cubicBezTo>
                    <a:cubicBezTo>
                      <a:pt x="264" y="299"/>
                      <a:pt x="264" y="299"/>
                      <a:pt x="264" y="299"/>
                    </a:cubicBezTo>
                    <a:cubicBezTo>
                      <a:pt x="254" y="300"/>
                      <a:pt x="254" y="300"/>
                      <a:pt x="254" y="300"/>
                    </a:cubicBezTo>
                    <a:cubicBezTo>
                      <a:pt x="244" y="308"/>
                      <a:pt x="244" y="308"/>
                      <a:pt x="244" y="308"/>
                    </a:cubicBezTo>
                    <a:cubicBezTo>
                      <a:pt x="246" y="309"/>
                      <a:pt x="247" y="310"/>
                      <a:pt x="250" y="311"/>
                    </a:cubicBezTo>
                    <a:cubicBezTo>
                      <a:pt x="254" y="312"/>
                      <a:pt x="254" y="316"/>
                      <a:pt x="252" y="321"/>
                    </a:cubicBezTo>
                    <a:cubicBezTo>
                      <a:pt x="252" y="322"/>
                      <a:pt x="252" y="322"/>
                      <a:pt x="252" y="322"/>
                    </a:cubicBezTo>
                    <a:cubicBezTo>
                      <a:pt x="246" y="328"/>
                      <a:pt x="246" y="328"/>
                      <a:pt x="246" y="328"/>
                    </a:cubicBezTo>
                    <a:cubicBezTo>
                      <a:pt x="245" y="328"/>
                      <a:pt x="245" y="328"/>
                      <a:pt x="245" y="328"/>
                    </a:cubicBezTo>
                    <a:cubicBezTo>
                      <a:pt x="245" y="329"/>
                      <a:pt x="245" y="329"/>
                      <a:pt x="245" y="329"/>
                    </a:cubicBezTo>
                    <a:cubicBezTo>
                      <a:pt x="244" y="329"/>
                      <a:pt x="244" y="329"/>
                      <a:pt x="244" y="329"/>
                    </a:cubicBezTo>
                    <a:cubicBezTo>
                      <a:pt x="244" y="329"/>
                      <a:pt x="244" y="329"/>
                      <a:pt x="244" y="329"/>
                    </a:cubicBezTo>
                    <a:cubicBezTo>
                      <a:pt x="225" y="326"/>
                      <a:pt x="225" y="326"/>
                      <a:pt x="225" y="326"/>
                    </a:cubicBezTo>
                    <a:cubicBezTo>
                      <a:pt x="224" y="333"/>
                      <a:pt x="224" y="333"/>
                      <a:pt x="224" y="333"/>
                    </a:cubicBezTo>
                    <a:cubicBezTo>
                      <a:pt x="226" y="348"/>
                      <a:pt x="226" y="348"/>
                      <a:pt x="226" y="348"/>
                    </a:cubicBezTo>
                    <a:cubicBezTo>
                      <a:pt x="242" y="354"/>
                      <a:pt x="242" y="354"/>
                      <a:pt x="242" y="354"/>
                    </a:cubicBezTo>
                    <a:cubicBezTo>
                      <a:pt x="242" y="355"/>
                      <a:pt x="242" y="355"/>
                      <a:pt x="242" y="355"/>
                    </a:cubicBezTo>
                    <a:cubicBezTo>
                      <a:pt x="242" y="355"/>
                      <a:pt x="242" y="355"/>
                      <a:pt x="242" y="355"/>
                    </a:cubicBezTo>
                    <a:cubicBezTo>
                      <a:pt x="248" y="353"/>
                      <a:pt x="248" y="353"/>
                      <a:pt x="248" y="353"/>
                    </a:cubicBezTo>
                    <a:cubicBezTo>
                      <a:pt x="249" y="353"/>
                      <a:pt x="249" y="353"/>
                      <a:pt x="249" y="353"/>
                    </a:cubicBezTo>
                    <a:cubicBezTo>
                      <a:pt x="250" y="352"/>
                      <a:pt x="250" y="352"/>
                      <a:pt x="250" y="352"/>
                    </a:cubicBezTo>
                    <a:cubicBezTo>
                      <a:pt x="250" y="353"/>
                      <a:pt x="250" y="353"/>
                      <a:pt x="250" y="353"/>
                    </a:cubicBezTo>
                    <a:cubicBezTo>
                      <a:pt x="250" y="353"/>
                      <a:pt x="250" y="353"/>
                      <a:pt x="250" y="353"/>
                    </a:cubicBezTo>
                    <a:cubicBezTo>
                      <a:pt x="255" y="356"/>
                      <a:pt x="255" y="356"/>
                      <a:pt x="255" y="356"/>
                    </a:cubicBezTo>
                    <a:cubicBezTo>
                      <a:pt x="262" y="356"/>
                      <a:pt x="262" y="356"/>
                      <a:pt x="262" y="356"/>
                    </a:cubicBezTo>
                    <a:cubicBezTo>
                      <a:pt x="264" y="355"/>
                      <a:pt x="264" y="355"/>
                      <a:pt x="264" y="355"/>
                    </a:cubicBezTo>
                    <a:cubicBezTo>
                      <a:pt x="262" y="348"/>
                      <a:pt x="262" y="348"/>
                      <a:pt x="262" y="348"/>
                    </a:cubicBezTo>
                    <a:cubicBezTo>
                      <a:pt x="262" y="348"/>
                      <a:pt x="262" y="348"/>
                      <a:pt x="262" y="348"/>
                    </a:cubicBezTo>
                    <a:cubicBezTo>
                      <a:pt x="262" y="348"/>
                      <a:pt x="262" y="348"/>
                      <a:pt x="262" y="348"/>
                    </a:cubicBezTo>
                    <a:cubicBezTo>
                      <a:pt x="260" y="340"/>
                      <a:pt x="260" y="340"/>
                      <a:pt x="260" y="340"/>
                    </a:cubicBezTo>
                    <a:cubicBezTo>
                      <a:pt x="260" y="339"/>
                      <a:pt x="260" y="339"/>
                      <a:pt x="260" y="339"/>
                    </a:cubicBezTo>
                    <a:cubicBezTo>
                      <a:pt x="260" y="338"/>
                      <a:pt x="260" y="338"/>
                      <a:pt x="260" y="338"/>
                    </a:cubicBezTo>
                    <a:cubicBezTo>
                      <a:pt x="260" y="338"/>
                      <a:pt x="260" y="338"/>
                      <a:pt x="260" y="338"/>
                    </a:cubicBezTo>
                    <a:cubicBezTo>
                      <a:pt x="260" y="338"/>
                      <a:pt x="260" y="338"/>
                      <a:pt x="260" y="338"/>
                    </a:cubicBezTo>
                    <a:cubicBezTo>
                      <a:pt x="263" y="335"/>
                      <a:pt x="263" y="335"/>
                      <a:pt x="263" y="335"/>
                    </a:cubicBezTo>
                    <a:cubicBezTo>
                      <a:pt x="264" y="334"/>
                      <a:pt x="264" y="334"/>
                      <a:pt x="264" y="334"/>
                    </a:cubicBezTo>
                    <a:cubicBezTo>
                      <a:pt x="264" y="334"/>
                      <a:pt x="264" y="334"/>
                      <a:pt x="264" y="334"/>
                    </a:cubicBezTo>
                    <a:cubicBezTo>
                      <a:pt x="264" y="334"/>
                      <a:pt x="264" y="334"/>
                      <a:pt x="264" y="334"/>
                    </a:cubicBezTo>
                    <a:cubicBezTo>
                      <a:pt x="268" y="328"/>
                      <a:pt x="268" y="328"/>
                      <a:pt x="268" y="328"/>
                    </a:cubicBezTo>
                    <a:cubicBezTo>
                      <a:pt x="269" y="327"/>
                      <a:pt x="269" y="327"/>
                      <a:pt x="269" y="327"/>
                    </a:cubicBezTo>
                    <a:cubicBezTo>
                      <a:pt x="276" y="322"/>
                      <a:pt x="276" y="322"/>
                      <a:pt x="276" y="322"/>
                    </a:cubicBezTo>
                    <a:cubicBezTo>
                      <a:pt x="276" y="322"/>
                      <a:pt x="276" y="322"/>
                      <a:pt x="276" y="322"/>
                    </a:cubicBezTo>
                    <a:cubicBezTo>
                      <a:pt x="276" y="321"/>
                      <a:pt x="276" y="321"/>
                      <a:pt x="276" y="321"/>
                    </a:cubicBezTo>
                    <a:cubicBezTo>
                      <a:pt x="277" y="321"/>
                      <a:pt x="277" y="321"/>
                      <a:pt x="277" y="321"/>
                    </a:cubicBezTo>
                    <a:cubicBezTo>
                      <a:pt x="277" y="321"/>
                      <a:pt x="277" y="321"/>
                      <a:pt x="277" y="321"/>
                    </a:cubicBezTo>
                    <a:cubicBezTo>
                      <a:pt x="286" y="320"/>
                      <a:pt x="286" y="320"/>
                      <a:pt x="286" y="320"/>
                    </a:cubicBezTo>
                    <a:cubicBezTo>
                      <a:pt x="286" y="322"/>
                      <a:pt x="286" y="322"/>
                      <a:pt x="286" y="322"/>
                    </a:cubicBezTo>
                    <a:cubicBezTo>
                      <a:pt x="286" y="325"/>
                      <a:pt x="286" y="327"/>
                      <a:pt x="286" y="328"/>
                    </a:cubicBezTo>
                    <a:cubicBezTo>
                      <a:pt x="288" y="332"/>
                      <a:pt x="288" y="332"/>
                      <a:pt x="288" y="332"/>
                    </a:cubicBezTo>
                    <a:cubicBezTo>
                      <a:pt x="290" y="337"/>
                      <a:pt x="290" y="337"/>
                      <a:pt x="290" y="337"/>
                    </a:cubicBezTo>
                    <a:cubicBezTo>
                      <a:pt x="298" y="342"/>
                      <a:pt x="298" y="342"/>
                      <a:pt x="298" y="342"/>
                    </a:cubicBezTo>
                    <a:cubicBezTo>
                      <a:pt x="320" y="344"/>
                      <a:pt x="320" y="344"/>
                      <a:pt x="320" y="344"/>
                    </a:cubicBezTo>
                    <a:cubicBezTo>
                      <a:pt x="321" y="344"/>
                      <a:pt x="321" y="344"/>
                      <a:pt x="321" y="344"/>
                    </a:cubicBezTo>
                    <a:cubicBezTo>
                      <a:pt x="322" y="344"/>
                      <a:pt x="322" y="344"/>
                      <a:pt x="322" y="344"/>
                    </a:cubicBezTo>
                    <a:cubicBezTo>
                      <a:pt x="322" y="345"/>
                      <a:pt x="322" y="345"/>
                      <a:pt x="322" y="345"/>
                    </a:cubicBezTo>
                    <a:cubicBezTo>
                      <a:pt x="322" y="346"/>
                      <a:pt x="322" y="346"/>
                      <a:pt x="322" y="346"/>
                    </a:cubicBezTo>
                    <a:cubicBezTo>
                      <a:pt x="322" y="353"/>
                      <a:pt x="322" y="353"/>
                      <a:pt x="322" y="353"/>
                    </a:cubicBezTo>
                    <a:cubicBezTo>
                      <a:pt x="328" y="360"/>
                      <a:pt x="328" y="360"/>
                      <a:pt x="328" y="360"/>
                    </a:cubicBezTo>
                    <a:cubicBezTo>
                      <a:pt x="333" y="362"/>
                      <a:pt x="333" y="362"/>
                      <a:pt x="333" y="362"/>
                    </a:cubicBezTo>
                    <a:cubicBezTo>
                      <a:pt x="334" y="362"/>
                      <a:pt x="334" y="362"/>
                      <a:pt x="334" y="362"/>
                    </a:cubicBezTo>
                    <a:cubicBezTo>
                      <a:pt x="334" y="362"/>
                      <a:pt x="334" y="362"/>
                      <a:pt x="334" y="362"/>
                    </a:cubicBezTo>
                    <a:cubicBezTo>
                      <a:pt x="334" y="363"/>
                      <a:pt x="334" y="363"/>
                      <a:pt x="334" y="363"/>
                    </a:cubicBezTo>
                    <a:cubicBezTo>
                      <a:pt x="334" y="366"/>
                      <a:pt x="334" y="366"/>
                      <a:pt x="334" y="366"/>
                    </a:cubicBezTo>
                    <a:cubicBezTo>
                      <a:pt x="334" y="370"/>
                      <a:pt x="334" y="370"/>
                      <a:pt x="334" y="370"/>
                    </a:cubicBezTo>
                    <a:cubicBezTo>
                      <a:pt x="332" y="378"/>
                      <a:pt x="332" y="378"/>
                      <a:pt x="332" y="378"/>
                    </a:cubicBezTo>
                    <a:cubicBezTo>
                      <a:pt x="335" y="380"/>
                      <a:pt x="335" y="380"/>
                      <a:pt x="335" y="380"/>
                    </a:cubicBezTo>
                    <a:cubicBezTo>
                      <a:pt x="338" y="380"/>
                      <a:pt x="341" y="380"/>
                      <a:pt x="344" y="382"/>
                    </a:cubicBezTo>
                    <a:cubicBezTo>
                      <a:pt x="353" y="386"/>
                      <a:pt x="353" y="386"/>
                      <a:pt x="353" y="386"/>
                    </a:cubicBezTo>
                    <a:cubicBezTo>
                      <a:pt x="358" y="382"/>
                      <a:pt x="358" y="382"/>
                      <a:pt x="358" y="382"/>
                    </a:cubicBezTo>
                    <a:cubicBezTo>
                      <a:pt x="364" y="375"/>
                      <a:pt x="364" y="375"/>
                      <a:pt x="364" y="375"/>
                    </a:cubicBezTo>
                    <a:cubicBezTo>
                      <a:pt x="365" y="372"/>
                      <a:pt x="365" y="372"/>
                      <a:pt x="365" y="372"/>
                    </a:cubicBezTo>
                    <a:cubicBezTo>
                      <a:pt x="365" y="372"/>
                      <a:pt x="365" y="372"/>
                      <a:pt x="365" y="372"/>
                    </a:cubicBezTo>
                    <a:cubicBezTo>
                      <a:pt x="366" y="371"/>
                      <a:pt x="366" y="371"/>
                      <a:pt x="366" y="371"/>
                    </a:cubicBezTo>
                    <a:cubicBezTo>
                      <a:pt x="367" y="370"/>
                      <a:pt x="367" y="370"/>
                      <a:pt x="367" y="370"/>
                    </a:cubicBezTo>
                    <a:cubicBezTo>
                      <a:pt x="367" y="370"/>
                      <a:pt x="367" y="370"/>
                      <a:pt x="367" y="370"/>
                    </a:cubicBezTo>
                    <a:cubicBezTo>
                      <a:pt x="365" y="361"/>
                      <a:pt x="365" y="361"/>
                      <a:pt x="365" y="361"/>
                    </a:cubicBezTo>
                    <a:cubicBezTo>
                      <a:pt x="364" y="357"/>
                      <a:pt x="364" y="357"/>
                      <a:pt x="364" y="357"/>
                    </a:cubicBezTo>
                    <a:cubicBezTo>
                      <a:pt x="364" y="356"/>
                      <a:pt x="364" y="356"/>
                      <a:pt x="364" y="356"/>
                    </a:cubicBezTo>
                    <a:cubicBezTo>
                      <a:pt x="364" y="356"/>
                      <a:pt x="364" y="356"/>
                      <a:pt x="364" y="356"/>
                    </a:cubicBezTo>
                    <a:cubicBezTo>
                      <a:pt x="364" y="356"/>
                      <a:pt x="364" y="356"/>
                      <a:pt x="364" y="356"/>
                    </a:cubicBezTo>
                    <a:cubicBezTo>
                      <a:pt x="364" y="355"/>
                      <a:pt x="364" y="355"/>
                      <a:pt x="364" y="355"/>
                    </a:cubicBezTo>
                    <a:cubicBezTo>
                      <a:pt x="368" y="350"/>
                      <a:pt x="368" y="350"/>
                      <a:pt x="368" y="350"/>
                    </a:cubicBezTo>
                    <a:cubicBezTo>
                      <a:pt x="368" y="350"/>
                      <a:pt x="368" y="350"/>
                      <a:pt x="368" y="350"/>
                    </a:cubicBezTo>
                    <a:cubicBezTo>
                      <a:pt x="368" y="350"/>
                      <a:pt x="368" y="350"/>
                      <a:pt x="368" y="350"/>
                    </a:cubicBezTo>
                    <a:cubicBezTo>
                      <a:pt x="374" y="345"/>
                      <a:pt x="374" y="345"/>
                      <a:pt x="374" y="345"/>
                    </a:cubicBezTo>
                    <a:cubicBezTo>
                      <a:pt x="375" y="345"/>
                      <a:pt x="375" y="345"/>
                      <a:pt x="375" y="345"/>
                    </a:cubicBezTo>
                    <a:cubicBezTo>
                      <a:pt x="388" y="345"/>
                      <a:pt x="388" y="345"/>
                      <a:pt x="388" y="345"/>
                    </a:cubicBezTo>
                    <a:cubicBezTo>
                      <a:pt x="390" y="344"/>
                      <a:pt x="390" y="344"/>
                      <a:pt x="390" y="344"/>
                    </a:cubicBezTo>
                    <a:cubicBezTo>
                      <a:pt x="390" y="338"/>
                      <a:pt x="390" y="338"/>
                      <a:pt x="390" y="338"/>
                    </a:cubicBezTo>
                    <a:cubicBezTo>
                      <a:pt x="388" y="332"/>
                      <a:pt x="388" y="332"/>
                      <a:pt x="388" y="332"/>
                    </a:cubicBezTo>
                    <a:cubicBezTo>
                      <a:pt x="383" y="324"/>
                      <a:pt x="383" y="324"/>
                      <a:pt x="383" y="324"/>
                    </a:cubicBezTo>
                    <a:cubicBezTo>
                      <a:pt x="383" y="324"/>
                      <a:pt x="383" y="324"/>
                      <a:pt x="383" y="324"/>
                    </a:cubicBezTo>
                    <a:cubicBezTo>
                      <a:pt x="383" y="324"/>
                      <a:pt x="383" y="324"/>
                      <a:pt x="383" y="324"/>
                    </a:cubicBezTo>
                    <a:cubicBezTo>
                      <a:pt x="383" y="314"/>
                      <a:pt x="383" y="314"/>
                      <a:pt x="383" y="314"/>
                    </a:cubicBezTo>
                    <a:cubicBezTo>
                      <a:pt x="383" y="313"/>
                      <a:pt x="383" y="313"/>
                      <a:pt x="383" y="313"/>
                    </a:cubicBezTo>
                    <a:cubicBezTo>
                      <a:pt x="383" y="313"/>
                      <a:pt x="383" y="313"/>
                      <a:pt x="383" y="313"/>
                    </a:cubicBezTo>
                    <a:cubicBezTo>
                      <a:pt x="385" y="307"/>
                      <a:pt x="385" y="307"/>
                      <a:pt x="385" y="307"/>
                    </a:cubicBezTo>
                    <a:cubicBezTo>
                      <a:pt x="385" y="307"/>
                      <a:pt x="385" y="307"/>
                      <a:pt x="385" y="307"/>
                    </a:cubicBezTo>
                    <a:cubicBezTo>
                      <a:pt x="386" y="307"/>
                      <a:pt x="386" y="307"/>
                      <a:pt x="386" y="307"/>
                    </a:cubicBezTo>
                    <a:cubicBezTo>
                      <a:pt x="386" y="307"/>
                      <a:pt x="386" y="307"/>
                      <a:pt x="386" y="307"/>
                    </a:cubicBezTo>
                    <a:cubicBezTo>
                      <a:pt x="396" y="291"/>
                      <a:pt x="396" y="291"/>
                      <a:pt x="396" y="291"/>
                    </a:cubicBezTo>
                    <a:cubicBezTo>
                      <a:pt x="397" y="291"/>
                      <a:pt x="397" y="291"/>
                      <a:pt x="397" y="291"/>
                    </a:cubicBezTo>
                    <a:cubicBezTo>
                      <a:pt x="397" y="291"/>
                      <a:pt x="397" y="291"/>
                      <a:pt x="397" y="291"/>
                    </a:cubicBezTo>
                    <a:cubicBezTo>
                      <a:pt x="398" y="290"/>
                      <a:pt x="398" y="290"/>
                      <a:pt x="398" y="290"/>
                    </a:cubicBezTo>
                    <a:cubicBezTo>
                      <a:pt x="400" y="290"/>
                      <a:pt x="400" y="290"/>
                      <a:pt x="400" y="290"/>
                    </a:cubicBezTo>
                    <a:cubicBezTo>
                      <a:pt x="404" y="291"/>
                      <a:pt x="404" y="291"/>
                      <a:pt x="404" y="291"/>
                    </a:cubicBezTo>
                    <a:cubicBezTo>
                      <a:pt x="414" y="296"/>
                      <a:pt x="414" y="296"/>
                      <a:pt x="414" y="296"/>
                    </a:cubicBezTo>
                    <a:cubicBezTo>
                      <a:pt x="420" y="298"/>
                      <a:pt x="420" y="298"/>
                      <a:pt x="420" y="298"/>
                    </a:cubicBezTo>
                    <a:cubicBezTo>
                      <a:pt x="420" y="295"/>
                      <a:pt x="420" y="295"/>
                      <a:pt x="420" y="295"/>
                    </a:cubicBezTo>
                    <a:cubicBezTo>
                      <a:pt x="419" y="294"/>
                      <a:pt x="419" y="294"/>
                      <a:pt x="419" y="294"/>
                    </a:cubicBezTo>
                    <a:cubicBezTo>
                      <a:pt x="419" y="293"/>
                      <a:pt x="419" y="293"/>
                      <a:pt x="419" y="293"/>
                    </a:cubicBezTo>
                    <a:cubicBezTo>
                      <a:pt x="419" y="290"/>
                      <a:pt x="420" y="288"/>
                      <a:pt x="423" y="286"/>
                    </a:cubicBezTo>
                    <a:cubicBezTo>
                      <a:pt x="430" y="281"/>
                      <a:pt x="430" y="281"/>
                      <a:pt x="430" y="281"/>
                    </a:cubicBezTo>
                    <a:cubicBezTo>
                      <a:pt x="430" y="281"/>
                      <a:pt x="430" y="281"/>
                      <a:pt x="430" y="281"/>
                    </a:cubicBezTo>
                    <a:cubicBezTo>
                      <a:pt x="430" y="281"/>
                      <a:pt x="430" y="281"/>
                      <a:pt x="430" y="281"/>
                    </a:cubicBezTo>
                    <a:cubicBezTo>
                      <a:pt x="430" y="280"/>
                      <a:pt x="430" y="280"/>
                      <a:pt x="430" y="280"/>
                    </a:cubicBezTo>
                    <a:cubicBezTo>
                      <a:pt x="434" y="279"/>
                      <a:pt x="437" y="278"/>
                      <a:pt x="438" y="278"/>
                    </a:cubicBezTo>
                    <a:cubicBezTo>
                      <a:pt x="445" y="278"/>
                      <a:pt x="445" y="278"/>
                      <a:pt x="445" y="278"/>
                    </a:cubicBezTo>
                    <a:cubicBezTo>
                      <a:pt x="446" y="278"/>
                      <a:pt x="446" y="278"/>
                      <a:pt x="446" y="278"/>
                    </a:cubicBezTo>
                    <a:cubicBezTo>
                      <a:pt x="446" y="278"/>
                      <a:pt x="446" y="278"/>
                      <a:pt x="446" y="278"/>
                    </a:cubicBezTo>
                    <a:cubicBezTo>
                      <a:pt x="450" y="278"/>
                      <a:pt x="450" y="278"/>
                      <a:pt x="450" y="278"/>
                    </a:cubicBezTo>
                    <a:cubicBezTo>
                      <a:pt x="452" y="268"/>
                      <a:pt x="452" y="268"/>
                      <a:pt x="452" y="268"/>
                    </a:cubicBezTo>
                    <a:cubicBezTo>
                      <a:pt x="452" y="262"/>
                      <a:pt x="452" y="262"/>
                      <a:pt x="452" y="262"/>
                    </a:cubicBezTo>
                    <a:cubicBezTo>
                      <a:pt x="452" y="257"/>
                      <a:pt x="452" y="254"/>
                      <a:pt x="454" y="254"/>
                    </a:cubicBezTo>
                    <a:cubicBezTo>
                      <a:pt x="456" y="248"/>
                      <a:pt x="456" y="248"/>
                      <a:pt x="456" y="248"/>
                    </a:cubicBezTo>
                    <a:cubicBezTo>
                      <a:pt x="453" y="244"/>
                      <a:pt x="453" y="244"/>
                      <a:pt x="453" y="244"/>
                    </a:cubicBezTo>
                    <a:cubicBezTo>
                      <a:pt x="448" y="240"/>
                      <a:pt x="448" y="240"/>
                      <a:pt x="448" y="240"/>
                    </a:cubicBezTo>
                    <a:cubicBezTo>
                      <a:pt x="438" y="238"/>
                      <a:pt x="438" y="238"/>
                      <a:pt x="438" y="238"/>
                    </a:cubicBezTo>
                    <a:cubicBezTo>
                      <a:pt x="436" y="238"/>
                      <a:pt x="432" y="236"/>
                      <a:pt x="426" y="230"/>
                    </a:cubicBezTo>
                    <a:cubicBezTo>
                      <a:pt x="420" y="228"/>
                      <a:pt x="420" y="228"/>
                      <a:pt x="420" y="228"/>
                    </a:cubicBezTo>
                    <a:cubicBezTo>
                      <a:pt x="420" y="228"/>
                      <a:pt x="420" y="228"/>
                      <a:pt x="420" y="228"/>
                    </a:cubicBezTo>
                    <a:cubicBezTo>
                      <a:pt x="420" y="227"/>
                      <a:pt x="420" y="227"/>
                      <a:pt x="420" y="227"/>
                    </a:cubicBezTo>
                    <a:cubicBezTo>
                      <a:pt x="412" y="218"/>
                      <a:pt x="412" y="218"/>
                      <a:pt x="412" y="218"/>
                    </a:cubicBezTo>
                    <a:cubicBezTo>
                      <a:pt x="406" y="218"/>
                      <a:pt x="406" y="218"/>
                      <a:pt x="406" y="218"/>
                    </a:cubicBezTo>
                    <a:cubicBezTo>
                      <a:pt x="405" y="218"/>
                      <a:pt x="405" y="218"/>
                      <a:pt x="405" y="218"/>
                    </a:cubicBezTo>
                    <a:cubicBezTo>
                      <a:pt x="405" y="218"/>
                      <a:pt x="405" y="218"/>
                      <a:pt x="405" y="218"/>
                    </a:cubicBezTo>
                    <a:cubicBezTo>
                      <a:pt x="399" y="215"/>
                      <a:pt x="399" y="215"/>
                      <a:pt x="399" y="215"/>
                    </a:cubicBezTo>
                    <a:cubicBezTo>
                      <a:pt x="395" y="220"/>
                      <a:pt x="395" y="220"/>
                      <a:pt x="395" y="220"/>
                    </a:cubicBezTo>
                    <a:cubicBezTo>
                      <a:pt x="394" y="238"/>
                      <a:pt x="394" y="238"/>
                      <a:pt x="394" y="238"/>
                    </a:cubicBezTo>
                    <a:cubicBezTo>
                      <a:pt x="396" y="246"/>
                      <a:pt x="396" y="246"/>
                      <a:pt x="396" y="246"/>
                    </a:cubicBezTo>
                    <a:cubicBezTo>
                      <a:pt x="398" y="246"/>
                      <a:pt x="398" y="246"/>
                      <a:pt x="398" y="246"/>
                    </a:cubicBezTo>
                    <a:cubicBezTo>
                      <a:pt x="399" y="246"/>
                      <a:pt x="399" y="246"/>
                      <a:pt x="399" y="246"/>
                    </a:cubicBezTo>
                    <a:cubicBezTo>
                      <a:pt x="404" y="248"/>
                      <a:pt x="404" y="248"/>
                      <a:pt x="404" y="248"/>
                    </a:cubicBezTo>
                    <a:cubicBezTo>
                      <a:pt x="404" y="248"/>
                      <a:pt x="404" y="248"/>
                      <a:pt x="404" y="248"/>
                    </a:cubicBezTo>
                    <a:cubicBezTo>
                      <a:pt x="404" y="248"/>
                      <a:pt x="404" y="248"/>
                      <a:pt x="404" y="248"/>
                    </a:cubicBezTo>
                    <a:cubicBezTo>
                      <a:pt x="407" y="255"/>
                      <a:pt x="407" y="255"/>
                      <a:pt x="407" y="255"/>
                    </a:cubicBezTo>
                    <a:cubicBezTo>
                      <a:pt x="408" y="255"/>
                      <a:pt x="408" y="255"/>
                      <a:pt x="408" y="255"/>
                    </a:cubicBezTo>
                    <a:cubicBezTo>
                      <a:pt x="408" y="256"/>
                      <a:pt x="408" y="256"/>
                      <a:pt x="408" y="256"/>
                    </a:cubicBezTo>
                    <a:cubicBezTo>
                      <a:pt x="408" y="256"/>
                      <a:pt x="408" y="256"/>
                      <a:pt x="408" y="256"/>
                    </a:cubicBezTo>
                    <a:cubicBezTo>
                      <a:pt x="408" y="256"/>
                      <a:pt x="408" y="256"/>
                      <a:pt x="408" y="256"/>
                    </a:cubicBezTo>
                    <a:cubicBezTo>
                      <a:pt x="406" y="268"/>
                      <a:pt x="406" y="268"/>
                      <a:pt x="406" y="268"/>
                    </a:cubicBezTo>
                    <a:cubicBezTo>
                      <a:pt x="406" y="269"/>
                      <a:pt x="406" y="269"/>
                      <a:pt x="406" y="269"/>
                    </a:cubicBezTo>
                    <a:cubicBezTo>
                      <a:pt x="406" y="270"/>
                      <a:pt x="406" y="270"/>
                      <a:pt x="406" y="270"/>
                    </a:cubicBezTo>
                    <a:cubicBezTo>
                      <a:pt x="406" y="270"/>
                      <a:pt x="406" y="270"/>
                      <a:pt x="406" y="270"/>
                    </a:cubicBezTo>
                    <a:cubicBezTo>
                      <a:pt x="404" y="271"/>
                      <a:pt x="402" y="272"/>
                      <a:pt x="400" y="273"/>
                    </a:cubicBezTo>
                    <a:cubicBezTo>
                      <a:pt x="399" y="274"/>
                      <a:pt x="399" y="274"/>
                      <a:pt x="399" y="274"/>
                    </a:cubicBezTo>
                    <a:cubicBezTo>
                      <a:pt x="399" y="273"/>
                      <a:pt x="399" y="273"/>
                      <a:pt x="399" y="273"/>
                    </a:cubicBezTo>
                    <a:cubicBezTo>
                      <a:pt x="398" y="273"/>
                      <a:pt x="398" y="273"/>
                      <a:pt x="398" y="273"/>
                    </a:cubicBezTo>
                    <a:cubicBezTo>
                      <a:pt x="396" y="272"/>
                      <a:pt x="396" y="272"/>
                      <a:pt x="396" y="272"/>
                    </a:cubicBezTo>
                    <a:cubicBezTo>
                      <a:pt x="389" y="275"/>
                      <a:pt x="389" y="275"/>
                      <a:pt x="389" y="275"/>
                    </a:cubicBezTo>
                    <a:cubicBezTo>
                      <a:pt x="389" y="275"/>
                      <a:pt x="389" y="275"/>
                      <a:pt x="389" y="275"/>
                    </a:cubicBezTo>
                    <a:cubicBezTo>
                      <a:pt x="389" y="276"/>
                      <a:pt x="389" y="276"/>
                      <a:pt x="389" y="276"/>
                    </a:cubicBezTo>
                    <a:cubicBezTo>
                      <a:pt x="390" y="276"/>
                      <a:pt x="390" y="276"/>
                      <a:pt x="390" y="276"/>
                    </a:cubicBezTo>
                    <a:cubicBezTo>
                      <a:pt x="391" y="287"/>
                      <a:pt x="391" y="287"/>
                      <a:pt x="391" y="287"/>
                    </a:cubicBezTo>
                    <a:cubicBezTo>
                      <a:pt x="391" y="289"/>
                      <a:pt x="390" y="290"/>
                      <a:pt x="388" y="290"/>
                    </a:cubicBezTo>
                    <a:cubicBezTo>
                      <a:pt x="384" y="290"/>
                      <a:pt x="384" y="290"/>
                      <a:pt x="384" y="290"/>
                    </a:cubicBezTo>
                    <a:cubicBezTo>
                      <a:pt x="381" y="290"/>
                      <a:pt x="380" y="289"/>
                      <a:pt x="379" y="288"/>
                    </a:cubicBezTo>
                    <a:cubicBezTo>
                      <a:pt x="374" y="284"/>
                      <a:pt x="374" y="284"/>
                      <a:pt x="374" y="284"/>
                    </a:cubicBezTo>
                    <a:cubicBezTo>
                      <a:pt x="374" y="284"/>
                      <a:pt x="374" y="284"/>
                      <a:pt x="374" y="284"/>
                    </a:cubicBezTo>
                    <a:cubicBezTo>
                      <a:pt x="373" y="284"/>
                      <a:pt x="373" y="284"/>
                      <a:pt x="373" y="284"/>
                    </a:cubicBezTo>
                    <a:cubicBezTo>
                      <a:pt x="373" y="283"/>
                      <a:pt x="373" y="283"/>
                      <a:pt x="373" y="283"/>
                    </a:cubicBezTo>
                    <a:cubicBezTo>
                      <a:pt x="370" y="276"/>
                      <a:pt x="370" y="276"/>
                      <a:pt x="370" y="276"/>
                    </a:cubicBezTo>
                    <a:cubicBezTo>
                      <a:pt x="370" y="276"/>
                      <a:pt x="368" y="274"/>
                      <a:pt x="364" y="273"/>
                    </a:cubicBezTo>
                    <a:cubicBezTo>
                      <a:pt x="363" y="273"/>
                      <a:pt x="363" y="273"/>
                      <a:pt x="363" y="273"/>
                    </a:cubicBezTo>
                    <a:cubicBezTo>
                      <a:pt x="363" y="273"/>
                      <a:pt x="363" y="273"/>
                      <a:pt x="363" y="273"/>
                    </a:cubicBezTo>
                    <a:cubicBezTo>
                      <a:pt x="357" y="269"/>
                      <a:pt x="357" y="269"/>
                      <a:pt x="357" y="269"/>
                    </a:cubicBezTo>
                    <a:cubicBezTo>
                      <a:pt x="356" y="269"/>
                      <a:pt x="356" y="269"/>
                      <a:pt x="356" y="269"/>
                    </a:cubicBezTo>
                    <a:cubicBezTo>
                      <a:pt x="356" y="268"/>
                      <a:pt x="356" y="268"/>
                      <a:pt x="356" y="268"/>
                    </a:cubicBezTo>
                    <a:cubicBezTo>
                      <a:pt x="356" y="268"/>
                      <a:pt x="356" y="268"/>
                      <a:pt x="356" y="268"/>
                    </a:cubicBezTo>
                    <a:cubicBezTo>
                      <a:pt x="355" y="262"/>
                      <a:pt x="355" y="262"/>
                      <a:pt x="355" y="262"/>
                    </a:cubicBezTo>
                    <a:cubicBezTo>
                      <a:pt x="356" y="256"/>
                      <a:pt x="356" y="256"/>
                      <a:pt x="356" y="256"/>
                    </a:cubicBezTo>
                    <a:cubicBezTo>
                      <a:pt x="356" y="256"/>
                      <a:pt x="356" y="256"/>
                      <a:pt x="356" y="256"/>
                    </a:cubicBezTo>
                    <a:cubicBezTo>
                      <a:pt x="356" y="256"/>
                      <a:pt x="356" y="256"/>
                      <a:pt x="356" y="256"/>
                    </a:cubicBezTo>
                    <a:cubicBezTo>
                      <a:pt x="356" y="256"/>
                      <a:pt x="356" y="256"/>
                      <a:pt x="356" y="256"/>
                    </a:cubicBezTo>
                    <a:cubicBezTo>
                      <a:pt x="358" y="253"/>
                      <a:pt x="358" y="253"/>
                      <a:pt x="358" y="253"/>
                    </a:cubicBezTo>
                    <a:cubicBezTo>
                      <a:pt x="358" y="251"/>
                      <a:pt x="358" y="251"/>
                      <a:pt x="358" y="251"/>
                    </a:cubicBezTo>
                    <a:cubicBezTo>
                      <a:pt x="356" y="244"/>
                      <a:pt x="356" y="244"/>
                      <a:pt x="356" y="244"/>
                    </a:cubicBezTo>
                    <a:cubicBezTo>
                      <a:pt x="350" y="239"/>
                      <a:pt x="350" y="239"/>
                      <a:pt x="350" y="239"/>
                    </a:cubicBezTo>
                    <a:cubicBezTo>
                      <a:pt x="350" y="238"/>
                      <a:pt x="350" y="238"/>
                      <a:pt x="350" y="238"/>
                    </a:cubicBezTo>
                    <a:cubicBezTo>
                      <a:pt x="349" y="222"/>
                      <a:pt x="349" y="222"/>
                      <a:pt x="349" y="222"/>
                    </a:cubicBezTo>
                    <a:cubicBezTo>
                      <a:pt x="345" y="218"/>
                      <a:pt x="345" y="218"/>
                      <a:pt x="345" y="218"/>
                    </a:cubicBezTo>
                    <a:cubicBezTo>
                      <a:pt x="344" y="218"/>
                      <a:pt x="344" y="218"/>
                      <a:pt x="344" y="218"/>
                    </a:cubicBezTo>
                    <a:cubicBezTo>
                      <a:pt x="344" y="217"/>
                      <a:pt x="344" y="217"/>
                      <a:pt x="344" y="217"/>
                    </a:cubicBezTo>
                    <a:cubicBezTo>
                      <a:pt x="344" y="217"/>
                      <a:pt x="344" y="217"/>
                      <a:pt x="344" y="217"/>
                    </a:cubicBezTo>
                    <a:cubicBezTo>
                      <a:pt x="341" y="210"/>
                      <a:pt x="341" y="210"/>
                      <a:pt x="341" y="210"/>
                    </a:cubicBezTo>
                    <a:cubicBezTo>
                      <a:pt x="326" y="208"/>
                      <a:pt x="326" y="208"/>
                      <a:pt x="326" y="208"/>
                    </a:cubicBezTo>
                    <a:cubicBezTo>
                      <a:pt x="323" y="207"/>
                      <a:pt x="320" y="204"/>
                      <a:pt x="319" y="201"/>
                    </a:cubicBezTo>
                    <a:cubicBezTo>
                      <a:pt x="312" y="201"/>
                      <a:pt x="312" y="201"/>
                      <a:pt x="312" y="201"/>
                    </a:cubicBezTo>
                    <a:cubicBezTo>
                      <a:pt x="310" y="200"/>
                      <a:pt x="308" y="199"/>
                      <a:pt x="305" y="196"/>
                    </a:cubicBezTo>
                    <a:cubicBezTo>
                      <a:pt x="304" y="195"/>
                      <a:pt x="304" y="195"/>
                      <a:pt x="304" y="195"/>
                    </a:cubicBezTo>
                    <a:cubicBezTo>
                      <a:pt x="302" y="194"/>
                      <a:pt x="301" y="191"/>
                      <a:pt x="299" y="188"/>
                    </a:cubicBezTo>
                    <a:cubicBezTo>
                      <a:pt x="299" y="188"/>
                      <a:pt x="299" y="188"/>
                      <a:pt x="299" y="188"/>
                    </a:cubicBezTo>
                    <a:cubicBezTo>
                      <a:pt x="299" y="188"/>
                      <a:pt x="299" y="188"/>
                      <a:pt x="299" y="188"/>
                    </a:cubicBezTo>
                    <a:cubicBezTo>
                      <a:pt x="298" y="181"/>
                      <a:pt x="298" y="181"/>
                      <a:pt x="298" y="181"/>
                    </a:cubicBezTo>
                    <a:cubicBezTo>
                      <a:pt x="298" y="181"/>
                      <a:pt x="298" y="181"/>
                      <a:pt x="298" y="181"/>
                    </a:cubicBezTo>
                    <a:cubicBezTo>
                      <a:pt x="298" y="181"/>
                      <a:pt x="298" y="181"/>
                      <a:pt x="298" y="181"/>
                    </a:cubicBezTo>
                    <a:cubicBezTo>
                      <a:pt x="298" y="180"/>
                      <a:pt x="298" y="180"/>
                      <a:pt x="298" y="180"/>
                    </a:cubicBezTo>
                    <a:cubicBezTo>
                      <a:pt x="298" y="180"/>
                      <a:pt x="298" y="180"/>
                      <a:pt x="298" y="180"/>
                    </a:cubicBezTo>
                    <a:cubicBezTo>
                      <a:pt x="300" y="168"/>
                      <a:pt x="300" y="168"/>
                      <a:pt x="300" y="168"/>
                    </a:cubicBezTo>
                    <a:cubicBezTo>
                      <a:pt x="300" y="168"/>
                      <a:pt x="300" y="168"/>
                      <a:pt x="300" y="168"/>
                    </a:cubicBezTo>
                    <a:cubicBezTo>
                      <a:pt x="302" y="162"/>
                      <a:pt x="302" y="162"/>
                      <a:pt x="302" y="162"/>
                    </a:cubicBezTo>
                    <a:cubicBezTo>
                      <a:pt x="302" y="162"/>
                      <a:pt x="302" y="162"/>
                      <a:pt x="302" y="162"/>
                    </a:cubicBezTo>
                    <a:cubicBezTo>
                      <a:pt x="302" y="162"/>
                      <a:pt x="302" y="162"/>
                      <a:pt x="302" y="162"/>
                    </a:cubicBezTo>
                    <a:cubicBezTo>
                      <a:pt x="303" y="162"/>
                      <a:pt x="303" y="162"/>
                      <a:pt x="303" y="162"/>
                    </a:cubicBezTo>
                    <a:cubicBezTo>
                      <a:pt x="318" y="155"/>
                      <a:pt x="318" y="155"/>
                      <a:pt x="318" y="155"/>
                    </a:cubicBezTo>
                    <a:cubicBezTo>
                      <a:pt x="324" y="148"/>
                      <a:pt x="324" y="148"/>
                      <a:pt x="324" y="148"/>
                    </a:cubicBezTo>
                    <a:cubicBezTo>
                      <a:pt x="325" y="142"/>
                      <a:pt x="325" y="142"/>
                      <a:pt x="325" y="142"/>
                    </a:cubicBezTo>
                    <a:cubicBezTo>
                      <a:pt x="324" y="138"/>
                      <a:pt x="324" y="138"/>
                      <a:pt x="324" y="138"/>
                    </a:cubicBezTo>
                    <a:cubicBezTo>
                      <a:pt x="322" y="132"/>
                      <a:pt x="320" y="129"/>
                      <a:pt x="320" y="127"/>
                    </a:cubicBezTo>
                    <a:cubicBezTo>
                      <a:pt x="317" y="128"/>
                      <a:pt x="317" y="128"/>
                      <a:pt x="317" y="128"/>
                    </a:cubicBezTo>
                    <a:cubicBezTo>
                      <a:pt x="312" y="127"/>
                      <a:pt x="312" y="127"/>
                      <a:pt x="312" y="127"/>
                    </a:cubicBezTo>
                    <a:cubicBezTo>
                      <a:pt x="310" y="128"/>
                      <a:pt x="307" y="131"/>
                      <a:pt x="303" y="136"/>
                    </a:cubicBezTo>
                    <a:cubicBezTo>
                      <a:pt x="296" y="143"/>
                      <a:pt x="296" y="143"/>
                      <a:pt x="296" y="143"/>
                    </a:cubicBezTo>
                    <a:cubicBezTo>
                      <a:pt x="296" y="143"/>
                      <a:pt x="296" y="143"/>
                      <a:pt x="296" y="143"/>
                    </a:cubicBezTo>
                    <a:cubicBezTo>
                      <a:pt x="295" y="143"/>
                      <a:pt x="295" y="143"/>
                      <a:pt x="295" y="143"/>
                    </a:cubicBezTo>
                    <a:cubicBezTo>
                      <a:pt x="290" y="144"/>
                      <a:pt x="286" y="145"/>
                      <a:pt x="284" y="144"/>
                    </a:cubicBezTo>
                    <a:lnTo>
                      <a:pt x="271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4" name="îşḻide"/>
              <p:cNvSpPr/>
              <p:nvPr/>
            </p:nvSpPr>
            <p:spPr bwMode="auto">
              <a:xfrm>
                <a:off x="3011" y="1896"/>
                <a:ext cx="218" cy="360"/>
              </a:xfrm>
              <a:custGeom>
                <a:avLst/>
                <a:gdLst>
                  <a:gd name="T0" fmla="*/ 46 w 92"/>
                  <a:gd name="T1" fmla="*/ 29 h 152"/>
                  <a:gd name="T2" fmla="*/ 46 w 92"/>
                  <a:gd name="T3" fmla="*/ 43 h 152"/>
                  <a:gd name="T4" fmla="*/ 42 w 92"/>
                  <a:gd name="T5" fmla="*/ 54 h 152"/>
                  <a:gd name="T6" fmla="*/ 38 w 92"/>
                  <a:gd name="T7" fmla="*/ 62 h 152"/>
                  <a:gd name="T8" fmla="*/ 37 w 92"/>
                  <a:gd name="T9" fmla="*/ 61 h 152"/>
                  <a:gd name="T10" fmla="*/ 22 w 92"/>
                  <a:gd name="T11" fmla="*/ 65 h 152"/>
                  <a:gd name="T12" fmla="*/ 6 w 92"/>
                  <a:gd name="T13" fmla="*/ 67 h 152"/>
                  <a:gd name="T14" fmla="*/ 4 w 92"/>
                  <a:gd name="T15" fmla="*/ 70 h 152"/>
                  <a:gd name="T16" fmla="*/ 19 w 92"/>
                  <a:gd name="T17" fmla="*/ 72 h 152"/>
                  <a:gd name="T18" fmla="*/ 20 w 92"/>
                  <a:gd name="T19" fmla="*/ 72 h 152"/>
                  <a:gd name="T20" fmla="*/ 24 w 92"/>
                  <a:gd name="T21" fmla="*/ 81 h 152"/>
                  <a:gd name="T22" fmla="*/ 30 w 92"/>
                  <a:gd name="T23" fmla="*/ 92 h 152"/>
                  <a:gd name="T24" fmla="*/ 35 w 92"/>
                  <a:gd name="T25" fmla="*/ 108 h 152"/>
                  <a:gd name="T26" fmla="*/ 36 w 92"/>
                  <a:gd name="T27" fmla="*/ 108 h 152"/>
                  <a:gd name="T28" fmla="*/ 38 w 92"/>
                  <a:gd name="T29" fmla="*/ 116 h 152"/>
                  <a:gd name="T30" fmla="*/ 36 w 92"/>
                  <a:gd name="T31" fmla="*/ 124 h 152"/>
                  <a:gd name="T32" fmla="*/ 36 w 92"/>
                  <a:gd name="T33" fmla="*/ 132 h 152"/>
                  <a:gd name="T34" fmla="*/ 50 w 92"/>
                  <a:gd name="T35" fmla="*/ 140 h 152"/>
                  <a:gd name="T36" fmla="*/ 58 w 92"/>
                  <a:gd name="T37" fmla="*/ 151 h 152"/>
                  <a:gd name="T38" fmla="*/ 62 w 92"/>
                  <a:gd name="T39" fmla="*/ 152 h 152"/>
                  <a:gd name="T40" fmla="*/ 61 w 92"/>
                  <a:gd name="T41" fmla="*/ 139 h 152"/>
                  <a:gd name="T42" fmla="*/ 70 w 92"/>
                  <a:gd name="T43" fmla="*/ 134 h 152"/>
                  <a:gd name="T44" fmla="*/ 71 w 92"/>
                  <a:gd name="T45" fmla="*/ 134 h 152"/>
                  <a:gd name="T46" fmla="*/ 72 w 92"/>
                  <a:gd name="T47" fmla="*/ 134 h 152"/>
                  <a:gd name="T48" fmla="*/ 78 w 92"/>
                  <a:gd name="T49" fmla="*/ 133 h 152"/>
                  <a:gd name="T50" fmla="*/ 79 w 92"/>
                  <a:gd name="T51" fmla="*/ 122 h 152"/>
                  <a:gd name="T52" fmla="*/ 74 w 92"/>
                  <a:gd name="T53" fmla="*/ 116 h 152"/>
                  <a:gd name="T54" fmla="*/ 69 w 92"/>
                  <a:gd name="T55" fmla="*/ 116 h 152"/>
                  <a:gd name="T56" fmla="*/ 66 w 92"/>
                  <a:gd name="T57" fmla="*/ 105 h 152"/>
                  <a:gd name="T58" fmla="*/ 68 w 92"/>
                  <a:gd name="T59" fmla="*/ 84 h 152"/>
                  <a:gd name="T60" fmla="*/ 82 w 92"/>
                  <a:gd name="T61" fmla="*/ 80 h 152"/>
                  <a:gd name="T62" fmla="*/ 92 w 92"/>
                  <a:gd name="T63" fmla="*/ 54 h 152"/>
                  <a:gd name="T64" fmla="*/ 84 w 92"/>
                  <a:gd name="T65" fmla="*/ 48 h 152"/>
                  <a:gd name="T66" fmla="*/ 83 w 92"/>
                  <a:gd name="T67" fmla="*/ 48 h 152"/>
                  <a:gd name="T68" fmla="*/ 76 w 92"/>
                  <a:gd name="T69" fmla="*/ 48 h 152"/>
                  <a:gd name="T70" fmla="*/ 72 w 92"/>
                  <a:gd name="T71" fmla="*/ 42 h 152"/>
                  <a:gd name="T72" fmla="*/ 71 w 92"/>
                  <a:gd name="T73" fmla="*/ 42 h 152"/>
                  <a:gd name="T74" fmla="*/ 73 w 92"/>
                  <a:gd name="T75" fmla="*/ 26 h 152"/>
                  <a:gd name="T76" fmla="*/ 76 w 92"/>
                  <a:gd name="T77" fmla="*/ 18 h 152"/>
                  <a:gd name="T78" fmla="*/ 78 w 92"/>
                  <a:gd name="T79" fmla="*/ 10 h 152"/>
                  <a:gd name="T80" fmla="*/ 64 w 92"/>
                  <a:gd name="T81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2" h="152">
                    <a:moveTo>
                      <a:pt x="54" y="9"/>
                    </a:moveTo>
                    <a:cubicBezTo>
                      <a:pt x="46" y="29"/>
                      <a:pt x="46" y="29"/>
                      <a:pt x="46" y="29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6" y="43"/>
                      <a:pt x="46" y="43"/>
                      <a:pt x="46" y="43"/>
                    </a:cubicBezTo>
                    <a:cubicBezTo>
                      <a:pt x="42" y="50"/>
                      <a:pt x="42" y="50"/>
                      <a:pt x="42" y="50"/>
                    </a:cubicBezTo>
                    <a:cubicBezTo>
                      <a:pt x="42" y="54"/>
                      <a:pt x="42" y="54"/>
                      <a:pt x="42" y="54"/>
                    </a:cubicBezTo>
                    <a:cubicBezTo>
                      <a:pt x="42" y="57"/>
                      <a:pt x="41" y="60"/>
                      <a:pt x="38" y="61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7" y="62"/>
                      <a:pt x="37" y="62"/>
                      <a:pt x="37" y="62"/>
                    </a:cubicBezTo>
                    <a:cubicBezTo>
                      <a:pt x="37" y="61"/>
                      <a:pt x="37" y="61"/>
                      <a:pt x="37" y="61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8" y="84"/>
                      <a:pt x="28" y="84"/>
                      <a:pt x="28" y="84"/>
                    </a:cubicBezTo>
                    <a:cubicBezTo>
                      <a:pt x="29" y="86"/>
                      <a:pt x="30" y="88"/>
                      <a:pt x="30" y="92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5" y="108"/>
                      <a:pt x="35" y="108"/>
                      <a:pt x="35" y="108"/>
                    </a:cubicBezTo>
                    <a:cubicBezTo>
                      <a:pt x="36" y="108"/>
                      <a:pt x="36" y="108"/>
                      <a:pt x="36" y="108"/>
                    </a:cubicBezTo>
                    <a:cubicBezTo>
                      <a:pt x="36" y="108"/>
                      <a:pt x="36" y="108"/>
                      <a:pt x="36" y="108"/>
                    </a:cubicBezTo>
                    <a:cubicBezTo>
                      <a:pt x="36" y="108"/>
                      <a:pt x="36" y="108"/>
                      <a:pt x="36" y="108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8" y="120"/>
                      <a:pt x="38" y="120"/>
                      <a:pt x="38" y="120"/>
                    </a:cubicBezTo>
                    <a:cubicBezTo>
                      <a:pt x="36" y="124"/>
                      <a:pt x="36" y="124"/>
                      <a:pt x="36" y="124"/>
                    </a:cubicBezTo>
                    <a:cubicBezTo>
                      <a:pt x="35" y="128"/>
                      <a:pt x="35" y="128"/>
                      <a:pt x="35" y="128"/>
                    </a:cubicBezTo>
                    <a:cubicBezTo>
                      <a:pt x="36" y="132"/>
                      <a:pt x="36" y="132"/>
                      <a:pt x="36" y="132"/>
                    </a:cubicBezTo>
                    <a:cubicBezTo>
                      <a:pt x="41" y="135"/>
                      <a:pt x="41" y="135"/>
                      <a:pt x="41" y="135"/>
                    </a:cubicBezTo>
                    <a:cubicBezTo>
                      <a:pt x="46" y="137"/>
                      <a:pt x="49" y="138"/>
                      <a:pt x="50" y="140"/>
                    </a:cubicBezTo>
                    <a:cubicBezTo>
                      <a:pt x="53" y="146"/>
                      <a:pt x="53" y="146"/>
                      <a:pt x="53" y="146"/>
                    </a:cubicBezTo>
                    <a:cubicBezTo>
                      <a:pt x="56" y="148"/>
                      <a:pt x="58" y="150"/>
                      <a:pt x="58" y="151"/>
                    </a:cubicBezTo>
                    <a:cubicBezTo>
                      <a:pt x="62" y="152"/>
                      <a:pt x="62" y="152"/>
                      <a:pt x="62" y="152"/>
                    </a:cubicBezTo>
                    <a:cubicBezTo>
                      <a:pt x="62" y="152"/>
                      <a:pt x="62" y="152"/>
                      <a:pt x="62" y="152"/>
                    </a:cubicBezTo>
                    <a:cubicBezTo>
                      <a:pt x="61" y="144"/>
                      <a:pt x="61" y="144"/>
                      <a:pt x="61" y="144"/>
                    </a:cubicBezTo>
                    <a:cubicBezTo>
                      <a:pt x="60" y="142"/>
                      <a:pt x="60" y="140"/>
                      <a:pt x="61" y="139"/>
                    </a:cubicBezTo>
                    <a:cubicBezTo>
                      <a:pt x="62" y="138"/>
                      <a:pt x="63" y="137"/>
                      <a:pt x="64" y="136"/>
                    </a:cubicBezTo>
                    <a:cubicBezTo>
                      <a:pt x="70" y="134"/>
                      <a:pt x="70" y="134"/>
                      <a:pt x="70" y="134"/>
                    </a:cubicBezTo>
                    <a:cubicBezTo>
                      <a:pt x="70" y="134"/>
                      <a:pt x="70" y="134"/>
                      <a:pt x="70" y="134"/>
                    </a:cubicBezTo>
                    <a:cubicBezTo>
                      <a:pt x="71" y="134"/>
                      <a:pt x="71" y="134"/>
                      <a:pt x="71" y="134"/>
                    </a:cubicBezTo>
                    <a:cubicBezTo>
                      <a:pt x="71" y="134"/>
                      <a:pt x="71" y="134"/>
                      <a:pt x="71" y="134"/>
                    </a:cubicBezTo>
                    <a:cubicBezTo>
                      <a:pt x="72" y="134"/>
                      <a:pt x="72" y="134"/>
                      <a:pt x="72" y="134"/>
                    </a:cubicBezTo>
                    <a:cubicBezTo>
                      <a:pt x="74" y="135"/>
                      <a:pt x="74" y="135"/>
                      <a:pt x="74" y="135"/>
                    </a:cubicBezTo>
                    <a:cubicBezTo>
                      <a:pt x="78" y="133"/>
                      <a:pt x="78" y="133"/>
                      <a:pt x="78" y="133"/>
                    </a:cubicBezTo>
                    <a:cubicBezTo>
                      <a:pt x="78" y="132"/>
                      <a:pt x="78" y="132"/>
                      <a:pt x="78" y="132"/>
                    </a:cubicBezTo>
                    <a:cubicBezTo>
                      <a:pt x="79" y="122"/>
                      <a:pt x="79" y="122"/>
                      <a:pt x="79" y="122"/>
                    </a:cubicBezTo>
                    <a:cubicBezTo>
                      <a:pt x="77" y="118"/>
                      <a:pt x="77" y="118"/>
                      <a:pt x="77" y="118"/>
                    </a:cubicBezTo>
                    <a:cubicBezTo>
                      <a:pt x="74" y="116"/>
                      <a:pt x="74" y="116"/>
                      <a:pt x="74" y="116"/>
                    </a:cubicBezTo>
                    <a:cubicBezTo>
                      <a:pt x="70" y="116"/>
                      <a:pt x="70" y="116"/>
                      <a:pt x="70" y="116"/>
                    </a:cubicBezTo>
                    <a:cubicBezTo>
                      <a:pt x="69" y="116"/>
                      <a:pt x="69" y="116"/>
                      <a:pt x="69" y="116"/>
                    </a:cubicBezTo>
                    <a:cubicBezTo>
                      <a:pt x="68" y="115"/>
                      <a:pt x="68" y="115"/>
                      <a:pt x="68" y="115"/>
                    </a:cubicBezTo>
                    <a:cubicBezTo>
                      <a:pt x="66" y="105"/>
                      <a:pt x="66" y="105"/>
                      <a:pt x="66" y="105"/>
                    </a:cubicBezTo>
                    <a:cubicBezTo>
                      <a:pt x="67" y="84"/>
                      <a:pt x="67" y="84"/>
                      <a:pt x="67" y="84"/>
                    </a:cubicBezTo>
                    <a:cubicBezTo>
                      <a:pt x="68" y="84"/>
                      <a:pt x="68" y="84"/>
                      <a:pt x="68" y="84"/>
                    </a:cubicBezTo>
                    <a:cubicBezTo>
                      <a:pt x="74" y="75"/>
                      <a:pt x="74" y="75"/>
                      <a:pt x="74" y="75"/>
                    </a:cubicBezTo>
                    <a:cubicBezTo>
                      <a:pt x="82" y="80"/>
                      <a:pt x="82" y="80"/>
                      <a:pt x="82" y="80"/>
                    </a:cubicBezTo>
                    <a:cubicBezTo>
                      <a:pt x="88" y="80"/>
                      <a:pt x="88" y="80"/>
                      <a:pt x="88" y="80"/>
                    </a:cubicBezTo>
                    <a:cubicBezTo>
                      <a:pt x="92" y="54"/>
                      <a:pt x="92" y="54"/>
                      <a:pt x="92" y="54"/>
                    </a:cubicBezTo>
                    <a:cubicBezTo>
                      <a:pt x="90" y="51"/>
                      <a:pt x="89" y="49"/>
                      <a:pt x="87" y="48"/>
                    </a:cubicBezTo>
                    <a:cubicBezTo>
                      <a:pt x="84" y="48"/>
                      <a:pt x="84" y="48"/>
                      <a:pt x="84" y="48"/>
                    </a:cubicBezTo>
                    <a:cubicBezTo>
                      <a:pt x="84" y="48"/>
                      <a:pt x="84" y="48"/>
                      <a:pt x="84" y="48"/>
                    </a:cubicBezTo>
                    <a:cubicBezTo>
                      <a:pt x="83" y="48"/>
                      <a:pt x="83" y="48"/>
                      <a:pt x="83" y="48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6" y="48"/>
                      <a:pt x="76" y="48"/>
                      <a:pt x="76" y="48"/>
                    </a:cubicBezTo>
                    <a:cubicBezTo>
                      <a:pt x="76" y="48"/>
                      <a:pt x="76" y="48"/>
                      <a:pt x="76" y="48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1" y="42"/>
                      <a:pt x="71" y="42"/>
                      <a:pt x="71" y="42"/>
                    </a:cubicBezTo>
                    <a:cubicBezTo>
                      <a:pt x="71" y="32"/>
                      <a:pt x="71" y="32"/>
                      <a:pt x="71" y="32"/>
                    </a:cubicBezTo>
                    <a:cubicBezTo>
                      <a:pt x="73" y="26"/>
                      <a:pt x="73" y="26"/>
                      <a:pt x="73" y="26"/>
                    </a:cubicBezTo>
                    <a:cubicBezTo>
                      <a:pt x="74" y="24"/>
                      <a:pt x="74" y="24"/>
                      <a:pt x="74" y="24"/>
                    </a:cubicBezTo>
                    <a:cubicBezTo>
                      <a:pt x="74" y="22"/>
                      <a:pt x="75" y="20"/>
                      <a:pt x="76" y="18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0"/>
                      <a:pt x="78" y="10"/>
                      <a:pt x="78" y="10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54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5" name="ïSľiḍé"/>
              <p:cNvSpPr/>
              <p:nvPr/>
            </p:nvSpPr>
            <p:spPr bwMode="auto">
              <a:xfrm>
                <a:off x="932" y="960"/>
                <a:ext cx="1544" cy="1166"/>
              </a:xfrm>
              <a:custGeom>
                <a:avLst/>
                <a:gdLst>
                  <a:gd name="T0" fmla="*/ 639 w 652"/>
                  <a:gd name="T1" fmla="*/ 228 h 493"/>
                  <a:gd name="T2" fmla="*/ 612 w 652"/>
                  <a:gd name="T3" fmla="*/ 204 h 493"/>
                  <a:gd name="T4" fmla="*/ 596 w 652"/>
                  <a:gd name="T5" fmla="*/ 184 h 493"/>
                  <a:gd name="T6" fmla="*/ 520 w 652"/>
                  <a:gd name="T7" fmla="*/ 166 h 493"/>
                  <a:gd name="T8" fmla="*/ 524 w 652"/>
                  <a:gd name="T9" fmla="*/ 90 h 493"/>
                  <a:gd name="T10" fmla="*/ 470 w 652"/>
                  <a:gd name="T11" fmla="*/ 25 h 493"/>
                  <a:gd name="T12" fmla="*/ 443 w 652"/>
                  <a:gd name="T13" fmla="*/ 7 h 493"/>
                  <a:gd name="T14" fmla="*/ 401 w 652"/>
                  <a:gd name="T15" fmla="*/ 61 h 493"/>
                  <a:gd name="T16" fmla="*/ 309 w 652"/>
                  <a:gd name="T17" fmla="*/ 112 h 493"/>
                  <a:gd name="T18" fmla="*/ 291 w 652"/>
                  <a:gd name="T19" fmla="*/ 115 h 493"/>
                  <a:gd name="T20" fmla="*/ 237 w 652"/>
                  <a:gd name="T21" fmla="*/ 110 h 493"/>
                  <a:gd name="T22" fmla="*/ 245 w 652"/>
                  <a:gd name="T23" fmla="*/ 168 h 493"/>
                  <a:gd name="T24" fmla="*/ 234 w 652"/>
                  <a:gd name="T25" fmla="*/ 198 h 493"/>
                  <a:gd name="T26" fmla="*/ 226 w 652"/>
                  <a:gd name="T27" fmla="*/ 196 h 493"/>
                  <a:gd name="T28" fmla="*/ 202 w 652"/>
                  <a:gd name="T29" fmla="*/ 224 h 493"/>
                  <a:gd name="T30" fmla="*/ 165 w 652"/>
                  <a:gd name="T31" fmla="*/ 234 h 493"/>
                  <a:gd name="T32" fmla="*/ 92 w 652"/>
                  <a:gd name="T33" fmla="*/ 253 h 493"/>
                  <a:gd name="T34" fmla="*/ 53 w 652"/>
                  <a:gd name="T35" fmla="*/ 247 h 493"/>
                  <a:gd name="T36" fmla="*/ 33 w 652"/>
                  <a:gd name="T37" fmla="*/ 240 h 493"/>
                  <a:gd name="T38" fmla="*/ 5 w 652"/>
                  <a:gd name="T39" fmla="*/ 284 h 493"/>
                  <a:gd name="T40" fmla="*/ 27 w 652"/>
                  <a:gd name="T41" fmla="*/ 303 h 493"/>
                  <a:gd name="T42" fmla="*/ 21 w 652"/>
                  <a:gd name="T43" fmla="*/ 356 h 493"/>
                  <a:gd name="T44" fmla="*/ 21 w 652"/>
                  <a:gd name="T45" fmla="*/ 367 h 493"/>
                  <a:gd name="T46" fmla="*/ 60 w 652"/>
                  <a:gd name="T47" fmla="*/ 417 h 493"/>
                  <a:gd name="T48" fmla="*/ 85 w 652"/>
                  <a:gd name="T49" fmla="*/ 443 h 493"/>
                  <a:gd name="T50" fmla="*/ 105 w 652"/>
                  <a:gd name="T51" fmla="*/ 490 h 493"/>
                  <a:gd name="T52" fmla="*/ 130 w 652"/>
                  <a:gd name="T53" fmla="*/ 493 h 493"/>
                  <a:gd name="T54" fmla="*/ 145 w 652"/>
                  <a:gd name="T55" fmla="*/ 466 h 493"/>
                  <a:gd name="T56" fmla="*/ 165 w 652"/>
                  <a:gd name="T57" fmla="*/ 468 h 493"/>
                  <a:gd name="T58" fmla="*/ 230 w 652"/>
                  <a:gd name="T59" fmla="*/ 465 h 493"/>
                  <a:gd name="T60" fmla="*/ 251 w 652"/>
                  <a:gd name="T61" fmla="*/ 480 h 493"/>
                  <a:gd name="T62" fmla="*/ 285 w 652"/>
                  <a:gd name="T63" fmla="*/ 480 h 493"/>
                  <a:gd name="T64" fmla="*/ 360 w 652"/>
                  <a:gd name="T65" fmla="*/ 470 h 493"/>
                  <a:gd name="T66" fmla="*/ 413 w 652"/>
                  <a:gd name="T67" fmla="*/ 472 h 493"/>
                  <a:gd name="T68" fmla="*/ 446 w 652"/>
                  <a:gd name="T69" fmla="*/ 484 h 493"/>
                  <a:gd name="T70" fmla="*/ 473 w 652"/>
                  <a:gd name="T71" fmla="*/ 491 h 493"/>
                  <a:gd name="T72" fmla="*/ 469 w 652"/>
                  <a:gd name="T73" fmla="*/ 470 h 493"/>
                  <a:gd name="T74" fmla="*/ 477 w 652"/>
                  <a:gd name="T75" fmla="*/ 460 h 493"/>
                  <a:gd name="T76" fmla="*/ 479 w 652"/>
                  <a:gd name="T77" fmla="*/ 446 h 493"/>
                  <a:gd name="T78" fmla="*/ 461 w 652"/>
                  <a:gd name="T79" fmla="*/ 428 h 493"/>
                  <a:gd name="T80" fmla="*/ 462 w 652"/>
                  <a:gd name="T81" fmla="*/ 414 h 493"/>
                  <a:gd name="T82" fmla="*/ 494 w 652"/>
                  <a:gd name="T83" fmla="*/ 396 h 493"/>
                  <a:gd name="T84" fmla="*/ 527 w 652"/>
                  <a:gd name="T85" fmla="*/ 390 h 493"/>
                  <a:gd name="T86" fmla="*/ 544 w 652"/>
                  <a:gd name="T87" fmla="*/ 375 h 493"/>
                  <a:gd name="T88" fmla="*/ 545 w 652"/>
                  <a:gd name="T89" fmla="*/ 367 h 493"/>
                  <a:gd name="T90" fmla="*/ 547 w 652"/>
                  <a:gd name="T91" fmla="*/ 343 h 493"/>
                  <a:gd name="T92" fmla="*/ 585 w 652"/>
                  <a:gd name="T93" fmla="*/ 314 h 493"/>
                  <a:gd name="T94" fmla="*/ 603 w 652"/>
                  <a:gd name="T95" fmla="*/ 302 h 493"/>
                  <a:gd name="T96" fmla="*/ 635 w 652"/>
                  <a:gd name="T97" fmla="*/ 294 h 493"/>
                  <a:gd name="T98" fmla="*/ 648 w 652"/>
                  <a:gd name="T99" fmla="*/ 281 h 493"/>
                  <a:gd name="T100" fmla="*/ 651 w 652"/>
                  <a:gd name="T101" fmla="*/ 266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52" h="493">
                    <a:moveTo>
                      <a:pt x="651" y="265"/>
                    </a:moveTo>
                    <a:cubicBezTo>
                      <a:pt x="652" y="265"/>
                      <a:pt x="652" y="265"/>
                      <a:pt x="652" y="265"/>
                    </a:cubicBezTo>
                    <a:cubicBezTo>
                      <a:pt x="652" y="265"/>
                      <a:pt x="652" y="265"/>
                      <a:pt x="652" y="265"/>
                    </a:cubicBezTo>
                    <a:cubicBezTo>
                      <a:pt x="652" y="264"/>
                      <a:pt x="652" y="264"/>
                      <a:pt x="652" y="264"/>
                    </a:cubicBezTo>
                    <a:cubicBezTo>
                      <a:pt x="639" y="228"/>
                      <a:pt x="639" y="228"/>
                      <a:pt x="639" y="228"/>
                    </a:cubicBezTo>
                    <a:cubicBezTo>
                      <a:pt x="631" y="222"/>
                      <a:pt x="631" y="222"/>
                      <a:pt x="631" y="222"/>
                    </a:cubicBezTo>
                    <a:cubicBezTo>
                      <a:pt x="631" y="221"/>
                      <a:pt x="631" y="221"/>
                      <a:pt x="631" y="221"/>
                    </a:cubicBezTo>
                    <a:cubicBezTo>
                      <a:pt x="629" y="206"/>
                      <a:pt x="629" y="206"/>
                      <a:pt x="629" y="206"/>
                    </a:cubicBezTo>
                    <a:cubicBezTo>
                      <a:pt x="613" y="204"/>
                      <a:pt x="613" y="204"/>
                      <a:pt x="613" y="204"/>
                    </a:cubicBezTo>
                    <a:cubicBezTo>
                      <a:pt x="612" y="204"/>
                      <a:pt x="612" y="204"/>
                      <a:pt x="612" y="204"/>
                    </a:cubicBezTo>
                    <a:cubicBezTo>
                      <a:pt x="611" y="204"/>
                      <a:pt x="611" y="204"/>
                      <a:pt x="611" y="204"/>
                    </a:cubicBezTo>
                    <a:cubicBezTo>
                      <a:pt x="611" y="203"/>
                      <a:pt x="611" y="203"/>
                      <a:pt x="611" y="203"/>
                    </a:cubicBezTo>
                    <a:cubicBezTo>
                      <a:pt x="611" y="202"/>
                      <a:pt x="611" y="202"/>
                      <a:pt x="611" y="202"/>
                    </a:cubicBezTo>
                    <a:cubicBezTo>
                      <a:pt x="611" y="202"/>
                      <a:pt x="611" y="202"/>
                      <a:pt x="611" y="202"/>
                    </a:cubicBezTo>
                    <a:cubicBezTo>
                      <a:pt x="609" y="196"/>
                      <a:pt x="604" y="190"/>
                      <a:pt x="596" y="184"/>
                    </a:cubicBezTo>
                    <a:cubicBezTo>
                      <a:pt x="591" y="180"/>
                      <a:pt x="587" y="178"/>
                      <a:pt x="583" y="177"/>
                    </a:cubicBezTo>
                    <a:cubicBezTo>
                      <a:pt x="581" y="176"/>
                      <a:pt x="578" y="174"/>
                      <a:pt x="576" y="173"/>
                    </a:cubicBezTo>
                    <a:cubicBezTo>
                      <a:pt x="571" y="169"/>
                      <a:pt x="553" y="166"/>
                      <a:pt x="521" y="166"/>
                    </a:cubicBezTo>
                    <a:cubicBezTo>
                      <a:pt x="520" y="166"/>
                      <a:pt x="520" y="166"/>
                      <a:pt x="520" y="166"/>
                    </a:cubicBezTo>
                    <a:cubicBezTo>
                      <a:pt x="520" y="166"/>
                      <a:pt x="520" y="166"/>
                      <a:pt x="520" y="166"/>
                    </a:cubicBezTo>
                    <a:cubicBezTo>
                      <a:pt x="516" y="160"/>
                      <a:pt x="516" y="160"/>
                      <a:pt x="516" y="160"/>
                    </a:cubicBezTo>
                    <a:cubicBezTo>
                      <a:pt x="515" y="156"/>
                      <a:pt x="513" y="153"/>
                      <a:pt x="513" y="150"/>
                    </a:cubicBezTo>
                    <a:cubicBezTo>
                      <a:pt x="513" y="145"/>
                      <a:pt x="518" y="131"/>
                      <a:pt x="529" y="107"/>
                    </a:cubicBezTo>
                    <a:cubicBezTo>
                      <a:pt x="524" y="90"/>
                      <a:pt x="524" y="90"/>
                      <a:pt x="524" y="90"/>
                    </a:cubicBezTo>
                    <a:cubicBezTo>
                      <a:pt x="524" y="90"/>
                      <a:pt x="524" y="90"/>
                      <a:pt x="524" y="90"/>
                    </a:cubicBezTo>
                    <a:cubicBezTo>
                      <a:pt x="518" y="62"/>
                      <a:pt x="518" y="62"/>
                      <a:pt x="518" y="62"/>
                    </a:cubicBezTo>
                    <a:cubicBezTo>
                      <a:pt x="517" y="58"/>
                      <a:pt x="510" y="54"/>
                      <a:pt x="498" y="50"/>
                    </a:cubicBezTo>
                    <a:cubicBezTo>
                      <a:pt x="496" y="50"/>
                      <a:pt x="493" y="49"/>
                      <a:pt x="491" y="47"/>
                    </a:cubicBezTo>
                    <a:cubicBezTo>
                      <a:pt x="487" y="45"/>
                      <a:pt x="483" y="42"/>
                      <a:pt x="482" y="37"/>
                    </a:cubicBezTo>
                    <a:cubicBezTo>
                      <a:pt x="479" y="32"/>
                      <a:pt x="475" y="28"/>
                      <a:pt x="470" y="25"/>
                    </a:cubicBezTo>
                    <a:cubicBezTo>
                      <a:pt x="469" y="25"/>
                      <a:pt x="469" y="25"/>
                      <a:pt x="469" y="25"/>
                    </a:cubicBezTo>
                    <a:cubicBezTo>
                      <a:pt x="469" y="24"/>
                      <a:pt x="469" y="24"/>
                      <a:pt x="469" y="24"/>
                    </a:cubicBezTo>
                    <a:cubicBezTo>
                      <a:pt x="464" y="0"/>
                      <a:pt x="464" y="0"/>
                      <a:pt x="464" y="0"/>
                    </a:cubicBezTo>
                    <a:cubicBezTo>
                      <a:pt x="445" y="2"/>
                      <a:pt x="445" y="2"/>
                      <a:pt x="445" y="2"/>
                    </a:cubicBezTo>
                    <a:cubicBezTo>
                      <a:pt x="443" y="7"/>
                      <a:pt x="443" y="7"/>
                      <a:pt x="443" y="7"/>
                    </a:cubicBezTo>
                    <a:cubicBezTo>
                      <a:pt x="441" y="15"/>
                      <a:pt x="438" y="19"/>
                      <a:pt x="435" y="19"/>
                    </a:cubicBezTo>
                    <a:cubicBezTo>
                      <a:pt x="423" y="23"/>
                      <a:pt x="423" y="23"/>
                      <a:pt x="423" y="23"/>
                    </a:cubicBezTo>
                    <a:cubicBezTo>
                      <a:pt x="415" y="26"/>
                      <a:pt x="411" y="29"/>
                      <a:pt x="408" y="33"/>
                    </a:cubicBezTo>
                    <a:cubicBezTo>
                      <a:pt x="407" y="34"/>
                      <a:pt x="406" y="39"/>
                      <a:pt x="405" y="46"/>
                    </a:cubicBezTo>
                    <a:cubicBezTo>
                      <a:pt x="404" y="53"/>
                      <a:pt x="403" y="58"/>
                      <a:pt x="401" y="61"/>
                    </a:cubicBezTo>
                    <a:cubicBezTo>
                      <a:pt x="399" y="66"/>
                      <a:pt x="395" y="70"/>
                      <a:pt x="389" y="72"/>
                    </a:cubicBezTo>
                    <a:cubicBezTo>
                      <a:pt x="379" y="76"/>
                      <a:pt x="361" y="70"/>
                      <a:pt x="337" y="52"/>
                    </a:cubicBezTo>
                    <a:cubicBezTo>
                      <a:pt x="304" y="94"/>
                      <a:pt x="304" y="94"/>
                      <a:pt x="304" y="94"/>
                    </a:cubicBezTo>
                    <a:cubicBezTo>
                      <a:pt x="308" y="112"/>
                      <a:pt x="308" y="112"/>
                      <a:pt x="308" y="112"/>
                    </a:cubicBezTo>
                    <a:cubicBezTo>
                      <a:pt x="309" y="112"/>
                      <a:pt x="309" y="112"/>
                      <a:pt x="309" y="112"/>
                    </a:cubicBezTo>
                    <a:cubicBezTo>
                      <a:pt x="309" y="112"/>
                      <a:pt x="309" y="112"/>
                      <a:pt x="309" y="112"/>
                    </a:cubicBezTo>
                    <a:cubicBezTo>
                      <a:pt x="308" y="113"/>
                      <a:pt x="308" y="113"/>
                      <a:pt x="308" y="113"/>
                    </a:cubicBezTo>
                    <a:cubicBezTo>
                      <a:pt x="308" y="113"/>
                      <a:pt x="308" y="113"/>
                      <a:pt x="308" y="113"/>
                    </a:cubicBezTo>
                    <a:cubicBezTo>
                      <a:pt x="307" y="116"/>
                      <a:pt x="304" y="117"/>
                      <a:pt x="301" y="118"/>
                    </a:cubicBezTo>
                    <a:cubicBezTo>
                      <a:pt x="298" y="118"/>
                      <a:pt x="295" y="117"/>
                      <a:pt x="291" y="115"/>
                    </a:cubicBezTo>
                    <a:cubicBezTo>
                      <a:pt x="288" y="112"/>
                      <a:pt x="279" y="110"/>
                      <a:pt x="264" y="110"/>
                    </a:cubicBezTo>
                    <a:cubicBezTo>
                      <a:pt x="257" y="109"/>
                      <a:pt x="257" y="109"/>
                      <a:pt x="257" y="109"/>
                    </a:cubicBezTo>
                    <a:cubicBezTo>
                      <a:pt x="257" y="109"/>
                      <a:pt x="257" y="109"/>
                      <a:pt x="257" y="109"/>
                    </a:cubicBezTo>
                    <a:cubicBezTo>
                      <a:pt x="247" y="108"/>
                      <a:pt x="247" y="108"/>
                      <a:pt x="247" y="108"/>
                    </a:cubicBezTo>
                    <a:cubicBezTo>
                      <a:pt x="237" y="110"/>
                      <a:pt x="237" y="110"/>
                      <a:pt x="237" y="110"/>
                    </a:cubicBezTo>
                    <a:cubicBezTo>
                      <a:pt x="241" y="117"/>
                      <a:pt x="241" y="117"/>
                      <a:pt x="241" y="117"/>
                    </a:cubicBezTo>
                    <a:cubicBezTo>
                      <a:pt x="245" y="122"/>
                      <a:pt x="247" y="126"/>
                      <a:pt x="247" y="128"/>
                    </a:cubicBezTo>
                    <a:cubicBezTo>
                      <a:pt x="242" y="154"/>
                      <a:pt x="242" y="154"/>
                      <a:pt x="242" y="154"/>
                    </a:cubicBezTo>
                    <a:cubicBezTo>
                      <a:pt x="244" y="168"/>
                      <a:pt x="244" y="168"/>
                      <a:pt x="244" y="168"/>
                    </a:cubicBezTo>
                    <a:cubicBezTo>
                      <a:pt x="245" y="168"/>
                      <a:pt x="245" y="168"/>
                      <a:pt x="245" y="168"/>
                    </a:cubicBezTo>
                    <a:cubicBezTo>
                      <a:pt x="245" y="168"/>
                      <a:pt x="245" y="168"/>
                      <a:pt x="245" y="168"/>
                    </a:cubicBezTo>
                    <a:cubicBezTo>
                      <a:pt x="244" y="168"/>
                      <a:pt x="244" y="168"/>
                      <a:pt x="244" y="168"/>
                    </a:cubicBezTo>
                    <a:cubicBezTo>
                      <a:pt x="244" y="168"/>
                      <a:pt x="244" y="168"/>
                      <a:pt x="244" y="168"/>
                    </a:cubicBezTo>
                    <a:cubicBezTo>
                      <a:pt x="236" y="194"/>
                      <a:pt x="236" y="194"/>
                      <a:pt x="236" y="194"/>
                    </a:cubicBezTo>
                    <a:cubicBezTo>
                      <a:pt x="236" y="197"/>
                      <a:pt x="235" y="198"/>
                      <a:pt x="234" y="198"/>
                    </a:cubicBezTo>
                    <a:cubicBezTo>
                      <a:pt x="233" y="198"/>
                      <a:pt x="233" y="198"/>
                      <a:pt x="233" y="198"/>
                    </a:cubicBezTo>
                    <a:cubicBezTo>
                      <a:pt x="233" y="197"/>
                      <a:pt x="233" y="197"/>
                      <a:pt x="233" y="197"/>
                    </a:cubicBezTo>
                    <a:cubicBezTo>
                      <a:pt x="232" y="195"/>
                      <a:pt x="232" y="195"/>
                      <a:pt x="232" y="195"/>
                    </a:cubicBezTo>
                    <a:cubicBezTo>
                      <a:pt x="231" y="192"/>
                      <a:pt x="230" y="190"/>
                      <a:pt x="229" y="191"/>
                    </a:cubicBezTo>
                    <a:cubicBezTo>
                      <a:pt x="228" y="191"/>
                      <a:pt x="227" y="193"/>
                      <a:pt x="226" y="196"/>
                    </a:cubicBezTo>
                    <a:cubicBezTo>
                      <a:pt x="225" y="204"/>
                      <a:pt x="220" y="210"/>
                      <a:pt x="213" y="216"/>
                    </a:cubicBezTo>
                    <a:cubicBezTo>
                      <a:pt x="206" y="222"/>
                      <a:pt x="206" y="222"/>
                      <a:pt x="206" y="222"/>
                    </a:cubicBezTo>
                    <a:cubicBezTo>
                      <a:pt x="203" y="224"/>
                      <a:pt x="203" y="224"/>
                      <a:pt x="203" y="224"/>
                    </a:cubicBezTo>
                    <a:cubicBezTo>
                      <a:pt x="203" y="224"/>
                      <a:pt x="203" y="224"/>
                      <a:pt x="203" y="224"/>
                    </a:cubicBezTo>
                    <a:cubicBezTo>
                      <a:pt x="202" y="224"/>
                      <a:pt x="202" y="224"/>
                      <a:pt x="202" y="224"/>
                    </a:cubicBezTo>
                    <a:cubicBezTo>
                      <a:pt x="176" y="224"/>
                      <a:pt x="176" y="224"/>
                      <a:pt x="176" y="224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4"/>
                      <a:pt x="165" y="234"/>
                      <a:pt x="165" y="234"/>
                    </a:cubicBezTo>
                    <a:cubicBezTo>
                      <a:pt x="165" y="234"/>
                      <a:pt x="165" y="234"/>
                      <a:pt x="165" y="234"/>
                    </a:cubicBezTo>
                    <a:cubicBezTo>
                      <a:pt x="137" y="230"/>
                      <a:pt x="137" y="230"/>
                      <a:pt x="137" y="230"/>
                    </a:cubicBezTo>
                    <a:cubicBezTo>
                      <a:pt x="133" y="234"/>
                      <a:pt x="128" y="236"/>
                      <a:pt x="124" y="235"/>
                    </a:cubicBezTo>
                    <a:cubicBezTo>
                      <a:pt x="120" y="234"/>
                      <a:pt x="113" y="236"/>
                      <a:pt x="103" y="239"/>
                    </a:cubicBezTo>
                    <a:cubicBezTo>
                      <a:pt x="92" y="252"/>
                      <a:pt x="92" y="252"/>
                      <a:pt x="92" y="252"/>
                    </a:cubicBezTo>
                    <a:cubicBezTo>
                      <a:pt x="92" y="253"/>
                      <a:pt x="92" y="253"/>
                      <a:pt x="92" y="253"/>
                    </a:cubicBezTo>
                    <a:cubicBezTo>
                      <a:pt x="74" y="254"/>
                      <a:pt x="74" y="254"/>
                      <a:pt x="74" y="254"/>
                    </a:cubicBezTo>
                    <a:cubicBezTo>
                      <a:pt x="74" y="239"/>
                      <a:pt x="74" y="239"/>
                      <a:pt x="74" y="239"/>
                    </a:cubicBezTo>
                    <a:cubicBezTo>
                      <a:pt x="63" y="239"/>
                      <a:pt x="63" y="239"/>
                      <a:pt x="63" y="239"/>
                    </a:cubicBezTo>
                    <a:cubicBezTo>
                      <a:pt x="61" y="245"/>
                      <a:pt x="61" y="245"/>
                      <a:pt x="61" y="245"/>
                    </a:cubicBezTo>
                    <a:cubicBezTo>
                      <a:pt x="53" y="247"/>
                      <a:pt x="53" y="247"/>
                      <a:pt x="53" y="247"/>
                    </a:cubicBezTo>
                    <a:cubicBezTo>
                      <a:pt x="52" y="247"/>
                      <a:pt x="52" y="247"/>
                      <a:pt x="52" y="247"/>
                    </a:cubicBezTo>
                    <a:cubicBezTo>
                      <a:pt x="52" y="247"/>
                      <a:pt x="52" y="247"/>
                      <a:pt x="52" y="247"/>
                    </a:cubicBezTo>
                    <a:cubicBezTo>
                      <a:pt x="51" y="247"/>
                      <a:pt x="51" y="247"/>
                      <a:pt x="51" y="247"/>
                    </a:cubicBezTo>
                    <a:cubicBezTo>
                      <a:pt x="51" y="247"/>
                      <a:pt x="51" y="247"/>
                      <a:pt x="51" y="247"/>
                    </a:cubicBezTo>
                    <a:cubicBezTo>
                      <a:pt x="46" y="244"/>
                      <a:pt x="39" y="241"/>
                      <a:pt x="33" y="240"/>
                    </a:cubicBezTo>
                    <a:cubicBezTo>
                      <a:pt x="29" y="240"/>
                      <a:pt x="25" y="242"/>
                      <a:pt x="19" y="248"/>
                    </a:cubicBezTo>
                    <a:cubicBezTo>
                      <a:pt x="12" y="254"/>
                      <a:pt x="7" y="259"/>
                      <a:pt x="5" y="264"/>
                    </a:cubicBezTo>
                    <a:cubicBezTo>
                      <a:pt x="6" y="264"/>
                      <a:pt x="7" y="266"/>
                      <a:pt x="7" y="268"/>
                    </a:cubicBezTo>
                    <a:cubicBezTo>
                      <a:pt x="7" y="271"/>
                      <a:pt x="8" y="274"/>
                      <a:pt x="8" y="277"/>
                    </a:cubicBezTo>
                    <a:cubicBezTo>
                      <a:pt x="7" y="280"/>
                      <a:pt x="6" y="282"/>
                      <a:pt x="5" y="284"/>
                    </a:cubicBezTo>
                    <a:cubicBezTo>
                      <a:pt x="3" y="285"/>
                      <a:pt x="1" y="288"/>
                      <a:pt x="0" y="295"/>
                    </a:cubicBezTo>
                    <a:cubicBezTo>
                      <a:pt x="7" y="299"/>
                      <a:pt x="7" y="299"/>
                      <a:pt x="7" y="299"/>
                    </a:cubicBezTo>
                    <a:cubicBezTo>
                      <a:pt x="15" y="290"/>
                      <a:pt x="15" y="290"/>
                      <a:pt x="15" y="290"/>
                    </a:cubicBezTo>
                    <a:cubicBezTo>
                      <a:pt x="27" y="302"/>
                      <a:pt x="27" y="302"/>
                      <a:pt x="27" y="302"/>
                    </a:cubicBezTo>
                    <a:cubicBezTo>
                      <a:pt x="27" y="303"/>
                      <a:pt x="27" y="303"/>
                      <a:pt x="27" y="303"/>
                    </a:cubicBezTo>
                    <a:cubicBezTo>
                      <a:pt x="29" y="325"/>
                      <a:pt x="29" y="325"/>
                      <a:pt x="29" y="325"/>
                    </a:cubicBezTo>
                    <a:cubicBezTo>
                      <a:pt x="29" y="326"/>
                      <a:pt x="29" y="326"/>
                      <a:pt x="29" y="326"/>
                    </a:cubicBezTo>
                    <a:cubicBezTo>
                      <a:pt x="29" y="326"/>
                      <a:pt x="29" y="326"/>
                      <a:pt x="29" y="326"/>
                    </a:cubicBezTo>
                    <a:cubicBezTo>
                      <a:pt x="22" y="356"/>
                      <a:pt x="22" y="356"/>
                      <a:pt x="22" y="356"/>
                    </a:cubicBezTo>
                    <a:cubicBezTo>
                      <a:pt x="21" y="356"/>
                      <a:pt x="21" y="356"/>
                      <a:pt x="21" y="356"/>
                    </a:cubicBezTo>
                    <a:cubicBezTo>
                      <a:pt x="11" y="356"/>
                      <a:pt x="5" y="356"/>
                      <a:pt x="3" y="358"/>
                    </a:cubicBezTo>
                    <a:cubicBezTo>
                      <a:pt x="3" y="360"/>
                      <a:pt x="7" y="363"/>
                      <a:pt x="14" y="368"/>
                    </a:cubicBezTo>
                    <a:cubicBezTo>
                      <a:pt x="20" y="367"/>
                      <a:pt x="20" y="367"/>
                      <a:pt x="20" y="367"/>
                    </a:cubicBezTo>
                    <a:cubicBezTo>
                      <a:pt x="21" y="367"/>
                      <a:pt x="21" y="367"/>
                      <a:pt x="21" y="367"/>
                    </a:cubicBezTo>
                    <a:cubicBezTo>
                      <a:pt x="21" y="367"/>
                      <a:pt x="21" y="367"/>
                      <a:pt x="21" y="367"/>
                    </a:cubicBezTo>
                    <a:cubicBezTo>
                      <a:pt x="35" y="380"/>
                      <a:pt x="35" y="380"/>
                      <a:pt x="35" y="380"/>
                    </a:cubicBezTo>
                    <a:cubicBezTo>
                      <a:pt x="40" y="384"/>
                      <a:pt x="39" y="392"/>
                      <a:pt x="33" y="403"/>
                    </a:cubicBezTo>
                    <a:cubicBezTo>
                      <a:pt x="35" y="416"/>
                      <a:pt x="35" y="416"/>
                      <a:pt x="35" y="416"/>
                    </a:cubicBezTo>
                    <a:cubicBezTo>
                      <a:pt x="40" y="417"/>
                      <a:pt x="40" y="417"/>
                      <a:pt x="40" y="417"/>
                    </a:cubicBezTo>
                    <a:cubicBezTo>
                      <a:pt x="60" y="417"/>
                      <a:pt x="60" y="417"/>
                      <a:pt x="60" y="417"/>
                    </a:cubicBezTo>
                    <a:cubicBezTo>
                      <a:pt x="50" y="426"/>
                      <a:pt x="50" y="426"/>
                      <a:pt x="50" y="426"/>
                    </a:cubicBezTo>
                    <a:cubicBezTo>
                      <a:pt x="56" y="430"/>
                      <a:pt x="56" y="430"/>
                      <a:pt x="56" y="430"/>
                    </a:cubicBezTo>
                    <a:cubicBezTo>
                      <a:pt x="56" y="430"/>
                      <a:pt x="56" y="430"/>
                      <a:pt x="56" y="430"/>
                    </a:cubicBezTo>
                    <a:cubicBezTo>
                      <a:pt x="64" y="434"/>
                      <a:pt x="64" y="434"/>
                      <a:pt x="64" y="434"/>
                    </a:cubicBezTo>
                    <a:cubicBezTo>
                      <a:pt x="85" y="443"/>
                      <a:pt x="85" y="443"/>
                      <a:pt x="85" y="443"/>
                    </a:cubicBezTo>
                    <a:cubicBezTo>
                      <a:pt x="86" y="444"/>
                      <a:pt x="86" y="444"/>
                      <a:pt x="86" y="444"/>
                    </a:cubicBezTo>
                    <a:cubicBezTo>
                      <a:pt x="87" y="444"/>
                      <a:pt x="87" y="444"/>
                      <a:pt x="87" y="444"/>
                    </a:cubicBezTo>
                    <a:cubicBezTo>
                      <a:pt x="89" y="476"/>
                      <a:pt x="89" y="476"/>
                      <a:pt x="89" y="476"/>
                    </a:cubicBezTo>
                    <a:cubicBezTo>
                      <a:pt x="89" y="483"/>
                      <a:pt x="94" y="488"/>
                      <a:pt x="103" y="491"/>
                    </a:cubicBezTo>
                    <a:cubicBezTo>
                      <a:pt x="105" y="490"/>
                      <a:pt x="105" y="490"/>
                      <a:pt x="105" y="490"/>
                    </a:cubicBezTo>
                    <a:cubicBezTo>
                      <a:pt x="105" y="490"/>
                      <a:pt x="105" y="490"/>
                      <a:pt x="105" y="490"/>
                    </a:cubicBezTo>
                    <a:cubicBezTo>
                      <a:pt x="106" y="490"/>
                      <a:pt x="106" y="490"/>
                      <a:pt x="106" y="490"/>
                    </a:cubicBezTo>
                    <a:cubicBezTo>
                      <a:pt x="128" y="493"/>
                      <a:pt x="128" y="493"/>
                      <a:pt x="128" y="493"/>
                    </a:cubicBezTo>
                    <a:cubicBezTo>
                      <a:pt x="130" y="493"/>
                      <a:pt x="130" y="493"/>
                      <a:pt x="130" y="493"/>
                    </a:cubicBezTo>
                    <a:cubicBezTo>
                      <a:pt x="130" y="493"/>
                      <a:pt x="130" y="493"/>
                      <a:pt x="130" y="493"/>
                    </a:cubicBezTo>
                    <a:cubicBezTo>
                      <a:pt x="130" y="492"/>
                      <a:pt x="130" y="492"/>
                      <a:pt x="130" y="492"/>
                    </a:cubicBezTo>
                    <a:cubicBezTo>
                      <a:pt x="133" y="488"/>
                      <a:pt x="134" y="484"/>
                      <a:pt x="134" y="484"/>
                    </a:cubicBezTo>
                    <a:cubicBezTo>
                      <a:pt x="134" y="483"/>
                      <a:pt x="134" y="483"/>
                      <a:pt x="134" y="483"/>
                    </a:cubicBezTo>
                    <a:cubicBezTo>
                      <a:pt x="134" y="479"/>
                      <a:pt x="135" y="476"/>
                      <a:pt x="139" y="474"/>
                    </a:cubicBezTo>
                    <a:cubicBezTo>
                      <a:pt x="142" y="471"/>
                      <a:pt x="144" y="469"/>
                      <a:pt x="145" y="466"/>
                    </a:cubicBezTo>
                    <a:cubicBezTo>
                      <a:pt x="145" y="466"/>
                      <a:pt x="145" y="466"/>
                      <a:pt x="145" y="466"/>
                    </a:cubicBezTo>
                    <a:cubicBezTo>
                      <a:pt x="147" y="462"/>
                      <a:pt x="151" y="462"/>
                      <a:pt x="157" y="464"/>
                    </a:cubicBezTo>
                    <a:cubicBezTo>
                      <a:pt x="158" y="464"/>
                      <a:pt x="158" y="464"/>
                      <a:pt x="158" y="464"/>
                    </a:cubicBezTo>
                    <a:cubicBezTo>
                      <a:pt x="158" y="464"/>
                      <a:pt x="158" y="464"/>
                      <a:pt x="158" y="464"/>
                    </a:cubicBezTo>
                    <a:cubicBezTo>
                      <a:pt x="165" y="468"/>
                      <a:pt x="165" y="468"/>
                      <a:pt x="165" y="468"/>
                    </a:cubicBezTo>
                    <a:cubicBezTo>
                      <a:pt x="191" y="473"/>
                      <a:pt x="191" y="473"/>
                      <a:pt x="191" y="473"/>
                    </a:cubicBezTo>
                    <a:cubicBezTo>
                      <a:pt x="206" y="472"/>
                      <a:pt x="206" y="472"/>
                      <a:pt x="206" y="472"/>
                    </a:cubicBezTo>
                    <a:cubicBezTo>
                      <a:pt x="217" y="467"/>
                      <a:pt x="217" y="467"/>
                      <a:pt x="217" y="467"/>
                    </a:cubicBezTo>
                    <a:cubicBezTo>
                      <a:pt x="219" y="464"/>
                      <a:pt x="221" y="463"/>
                      <a:pt x="222" y="462"/>
                    </a:cubicBezTo>
                    <a:cubicBezTo>
                      <a:pt x="224" y="462"/>
                      <a:pt x="227" y="462"/>
                      <a:pt x="230" y="465"/>
                    </a:cubicBezTo>
                    <a:cubicBezTo>
                      <a:pt x="232" y="466"/>
                      <a:pt x="232" y="466"/>
                      <a:pt x="232" y="466"/>
                    </a:cubicBezTo>
                    <a:cubicBezTo>
                      <a:pt x="233" y="467"/>
                      <a:pt x="235" y="470"/>
                      <a:pt x="236" y="474"/>
                    </a:cubicBezTo>
                    <a:cubicBezTo>
                      <a:pt x="244" y="480"/>
                      <a:pt x="244" y="480"/>
                      <a:pt x="244" y="480"/>
                    </a:cubicBezTo>
                    <a:cubicBezTo>
                      <a:pt x="250" y="480"/>
                      <a:pt x="250" y="480"/>
                      <a:pt x="250" y="480"/>
                    </a:cubicBezTo>
                    <a:cubicBezTo>
                      <a:pt x="251" y="480"/>
                      <a:pt x="251" y="480"/>
                      <a:pt x="251" y="480"/>
                    </a:cubicBezTo>
                    <a:cubicBezTo>
                      <a:pt x="251" y="480"/>
                      <a:pt x="251" y="480"/>
                      <a:pt x="251" y="480"/>
                    </a:cubicBezTo>
                    <a:cubicBezTo>
                      <a:pt x="252" y="480"/>
                      <a:pt x="252" y="480"/>
                      <a:pt x="252" y="480"/>
                    </a:cubicBezTo>
                    <a:cubicBezTo>
                      <a:pt x="260" y="484"/>
                      <a:pt x="260" y="484"/>
                      <a:pt x="260" y="484"/>
                    </a:cubicBezTo>
                    <a:cubicBezTo>
                      <a:pt x="276" y="482"/>
                      <a:pt x="276" y="482"/>
                      <a:pt x="276" y="482"/>
                    </a:cubicBezTo>
                    <a:cubicBezTo>
                      <a:pt x="285" y="480"/>
                      <a:pt x="285" y="480"/>
                      <a:pt x="285" y="480"/>
                    </a:cubicBezTo>
                    <a:cubicBezTo>
                      <a:pt x="307" y="482"/>
                      <a:pt x="307" y="482"/>
                      <a:pt x="307" y="482"/>
                    </a:cubicBezTo>
                    <a:cubicBezTo>
                      <a:pt x="317" y="479"/>
                      <a:pt x="317" y="479"/>
                      <a:pt x="317" y="479"/>
                    </a:cubicBezTo>
                    <a:cubicBezTo>
                      <a:pt x="329" y="474"/>
                      <a:pt x="329" y="474"/>
                      <a:pt x="329" y="474"/>
                    </a:cubicBezTo>
                    <a:cubicBezTo>
                      <a:pt x="331" y="472"/>
                      <a:pt x="334" y="471"/>
                      <a:pt x="338" y="470"/>
                    </a:cubicBezTo>
                    <a:cubicBezTo>
                      <a:pt x="360" y="470"/>
                      <a:pt x="360" y="470"/>
                      <a:pt x="360" y="470"/>
                    </a:cubicBezTo>
                    <a:cubicBezTo>
                      <a:pt x="368" y="467"/>
                      <a:pt x="368" y="467"/>
                      <a:pt x="368" y="467"/>
                    </a:cubicBezTo>
                    <a:cubicBezTo>
                      <a:pt x="371" y="465"/>
                      <a:pt x="374" y="464"/>
                      <a:pt x="377" y="464"/>
                    </a:cubicBezTo>
                    <a:cubicBezTo>
                      <a:pt x="389" y="464"/>
                      <a:pt x="389" y="464"/>
                      <a:pt x="389" y="464"/>
                    </a:cubicBezTo>
                    <a:cubicBezTo>
                      <a:pt x="395" y="468"/>
                      <a:pt x="395" y="468"/>
                      <a:pt x="395" y="468"/>
                    </a:cubicBezTo>
                    <a:cubicBezTo>
                      <a:pt x="413" y="472"/>
                      <a:pt x="413" y="472"/>
                      <a:pt x="413" y="472"/>
                    </a:cubicBezTo>
                    <a:cubicBezTo>
                      <a:pt x="415" y="472"/>
                      <a:pt x="417" y="474"/>
                      <a:pt x="421" y="478"/>
                    </a:cubicBezTo>
                    <a:cubicBezTo>
                      <a:pt x="429" y="482"/>
                      <a:pt x="429" y="482"/>
                      <a:pt x="429" y="482"/>
                    </a:cubicBezTo>
                    <a:cubicBezTo>
                      <a:pt x="429" y="483"/>
                      <a:pt x="429" y="483"/>
                      <a:pt x="429" y="483"/>
                    </a:cubicBezTo>
                    <a:cubicBezTo>
                      <a:pt x="446" y="484"/>
                      <a:pt x="446" y="484"/>
                      <a:pt x="446" y="484"/>
                    </a:cubicBezTo>
                    <a:cubicBezTo>
                      <a:pt x="446" y="484"/>
                      <a:pt x="446" y="484"/>
                      <a:pt x="446" y="484"/>
                    </a:cubicBezTo>
                    <a:cubicBezTo>
                      <a:pt x="446" y="484"/>
                      <a:pt x="446" y="484"/>
                      <a:pt x="446" y="484"/>
                    </a:cubicBezTo>
                    <a:cubicBezTo>
                      <a:pt x="454" y="488"/>
                      <a:pt x="454" y="488"/>
                      <a:pt x="454" y="488"/>
                    </a:cubicBezTo>
                    <a:cubicBezTo>
                      <a:pt x="464" y="490"/>
                      <a:pt x="464" y="490"/>
                      <a:pt x="464" y="490"/>
                    </a:cubicBezTo>
                    <a:cubicBezTo>
                      <a:pt x="464" y="490"/>
                      <a:pt x="464" y="490"/>
                      <a:pt x="464" y="490"/>
                    </a:cubicBezTo>
                    <a:cubicBezTo>
                      <a:pt x="473" y="491"/>
                      <a:pt x="473" y="491"/>
                      <a:pt x="473" y="491"/>
                    </a:cubicBezTo>
                    <a:cubicBezTo>
                      <a:pt x="475" y="486"/>
                      <a:pt x="475" y="486"/>
                      <a:pt x="475" y="486"/>
                    </a:cubicBezTo>
                    <a:cubicBezTo>
                      <a:pt x="471" y="478"/>
                      <a:pt x="471" y="478"/>
                      <a:pt x="471" y="478"/>
                    </a:cubicBezTo>
                    <a:cubicBezTo>
                      <a:pt x="470" y="470"/>
                      <a:pt x="470" y="470"/>
                      <a:pt x="470" y="470"/>
                    </a:cubicBezTo>
                    <a:cubicBezTo>
                      <a:pt x="470" y="470"/>
                      <a:pt x="470" y="470"/>
                      <a:pt x="470" y="470"/>
                    </a:cubicBezTo>
                    <a:cubicBezTo>
                      <a:pt x="469" y="470"/>
                      <a:pt x="469" y="470"/>
                      <a:pt x="469" y="470"/>
                    </a:cubicBezTo>
                    <a:cubicBezTo>
                      <a:pt x="471" y="468"/>
                      <a:pt x="471" y="468"/>
                      <a:pt x="471" y="468"/>
                    </a:cubicBezTo>
                    <a:cubicBezTo>
                      <a:pt x="476" y="461"/>
                      <a:pt x="476" y="461"/>
                      <a:pt x="476" y="461"/>
                    </a:cubicBezTo>
                    <a:cubicBezTo>
                      <a:pt x="476" y="460"/>
                      <a:pt x="476" y="460"/>
                      <a:pt x="476" y="460"/>
                    </a:cubicBezTo>
                    <a:cubicBezTo>
                      <a:pt x="476" y="460"/>
                      <a:pt x="476" y="460"/>
                      <a:pt x="476" y="460"/>
                    </a:cubicBezTo>
                    <a:cubicBezTo>
                      <a:pt x="477" y="460"/>
                      <a:pt x="477" y="460"/>
                      <a:pt x="477" y="460"/>
                    </a:cubicBezTo>
                    <a:cubicBezTo>
                      <a:pt x="477" y="460"/>
                      <a:pt x="477" y="460"/>
                      <a:pt x="477" y="460"/>
                    </a:cubicBezTo>
                    <a:cubicBezTo>
                      <a:pt x="482" y="456"/>
                      <a:pt x="482" y="456"/>
                      <a:pt x="482" y="456"/>
                    </a:cubicBezTo>
                    <a:cubicBezTo>
                      <a:pt x="482" y="456"/>
                      <a:pt x="482" y="456"/>
                      <a:pt x="482" y="456"/>
                    </a:cubicBezTo>
                    <a:cubicBezTo>
                      <a:pt x="481" y="454"/>
                      <a:pt x="481" y="454"/>
                      <a:pt x="481" y="454"/>
                    </a:cubicBezTo>
                    <a:cubicBezTo>
                      <a:pt x="479" y="446"/>
                      <a:pt x="479" y="446"/>
                      <a:pt x="479" y="446"/>
                    </a:cubicBezTo>
                    <a:cubicBezTo>
                      <a:pt x="479" y="444"/>
                      <a:pt x="477" y="444"/>
                      <a:pt x="475" y="442"/>
                    </a:cubicBezTo>
                    <a:cubicBezTo>
                      <a:pt x="475" y="442"/>
                      <a:pt x="475" y="442"/>
                      <a:pt x="475" y="442"/>
                    </a:cubicBezTo>
                    <a:cubicBezTo>
                      <a:pt x="469" y="436"/>
                      <a:pt x="469" y="436"/>
                      <a:pt x="469" y="436"/>
                    </a:cubicBezTo>
                    <a:cubicBezTo>
                      <a:pt x="461" y="429"/>
                      <a:pt x="461" y="429"/>
                      <a:pt x="461" y="429"/>
                    </a:cubicBezTo>
                    <a:cubicBezTo>
                      <a:pt x="461" y="428"/>
                      <a:pt x="461" y="428"/>
                      <a:pt x="461" y="428"/>
                    </a:cubicBezTo>
                    <a:cubicBezTo>
                      <a:pt x="460" y="428"/>
                      <a:pt x="460" y="428"/>
                      <a:pt x="460" y="428"/>
                    </a:cubicBezTo>
                    <a:cubicBezTo>
                      <a:pt x="461" y="428"/>
                      <a:pt x="461" y="428"/>
                      <a:pt x="461" y="428"/>
                    </a:cubicBezTo>
                    <a:cubicBezTo>
                      <a:pt x="461" y="427"/>
                      <a:pt x="461" y="427"/>
                      <a:pt x="461" y="427"/>
                    </a:cubicBezTo>
                    <a:cubicBezTo>
                      <a:pt x="462" y="419"/>
                      <a:pt x="462" y="419"/>
                      <a:pt x="462" y="419"/>
                    </a:cubicBezTo>
                    <a:cubicBezTo>
                      <a:pt x="462" y="414"/>
                      <a:pt x="462" y="414"/>
                      <a:pt x="462" y="414"/>
                    </a:cubicBezTo>
                    <a:cubicBezTo>
                      <a:pt x="458" y="404"/>
                      <a:pt x="458" y="404"/>
                      <a:pt x="458" y="404"/>
                    </a:cubicBezTo>
                    <a:cubicBezTo>
                      <a:pt x="467" y="402"/>
                      <a:pt x="467" y="402"/>
                      <a:pt x="467" y="402"/>
                    </a:cubicBezTo>
                    <a:cubicBezTo>
                      <a:pt x="472" y="398"/>
                      <a:pt x="472" y="398"/>
                      <a:pt x="472" y="398"/>
                    </a:cubicBezTo>
                    <a:cubicBezTo>
                      <a:pt x="483" y="398"/>
                      <a:pt x="483" y="398"/>
                      <a:pt x="483" y="398"/>
                    </a:cubicBezTo>
                    <a:cubicBezTo>
                      <a:pt x="494" y="396"/>
                      <a:pt x="494" y="396"/>
                      <a:pt x="494" y="396"/>
                    </a:cubicBezTo>
                    <a:cubicBezTo>
                      <a:pt x="495" y="396"/>
                      <a:pt x="495" y="396"/>
                      <a:pt x="495" y="396"/>
                    </a:cubicBezTo>
                    <a:cubicBezTo>
                      <a:pt x="502" y="397"/>
                      <a:pt x="502" y="397"/>
                      <a:pt x="502" y="397"/>
                    </a:cubicBezTo>
                    <a:cubicBezTo>
                      <a:pt x="511" y="394"/>
                      <a:pt x="511" y="394"/>
                      <a:pt x="511" y="394"/>
                    </a:cubicBezTo>
                    <a:cubicBezTo>
                      <a:pt x="521" y="392"/>
                      <a:pt x="521" y="392"/>
                      <a:pt x="521" y="392"/>
                    </a:cubicBezTo>
                    <a:cubicBezTo>
                      <a:pt x="527" y="390"/>
                      <a:pt x="527" y="390"/>
                      <a:pt x="527" y="390"/>
                    </a:cubicBezTo>
                    <a:cubicBezTo>
                      <a:pt x="528" y="390"/>
                      <a:pt x="528" y="390"/>
                      <a:pt x="528" y="390"/>
                    </a:cubicBezTo>
                    <a:cubicBezTo>
                      <a:pt x="545" y="386"/>
                      <a:pt x="545" y="386"/>
                      <a:pt x="545" y="386"/>
                    </a:cubicBezTo>
                    <a:cubicBezTo>
                      <a:pt x="548" y="384"/>
                      <a:pt x="548" y="384"/>
                      <a:pt x="548" y="384"/>
                    </a:cubicBezTo>
                    <a:cubicBezTo>
                      <a:pt x="547" y="380"/>
                      <a:pt x="547" y="380"/>
                      <a:pt x="547" y="380"/>
                    </a:cubicBezTo>
                    <a:cubicBezTo>
                      <a:pt x="544" y="375"/>
                      <a:pt x="544" y="375"/>
                      <a:pt x="544" y="375"/>
                    </a:cubicBezTo>
                    <a:cubicBezTo>
                      <a:pt x="544" y="374"/>
                      <a:pt x="544" y="374"/>
                      <a:pt x="544" y="374"/>
                    </a:cubicBezTo>
                    <a:cubicBezTo>
                      <a:pt x="543" y="374"/>
                      <a:pt x="543" y="374"/>
                      <a:pt x="543" y="374"/>
                    </a:cubicBezTo>
                    <a:cubicBezTo>
                      <a:pt x="543" y="374"/>
                      <a:pt x="543" y="374"/>
                      <a:pt x="543" y="374"/>
                    </a:cubicBezTo>
                    <a:cubicBezTo>
                      <a:pt x="544" y="368"/>
                      <a:pt x="544" y="368"/>
                      <a:pt x="544" y="368"/>
                    </a:cubicBezTo>
                    <a:cubicBezTo>
                      <a:pt x="545" y="367"/>
                      <a:pt x="545" y="367"/>
                      <a:pt x="545" y="367"/>
                    </a:cubicBezTo>
                    <a:cubicBezTo>
                      <a:pt x="545" y="359"/>
                      <a:pt x="545" y="359"/>
                      <a:pt x="545" y="359"/>
                    </a:cubicBezTo>
                    <a:cubicBezTo>
                      <a:pt x="543" y="352"/>
                      <a:pt x="543" y="352"/>
                      <a:pt x="543" y="352"/>
                    </a:cubicBezTo>
                    <a:cubicBezTo>
                      <a:pt x="543" y="352"/>
                      <a:pt x="543" y="352"/>
                      <a:pt x="543" y="352"/>
                    </a:cubicBezTo>
                    <a:cubicBezTo>
                      <a:pt x="543" y="351"/>
                      <a:pt x="543" y="351"/>
                      <a:pt x="543" y="351"/>
                    </a:cubicBezTo>
                    <a:cubicBezTo>
                      <a:pt x="547" y="343"/>
                      <a:pt x="547" y="343"/>
                      <a:pt x="547" y="343"/>
                    </a:cubicBezTo>
                    <a:cubicBezTo>
                      <a:pt x="549" y="340"/>
                      <a:pt x="551" y="338"/>
                      <a:pt x="553" y="338"/>
                    </a:cubicBezTo>
                    <a:cubicBezTo>
                      <a:pt x="563" y="338"/>
                      <a:pt x="563" y="338"/>
                      <a:pt x="563" y="338"/>
                    </a:cubicBezTo>
                    <a:cubicBezTo>
                      <a:pt x="565" y="338"/>
                      <a:pt x="567" y="338"/>
                      <a:pt x="569" y="336"/>
                    </a:cubicBezTo>
                    <a:cubicBezTo>
                      <a:pt x="585" y="315"/>
                      <a:pt x="585" y="315"/>
                      <a:pt x="585" y="315"/>
                    </a:cubicBezTo>
                    <a:cubicBezTo>
                      <a:pt x="585" y="314"/>
                      <a:pt x="585" y="314"/>
                      <a:pt x="585" y="314"/>
                    </a:cubicBezTo>
                    <a:cubicBezTo>
                      <a:pt x="585" y="314"/>
                      <a:pt x="585" y="314"/>
                      <a:pt x="585" y="314"/>
                    </a:cubicBezTo>
                    <a:cubicBezTo>
                      <a:pt x="593" y="307"/>
                      <a:pt x="593" y="307"/>
                      <a:pt x="593" y="307"/>
                    </a:cubicBezTo>
                    <a:cubicBezTo>
                      <a:pt x="594" y="306"/>
                      <a:pt x="594" y="306"/>
                      <a:pt x="594" y="306"/>
                    </a:cubicBezTo>
                    <a:cubicBezTo>
                      <a:pt x="597" y="306"/>
                      <a:pt x="599" y="304"/>
                      <a:pt x="601" y="304"/>
                    </a:cubicBezTo>
                    <a:cubicBezTo>
                      <a:pt x="603" y="302"/>
                      <a:pt x="603" y="302"/>
                      <a:pt x="603" y="302"/>
                    </a:cubicBezTo>
                    <a:cubicBezTo>
                      <a:pt x="605" y="298"/>
                      <a:pt x="608" y="296"/>
                      <a:pt x="609" y="296"/>
                    </a:cubicBezTo>
                    <a:cubicBezTo>
                      <a:pt x="623" y="299"/>
                      <a:pt x="623" y="299"/>
                      <a:pt x="623" y="299"/>
                    </a:cubicBezTo>
                    <a:cubicBezTo>
                      <a:pt x="635" y="294"/>
                      <a:pt x="635" y="294"/>
                      <a:pt x="635" y="294"/>
                    </a:cubicBezTo>
                    <a:cubicBezTo>
                      <a:pt x="635" y="294"/>
                      <a:pt x="635" y="294"/>
                      <a:pt x="635" y="294"/>
                    </a:cubicBezTo>
                    <a:cubicBezTo>
                      <a:pt x="635" y="294"/>
                      <a:pt x="635" y="294"/>
                      <a:pt x="635" y="294"/>
                    </a:cubicBezTo>
                    <a:cubicBezTo>
                      <a:pt x="635" y="294"/>
                      <a:pt x="635" y="294"/>
                      <a:pt x="635" y="294"/>
                    </a:cubicBezTo>
                    <a:cubicBezTo>
                      <a:pt x="635" y="294"/>
                      <a:pt x="635" y="294"/>
                      <a:pt x="635" y="294"/>
                    </a:cubicBezTo>
                    <a:cubicBezTo>
                      <a:pt x="642" y="293"/>
                      <a:pt x="642" y="293"/>
                      <a:pt x="642" y="293"/>
                    </a:cubicBezTo>
                    <a:cubicBezTo>
                      <a:pt x="648" y="290"/>
                      <a:pt x="648" y="290"/>
                      <a:pt x="648" y="290"/>
                    </a:cubicBezTo>
                    <a:cubicBezTo>
                      <a:pt x="648" y="281"/>
                      <a:pt x="648" y="281"/>
                      <a:pt x="648" y="281"/>
                    </a:cubicBezTo>
                    <a:cubicBezTo>
                      <a:pt x="649" y="270"/>
                      <a:pt x="649" y="270"/>
                      <a:pt x="649" y="270"/>
                    </a:cubicBezTo>
                    <a:cubicBezTo>
                      <a:pt x="649" y="269"/>
                      <a:pt x="649" y="269"/>
                      <a:pt x="649" y="269"/>
                    </a:cubicBezTo>
                    <a:cubicBezTo>
                      <a:pt x="649" y="269"/>
                      <a:pt x="649" y="269"/>
                      <a:pt x="649" y="269"/>
                    </a:cubicBezTo>
                    <a:cubicBezTo>
                      <a:pt x="649" y="269"/>
                      <a:pt x="649" y="269"/>
                      <a:pt x="649" y="269"/>
                    </a:cubicBezTo>
                    <a:cubicBezTo>
                      <a:pt x="651" y="266"/>
                      <a:pt x="651" y="266"/>
                      <a:pt x="651" y="266"/>
                    </a:cubicBezTo>
                    <a:lnTo>
                      <a:pt x="651" y="2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6" name="îṣḻiḑe"/>
              <p:cNvSpPr/>
              <p:nvPr/>
            </p:nvSpPr>
            <p:spPr bwMode="auto">
              <a:xfrm>
                <a:off x="1951" y="1865"/>
                <a:ext cx="961" cy="689"/>
              </a:xfrm>
              <a:custGeom>
                <a:avLst/>
                <a:gdLst>
                  <a:gd name="T0" fmla="*/ 241 w 406"/>
                  <a:gd name="T1" fmla="*/ 29 h 291"/>
                  <a:gd name="T2" fmla="*/ 228 w 406"/>
                  <a:gd name="T3" fmla="*/ 42 h 291"/>
                  <a:gd name="T4" fmla="*/ 190 w 406"/>
                  <a:gd name="T5" fmla="*/ 14 h 291"/>
                  <a:gd name="T6" fmla="*/ 178 w 406"/>
                  <a:gd name="T7" fmla="*/ 9 h 291"/>
                  <a:gd name="T8" fmla="*/ 144 w 406"/>
                  <a:gd name="T9" fmla="*/ 2 h 291"/>
                  <a:gd name="T10" fmla="*/ 114 w 406"/>
                  <a:gd name="T11" fmla="*/ 5 h 291"/>
                  <a:gd name="T12" fmla="*/ 98 w 406"/>
                  <a:gd name="T13" fmla="*/ 10 h 291"/>
                  <a:gd name="T14" fmla="*/ 72 w 406"/>
                  <a:gd name="T15" fmla="*/ 13 h 291"/>
                  <a:gd name="T16" fmla="*/ 41 w 406"/>
                  <a:gd name="T17" fmla="*/ 20 h 291"/>
                  <a:gd name="T18" fmla="*/ 49 w 406"/>
                  <a:gd name="T19" fmla="*/ 45 h 291"/>
                  <a:gd name="T20" fmla="*/ 62 w 406"/>
                  <a:gd name="T21" fmla="*/ 65 h 291"/>
                  <a:gd name="T22" fmla="*/ 52 w 406"/>
                  <a:gd name="T23" fmla="*/ 89 h 291"/>
                  <a:gd name="T24" fmla="*/ 56 w 406"/>
                  <a:gd name="T25" fmla="*/ 102 h 291"/>
                  <a:gd name="T26" fmla="*/ 30 w 406"/>
                  <a:gd name="T27" fmla="*/ 105 h 291"/>
                  <a:gd name="T28" fmla="*/ 10 w 406"/>
                  <a:gd name="T29" fmla="*/ 121 h 291"/>
                  <a:gd name="T30" fmla="*/ 2 w 406"/>
                  <a:gd name="T31" fmla="*/ 136 h 291"/>
                  <a:gd name="T32" fmla="*/ 5 w 406"/>
                  <a:gd name="T33" fmla="*/ 169 h 291"/>
                  <a:gd name="T34" fmla="*/ 8 w 406"/>
                  <a:gd name="T35" fmla="*/ 197 h 291"/>
                  <a:gd name="T36" fmla="*/ 38 w 406"/>
                  <a:gd name="T37" fmla="*/ 209 h 291"/>
                  <a:gd name="T38" fmla="*/ 50 w 406"/>
                  <a:gd name="T39" fmla="*/ 217 h 291"/>
                  <a:gd name="T40" fmla="*/ 63 w 406"/>
                  <a:gd name="T41" fmla="*/ 229 h 291"/>
                  <a:gd name="T42" fmla="*/ 93 w 406"/>
                  <a:gd name="T43" fmla="*/ 241 h 291"/>
                  <a:gd name="T44" fmla="*/ 136 w 406"/>
                  <a:gd name="T45" fmla="*/ 250 h 291"/>
                  <a:gd name="T46" fmla="*/ 158 w 406"/>
                  <a:gd name="T47" fmla="*/ 256 h 291"/>
                  <a:gd name="T48" fmla="*/ 170 w 406"/>
                  <a:gd name="T49" fmla="*/ 268 h 291"/>
                  <a:gd name="T50" fmla="*/ 174 w 406"/>
                  <a:gd name="T51" fmla="*/ 277 h 291"/>
                  <a:gd name="T52" fmla="*/ 183 w 406"/>
                  <a:gd name="T53" fmla="*/ 289 h 291"/>
                  <a:gd name="T54" fmla="*/ 195 w 406"/>
                  <a:gd name="T55" fmla="*/ 284 h 291"/>
                  <a:gd name="T56" fmla="*/ 210 w 406"/>
                  <a:gd name="T57" fmla="*/ 279 h 291"/>
                  <a:gd name="T58" fmla="*/ 222 w 406"/>
                  <a:gd name="T59" fmla="*/ 276 h 291"/>
                  <a:gd name="T60" fmla="*/ 226 w 406"/>
                  <a:gd name="T61" fmla="*/ 261 h 291"/>
                  <a:gd name="T62" fmla="*/ 242 w 406"/>
                  <a:gd name="T63" fmla="*/ 235 h 291"/>
                  <a:gd name="T64" fmla="*/ 239 w 406"/>
                  <a:gd name="T65" fmla="*/ 210 h 291"/>
                  <a:gd name="T66" fmla="*/ 246 w 406"/>
                  <a:gd name="T67" fmla="*/ 203 h 291"/>
                  <a:gd name="T68" fmla="*/ 278 w 406"/>
                  <a:gd name="T69" fmla="*/ 213 h 291"/>
                  <a:gd name="T70" fmla="*/ 284 w 406"/>
                  <a:gd name="T71" fmla="*/ 231 h 291"/>
                  <a:gd name="T72" fmla="*/ 299 w 406"/>
                  <a:gd name="T73" fmla="*/ 249 h 291"/>
                  <a:gd name="T74" fmla="*/ 325 w 406"/>
                  <a:gd name="T75" fmla="*/ 259 h 291"/>
                  <a:gd name="T76" fmla="*/ 332 w 406"/>
                  <a:gd name="T77" fmla="*/ 261 h 291"/>
                  <a:gd name="T78" fmla="*/ 350 w 406"/>
                  <a:gd name="T79" fmla="*/ 254 h 291"/>
                  <a:gd name="T80" fmla="*/ 361 w 406"/>
                  <a:gd name="T81" fmla="*/ 236 h 291"/>
                  <a:gd name="T82" fmla="*/ 346 w 406"/>
                  <a:gd name="T83" fmla="*/ 229 h 291"/>
                  <a:gd name="T84" fmla="*/ 367 w 406"/>
                  <a:gd name="T85" fmla="*/ 203 h 291"/>
                  <a:gd name="T86" fmla="*/ 376 w 406"/>
                  <a:gd name="T87" fmla="*/ 175 h 291"/>
                  <a:gd name="T88" fmla="*/ 402 w 406"/>
                  <a:gd name="T89" fmla="*/ 145 h 291"/>
                  <a:gd name="T90" fmla="*/ 400 w 406"/>
                  <a:gd name="T91" fmla="*/ 127 h 291"/>
                  <a:gd name="T92" fmla="*/ 382 w 406"/>
                  <a:gd name="T93" fmla="*/ 84 h 291"/>
                  <a:gd name="T94" fmla="*/ 368 w 406"/>
                  <a:gd name="T95" fmla="*/ 79 h 291"/>
                  <a:gd name="T96" fmla="*/ 336 w 406"/>
                  <a:gd name="T97" fmla="*/ 50 h 291"/>
                  <a:gd name="T98" fmla="*/ 328 w 406"/>
                  <a:gd name="T99" fmla="*/ 53 h 291"/>
                  <a:gd name="T100" fmla="*/ 308 w 406"/>
                  <a:gd name="T101" fmla="*/ 39 h 291"/>
                  <a:gd name="T102" fmla="*/ 281 w 406"/>
                  <a:gd name="T103" fmla="*/ 25 h 291"/>
                  <a:gd name="T104" fmla="*/ 272 w 406"/>
                  <a:gd name="T105" fmla="*/ 27 h 291"/>
                  <a:gd name="T106" fmla="*/ 242 w 406"/>
                  <a:gd name="T107" fmla="*/ 15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6" h="291">
                    <a:moveTo>
                      <a:pt x="242" y="15"/>
                    </a:moveTo>
                    <a:cubicBezTo>
                      <a:pt x="238" y="18"/>
                      <a:pt x="238" y="18"/>
                      <a:pt x="238" y="18"/>
                    </a:cubicBezTo>
                    <a:cubicBezTo>
                      <a:pt x="238" y="19"/>
                      <a:pt x="239" y="23"/>
                      <a:pt x="240" y="28"/>
                    </a:cubicBezTo>
                    <a:cubicBezTo>
                      <a:pt x="240" y="29"/>
                      <a:pt x="240" y="29"/>
                      <a:pt x="240" y="29"/>
                    </a:cubicBezTo>
                    <a:cubicBezTo>
                      <a:pt x="241" y="29"/>
                      <a:pt x="241" y="29"/>
                      <a:pt x="241" y="29"/>
                    </a:cubicBezTo>
                    <a:cubicBezTo>
                      <a:pt x="240" y="29"/>
                      <a:pt x="240" y="29"/>
                      <a:pt x="240" y="29"/>
                    </a:cubicBezTo>
                    <a:cubicBezTo>
                      <a:pt x="236" y="39"/>
                      <a:pt x="236" y="39"/>
                      <a:pt x="236" y="39"/>
                    </a:cubicBezTo>
                    <a:cubicBezTo>
                      <a:pt x="230" y="41"/>
                      <a:pt x="230" y="41"/>
                      <a:pt x="230" y="41"/>
                    </a:cubicBezTo>
                    <a:cubicBezTo>
                      <a:pt x="229" y="42"/>
                      <a:pt x="229" y="42"/>
                      <a:pt x="229" y="42"/>
                    </a:cubicBezTo>
                    <a:cubicBezTo>
                      <a:pt x="228" y="42"/>
                      <a:pt x="228" y="42"/>
                      <a:pt x="228" y="42"/>
                    </a:cubicBezTo>
                    <a:cubicBezTo>
                      <a:pt x="218" y="37"/>
                      <a:pt x="218" y="37"/>
                      <a:pt x="218" y="37"/>
                    </a:cubicBezTo>
                    <a:cubicBezTo>
                      <a:pt x="218" y="37"/>
                      <a:pt x="218" y="37"/>
                      <a:pt x="218" y="37"/>
                    </a:cubicBezTo>
                    <a:cubicBezTo>
                      <a:pt x="218" y="37"/>
                      <a:pt x="218" y="37"/>
                      <a:pt x="218" y="37"/>
                    </a:cubicBezTo>
                    <a:cubicBezTo>
                      <a:pt x="198" y="19"/>
                      <a:pt x="198" y="19"/>
                      <a:pt x="198" y="19"/>
                    </a:cubicBezTo>
                    <a:cubicBezTo>
                      <a:pt x="190" y="14"/>
                      <a:pt x="190" y="14"/>
                      <a:pt x="190" y="14"/>
                    </a:cubicBezTo>
                    <a:cubicBezTo>
                      <a:pt x="178" y="10"/>
                      <a:pt x="178" y="10"/>
                      <a:pt x="178" y="10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72" y="5"/>
                      <a:pt x="172" y="5"/>
                      <a:pt x="172" y="5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57" y="3"/>
                      <a:pt x="157" y="3"/>
                      <a:pt x="157" y="3"/>
                    </a:cubicBezTo>
                    <a:cubicBezTo>
                      <a:pt x="156" y="3"/>
                      <a:pt x="156" y="3"/>
                      <a:pt x="156" y="3"/>
                    </a:cubicBezTo>
                    <a:cubicBezTo>
                      <a:pt x="144" y="2"/>
                      <a:pt x="144" y="2"/>
                      <a:pt x="144" y="2"/>
                    </a:cubicBezTo>
                    <a:cubicBezTo>
                      <a:pt x="143" y="2"/>
                      <a:pt x="143" y="2"/>
                      <a:pt x="143" y="2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2" y="4"/>
                      <a:pt x="118" y="5"/>
                      <a:pt x="114" y="5"/>
                    </a:cubicBezTo>
                    <a:cubicBezTo>
                      <a:pt x="106" y="7"/>
                      <a:pt x="106" y="7"/>
                      <a:pt x="106" y="7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8" y="10"/>
                      <a:pt x="98" y="10"/>
                      <a:pt x="98" y="10"/>
                    </a:cubicBezTo>
                    <a:cubicBezTo>
                      <a:pt x="98" y="10"/>
                      <a:pt x="98" y="10"/>
                      <a:pt x="98" y="10"/>
                    </a:cubicBezTo>
                    <a:cubicBezTo>
                      <a:pt x="98" y="10"/>
                      <a:pt x="98" y="10"/>
                      <a:pt x="98" y="10"/>
                    </a:cubicBezTo>
                    <a:cubicBezTo>
                      <a:pt x="90" y="11"/>
                      <a:pt x="90" y="11"/>
                      <a:pt x="90" y="11"/>
                    </a:cubicBezTo>
                    <a:cubicBezTo>
                      <a:pt x="80" y="14"/>
                      <a:pt x="80" y="14"/>
                      <a:pt x="80" y="14"/>
                    </a:cubicBezTo>
                    <a:cubicBezTo>
                      <a:pt x="80" y="14"/>
                      <a:pt x="80" y="14"/>
                      <a:pt x="80" y="14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72" y="13"/>
                      <a:pt x="72" y="13"/>
                      <a:pt x="72" y="13"/>
                    </a:cubicBezTo>
                    <a:cubicBezTo>
                      <a:pt x="60" y="15"/>
                      <a:pt x="60" y="15"/>
                      <a:pt x="60" y="15"/>
                    </a:cubicBezTo>
                    <a:cubicBezTo>
                      <a:pt x="50" y="15"/>
                      <a:pt x="50" y="15"/>
                      <a:pt x="50" y="15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3"/>
                      <a:pt x="43" y="33"/>
                      <a:pt x="43" y="33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49" y="45"/>
                      <a:pt x="49" y="45"/>
                      <a:pt x="49" y="45"/>
                    </a:cubicBezTo>
                    <a:cubicBezTo>
                      <a:pt x="49" y="45"/>
                      <a:pt x="49" y="45"/>
                      <a:pt x="49" y="45"/>
                    </a:cubicBezTo>
                    <a:cubicBezTo>
                      <a:pt x="49" y="45"/>
                      <a:pt x="49" y="45"/>
                      <a:pt x="49" y="45"/>
                    </a:cubicBezTo>
                    <a:cubicBezTo>
                      <a:pt x="49" y="45"/>
                      <a:pt x="49" y="45"/>
                      <a:pt x="49" y="45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58" y="54"/>
                      <a:pt x="60" y="56"/>
                      <a:pt x="60" y="59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5" y="71"/>
                      <a:pt x="65" y="71"/>
                      <a:pt x="65" y="71"/>
                    </a:cubicBezTo>
                    <a:cubicBezTo>
                      <a:pt x="64" y="71"/>
                      <a:pt x="64" y="71"/>
                      <a:pt x="64" y="71"/>
                    </a:cubicBezTo>
                    <a:cubicBezTo>
                      <a:pt x="56" y="77"/>
                      <a:pt x="56" y="77"/>
                      <a:pt x="56" y="77"/>
                    </a:cubicBezTo>
                    <a:cubicBezTo>
                      <a:pt x="51" y="83"/>
                      <a:pt x="51" y="83"/>
                      <a:pt x="51" y="83"/>
                    </a:cubicBezTo>
                    <a:cubicBezTo>
                      <a:pt x="52" y="89"/>
                      <a:pt x="52" y="89"/>
                      <a:pt x="52" y="89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56" y="102"/>
                      <a:pt x="56" y="102"/>
                      <a:pt x="56" y="102"/>
                    </a:cubicBezTo>
                    <a:cubicBezTo>
                      <a:pt x="55" y="104"/>
                      <a:pt x="54" y="106"/>
                      <a:pt x="53" y="107"/>
                    </a:cubicBezTo>
                    <a:cubicBezTo>
                      <a:pt x="50" y="109"/>
                      <a:pt x="46" y="109"/>
                      <a:pt x="40" y="107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22" y="101"/>
                      <a:pt x="22" y="101"/>
                      <a:pt x="22" y="101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11" y="101"/>
                      <a:pt x="11" y="101"/>
                      <a:pt x="11" y="101"/>
                    </a:cubicBezTo>
                    <a:cubicBezTo>
                      <a:pt x="10" y="121"/>
                      <a:pt x="10" y="121"/>
                      <a:pt x="10" y="121"/>
                    </a:cubicBezTo>
                    <a:cubicBezTo>
                      <a:pt x="9" y="124"/>
                      <a:pt x="7" y="125"/>
                      <a:pt x="4" y="125"/>
                    </a:cubicBezTo>
                    <a:cubicBezTo>
                      <a:pt x="3" y="126"/>
                      <a:pt x="2" y="127"/>
                      <a:pt x="3" y="13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2" y="131"/>
                      <a:pt x="2" y="131"/>
                      <a:pt x="2" y="131"/>
                    </a:cubicBezTo>
                    <a:cubicBezTo>
                      <a:pt x="2" y="136"/>
                      <a:pt x="2" y="136"/>
                      <a:pt x="2" y="136"/>
                    </a:cubicBezTo>
                    <a:cubicBezTo>
                      <a:pt x="4" y="139"/>
                      <a:pt x="6" y="141"/>
                      <a:pt x="7" y="142"/>
                    </a:cubicBezTo>
                    <a:cubicBezTo>
                      <a:pt x="9" y="152"/>
                      <a:pt x="9" y="152"/>
                      <a:pt x="9" y="152"/>
                    </a:cubicBezTo>
                    <a:cubicBezTo>
                      <a:pt x="9" y="155"/>
                      <a:pt x="9" y="155"/>
                      <a:pt x="9" y="155"/>
                    </a:cubicBezTo>
                    <a:cubicBezTo>
                      <a:pt x="9" y="157"/>
                      <a:pt x="8" y="159"/>
                      <a:pt x="8" y="161"/>
                    </a:cubicBezTo>
                    <a:cubicBezTo>
                      <a:pt x="5" y="169"/>
                      <a:pt x="5" y="169"/>
                      <a:pt x="5" y="169"/>
                    </a:cubicBezTo>
                    <a:cubicBezTo>
                      <a:pt x="0" y="179"/>
                      <a:pt x="0" y="179"/>
                      <a:pt x="0" y="179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6" y="192"/>
                      <a:pt x="6" y="192"/>
                      <a:pt x="6" y="192"/>
                    </a:cubicBezTo>
                    <a:cubicBezTo>
                      <a:pt x="7" y="194"/>
                      <a:pt x="8" y="195"/>
                      <a:pt x="8" y="197"/>
                    </a:cubicBezTo>
                    <a:cubicBezTo>
                      <a:pt x="13" y="203"/>
                      <a:pt x="13" y="203"/>
                      <a:pt x="13" y="203"/>
                    </a:cubicBezTo>
                    <a:cubicBezTo>
                      <a:pt x="20" y="211"/>
                      <a:pt x="20" y="211"/>
                      <a:pt x="20" y="211"/>
                    </a:cubicBezTo>
                    <a:cubicBezTo>
                      <a:pt x="23" y="214"/>
                      <a:pt x="25" y="215"/>
                      <a:pt x="26" y="215"/>
                    </a:cubicBezTo>
                    <a:cubicBezTo>
                      <a:pt x="34" y="211"/>
                      <a:pt x="34" y="211"/>
                      <a:pt x="34" y="211"/>
                    </a:cubicBezTo>
                    <a:cubicBezTo>
                      <a:pt x="35" y="209"/>
                      <a:pt x="36" y="209"/>
                      <a:pt x="38" y="209"/>
                    </a:cubicBezTo>
                    <a:cubicBezTo>
                      <a:pt x="40" y="209"/>
                      <a:pt x="42" y="210"/>
                      <a:pt x="46" y="212"/>
                    </a:cubicBezTo>
                    <a:cubicBezTo>
                      <a:pt x="46" y="212"/>
                      <a:pt x="46" y="212"/>
                      <a:pt x="46" y="212"/>
                    </a:cubicBezTo>
                    <a:cubicBezTo>
                      <a:pt x="46" y="212"/>
                      <a:pt x="46" y="212"/>
                      <a:pt x="46" y="212"/>
                    </a:cubicBezTo>
                    <a:cubicBezTo>
                      <a:pt x="46" y="213"/>
                      <a:pt x="46" y="213"/>
                      <a:pt x="46" y="213"/>
                    </a:cubicBezTo>
                    <a:cubicBezTo>
                      <a:pt x="50" y="217"/>
                      <a:pt x="50" y="217"/>
                      <a:pt x="50" y="217"/>
                    </a:cubicBezTo>
                    <a:cubicBezTo>
                      <a:pt x="52" y="222"/>
                      <a:pt x="52" y="222"/>
                      <a:pt x="52" y="222"/>
                    </a:cubicBezTo>
                    <a:cubicBezTo>
                      <a:pt x="54" y="224"/>
                      <a:pt x="54" y="224"/>
                      <a:pt x="54" y="224"/>
                    </a:cubicBezTo>
                    <a:cubicBezTo>
                      <a:pt x="55" y="225"/>
                      <a:pt x="55" y="225"/>
                      <a:pt x="55" y="225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3" y="229"/>
                      <a:pt x="63" y="229"/>
                      <a:pt x="63" y="229"/>
                    </a:cubicBezTo>
                    <a:cubicBezTo>
                      <a:pt x="65" y="229"/>
                      <a:pt x="66" y="231"/>
                      <a:pt x="68" y="232"/>
                    </a:cubicBezTo>
                    <a:cubicBezTo>
                      <a:pt x="68" y="233"/>
                      <a:pt x="73" y="235"/>
                      <a:pt x="80" y="237"/>
                    </a:cubicBezTo>
                    <a:cubicBezTo>
                      <a:pt x="81" y="237"/>
                      <a:pt x="81" y="237"/>
                      <a:pt x="81" y="237"/>
                    </a:cubicBezTo>
                    <a:cubicBezTo>
                      <a:pt x="93" y="241"/>
                      <a:pt x="93" y="241"/>
                      <a:pt x="93" y="241"/>
                    </a:cubicBezTo>
                    <a:cubicBezTo>
                      <a:pt x="93" y="241"/>
                      <a:pt x="93" y="241"/>
                      <a:pt x="93" y="241"/>
                    </a:cubicBezTo>
                    <a:cubicBezTo>
                      <a:pt x="94" y="241"/>
                      <a:pt x="94" y="241"/>
                      <a:pt x="94" y="241"/>
                    </a:cubicBezTo>
                    <a:cubicBezTo>
                      <a:pt x="102" y="245"/>
                      <a:pt x="102" y="245"/>
                      <a:pt x="102" y="245"/>
                    </a:cubicBezTo>
                    <a:cubicBezTo>
                      <a:pt x="116" y="249"/>
                      <a:pt x="116" y="249"/>
                      <a:pt x="116" y="249"/>
                    </a:cubicBezTo>
                    <a:cubicBezTo>
                      <a:pt x="117" y="249"/>
                      <a:pt x="117" y="249"/>
                      <a:pt x="117" y="249"/>
                    </a:cubicBezTo>
                    <a:cubicBezTo>
                      <a:pt x="136" y="250"/>
                      <a:pt x="136" y="250"/>
                      <a:pt x="136" y="250"/>
                    </a:cubicBezTo>
                    <a:cubicBezTo>
                      <a:pt x="144" y="247"/>
                      <a:pt x="144" y="247"/>
                      <a:pt x="144" y="247"/>
                    </a:cubicBezTo>
                    <a:cubicBezTo>
                      <a:pt x="152" y="247"/>
                      <a:pt x="152" y="247"/>
                      <a:pt x="152" y="247"/>
                    </a:cubicBezTo>
                    <a:cubicBezTo>
                      <a:pt x="152" y="247"/>
                      <a:pt x="152" y="247"/>
                      <a:pt x="152" y="247"/>
                    </a:cubicBezTo>
                    <a:cubicBezTo>
                      <a:pt x="152" y="248"/>
                      <a:pt x="152" y="248"/>
                      <a:pt x="152" y="248"/>
                    </a:cubicBezTo>
                    <a:cubicBezTo>
                      <a:pt x="158" y="256"/>
                      <a:pt x="158" y="256"/>
                      <a:pt x="158" y="256"/>
                    </a:cubicBezTo>
                    <a:cubicBezTo>
                      <a:pt x="158" y="256"/>
                      <a:pt x="158" y="256"/>
                      <a:pt x="158" y="256"/>
                    </a:cubicBezTo>
                    <a:cubicBezTo>
                      <a:pt x="158" y="256"/>
                      <a:pt x="158" y="256"/>
                      <a:pt x="158" y="256"/>
                    </a:cubicBezTo>
                    <a:cubicBezTo>
                      <a:pt x="162" y="263"/>
                      <a:pt x="162" y="263"/>
                      <a:pt x="162" y="263"/>
                    </a:cubicBezTo>
                    <a:cubicBezTo>
                      <a:pt x="166" y="266"/>
                      <a:pt x="166" y="266"/>
                      <a:pt x="166" y="266"/>
                    </a:cubicBezTo>
                    <a:cubicBezTo>
                      <a:pt x="170" y="268"/>
                      <a:pt x="170" y="268"/>
                      <a:pt x="170" y="268"/>
                    </a:cubicBezTo>
                    <a:cubicBezTo>
                      <a:pt x="170" y="269"/>
                      <a:pt x="170" y="269"/>
                      <a:pt x="170" y="269"/>
                    </a:cubicBezTo>
                    <a:cubicBezTo>
                      <a:pt x="170" y="269"/>
                      <a:pt x="170" y="269"/>
                      <a:pt x="170" y="269"/>
                    </a:cubicBezTo>
                    <a:cubicBezTo>
                      <a:pt x="171" y="269"/>
                      <a:pt x="171" y="269"/>
                      <a:pt x="171" y="269"/>
                    </a:cubicBezTo>
                    <a:cubicBezTo>
                      <a:pt x="174" y="277"/>
                      <a:pt x="174" y="277"/>
                      <a:pt x="174" y="277"/>
                    </a:cubicBezTo>
                    <a:cubicBezTo>
                      <a:pt x="174" y="277"/>
                      <a:pt x="174" y="277"/>
                      <a:pt x="174" y="277"/>
                    </a:cubicBezTo>
                    <a:cubicBezTo>
                      <a:pt x="175" y="277"/>
                      <a:pt x="175" y="277"/>
                      <a:pt x="175" y="277"/>
                    </a:cubicBezTo>
                    <a:cubicBezTo>
                      <a:pt x="175" y="278"/>
                      <a:pt x="175" y="278"/>
                      <a:pt x="175" y="278"/>
                    </a:cubicBezTo>
                    <a:cubicBezTo>
                      <a:pt x="177" y="287"/>
                      <a:pt x="177" y="287"/>
                      <a:pt x="177" y="287"/>
                    </a:cubicBezTo>
                    <a:cubicBezTo>
                      <a:pt x="182" y="289"/>
                      <a:pt x="182" y="289"/>
                      <a:pt x="182" y="289"/>
                    </a:cubicBezTo>
                    <a:cubicBezTo>
                      <a:pt x="183" y="289"/>
                      <a:pt x="183" y="289"/>
                      <a:pt x="183" y="289"/>
                    </a:cubicBezTo>
                    <a:cubicBezTo>
                      <a:pt x="183" y="289"/>
                      <a:pt x="183" y="289"/>
                      <a:pt x="183" y="289"/>
                    </a:cubicBezTo>
                    <a:cubicBezTo>
                      <a:pt x="183" y="289"/>
                      <a:pt x="183" y="289"/>
                      <a:pt x="183" y="289"/>
                    </a:cubicBezTo>
                    <a:cubicBezTo>
                      <a:pt x="188" y="291"/>
                      <a:pt x="188" y="291"/>
                      <a:pt x="188" y="291"/>
                    </a:cubicBezTo>
                    <a:cubicBezTo>
                      <a:pt x="194" y="290"/>
                      <a:pt x="194" y="290"/>
                      <a:pt x="194" y="290"/>
                    </a:cubicBezTo>
                    <a:cubicBezTo>
                      <a:pt x="195" y="284"/>
                      <a:pt x="195" y="284"/>
                      <a:pt x="195" y="284"/>
                    </a:cubicBezTo>
                    <a:cubicBezTo>
                      <a:pt x="195" y="284"/>
                      <a:pt x="195" y="284"/>
                      <a:pt x="195" y="284"/>
                    </a:cubicBezTo>
                    <a:cubicBezTo>
                      <a:pt x="196" y="283"/>
                      <a:pt x="196" y="283"/>
                      <a:pt x="196" y="283"/>
                    </a:cubicBezTo>
                    <a:cubicBezTo>
                      <a:pt x="202" y="277"/>
                      <a:pt x="202" y="277"/>
                      <a:pt x="202" y="277"/>
                    </a:cubicBezTo>
                    <a:cubicBezTo>
                      <a:pt x="210" y="279"/>
                      <a:pt x="210" y="279"/>
                      <a:pt x="210" y="279"/>
                    </a:cubicBezTo>
                    <a:cubicBezTo>
                      <a:pt x="210" y="279"/>
                      <a:pt x="210" y="279"/>
                      <a:pt x="210" y="279"/>
                    </a:cubicBezTo>
                    <a:cubicBezTo>
                      <a:pt x="214" y="287"/>
                      <a:pt x="214" y="287"/>
                      <a:pt x="214" y="287"/>
                    </a:cubicBezTo>
                    <a:cubicBezTo>
                      <a:pt x="221" y="285"/>
                      <a:pt x="221" y="285"/>
                      <a:pt x="221" y="285"/>
                    </a:cubicBezTo>
                    <a:cubicBezTo>
                      <a:pt x="222" y="277"/>
                      <a:pt x="222" y="277"/>
                      <a:pt x="222" y="277"/>
                    </a:cubicBezTo>
                    <a:cubicBezTo>
                      <a:pt x="222" y="277"/>
                      <a:pt x="222" y="277"/>
                      <a:pt x="222" y="277"/>
                    </a:cubicBezTo>
                    <a:cubicBezTo>
                      <a:pt x="222" y="276"/>
                      <a:pt x="222" y="276"/>
                      <a:pt x="222" y="276"/>
                    </a:cubicBezTo>
                    <a:cubicBezTo>
                      <a:pt x="222" y="276"/>
                      <a:pt x="222" y="276"/>
                      <a:pt x="222" y="276"/>
                    </a:cubicBezTo>
                    <a:cubicBezTo>
                      <a:pt x="228" y="273"/>
                      <a:pt x="228" y="273"/>
                      <a:pt x="228" y="273"/>
                    </a:cubicBezTo>
                    <a:cubicBezTo>
                      <a:pt x="226" y="262"/>
                      <a:pt x="226" y="262"/>
                      <a:pt x="226" y="262"/>
                    </a:cubicBezTo>
                    <a:cubicBezTo>
                      <a:pt x="226" y="261"/>
                      <a:pt x="226" y="261"/>
                      <a:pt x="226" y="261"/>
                    </a:cubicBezTo>
                    <a:cubicBezTo>
                      <a:pt x="226" y="261"/>
                      <a:pt x="226" y="261"/>
                      <a:pt x="226" y="261"/>
                    </a:cubicBezTo>
                    <a:cubicBezTo>
                      <a:pt x="226" y="261"/>
                      <a:pt x="226" y="261"/>
                      <a:pt x="226" y="261"/>
                    </a:cubicBezTo>
                    <a:cubicBezTo>
                      <a:pt x="232" y="248"/>
                      <a:pt x="232" y="248"/>
                      <a:pt x="232" y="248"/>
                    </a:cubicBezTo>
                    <a:cubicBezTo>
                      <a:pt x="238" y="246"/>
                      <a:pt x="238" y="246"/>
                      <a:pt x="238" y="246"/>
                    </a:cubicBezTo>
                    <a:cubicBezTo>
                      <a:pt x="236" y="235"/>
                      <a:pt x="236" y="235"/>
                      <a:pt x="236" y="235"/>
                    </a:cubicBezTo>
                    <a:cubicBezTo>
                      <a:pt x="242" y="235"/>
                      <a:pt x="242" y="235"/>
                      <a:pt x="242" y="235"/>
                    </a:cubicBezTo>
                    <a:cubicBezTo>
                      <a:pt x="242" y="229"/>
                      <a:pt x="242" y="229"/>
                      <a:pt x="242" y="229"/>
                    </a:cubicBezTo>
                    <a:cubicBezTo>
                      <a:pt x="238" y="219"/>
                      <a:pt x="238" y="219"/>
                      <a:pt x="238" y="219"/>
                    </a:cubicBezTo>
                    <a:cubicBezTo>
                      <a:pt x="238" y="219"/>
                      <a:pt x="238" y="219"/>
                      <a:pt x="238" y="219"/>
                    </a:cubicBezTo>
                    <a:cubicBezTo>
                      <a:pt x="238" y="218"/>
                      <a:pt x="238" y="218"/>
                      <a:pt x="238" y="218"/>
                    </a:cubicBezTo>
                    <a:cubicBezTo>
                      <a:pt x="239" y="210"/>
                      <a:pt x="239" y="210"/>
                      <a:pt x="239" y="210"/>
                    </a:cubicBezTo>
                    <a:cubicBezTo>
                      <a:pt x="239" y="209"/>
                      <a:pt x="239" y="209"/>
                      <a:pt x="239" y="209"/>
                    </a:cubicBezTo>
                    <a:cubicBezTo>
                      <a:pt x="240" y="209"/>
                      <a:pt x="240" y="209"/>
                      <a:pt x="240" y="209"/>
                    </a:cubicBezTo>
                    <a:cubicBezTo>
                      <a:pt x="244" y="203"/>
                      <a:pt x="244" y="203"/>
                      <a:pt x="244" y="203"/>
                    </a:cubicBezTo>
                    <a:cubicBezTo>
                      <a:pt x="245" y="203"/>
                      <a:pt x="245" y="203"/>
                      <a:pt x="245" y="203"/>
                    </a:cubicBezTo>
                    <a:cubicBezTo>
                      <a:pt x="246" y="203"/>
                      <a:pt x="246" y="203"/>
                      <a:pt x="246" y="203"/>
                    </a:cubicBezTo>
                    <a:cubicBezTo>
                      <a:pt x="257" y="205"/>
                      <a:pt x="257" y="205"/>
                      <a:pt x="257" y="205"/>
                    </a:cubicBezTo>
                    <a:cubicBezTo>
                      <a:pt x="257" y="205"/>
                      <a:pt x="257" y="205"/>
                      <a:pt x="257" y="205"/>
                    </a:cubicBezTo>
                    <a:cubicBezTo>
                      <a:pt x="266" y="207"/>
                      <a:pt x="266" y="207"/>
                      <a:pt x="266" y="207"/>
                    </a:cubicBezTo>
                    <a:cubicBezTo>
                      <a:pt x="274" y="205"/>
                      <a:pt x="274" y="205"/>
                      <a:pt x="274" y="205"/>
                    </a:cubicBezTo>
                    <a:cubicBezTo>
                      <a:pt x="278" y="213"/>
                      <a:pt x="278" y="213"/>
                      <a:pt x="278" y="213"/>
                    </a:cubicBezTo>
                    <a:cubicBezTo>
                      <a:pt x="278" y="214"/>
                      <a:pt x="278" y="214"/>
                      <a:pt x="278" y="214"/>
                    </a:cubicBezTo>
                    <a:cubicBezTo>
                      <a:pt x="278" y="220"/>
                      <a:pt x="278" y="220"/>
                      <a:pt x="278" y="220"/>
                    </a:cubicBezTo>
                    <a:cubicBezTo>
                      <a:pt x="280" y="226"/>
                      <a:pt x="280" y="226"/>
                      <a:pt x="280" y="226"/>
                    </a:cubicBezTo>
                    <a:cubicBezTo>
                      <a:pt x="280" y="229"/>
                      <a:pt x="282" y="230"/>
                      <a:pt x="284" y="231"/>
                    </a:cubicBezTo>
                    <a:cubicBezTo>
                      <a:pt x="284" y="231"/>
                      <a:pt x="284" y="231"/>
                      <a:pt x="284" y="231"/>
                    </a:cubicBezTo>
                    <a:cubicBezTo>
                      <a:pt x="288" y="231"/>
                      <a:pt x="290" y="233"/>
                      <a:pt x="290" y="235"/>
                    </a:cubicBezTo>
                    <a:cubicBezTo>
                      <a:pt x="291" y="237"/>
                      <a:pt x="292" y="240"/>
                      <a:pt x="295" y="243"/>
                    </a:cubicBezTo>
                    <a:cubicBezTo>
                      <a:pt x="299" y="249"/>
                      <a:pt x="299" y="249"/>
                      <a:pt x="299" y="249"/>
                    </a:cubicBezTo>
                    <a:cubicBezTo>
                      <a:pt x="299" y="249"/>
                      <a:pt x="299" y="249"/>
                      <a:pt x="299" y="249"/>
                    </a:cubicBezTo>
                    <a:cubicBezTo>
                      <a:pt x="299" y="249"/>
                      <a:pt x="299" y="249"/>
                      <a:pt x="299" y="249"/>
                    </a:cubicBezTo>
                    <a:cubicBezTo>
                      <a:pt x="301" y="253"/>
                      <a:pt x="301" y="253"/>
                      <a:pt x="301" y="253"/>
                    </a:cubicBezTo>
                    <a:cubicBezTo>
                      <a:pt x="305" y="253"/>
                      <a:pt x="305" y="253"/>
                      <a:pt x="305" y="253"/>
                    </a:cubicBezTo>
                    <a:cubicBezTo>
                      <a:pt x="312" y="247"/>
                      <a:pt x="312" y="247"/>
                      <a:pt x="312" y="247"/>
                    </a:cubicBezTo>
                    <a:cubicBezTo>
                      <a:pt x="316" y="256"/>
                      <a:pt x="316" y="256"/>
                      <a:pt x="316" y="256"/>
                    </a:cubicBezTo>
                    <a:cubicBezTo>
                      <a:pt x="325" y="259"/>
                      <a:pt x="325" y="259"/>
                      <a:pt x="325" y="259"/>
                    </a:cubicBezTo>
                    <a:cubicBezTo>
                      <a:pt x="325" y="259"/>
                      <a:pt x="325" y="259"/>
                      <a:pt x="325" y="259"/>
                    </a:cubicBezTo>
                    <a:cubicBezTo>
                      <a:pt x="326" y="259"/>
                      <a:pt x="326" y="259"/>
                      <a:pt x="326" y="259"/>
                    </a:cubicBezTo>
                    <a:cubicBezTo>
                      <a:pt x="330" y="267"/>
                      <a:pt x="330" y="267"/>
                      <a:pt x="330" y="267"/>
                    </a:cubicBezTo>
                    <a:cubicBezTo>
                      <a:pt x="332" y="269"/>
                      <a:pt x="332" y="269"/>
                      <a:pt x="332" y="269"/>
                    </a:cubicBezTo>
                    <a:cubicBezTo>
                      <a:pt x="332" y="261"/>
                      <a:pt x="332" y="261"/>
                      <a:pt x="332" y="261"/>
                    </a:cubicBezTo>
                    <a:cubicBezTo>
                      <a:pt x="332" y="261"/>
                      <a:pt x="332" y="261"/>
                      <a:pt x="332" y="261"/>
                    </a:cubicBezTo>
                    <a:cubicBezTo>
                      <a:pt x="332" y="259"/>
                      <a:pt x="332" y="259"/>
                      <a:pt x="332" y="259"/>
                    </a:cubicBezTo>
                    <a:cubicBezTo>
                      <a:pt x="350" y="259"/>
                      <a:pt x="350" y="259"/>
                      <a:pt x="350" y="259"/>
                    </a:cubicBezTo>
                    <a:cubicBezTo>
                      <a:pt x="350" y="257"/>
                      <a:pt x="350" y="257"/>
                      <a:pt x="350" y="257"/>
                    </a:cubicBezTo>
                    <a:cubicBezTo>
                      <a:pt x="351" y="257"/>
                      <a:pt x="351" y="255"/>
                      <a:pt x="350" y="254"/>
                    </a:cubicBezTo>
                    <a:cubicBezTo>
                      <a:pt x="349" y="251"/>
                      <a:pt x="348" y="249"/>
                      <a:pt x="348" y="247"/>
                    </a:cubicBezTo>
                    <a:cubicBezTo>
                      <a:pt x="348" y="243"/>
                      <a:pt x="348" y="241"/>
                      <a:pt x="349" y="240"/>
                    </a:cubicBezTo>
                    <a:cubicBezTo>
                      <a:pt x="350" y="239"/>
                      <a:pt x="351" y="239"/>
                      <a:pt x="353" y="239"/>
                    </a:cubicBezTo>
                    <a:cubicBezTo>
                      <a:pt x="360" y="241"/>
                      <a:pt x="360" y="241"/>
                      <a:pt x="360" y="241"/>
                    </a:cubicBezTo>
                    <a:cubicBezTo>
                      <a:pt x="361" y="236"/>
                      <a:pt x="361" y="236"/>
                      <a:pt x="361" y="236"/>
                    </a:cubicBezTo>
                    <a:cubicBezTo>
                      <a:pt x="348" y="230"/>
                      <a:pt x="348" y="230"/>
                      <a:pt x="348" y="230"/>
                    </a:cubicBezTo>
                    <a:cubicBezTo>
                      <a:pt x="347" y="230"/>
                      <a:pt x="347" y="230"/>
                      <a:pt x="347" y="230"/>
                    </a:cubicBezTo>
                    <a:cubicBezTo>
                      <a:pt x="346" y="229"/>
                      <a:pt x="346" y="229"/>
                      <a:pt x="346" y="229"/>
                    </a:cubicBezTo>
                    <a:cubicBezTo>
                      <a:pt x="346" y="229"/>
                      <a:pt x="346" y="229"/>
                      <a:pt x="346" y="229"/>
                    </a:cubicBezTo>
                    <a:cubicBezTo>
                      <a:pt x="346" y="229"/>
                      <a:pt x="346" y="229"/>
                      <a:pt x="346" y="229"/>
                    </a:cubicBezTo>
                    <a:cubicBezTo>
                      <a:pt x="344" y="213"/>
                      <a:pt x="344" y="213"/>
                      <a:pt x="344" y="213"/>
                    </a:cubicBezTo>
                    <a:cubicBezTo>
                      <a:pt x="345" y="203"/>
                      <a:pt x="345" y="203"/>
                      <a:pt x="345" y="203"/>
                    </a:cubicBezTo>
                    <a:cubicBezTo>
                      <a:pt x="345" y="201"/>
                      <a:pt x="345" y="201"/>
                      <a:pt x="345" y="201"/>
                    </a:cubicBezTo>
                    <a:cubicBezTo>
                      <a:pt x="345" y="201"/>
                      <a:pt x="345" y="201"/>
                      <a:pt x="345" y="201"/>
                    </a:cubicBezTo>
                    <a:cubicBezTo>
                      <a:pt x="367" y="203"/>
                      <a:pt x="367" y="203"/>
                      <a:pt x="367" y="203"/>
                    </a:cubicBezTo>
                    <a:cubicBezTo>
                      <a:pt x="372" y="198"/>
                      <a:pt x="372" y="198"/>
                      <a:pt x="372" y="198"/>
                    </a:cubicBezTo>
                    <a:cubicBezTo>
                      <a:pt x="374" y="196"/>
                      <a:pt x="373" y="195"/>
                      <a:pt x="372" y="194"/>
                    </a:cubicBezTo>
                    <a:cubicBezTo>
                      <a:pt x="367" y="192"/>
                      <a:pt x="364" y="190"/>
                      <a:pt x="364" y="187"/>
                    </a:cubicBezTo>
                    <a:cubicBezTo>
                      <a:pt x="364" y="186"/>
                      <a:pt x="364" y="185"/>
                      <a:pt x="366" y="184"/>
                    </a:cubicBezTo>
                    <a:cubicBezTo>
                      <a:pt x="376" y="175"/>
                      <a:pt x="376" y="175"/>
                      <a:pt x="376" y="175"/>
                    </a:cubicBezTo>
                    <a:cubicBezTo>
                      <a:pt x="386" y="174"/>
                      <a:pt x="386" y="174"/>
                      <a:pt x="386" y="174"/>
                    </a:cubicBezTo>
                    <a:cubicBezTo>
                      <a:pt x="391" y="165"/>
                      <a:pt x="391" y="165"/>
                      <a:pt x="391" y="165"/>
                    </a:cubicBezTo>
                    <a:cubicBezTo>
                      <a:pt x="391" y="157"/>
                      <a:pt x="391" y="157"/>
                      <a:pt x="391" y="157"/>
                    </a:cubicBezTo>
                    <a:cubicBezTo>
                      <a:pt x="398" y="155"/>
                      <a:pt x="398" y="155"/>
                      <a:pt x="398" y="155"/>
                    </a:cubicBezTo>
                    <a:cubicBezTo>
                      <a:pt x="400" y="149"/>
                      <a:pt x="402" y="146"/>
                      <a:pt x="402" y="145"/>
                    </a:cubicBezTo>
                    <a:cubicBezTo>
                      <a:pt x="406" y="138"/>
                      <a:pt x="406" y="138"/>
                      <a:pt x="406" y="138"/>
                    </a:cubicBezTo>
                    <a:cubicBezTo>
                      <a:pt x="400" y="128"/>
                      <a:pt x="400" y="128"/>
                      <a:pt x="400" y="128"/>
                    </a:cubicBezTo>
                    <a:cubicBezTo>
                      <a:pt x="400" y="128"/>
                      <a:pt x="400" y="128"/>
                      <a:pt x="400" y="128"/>
                    </a:cubicBezTo>
                    <a:cubicBezTo>
                      <a:pt x="400" y="128"/>
                      <a:pt x="400" y="128"/>
                      <a:pt x="400" y="128"/>
                    </a:cubicBezTo>
                    <a:cubicBezTo>
                      <a:pt x="400" y="127"/>
                      <a:pt x="400" y="127"/>
                      <a:pt x="400" y="127"/>
                    </a:cubicBezTo>
                    <a:cubicBezTo>
                      <a:pt x="396" y="114"/>
                      <a:pt x="396" y="114"/>
                      <a:pt x="396" y="114"/>
                    </a:cubicBezTo>
                    <a:cubicBezTo>
                      <a:pt x="396" y="113"/>
                      <a:pt x="396" y="113"/>
                      <a:pt x="396" y="113"/>
                    </a:cubicBezTo>
                    <a:cubicBezTo>
                      <a:pt x="394" y="99"/>
                      <a:pt x="394" y="99"/>
                      <a:pt x="394" y="99"/>
                    </a:cubicBezTo>
                    <a:cubicBezTo>
                      <a:pt x="389" y="91"/>
                      <a:pt x="389" y="91"/>
                      <a:pt x="389" y="91"/>
                    </a:cubicBezTo>
                    <a:cubicBezTo>
                      <a:pt x="382" y="84"/>
                      <a:pt x="382" y="84"/>
                      <a:pt x="382" y="84"/>
                    </a:cubicBezTo>
                    <a:cubicBezTo>
                      <a:pt x="382" y="84"/>
                      <a:pt x="382" y="84"/>
                      <a:pt x="382" y="84"/>
                    </a:cubicBezTo>
                    <a:cubicBezTo>
                      <a:pt x="382" y="83"/>
                      <a:pt x="382" y="83"/>
                      <a:pt x="382" y="83"/>
                    </a:cubicBezTo>
                    <a:cubicBezTo>
                      <a:pt x="382" y="83"/>
                      <a:pt x="382" y="83"/>
                      <a:pt x="382" y="83"/>
                    </a:cubicBezTo>
                    <a:cubicBezTo>
                      <a:pt x="381" y="75"/>
                      <a:pt x="381" y="75"/>
                      <a:pt x="381" y="75"/>
                    </a:cubicBezTo>
                    <a:cubicBezTo>
                      <a:pt x="368" y="79"/>
                      <a:pt x="368" y="79"/>
                      <a:pt x="368" y="79"/>
                    </a:cubicBezTo>
                    <a:cubicBezTo>
                      <a:pt x="368" y="79"/>
                      <a:pt x="368" y="79"/>
                      <a:pt x="368" y="79"/>
                    </a:cubicBezTo>
                    <a:cubicBezTo>
                      <a:pt x="362" y="72"/>
                      <a:pt x="362" y="72"/>
                      <a:pt x="362" y="72"/>
                    </a:cubicBezTo>
                    <a:cubicBezTo>
                      <a:pt x="344" y="59"/>
                      <a:pt x="344" y="59"/>
                      <a:pt x="344" y="59"/>
                    </a:cubicBezTo>
                    <a:cubicBezTo>
                      <a:pt x="343" y="59"/>
                      <a:pt x="343" y="59"/>
                      <a:pt x="343" y="59"/>
                    </a:cubicBezTo>
                    <a:cubicBezTo>
                      <a:pt x="336" y="50"/>
                      <a:pt x="336" y="50"/>
                      <a:pt x="336" y="50"/>
                    </a:cubicBezTo>
                    <a:cubicBezTo>
                      <a:pt x="332" y="47"/>
                      <a:pt x="332" y="47"/>
                      <a:pt x="332" y="47"/>
                    </a:cubicBezTo>
                    <a:cubicBezTo>
                      <a:pt x="329" y="51"/>
                      <a:pt x="329" y="51"/>
                      <a:pt x="329" y="51"/>
                    </a:cubicBezTo>
                    <a:cubicBezTo>
                      <a:pt x="329" y="52"/>
                      <a:pt x="329" y="52"/>
                      <a:pt x="329" y="52"/>
                    </a:cubicBezTo>
                    <a:cubicBezTo>
                      <a:pt x="329" y="53"/>
                      <a:pt x="329" y="53"/>
                      <a:pt x="329" y="53"/>
                    </a:cubicBezTo>
                    <a:cubicBezTo>
                      <a:pt x="328" y="53"/>
                      <a:pt x="328" y="53"/>
                      <a:pt x="328" y="53"/>
                    </a:cubicBezTo>
                    <a:cubicBezTo>
                      <a:pt x="328" y="53"/>
                      <a:pt x="328" y="53"/>
                      <a:pt x="328" y="53"/>
                    </a:cubicBezTo>
                    <a:cubicBezTo>
                      <a:pt x="322" y="53"/>
                      <a:pt x="322" y="53"/>
                      <a:pt x="322" y="53"/>
                    </a:cubicBezTo>
                    <a:cubicBezTo>
                      <a:pt x="321" y="53"/>
                      <a:pt x="321" y="53"/>
                      <a:pt x="321" y="53"/>
                    </a:cubicBezTo>
                    <a:cubicBezTo>
                      <a:pt x="321" y="53"/>
                      <a:pt x="321" y="53"/>
                      <a:pt x="321" y="53"/>
                    </a:cubicBezTo>
                    <a:cubicBezTo>
                      <a:pt x="308" y="39"/>
                      <a:pt x="308" y="39"/>
                      <a:pt x="308" y="39"/>
                    </a:cubicBezTo>
                    <a:cubicBezTo>
                      <a:pt x="305" y="38"/>
                      <a:pt x="302" y="35"/>
                      <a:pt x="298" y="31"/>
                    </a:cubicBezTo>
                    <a:cubicBezTo>
                      <a:pt x="292" y="27"/>
                      <a:pt x="292" y="27"/>
                      <a:pt x="292" y="27"/>
                    </a:cubicBezTo>
                    <a:cubicBezTo>
                      <a:pt x="292" y="26"/>
                      <a:pt x="292" y="26"/>
                      <a:pt x="292" y="26"/>
                    </a:cubicBezTo>
                    <a:cubicBezTo>
                      <a:pt x="285" y="22"/>
                      <a:pt x="285" y="22"/>
                      <a:pt x="285" y="22"/>
                    </a:cubicBezTo>
                    <a:cubicBezTo>
                      <a:pt x="281" y="25"/>
                      <a:pt x="281" y="25"/>
                      <a:pt x="281" y="25"/>
                    </a:cubicBezTo>
                    <a:cubicBezTo>
                      <a:pt x="280" y="26"/>
                      <a:pt x="280" y="26"/>
                      <a:pt x="280" y="26"/>
                    </a:cubicBezTo>
                    <a:cubicBezTo>
                      <a:pt x="280" y="26"/>
                      <a:pt x="280" y="26"/>
                      <a:pt x="280" y="26"/>
                    </a:cubicBezTo>
                    <a:cubicBezTo>
                      <a:pt x="280" y="26"/>
                      <a:pt x="280" y="26"/>
                      <a:pt x="280" y="26"/>
                    </a:cubicBezTo>
                    <a:cubicBezTo>
                      <a:pt x="276" y="25"/>
                      <a:pt x="276" y="25"/>
                      <a:pt x="276" y="25"/>
                    </a:cubicBezTo>
                    <a:cubicBezTo>
                      <a:pt x="272" y="27"/>
                      <a:pt x="272" y="27"/>
                      <a:pt x="272" y="27"/>
                    </a:cubicBezTo>
                    <a:cubicBezTo>
                      <a:pt x="272" y="27"/>
                      <a:pt x="272" y="27"/>
                      <a:pt x="272" y="27"/>
                    </a:cubicBezTo>
                    <a:cubicBezTo>
                      <a:pt x="271" y="28"/>
                      <a:pt x="271" y="28"/>
                      <a:pt x="271" y="28"/>
                    </a:cubicBezTo>
                    <a:cubicBezTo>
                      <a:pt x="271" y="28"/>
                      <a:pt x="271" y="28"/>
                      <a:pt x="271" y="28"/>
                    </a:cubicBezTo>
                    <a:cubicBezTo>
                      <a:pt x="265" y="29"/>
                      <a:pt x="265" y="29"/>
                      <a:pt x="265" y="29"/>
                    </a:cubicBezTo>
                    <a:cubicBezTo>
                      <a:pt x="258" y="24"/>
                      <a:pt x="250" y="20"/>
                      <a:pt x="24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7" name="íśľiḑé"/>
              <p:cNvSpPr/>
              <p:nvPr/>
            </p:nvSpPr>
            <p:spPr bwMode="auto">
              <a:xfrm>
                <a:off x="2502" y="2348"/>
                <a:ext cx="831" cy="729"/>
              </a:xfrm>
              <a:custGeom>
                <a:avLst/>
                <a:gdLst>
                  <a:gd name="T0" fmla="*/ 10 w 351"/>
                  <a:gd name="T1" fmla="*/ 14 h 308"/>
                  <a:gd name="T2" fmla="*/ 9 w 351"/>
                  <a:gd name="T3" fmla="*/ 35 h 308"/>
                  <a:gd name="T4" fmla="*/ 5 w 351"/>
                  <a:gd name="T5" fmla="*/ 57 h 308"/>
                  <a:gd name="T6" fmla="*/ 19 w 351"/>
                  <a:gd name="T7" fmla="*/ 69 h 308"/>
                  <a:gd name="T8" fmla="*/ 35 w 351"/>
                  <a:gd name="T9" fmla="*/ 97 h 308"/>
                  <a:gd name="T10" fmla="*/ 37 w 351"/>
                  <a:gd name="T11" fmla="*/ 122 h 308"/>
                  <a:gd name="T12" fmla="*/ 45 w 351"/>
                  <a:gd name="T13" fmla="*/ 143 h 308"/>
                  <a:gd name="T14" fmla="*/ 50 w 351"/>
                  <a:gd name="T15" fmla="*/ 175 h 308"/>
                  <a:gd name="T16" fmla="*/ 47 w 351"/>
                  <a:gd name="T17" fmla="*/ 218 h 308"/>
                  <a:gd name="T18" fmla="*/ 55 w 351"/>
                  <a:gd name="T19" fmla="*/ 231 h 308"/>
                  <a:gd name="T20" fmla="*/ 62 w 351"/>
                  <a:gd name="T21" fmla="*/ 213 h 308"/>
                  <a:gd name="T22" fmla="*/ 78 w 351"/>
                  <a:gd name="T23" fmla="*/ 220 h 308"/>
                  <a:gd name="T24" fmla="*/ 85 w 351"/>
                  <a:gd name="T25" fmla="*/ 237 h 308"/>
                  <a:gd name="T26" fmla="*/ 102 w 351"/>
                  <a:gd name="T27" fmla="*/ 239 h 308"/>
                  <a:gd name="T28" fmla="*/ 119 w 351"/>
                  <a:gd name="T29" fmla="*/ 279 h 308"/>
                  <a:gd name="T30" fmla="*/ 123 w 351"/>
                  <a:gd name="T31" fmla="*/ 299 h 308"/>
                  <a:gd name="T32" fmla="*/ 131 w 351"/>
                  <a:gd name="T33" fmla="*/ 308 h 308"/>
                  <a:gd name="T34" fmla="*/ 153 w 351"/>
                  <a:gd name="T35" fmla="*/ 293 h 308"/>
                  <a:gd name="T36" fmla="*/ 164 w 351"/>
                  <a:gd name="T37" fmla="*/ 268 h 308"/>
                  <a:gd name="T38" fmla="*/ 173 w 351"/>
                  <a:gd name="T39" fmla="*/ 255 h 308"/>
                  <a:gd name="T40" fmla="*/ 187 w 351"/>
                  <a:gd name="T41" fmla="*/ 235 h 308"/>
                  <a:gd name="T42" fmla="*/ 195 w 351"/>
                  <a:gd name="T43" fmla="*/ 218 h 308"/>
                  <a:gd name="T44" fmla="*/ 221 w 351"/>
                  <a:gd name="T45" fmla="*/ 225 h 308"/>
                  <a:gd name="T46" fmla="*/ 229 w 351"/>
                  <a:gd name="T47" fmla="*/ 236 h 308"/>
                  <a:gd name="T48" fmla="*/ 240 w 351"/>
                  <a:gd name="T49" fmla="*/ 233 h 308"/>
                  <a:gd name="T50" fmla="*/ 255 w 351"/>
                  <a:gd name="T51" fmla="*/ 249 h 308"/>
                  <a:gd name="T52" fmla="*/ 275 w 351"/>
                  <a:gd name="T53" fmla="*/ 233 h 308"/>
                  <a:gd name="T54" fmla="*/ 264 w 351"/>
                  <a:gd name="T55" fmla="*/ 229 h 308"/>
                  <a:gd name="T56" fmla="*/ 259 w 351"/>
                  <a:gd name="T57" fmla="*/ 210 h 308"/>
                  <a:gd name="T58" fmla="*/ 275 w 351"/>
                  <a:gd name="T59" fmla="*/ 209 h 308"/>
                  <a:gd name="T60" fmla="*/ 259 w 351"/>
                  <a:gd name="T61" fmla="*/ 187 h 308"/>
                  <a:gd name="T62" fmla="*/ 255 w 351"/>
                  <a:gd name="T63" fmla="*/ 163 h 308"/>
                  <a:gd name="T64" fmla="*/ 303 w 351"/>
                  <a:gd name="T65" fmla="*/ 143 h 308"/>
                  <a:gd name="T66" fmla="*/ 327 w 351"/>
                  <a:gd name="T67" fmla="*/ 121 h 308"/>
                  <a:gd name="T68" fmla="*/ 333 w 351"/>
                  <a:gd name="T69" fmla="*/ 111 h 308"/>
                  <a:gd name="T70" fmla="*/ 343 w 351"/>
                  <a:gd name="T71" fmla="*/ 85 h 308"/>
                  <a:gd name="T72" fmla="*/ 325 w 351"/>
                  <a:gd name="T73" fmla="*/ 78 h 308"/>
                  <a:gd name="T74" fmla="*/ 315 w 351"/>
                  <a:gd name="T75" fmla="*/ 68 h 308"/>
                  <a:gd name="T76" fmla="*/ 304 w 351"/>
                  <a:gd name="T77" fmla="*/ 73 h 308"/>
                  <a:gd name="T78" fmla="*/ 298 w 351"/>
                  <a:gd name="T79" fmla="*/ 63 h 308"/>
                  <a:gd name="T80" fmla="*/ 287 w 351"/>
                  <a:gd name="T81" fmla="*/ 62 h 308"/>
                  <a:gd name="T82" fmla="*/ 263 w 351"/>
                  <a:gd name="T83" fmla="*/ 58 h 308"/>
                  <a:gd name="T84" fmla="*/ 253 w 351"/>
                  <a:gd name="T85" fmla="*/ 59 h 308"/>
                  <a:gd name="T86" fmla="*/ 219 w 351"/>
                  <a:gd name="T87" fmla="*/ 55 h 308"/>
                  <a:gd name="T88" fmla="*/ 217 w 351"/>
                  <a:gd name="T89" fmla="*/ 39 h 308"/>
                  <a:gd name="T90" fmla="*/ 180 w 351"/>
                  <a:gd name="T91" fmla="*/ 16 h 308"/>
                  <a:gd name="T92" fmla="*/ 163 w 351"/>
                  <a:gd name="T93" fmla="*/ 5 h 308"/>
                  <a:gd name="T94" fmla="*/ 160 w 351"/>
                  <a:gd name="T95" fmla="*/ 31 h 308"/>
                  <a:gd name="T96" fmla="*/ 140 w 351"/>
                  <a:gd name="T97" fmla="*/ 33 h 308"/>
                  <a:gd name="T98" fmla="*/ 131 w 351"/>
                  <a:gd name="T99" fmla="*/ 41 h 308"/>
                  <a:gd name="T100" fmla="*/ 122 w 351"/>
                  <a:gd name="T101" fmla="*/ 55 h 308"/>
                  <a:gd name="T102" fmla="*/ 95 w 351"/>
                  <a:gd name="T103" fmla="*/ 67 h 308"/>
                  <a:gd name="T104" fmla="*/ 77 w 351"/>
                  <a:gd name="T105" fmla="*/ 50 h 308"/>
                  <a:gd name="T106" fmla="*/ 63 w 351"/>
                  <a:gd name="T107" fmla="*/ 47 h 308"/>
                  <a:gd name="T108" fmla="*/ 49 w 351"/>
                  <a:gd name="T109" fmla="*/ 31 h 308"/>
                  <a:gd name="T110" fmla="*/ 34 w 351"/>
                  <a:gd name="T111" fmla="*/ 7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51" h="308">
                    <a:moveTo>
                      <a:pt x="33" y="7"/>
                    </a:moveTo>
                    <a:cubicBezTo>
                      <a:pt x="23" y="5"/>
                      <a:pt x="23" y="5"/>
                      <a:pt x="23" y="5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4" y="57"/>
                      <a:pt x="4" y="57"/>
                      <a:pt x="4" y="57"/>
                    </a:cubicBezTo>
                    <a:cubicBezTo>
                      <a:pt x="5" y="57"/>
                      <a:pt x="5" y="57"/>
                      <a:pt x="5" y="57"/>
                    </a:cubicBezTo>
                    <a:cubicBezTo>
                      <a:pt x="5" y="57"/>
                      <a:pt x="5" y="57"/>
                      <a:pt x="5" y="57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19" y="69"/>
                      <a:pt x="19" y="69"/>
                      <a:pt x="19" y="69"/>
                    </a:cubicBezTo>
                    <a:cubicBezTo>
                      <a:pt x="19" y="69"/>
                      <a:pt x="19" y="69"/>
                      <a:pt x="19" y="69"/>
                    </a:cubicBezTo>
                    <a:cubicBezTo>
                      <a:pt x="19" y="69"/>
                      <a:pt x="19" y="69"/>
                      <a:pt x="19" y="69"/>
                    </a:cubicBezTo>
                    <a:cubicBezTo>
                      <a:pt x="19" y="69"/>
                      <a:pt x="19" y="69"/>
                      <a:pt x="19" y="69"/>
                    </a:cubicBezTo>
                    <a:cubicBezTo>
                      <a:pt x="21" y="79"/>
                      <a:pt x="21" y="79"/>
                      <a:pt x="21" y="79"/>
                    </a:cubicBezTo>
                    <a:cubicBezTo>
                      <a:pt x="28" y="89"/>
                      <a:pt x="28" y="89"/>
                      <a:pt x="28" y="89"/>
                    </a:cubicBezTo>
                    <a:cubicBezTo>
                      <a:pt x="29" y="91"/>
                      <a:pt x="31" y="93"/>
                      <a:pt x="35" y="97"/>
                    </a:cubicBezTo>
                    <a:cubicBezTo>
                      <a:pt x="35" y="97"/>
                      <a:pt x="35" y="97"/>
                      <a:pt x="35" y="97"/>
                    </a:cubicBezTo>
                    <a:cubicBezTo>
                      <a:pt x="36" y="97"/>
                      <a:pt x="36" y="97"/>
                      <a:pt x="36" y="97"/>
                    </a:cubicBezTo>
                    <a:cubicBezTo>
                      <a:pt x="36" y="97"/>
                      <a:pt x="36" y="97"/>
                      <a:pt x="36" y="97"/>
                    </a:cubicBezTo>
                    <a:cubicBezTo>
                      <a:pt x="35" y="98"/>
                      <a:pt x="35" y="98"/>
                      <a:pt x="35" y="98"/>
                    </a:cubicBezTo>
                    <a:cubicBezTo>
                      <a:pt x="35" y="107"/>
                      <a:pt x="35" y="107"/>
                      <a:pt x="35" y="107"/>
                    </a:cubicBezTo>
                    <a:cubicBezTo>
                      <a:pt x="37" y="109"/>
                      <a:pt x="37" y="115"/>
                      <a:pt x="37" y="122"/>
                    </a:cubicBezTo>
                    <a:cubicBezTo>
                      <a:pt x="41" y="127"/>
                      <a:pt x="42" y="131"/>
                      <a:pt x="42" y="133"/>
                    </a:cubicBezTo>
                    <a:cubicBezTo>
                      <a:pt x="42" y="135"/>
                      <a:pt x="43" y="138"/>
                      <a:pt x="45" y="143"/>
                    </a:cubicBezTo>
                    <a:cubicBezTo>
                      <a:pt x="45" y="143"/>
                      <a:pt x="45" y="143"/>
                      <a:pt x="45" y="143"/>
                    </a:cubicBezTo>
                    <a:cubicBezTo>
                      <a:pt x="45" y="143"/>
                      <a:pt x="45" y="143"/>
                      <a:pt x="45" y="143"/>
                    </a:cubicBezTo>
                    <a:cubicBezTo>
                      <a:pt x="45" y="143"/>
                      <a:pt x="45" y="143"/>
                      <a:pt x="45" y="143"/>
                    </a:cubicBezTo>
                    <a:cubicBezTo>
                      <a:pt x="46" y="149"/>
                      <a:pt x="46" y="153"/>
                      <a:pt x="45" y="157"/>
                    </a:cubicBezTo>
                    <a:cubicBezTo>
                      <a:pt x="43" y="160"/>
                      <a:pt x="45" y="165"/>
                      <a:pt x="49" y="173"/>
                    </a:cubicBezTo>
                    <a:cubicBezTo>
                      <a:pt x="50" y="173"/>
                      <a:pt x="50" y="173"/>
                      <a:pt x="50" y="173"/>
                    </a:cubicBezTo>
                    <a:cubicBezTo>
                      <a:pt x="50" y="174"/>
                      <a:pt x="50" y="174"/>
                      <a:pt x="50" y="174"/>
                    </a:cubicBezTo>
                    <a:cubicBezTo>
                      <a:pt x="50" y="175"/>
                      <a:pt x="50" y="175"/>
                      <a:pt x="50" y="175"/>
                    </a:cubicBezTo>
                    <a:cubicBezTo>
                      <a:pt x="43" y="189"/>
                      <a:pt x="43" y="189"/>
                      <a:pt x="43" y="189"/>
                    </a:cubicBezTo>
                    <a:cubicBezTo>
                      <a:pt x="45" y="192"/>
                      <a:pt x="45" y="194"/>
                      <a:pt x="45" y="196"/>
                    </a:cubicBezTo>
                    <a:cubicBezTo>
                      <a:pt x="43" y="209"/>
                      <a:pt x="43" y="209"/>
                      <a:pt x="43" y="209"/>
                    </a:cubicBezTo>
                    <a:cubicBezTo>
                      <a:pt x="43" y="213"/>
                      <a:pt x="43" y="216"/>
                      <a:pt x="45" y="217"/>
                    </a:cubicBezTo>
                    <a:cubicBezTo>
                      <a:pt x="47" y="218"/>
                      <a:pt x="47" y="218"/>
                      <a:pt x="47" y="218"/>
                    </a:cubicBezTo>
                    <a:cubicBezTo>
                      <a:pt x="51" y="220"/>
                      <a:pt x="52" y="222"/>
                      <a:pt x="52" y="224"/>
                    </a:cubicBezTo>
                    <a:cubicBezTo>
                      <a:pt x="51" y="231"/>
                      <a:pt x="51" y="231"/>
                      <a:pt x="51" y="231"/>
                    </a:cubicBezTo>
                    <a:cubicBezTo>
                      <a:pt x="53" y="231"/>
                      <a:pt x="53" y="231"/>
                      <a:pt x="53" y="231"/>
                    </a:cubicBezTo>
                    <a:cubicBezTo>
                      <a:pt x="54" y="232"/>
                      <a:pt x="54" y="232"/>
                      <a:pt x="54" y="232"/>
                    </a:cubicBezTo>
                    <a:cubicBezTo>
                      <a:pt x="55" y="231"/>
                      <a:pt x="55" y="231"/>
                      <a:pt x="55" y="231"/>
                    </a:cubicBezTo>
                    <a:cubicBezTo>
                      <a:pt x="56" y="229"/>
                      <a:pt x="57" y="228"/>
                      <a:pt x="58" y="226"/>
                    </a:cubicBezTo>
                    <a:cubicBezTo>
                      <a:pt x="59" y="225"/>
                      <a:pt x="59" y="225"/>
                      <a:pt x="59" y="225"/>
                    </a:cubicBezTo>
                    <a:cubicBezTo>
                      <a:pt x="59" y="224"/>
                      <a:pt x="59" y="224"/>
                      <a:pt x="59" y="224"/>
                    </a:cubicBezTo>
                    <a:cubicBezTo>
                      <a:pt x="61" y="223"/>
                      <a:pt x="61" y="222"/>
                      <a:pt x="63" y="220"/>
                    </a:cubicBezTo>
                    <a:cubicBezTo>
                      <a:pt x="63" y="218"/>
                      <a:pt x="63" y="215"/>
                      <a:pt x="62" y="213"/>
                    </a:cubicBezTo>
                    <a:cubicBezTo>
                      <a:pt x="61" y="211"/>
                      <a:pt x="61" y="211"/>
                      <a:pt x="61" y="211"/>
                    </a:cubicBezTo>
                    <a:cubicBezTo>
                      <a:pt x="63" y="210"/>
                      <a:pt x="63" y="210"/>
                      <a:pt x="63" y="210"/>
                    </a:cubicBezTo>
                    <a:cubicBezTo>
                      <a:pt x="70" y="209"/>
                      <a:pt x="73" y="209"/>
                      <a:pt x="75" y="212"/>
                    </a:cubicBezTo>
                    <a:cubicBezTo>
                      <a:pt x="78" y="220"/>
                      <a:pt x="78" y="220"/>
                      <a:pt x="78" y="220"/>
                    </a:cubicBezTo>
                    <a:cubicBezTo>
                      <a:pt x="78" y="220"/>
                      <a:pt x="78" y="220"/>
                      <a:pt x="78" y="220"/>
                    </a:cubicBezTo>
                    <a:cubicBezTo>
                      <a:pt x="78" y="221"/>
                      <a:pt x="78" y="221"/>
                      <a:pt x="78" y="221"/>
                    </a:cubicBezTo>
                    <a:cubicBezTo>
                      <a:pt x="79" y="234"/>
                      <a:pt x="79" y="234"/>
                      <a:pt x="79" y="234"/>
                    </a:cubicBezTo>
                    <a:cubicBezTo>
                      <a:pt x="85" y="237"/>
                      <a:pt x="85" y="237"/>
                      <a:pt x="85" y="237"/>
                    </a:cubicBezTo>
                    <a:cubicBezTo>
                      <a:pt x="85" y="237"/>
                      <a:pt x="85" y="237"/>
                      <a:pt x="85" y="237"/>
                    </a:cubicBezTo>
                    <a:cubicBezTo>
                      <a:pt x="85" y="237"/>
                      <a:pt x="85" y="237"/>
                      <a:pt x="85" y="237"/>
                    </a:cubicBezTo>
                    <a:cubicBezTo>
                      <a:pt x="89" y="239"/>
                      <a:pt x="89" y="239"/>
                      <a:pt x="89" y="239"/>
                    </a:cubicBezTo>
                    <a:cubicBezTo>
                      <a:pt x="92" y="236"/>
                      <a:pt x="92" y="236"/>
                      <a:pt x="92" y="236"/>
                    </a:cubicBezTo>
                    <a:cubicBezTo>
                      <a:pt x="95" y="233"/>
                      <a:pt x="95" y="233"/>
                      <a:pt x="95" y="233"/>
                    </a:cubicBezTo>
                    <a:cubicBezTo>
                      <a:pt x="97" y="233"/>
                      <a:pt x="97" y="233"/>
                      <a:pt x="97" y="233"/>
                    </a:cubicBezTo>
                    <a:cubicBezTo>
                      <a:pt x="99" y="234"/>
                      <a:pt x="101" y="236"/>
                      <a:pt x="102" y="239"/>
                    </a:cubicBezTo>
                    <a:cubicBezTo>
                      <a:pt x="103" y="249"/>
                      <a:pt x="103" y="249"/>
                      <a:pt x="103" y="249"/>
                    </a:cubicBezTo>
                    <a:cubicBezTo>
                      <a:pt x="104" y="251"/>
                      <a:pt x="104" y="251"/>
                      <a:pt x="104" y="251"/>
                    </a:cubicBezTo>
                    <a:cubicBezTo>
                      <a:pt x="115" y="274"/>
                      <a:pt x="115" y="274"/>
                      <a:pt x="115" y="274"/>
                    </a:cubicBezTo>
                    <a:cubicBezTo>
                      <a:pt x="119" y="278"/>
                      <a:pt x="119" y="278"/>
                      <a:pt x="119" y="278"/>
                    </a:cubicBezTo>
                    <a:cubicBezTo>
                      <a:pt x="119" y="279"/>
                      <a:pt x="119" y="279"/>
                      <a:pt x="119" y="279"/>
                    </a:cubicBezTo>
                    <a:cubicBezTo>
                      <a:pt x="119" y="279"/>
                      <a:pt x="119" y="279"/>
                      <a:pt x="119" y="279"/>
                    </a:cubicBezTo>
                    <a:cubicBezTo>
                      <a:pt x="121" y="289"/>
                      <a:pt x="121" y="289"/>
                      <a:pt x="121" y="289"/>
                    </a:cubicBezTo>
                    <a:cubicBezTo>
                      <a:pt x="121" y="289"/>
                      <a:pt x="121" y="289"/>
                      <a:pt x="121" y="289"/>
                    </a:cubicBezTo>
                    <a:cubicBezTo>
                      <a:pt x="122" y="298"/>
                      <a:pt x="122" y="298"/>
                      <a:pt x="122" y="298"/>
                    </a:cubicBezTo>
                    <a:cubicBezTo>
                      <a:pt x="123" y="299"/>
                      <a:pt x="123" y="299"/>
                      <a:pt x="123" y="299"/>
                    </a:cubicBezTo>
                    <a:cubicBezTo>
                      <a:pt x="125" y="295"/>
                      <a:pt x="128" y="293"/>
                      <a:pt x="129" y="293"/>
                    </a:cubicBezTo>
                    <a:cubicBezTo>
                      <a:pt x="131" y="294"/>
                      <a:pt x="131" y="295"/>
                      <a:pt x="131" y="296"/>
                    </a:cubicBezTo>
                    <a:cubicBezTo>
                      <a:pt x="131" y="299"/>
                      <a:pt x="131" y="299"/>
                      <a:pt x="131" y="299"/>
                    </a:cubicBezTo>
                    <a:cubicBezTo>
                      <a:pt x="131" y="306"/>
                      <a:pt x="131" y="306"/>
                      <a:pt x="131" y="306"/>
                    </a:cubicBezTo>
                    <a:cubicBezTo>
                      <a:pt x="131" y="308"/>
                      <a:pt x="131" y="308"/>
                      <a:pt x="131" y="308"/>
                    </a:cubicBezTo>
                    <a:cubicBezTo>
                      <a:pt x="133" y="308"/>
                      <a:pt x="135" y="308"/>
                      <a:pt x="135" y="307"/>
                    </a:cubicBezTo>
                    <a:cubicBezTo>
                      <a:pt x="139" y="301"/>
                      <a:pt x="139" y="301"/>
                      <a:pt x="139" y="301"/>
                    </a:cubicBezTo>
                    <a:cubicBezTo>
                      <a:pt x="144" y="297"/>
                      <a:pt x="144" y="297"/>
                      <a:pt x="144" y="297"/>
                    </a:cubicBezTo>
                    <a:cubicBezTo>
                      <a:pt x="147" y="295"/>
                      <a:pt x="149" y="293"/>
                      <a:pt x="153" y="293"/>
                    </a:cubicBezTo>
                    <a:cubicBezTo>
                      <a:pt x="153" y="293"/>
                      <a:pt x="153" y="293"/>
                      <a:pt x="153" y="293"/>
                    </a:cubicBezTo>
                    <a:cubicBezTo>
                      <a:pt x="161" y="295"/>
                      <a:pt x="161" y="295"/>
                      <a:pt x="161" y="295"/>
                    </a:cubicBezTo>
                    <a:cubicBezTo>
                      <a:pt x="164" y="294"/>
                      <a:pt x="164" y="294"/>
                      <a:pt x="164" y="294"/>
                    </a:cubicBezTo>
                    <a:cubicBezTo>
                      <a:pt x="168" y="288"/>
                      <a:pt x="168" y="288"/>
                      <a:pt x="168" y="288"/>
                    </a:cubicBezTo>
                    <a:cubicBezTo>
                      <a:pt x="167" y="279"/>
                      <a:pt x="167" y="279"/>
                      <a:pt x="167" y="279"/>
                    </a:cubicBezTo>
                    <a:cubicBezTo>
                      <a:pt x="165" y="275"/>
                      <a:pt x="163" y="271"/>
                      <a:pt x="164" y="268"/>
                    </a:cubicBezTo>
                    <a:cubicBezTo>
                      <a:pt x="165" y="261"/>
                      <a:pt x="165" y="261"/>
                      <a:pt x="165" y="261"/>
                    </a:cubicBezTo>
                    <a:cubicBezTo>
                      <a:pt x="165" y="260"/>
                      <a:pt x="165" y="260"/>
                      <a:pt x="165" y="260"/>
                    </a:cubicBezTo>
                    <a:cubicBezTo>
                      <a:pt x="166" y="259"/>
                      <a:pt x="166" y="259"/>
                      <a:pt x="166" y="259"/>
                    </a:cubicBezTo>
                    <a:cubicBezTo>
                      <a:pt x="166" y="259"/>
                      <a:pt x="166" y="259"/>
                      <a:pt x="166" y="259"/>
                    </a:cubicBezTo>
                    <a:cubicBezTo>
                      <a:pt x="173" y="255"/>
                      <a:pt x="173" y="255"/>
                      <a:pt x="173" y="255"/>
                    </a:cubicBezTo>
                    <a:cubicBezTo>
                      <a:pt x="174" y="255"/>
                      <a:pt x="174" y="255"/>
                      <a:pt x="174" y="255"/>
                    </a:cubicBezTo>
                    <a:cubicBezTo>
                      <a:pt x="174" y="255"/>
                      <a:pt x="174" y="255"/>
                      <a:pt x="174" y="255"/>
                    </a:cubicBezTo>
                    <a:cubicBezTo>
                      <a:pt x="179" y="251"/>
                      <a:pt x="179" y="251"/>
                      <a:pt x="179" y="251"/>
                    </a:cubicBezTo>
                    <a:cubicBezTo>
                      <a:pt x="186" y="242"/>
                      <a:pt x="186" y="242"/>
                      <a:pt x="186" y="242"/>
                    </a:cubicBezTo>
                    <a:cubicBezTo>
                      <a:pt x="187" y="235"/>
                      <a:pt x="187" y="235"/>
                      <a:pt x="187" y="235"/>
                    </a:cubicBezTo>
                    <a:cubicBezTo>
                      <a:pt x="179" y="218"/>
                      <a:pt x="179" y="218"/>
                      <a:pt x="179" y="218"/>
                    </a:cubicBezTo>
                    <a:cubicBezTo>
                      <a:pt x="195" y="225"/>
                      <a:pt x="195" y="225"/>
                      <a:pt x="195" y="225"/>
                    </a:cubicBezTo>
                    <a:cubicBezTo>
                      <a:pt x="195" y="219"/>
                      <a:pt x="195" y="219"/>
                      <a:pt x="195" y="219"/>
                    </a:cubicBezTo>
                    <a:cubicBezTo>
                      <a:pt x="195" y="219"/>
                      <a:pt x="195" y="219"/>
                      <a:pt x="195" y="219"/>
                    </a:cubicBezTo>
                    <a:cubicBezTo>
                      <a:pt x="195" y="218"/>
                      <a:pt x="195" y="218"/>
                      <a:pt x="195" y="218"/>
                    </a:cubicBezTo>
                    <a:cubicBezTo>
                      <a:pt x="201" y="213"/>
                      <a:pt x="201" y="213"/>
                      <a:pt x="201" y="213"/>
                    </a:cubicBezTo>
                    <a:cubicBezTo>
                      <a:pt x="213" y="210"/>
                      <a:pt x="213" y="210"/>
                      <a:pt x="213" y="210"/>
                    </a:cubicBezTo>
                    <a:cubicBezTo>
                      <a:pt x="214" y="210"/>
                      <a:pt x="214" y="210"/>
                      <a:pt x="214" y="210"/>
                    </a:cubicBezTo>
                    <a:cubicBezTo>
                      <a:pt x="221" y="225"/>
                      <a:pt x="221" y="225"/>
                      <a:pt x="221" y="225"/>
                    </a:cubicBezTo>
                    <a:cubicBezTo>
                      <a:pt x="221" y="225"/>
                      <a:pt x="221" y="225"/>
                      <a:pt x="221" y="225"/>
                    </a:cubicBezTo>
                    <a:cubicBezTo>
                      <a:pt x="220" y="231"/>
                      <a:pt x="220" y="231"/>
                      <a:pt x="220" y="231"/>
                    </a:cubicBezTo>
                    <a:cubicBezTo>
                      <a:pt x="221" y="236"/>
                      <a:pt x="221" y="236"/>
                      <a:pt x="221" y="236"/>
                    </a:cubicBezTo>
                    <a:cubicBezTo>
                      <a:pt x="221" y="239"/>
                      <a:pt x="223" y="240"/>
                      <a:pt x="224" y="240"/>
                    </a:cubicBezTo>
                    <a:cubicBezTo>
                      <a:pt x="226" y="240"/>
                      <a:pt x="227" y="239"/>
                      <a:pt x="229" y="237"/>
                    </a:cubicBezTo>
                    <a:cubicBezTo>
                      <a:pt x="229" y="236"/>
                      <a:pt x="229" y="236"/>
                      <a:pt x="229" y="236"/>
                    </a:cubicBezTo>
                    <a:cubicBezTo>
                      <a:pt x="229" y="236"/>
                      <a:pt x="229" y="236"/>
                      <a:pt x="229" y="236"/>
                    </a:cubicBezTo>
                    <a:cubicBezTo>
                      <a:pt x="230" y="236"/>
                      <a:pt x="230" y="236"/>
                      <a:pt x="230" y="236"/>
                    </a:cubicBezTo>
                    <a:cubicBezTo>
                      <a:pt x="239" y="233"/>
                      <a:pt x="239" y="233"/>
                      <a:pt x="239" y="233"/>
                    </a:cubicBezTo>
                    <a:cubicBezTo>
                      <a:pt x="239" y="233"/>
                      <a:pt x="239" y="233"/>
                      <a:pt x="239" y="233"/>
                    </a:cubicBezTo>
                    <a:cubicBezTo>
                      <a:pt x="240" y="233"/>
                      <a:pt x="240" y="233"/>
                      <a:pt x="240" y="233"/>
                    </a:cubicBezTo>
                    <a:cubicBezTo>
                      <a:pt x="245" y="233"/>
                      <a:pt x="247" y="234"/>
                      <a:pt x="249" y="236"/>
                    </a:cubicBezTo>
                    <a:cubicBezTo>
                      <a:pt x="249" y="247"/>
                      <a:pt x="249" y="247"/>
                      <a:pt x="249" y="247"/>
                    </a:cubicBezTo>
                    <a:cubicBezTo>
                      <a:pt x="249" y="247"/>
                      <a:pt x="249" y="247"/>
                      <a:pt x="249" y="247"/>
                    </a:cubicBezTo>
                    <a:cubicBezTo>
                      <a:pt x="251" y="248"/>
                      <a:pt x="251" y="248"/>
                      <a:pt x="251" y="248"/>
                    </a:cubicBezTo>
                    <a:cubicBezTo>
                      <a:pt x="255" y="249"/>
                      <a:pt x="255" y="249"/>
                      <a:pt x="255" y="249"/>
                    </a:cubicBezTo>
                    <a:cubicBezTo>
                      <a:pt x="261" y="249"/>
                      <a:pt x="261" y="249"/>
                      <a:pt x="261" y="249"/>
                    </a:cubicBezTo>
                    <a:cubicBezTo>
                      <a:pt x="271" y="246"/>
                      <a:pt x="271" y="246"/>
                      <a:pt x="271" y="246"/>
                    </a:cubicBezTo>
                    <a:cubicBezTo>
                      <a:pt x="277" y="241"/>
                      <a:pt x="277" y="241"/>
                      <a:pt x="277" y="241"/>
                    </a:cubicBezTo>
                    <a:cubicBezTo>
                      <a:pt x="278" y="236"/>
                      <a:pt x="278" y="236"/>
                      <a:pt x="278" y="236"/>
                    </a:cubicBezTo>
                    <a:cubicBezTo>
                      <a:pt x="275" y="233"/>
                      <a:pt x="275" y="233"/>
                      <a:pt x="275" y="233"/>
                    </a:cubicBezTo>
                    <a:cubicBezTo>
                      <a:pt x="265" y="229"/>
                      <a:pt x="265" y="229"/>
                      <a:pt x="265" y="229"/>
                    </a:cubicBezTo>
                    <a:cubicBezTo>
                      <a:pt x="265" y="229"/>
                      <a:pt x="265" y="229"/>
                      <a:pt x="265" y="229"/>
                    </a:cubicBezTo>
                    <a:cubicBezTo>
                      <a:pt x="264" y="229"/>
                      <a:pt x="264" y="229"/>
                      <a:pt x="264" y="229"/>
                    </a:cubicBezTo>
                    <a:cubicBezTo>
                      <a:pt x="264" y="229"/>
                      <a:pt x="264" y="229"/>
                      <a:pt x="264" y="229"/>
                    </a:cubicBezTo>
                    <a:cubicBezTo>
                      <a:pt x="264" y="229"/>
                      <a:pt x="264" y="229"/>
                      <a:pt x="264" y="229"/>
                    </a:cubicBezTo>
                    <a:cubicBezTo>
                      <a:pt x="252" y="217"/>
                      <a:pt x="252" y="217"/>
                      <a:pt x="252" y="217"/>
                    </a:cubicBezTo>
                    <a:cubicBezTo>
                      <a:pt x="253" y="216"/>
                      <a:pt x="253" y="216"/>
                      <a:pt x="253" y="216"/>
                    </a:cubicBezTo>
                    <a:cubicBezTo>
                      <a:pt x="259" y="211"/>
                      <a:pt x="259" y="211"/>
                      <a:pt x="259" y="211"/>
                    </a:cubicBezTo>
                    <a:cubicBezTo>
                      <a:pt x="259" y="210"/>
                      <a:pt x="259" y="210"/>
                      <a:pt x="259" y="210"/>
                    </a:cubicBezTo>
                    <a:cubicBezTo>
                      <a:pt x="259" y="210"/>
                      <a:pt x="259" y="210"/>
                      <a:pt x="259" y="210"/>
                    </a:cubicBezTo>
                    <a:cubicBezTo>
                      <a:pt x="265" y="208"/>
                      <a:pt x="265" y="208"/>
                      <a:pt x="265" y="208"/>
                    </a:cubicBezTo>
                    <a:cubicBezTo>
                      <a:pt x="265" y="208"/>
                      <a:pt x="265" y="208"/>
                      <a:pt x="265" y="208"/>
                    </a:cubicBezTo>
                    <a:cubicBezTo>
                      <a:pt x="267" y="208"/>
                      <a:pt x="267" y="208"/>
                      <a:pt x="267" y="208"/>
                    </a:cubicBezTo>
                    <a:cubicBezTo>
                      <a:pt x="275" y="209"/>
                      <a:pt x="275" y="209"/>
                      <a:pt x="275" y="209"/>
                    </a:cubicBezTo>
                    <a:cubicBezTo>
                      <a:pt x="275" y="209"/>
                      <a:pt x="275" y="209"/>
                      <a:pt x="275" y="209"/>
                    </a:cubicBezTo>
                    <a:cubicBezTo>
                      <a:pt x="275" y="210"/>
                      <a:pt x="275" y="210"/>
                      <a:pt x="275" y="210"/>
                    </a:cubicBezTo>
                    <a:cubicBezTo>
                      <a:pt x="275" y="207"/>
                      <a:pt x="275" y="207"/>
                      <a:pt x="275" y="207"/>
                    </a:cubicBezTo>
                    <a:cubicBezTo>
                      <a:pt x="272" y="201"/>
                      <a:pt x="272" y="201"/>
                      <a:pt x="272" y="201"/>
                    </a:cubicBezTo>
                    <a:cubicBezTo>
                      <a:pt x="266" y="198"/>
                      <a:pt x="266" y="198"/>
                      <a:pt x="266" y="198"/>
                    </a:cubicBezTo>
                    <a:cubicBezTo>
                      <a:pt x="259" y="187"/>
                      <a:pt x="259" y="187"/>
                      <a:pt x="259" y="187"/>
                    </a:cubicBezTo>
                    <a:cubicBezTo>
                      <a:pt x="259" y="187"/>
                      <a:pt x="259" y="187"/>
                      <a:pt x="259" y="187"/>
                    </a:cubicBezTo>
                    <a:cubicBezTo>
                      <a:pt x="258" y="186"/>
                      <a:pt x="258" y="186"/>
                      <a:pt x="258" y="186"/>
                    </a:cubicBezTo>
                    <a:cubicBezTo>
                      <a:pt x="258" y="186"/>
                      <a:pt x="258" y="186"/>
                      <a:pt x="258" y="186"/>
                    </a:cubicBezTo>
                    <a:cubicBezTo>
                      <a:pt x="255" y="173"/>
                      <a:pt x="255" y="173"/>
                      <a:pt x="255" y="173"/>
                    </a:cubicBezTo>
                    <a:cubicBezTo>
                      <a:pt x="255" y="163"/>
                      <a:pt x="255" y="163"/>
                      <a:pt x="255" y="163"/>
                    </a:cubicBezTo>
                    <a:cubicBezTo>
                      <a:pt x="261" y="157"/>
                      <a:pt x="261" y="157"/>
                      <a:pt x="261" y="157"/>
                    </a:cubicBezTo>
                    <a:cubicBezTo>
                      <a:pt x="271" y="157"/>
                      <a:pt x="271" y="157"/>
                      <a:pt x="271" y="157"/>
                    </a:cubicBezTo>
                    <a:cubicBezTo>
                      <a:pt x="293" y="159"/>
                      <a:pt x="293" y="159"/>
                      <a:pt x="293" y="159"/>
                    </a:cubicBezTo>
                    <a:cubicBezTo>
                      <a:pt x="303" y="144"/>
                      <a:pt x="303" y="144"/>
                      <a:pt x="303" y="144"/>
                    </a:cubicBezTo>
                    <a:cubicBezTo>
                      <a:pt x="303" y="143"/>
                      <a:pt x="303" y="143"/>
                      <a:pt x="303" y="143"/>
                    </a:cubicBezTo>
                    <a:cubicBezTo>
                      <a:pt x="304" y="143"/>
                      <a:pt x="304" y="143"/>
                      <a:pt x="304" y="143"/>
                    </a:cubicBezTo>
                    <a:cubicBezTo>
                      <a:pt x="313" y="139"/>
                      <a:pt x="313" y="139"/>
                      <a:pt x="313" y="139"/>
                    </a:cubicBezTo>
                    <a:cubicBezTo>
                      <a:pt x="317" y="130"/>
                      <a:pt x="317" y="130"/>
                      <a:pt x="317" y="130"/>
                    </a:cubicBezTo>
                    <a:cubicBezTo>
                      <a:pt x="317" y="129"/>
                      <a:pt x="317" y="129"/>
                      <a:pt x="317" y="129"/>
                    </a:cubicBezTo>
                    <a:cubicBezTo>
                      <a:pt x="327" y="121"/>
                      <a:pt x="327" y="121"/>
                      <a:pt x="327" y="121"/>
                    </a:cubicBezTo>
                    <a:cubicBezTo>
                      <a:pt x="332" y="112"/>
                      <a:pt x="332" y="112"/>
                      <a:pt x="332" y="112"/>
                    </a:cubicBezTo>
                    <a:cubicBezTo>
                      <a:pt x="332" y="112"/>
                      <a:pt x="332" y="112"/>
                      <a:pt x="332" y="112"/>
                    </a:cubicBezTo>
                    <a:cubicBezTo>
                      <a:pt x="333" y="112"/>
                      <a:pt x="333" y="112"/>
                      <a:pt x="333" y="112"/>
                    </a:cubicBezTo>
                    <a:cubicBezTo>
                      <a:pt x="333" y="111"/>
                      <a:pt x="333" y="111"/>
                      <a:pt x="333" y="111"/>
                    </a:cubicBezTo>
                    <a:cubicBezTo>
                      <a:pt x="333" y="111"/>
                      <a:pt x="333" y="111"/>
                      <a:pt x="333" y="111"/>
                    </a:cubicBezTo>
                    <a:cubicBezTo>
                      <a:pt x="337" y="107"/>
                      <a:pt x="337" y="107"/>
                      <a:pt x="337" y="107"/>
                    </a:cubicBezTo>
                    <a:cubicBezTo>
                      <a:pt x="341" y="99"/>
                      <a:pt x="341" y="99"/>
                      <a:pt x="341" y="99"/>
                    </a:cubicBezTo>
                    <a:cubicBezTo>
                      <a:pt x="343" y="87"/>
                      <a:pt x="343" y="87"/>
                      <a:pt x="343" y="87"/>
                    </a:cubicBezTo>
                    <a:cubicBezTo>
                      <a:pt x="343" y="86"/>
                      <a:pt x="343" y="86"/>
                      <a:pt x="343" y="86"/>
                    </a:cubicBezTo>
                    <a:cubicBezTo>
                      <a:pt x="343" y="85"/>
                      <a:pt x="343" y="85"/>
                      <a:pt x="343" y="85"/>
                    </a:cubicBezTo>
                    <a:cubicBezTo>
                      <a:pt x="350" y="81"/>
                      <a:pt x="350" y="81"/>
                      <a:pt x="350" y="81"/>
                    </a:cubicBezTo>
                    <a:cubicBezTo>
                      <a:pt x="351" y="79"/>
                      <a:pt x="351" y="79"/>
                      <a:pt x="351" y="79"/>
                    </a:cubicBezTo>
                    <a:cubicBezTo>
                      <a:pt x="342" y="78"/>
                      <a:pt x="342" y="78"/>
                      <a:pt x="342" y="78"/>
                    </a:cubicBezTo>
                    <a:cubicBezTo>
                      <a:pt x="326" y="79"/>
                      <a:pt x="326" y="79"/>
                      <a:pt x="326" y="79"/>
                    </a:cubicBezTo>
                    <a:cubicBezTo>
                      <a:pt x="325" y="78"/>
                      <a:pt x="325" y="78"/>
                      <a:pt x="325" y="78"/>
                    </a:cubicBezTo>
                    <a:cubicBezTo>
                      <a:pt x="319" y="73"/>
                      <a:pt x="319" y="73"/>
                      <a:pt x="319" y="73"/>
                    </a:cubicBezTo>
                    <a:cubicBezTo>
                      <a:pt x="319" y="73"/>
                      <a:pt x="319" y="73"/>
                      <a:pt x="319" y="73"/>
                    </a:cubicBezTo>
                    <a:cubicBezTo>
                      <a:pt x="319" y="73"/>
                      <a:pt x="319" y="73"/>
                      <a:pt x="319" y="73"/>
                    </a:cubicBezTo>
                    <a:cubicBezTo>
                      <a:pt x="319" y="73"/>
                      <a:pt x="319" y="73"/>
                      <a:pt x="319" y="73"/>
                    </a:cubicBezTo>
                    <a:cubicBezTo>
                      <a:pt x="315" y="68"/>
                      <a:pt x="315" y="68"/>
                      <a:pt x="315" y="68"/>
                    </a:cubicBezTo>
                    <a:cubicBezTo>
                      <a:pt x="315" y="69"/>
                      <a:pt x="315" y="69"/>
                      <a:pt x="315" y="69"/>
                    </a:cubicBezTo>
                    <a:cubicBezTo>
                      <a:pt x="314" y="69"/>
                      <a:pt x="314" y="69"/>
                      <a:pt x="314" y="69"/>
                    </a:cubicBezTo>
                    <a:cubicBezTo>
                      <a:pt x="313" y="71"/>
                      <a:pt x="311" y="71"/>
                      <a:pt x="309" y="71"/>
                    </a:cubicBezTo>
                    <a:cubicBezTo>
                      <a:pt x="307" y="72"/>
                      <a:pt x="307" y="72"/>
                      <a:pt x="307" y="72"/>
                    </a:cubicBezTo>
                    <a:cubicBezTo>
                      <a:pt x="306" y="73"/>
                      <a:pt x="305" y="73"/>
                      <a:pt x="304" y="73"/>
                    </a:cubicBezTo>
                    <a:cubicBezTo>
                      <a:pt x="303" y="73"/>
                      <a:pt x="303" y="71"/>
                      <a:pt x="302" y="69"/>
                    </a:cubicBezTo>
                    <a:cubicBezTo>
                      <a:pt x="302" y="67"/>
                      <a:pt x="301" y="65"/>
                      <a:pt x="299" y="63"/>
                    </a:cubicBezTo>
                    <a:cubicBezTo>
                      <a:pt x="298" y="63"/>
                      <a:pt x="298" y="63"/>
                      <a:pt x="298" y="63"/>
                    </a:cubicBezTo>
                    <a:cubicBezTo>
                      <a:pt x="298" y="63"/>
                      <a:pt x="298" y="63"/>
                      <a:pt x="298" y="63"/>
                    </a:cubicBezTo>
                    <a:cubicBezTo>
                      <a:pt x="298" y="63"/>
                      <a:pt x="298" y="63"/>
                      <a:pt x="298" y="63"/>
                    </a:cubicBezTo>
                    <a:cubicBezTo>
                      <a:pt x="296" y="57"/>
                      <a:pt x="296" y="57"/>
                      <a:pt x="296" y="57"/>
                    </a:cubicBezTo>
                    <a:cubicBezTo>
                      <a:pt x="294" y="57"/>
                      <a:pt x="294" y="57"/>
                      <a:pt x="294" y="57"/>
                    </a:cubicBezTo>
                    <a:cubicBezTo>
                      <a:pt x="288" y="61"/>
                      <a:pt x="288" y="61"/>
                      <a:pt x="288" y="61"/>
                    </a:cubicBezTo>
                    <a:cubicBezTo>
                      <a:pt x="288" y="62"/>
                      <a:pt x="288" y="62"/>
                      <a:pt x="288" y="62"/>
                    </a:cubicBezTo>
                    <a:cubicBezTo>
                      <a:pt x="287" y="62"/>
                      <a:pt x="287" y="62"/>
                      <a:pt x="287" y="62"/>
                    </a:cubicBezTo>
                    <a:cubicBezTo>
                      <a:pt x="273" y="65"/>
                      <a:pt x="273" y="65"/>
                      <a:pt x="273" y="65"/>
                    </a:cubicBezTo>
                    <a:cubicBezTo>
                      <a:pt x="273" y="65"/>
                      <a:pt x="273" y="65"/>
                      <a:pt x="273" y="65"/>
                    </a:cubicBezTo>
                    <a:cubicBezTo>
                      <a:pt x="272" y="64"/>
                      <a:pt x="272" y="64"/>
                      <a:pt x="272" y="64"/>
                    </a:cubicBezTo>
                    <a:cubicBezTo>
                      <a:pt x="263" y="58"/>
                      <a:pt x="263" y="58"/>
                      <a:pt x="263" y="58"/>
                    </a:cubicBezTo>
                    <a:cubicBezTo>
                      <a:pt x="263" y="58"/>
                      <a:pt x="263" y="58"/>
                      <a:pt x="263" y="58"/>
                    </a:cubicBezTo>
                    <a:cubicBezTo>
                      <a:pt x="262" y="57"/>
                      <a:pt x="262" y="57"/>
                      <a:pt x="262" y="57"/>
                    </a:cubicBezTo>
                    <a:cubicBezTo>
                      <a:pt x="262" y="57"/>
                      <a:pt x="262" y="57"/>
                      <a:pt x="262" y="57"/>
                    </a:cubicBezTo>
                    <a:cubicBezTo>
                      <a:pt x="262" y="57"/>
                      <a:pt x="262" y="57"/>
                      <a:pt x="262" y="57"/>
                    </a:cubicBezTo>
                    <a:cubicBezTo>
                      <a:pt x="259" y="52"/>
                      <a:pt x="259" y="52"/>
                      <a:pt x="259" y="52"/>
                    </a:cubicBezTo>
                    <a:cubicBezTo>
                      <a:pt x="253" y="59"/>
                      <a:pt x="253" y="59"/>
                      <a:pt x="253" y="59"/>
                    </a:cubicBezTo>
                    <a:cubicBezTo>
                      <a:pt x="248" y="65"/>
                      <a:pt x="244" y="67"/>
                      <a:pt x="242" y="65"/>
                    </a:cubicBezTo>
                    <a:cubicBezTo>
                      <a:pt x="233" y="60"/>
                      <a:pt x="233" y="60"/>
                      <a:pt x="233" y="60"/>
                    </a:cubicBezTo>
                    <a:cubicBezTo>
                      <a:pt x="226" y="59"/>
                      <a:pt x="226" y="59"/>
                      <a:pt x="226" y="59"/>
                    </a:cubicBezTo>
                    <a:cubicBezTo>
                      <a:pt x="225" y="60"/>
                      <a:pt x="225" y="60"/>
                      <a:pt x="225" y="60"/>
                    </a:cubicBezTo>
                    <a:cubicBezTo>
                      <a:pt x="219" y="55"/>
                      <a:pt x="219" y="55"/>
                      <a:pt x="219" y="55"/>
                    </a:cubicBezTo>
                    <a:cubicBezTo>
                      <a:pt x="219" y="55"/>
                      <a:pt x="219" y="55"/>
                      <a:pt x="219" y="55"/>
                    </a:cubicBezTo>
                    <a:cubicBezTo>
                      <a:pt x="218" y="55"/>
                      <a:pt x="218" y="55"/>
                      <a:pt x="218" y="55"/>
                    </a:cubicBezTo>
                    <a:cubicBezTo>
                      <a:pt x="221" y="44"/>
                      <a:pt x="221" y="44"/>
                      <a:pt x="221" y="44"/>
                    </a:cubicBezTo>
                    <a:cubicBezTo>
                      <a:pt x="221" y="40"/>
                      <a:pt x="221" y="40"/>
                      <a:pt x="221" y="40"/>
                    </a:cubicBezTo>
                    <a:cubicBezTo>
                      <a:pt x="217" y="39"/>
                      <a:pt x="217" y="39"/>
                      <a:pt x="217" y="39"/>
                    </a:cubicBezTo>
                    <a:cubicBezTo>
                      <a:pt x="217" y="39"/>
                      <a:pt x="217" y="39"/>
                      <a:pt x="217" y="39"/>
                    </a:cubicBezTo>
                    <a:cubicBezTo>
                      <a:pt x="208" y="29"/>
                      <a:pt x="208" y="29"/>
                      <a:pt x="208" y="29"/>
                    </a:cubicBezTo>
                    <a:cubicBezTo>
                      <a:pt x="209" y="23"/>
                      <a:pt x="209" y="23"/>
                      <a:pt x="209" y="23"/>
                    </a:cubicBezTo>
                    <a:cubicBezTo>
                      <a:pt x="188" y="21"/>
                      <a:pt x="188" y="21"/>
                      <a:pt x="188" y="21"/>
                    </a:cubicBezTo>
                    <a:cubicBezTo>
                      <a:pt x="180" y="16"/>
                      <a:pt x="180" y="16"/>
                      <a:pt x="180" y="16"/>
                    </a:cubicBezTo>
                    <a:cubicBezTo>
                      <a:pt x="178" y="15"/>
                      <a:pt x="176" y="13"/>
                      <a:pt x="175" y="9"/>
                    </a:cubicBezTo>
                    <a:cubicBezTo>
                      <a:pt x="174" y="6"/>
                      <a:pt x="174" y="6"/>
                      <a:pt x="174" y="6"/>
                    </a:cubicBezTo>
                    <a:cubicBezTo>
                      <a:pt x="172" y="0"/>
                      <a:pt x="172" y="0"/>
                      <a:pt x="172" y="0"/>
                    </a:cubicBezTo>
                    <a:cubicBezTo>
                      <a:pt x="169" y="0"/>
                      <a:pt x="169" y="0"/>
                      <a:pt x="169" y="0"/>
                    </a:cubicBezTo>
                    <a:cubicBezTo>
                      <a:pt x="163" y="5"/>
                      <a:pt x="163" y="5"/>
                      <a:pt x="163" y="5"/>
                    </a:cubicBezTo>
                    <a:cubicBezTo>
                      <a:pt x="155" y="15"/>
                      <a:pt x="155" y="15"/>
                      <a:pt x="155" y="15"/>
                    </a:cubicBezTo>
                    <a:cubicBezTo>
                      <a:pt x="157" y="21"/>
                      <a:pt x="157" y="21"/>
                      <a:pt x="157" y="21"/>
                    </a:cubicBezTo>
                    <a:cubicBezTo>
                      <a:pt x="159" y="30"/>
                      <a:pt x="159" y="30"/>
                      <a:pt x="159" y="30"/>
                    </a:cubicBezTo>
                    <a:cubicBezTo>
                      <a:pt x="159" y="31"/>
                      <a:pt x="159" y="31"/>
                      <a:pt x="159" y="31"/>
                    </a:cubicBezTo>
                    <a:cubicBezTo>
                      <a:pt x="160" y="31"/>
                      <a:pt x="160" y="31"/>
                      <a:pt x="160" y="31"/>
                    </a:cubicBezTo>
                    <a:cubicBezTo>
                      <a:pt x="159" y="31"/>
                      <a:pt x="159" y="31"/>
                      <a:pt x="159" y="31"/>
                    </a:cubicBezTo>
                    <a:cubicBezTo>
                      <a:pt x="159" y="31"/>
                      <a:pt x="159" y="31"/>
                      <a:pt x="159" y="31"/>
                    </a:cubicBezTo>
                    <a:cubicBezTo>
                      <a:pt x="159" y="34"/>
                      <a:pt x="156" y="35"/>
                      <a:pt x="153" y="35"/>
                    </a:cubicBezTo>
                    <a:cubicBezTo>
                      <a:pt x="145" y="35"/>
                      <a:pt x="145" y="35"/>
                      <a:pt x="145" y="35"/>
                    </a:cubicBezTo>
                    <a:cubicBezTo>
                      <a:pt x="140" y="33"/>
                      <a:pt x="140" y="33"/>
                      <a:pt x="140" y="33"/>
                    </a:cubicBezTo>
                    <a:cubicBezTo>
                      <a:pt x="134" y="35"/>
                      <a:pt x="134" y="35"/>
                      <a:pt x="134" y="35"/>
                    </a:cubicBezTo>
                    <a:cubicBezTo>
                      <a:pt x="133" y="35"/>
                      <a:pt x="133" y="35"/>
                      <a:pt x="133" y="35"/>
                    </a:cubicBezTo>
                    <a:cubicBezTo>
                      <a:pt x="132" y="35"/>
                      <a:pt x="132" y="35"/>
                      <a:pt x="132" y="35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31" y="43"/>
                      <a:pt x="131" y="43"/>
                      <a:pt x="131" y="43"/>
                    </a:cubicBezTo>
                    <a:cubicBezTo>
                      <a:pt x="129" y="43"/>
                      <a:pt x="129" y="43"/>
                      <a:pt x="129" y="43"/>
                    </a:cubicBezTo>
                    <a:cubicBezTo>
                      <a:pt x="119" y="39"/>
                      <a:pt x="119" y="39"/>
                      <a:pt x="119" y="39"/>
                    </a:cubicBezTo>
                    <a:cubicBezTo>
                      <a:pt x="119" y="43"/>
                      <a:pt x="120" y="45"/>
                      <a:pt x="121" y="48"/>
                    </a:cubicBezTo>
                    <a:cubicBezTo>
                      <a:pt x="123" y="51"/>
                      <a:pt x="123" y="53"/>
                      <a:pt x="122" y="55"/>
                    </a:cubicBezTo>
                    <a:cubicBezTo>
                      <a:pt x="121" y="58"/>
                      <a:pt x="121" y="58"/>
                      <a:pt x="121" y="58"/>
                    </a:cubicBezTo>
                    <a:cubicBezTo>
                      <a:pt x="119" y="59"/>
                      <a:pt x="116" y="60"/>
                      <a:pt x="111" y="59"/>
                    </a:cubicBezTo>
                    <a:cubicBezTo>
                      <a:pt x="104" y="59"/>
                      <a:pt x="104" y="59"/>
                      <a:pt x="104" y="59"/>
                    </a:cubicBezTo>
                    <a:cubicBezTo>
                      <a:pt x="103" y="71"/>
                      <a:pt x="103" y="71"/>
                      <a:pt x="103" y="71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94" y="67"/>
                      <a:pt x="94" y="67"/>
                      <a:pt x="94" y="67"/>
                    </a:cubicBezTo>
                    <a:cubicBezTo>
                      <a:pt x="94" y="67"/>
                      <a:pt x="94" y="67"/>
                      <a:pt x="94" y="67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80" y="55"/>
                      <a:pt x="80" y="55"/>
                      <a:pt x="80" y="55"/>
                    </a:cubicBezTo>
                    <a:cubicBezTo>
                      <a:pt x="77" y="50"/>
                      <a:pt x="77" y="50"/>
                      <a:pt x="77" y="50"/>
                    </a:cubicBezTo>
                    <a:cubicBezTo>
                      <a:pt x="74" y="53"/>
                      <a:pt x="74" y="53"/>
                      <a:pt x="74" y="53"/>
                    </a:cubicBezTo>
                    <a:cubicBezTo>
                      <a:pt x="73" y="53"/>
                      <a:pt x="73" y="53"/>
                      <a:pt x="73" y="53"/>
                    </a:cubicBezTo>
                    <a:cubicBezTo>
                      <a:pt x="67" y="54"/>
                      <a:pt x="67" y="54"/>
                      <a:pt x="67" y="54"/>
                    </a:cubicBezTo>
                    <a:cubicBezTo>
                      <a:pt x="66" y="54"/>
                      <a:pt x="66" y="54"/>
                      <a:pt x="66" y="54"/>
                    </a:cubicBezTo>
                    <a:cubicBezTo>
                      <a:pt x="63" y="47"/>
                      <a:pt x="63" y="47"/>
                      <a:pt x="63" y="47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59" y="42"/>
                      <a:pt x="59" y="42"/>
                      <a:pt x="59" y="42"/>
                    </a:cubicBezTo>
                    <a:cubicBezTo>
                      <a:pt x="56" y="38"/>
                      <a:pt x="54" y="35"/>
                      <a:pt x="53" y="33"/>
                    </a:cubicBezTo>
                    <a:cubicBezTo>
                      <a:pt x="53" y="32"/>
                      <a:pt x="53" y="31"/>
                      <a:pt x="51" y="31"/>
                    </a:cubicBezTo>
                    <a:cubicBezTo>
                      <a:pt x="49" y="31"/>
                      <a:pt x="49" y="31"/>
                      <a:pt x="49" y="31"/>
                    </a:cubicBezTo>
                    <a:cubicBezTo>
                      <a:pt x="46" y="29"/>
                      <a:pt x="44" y="27"/>
                      <a:pt x="43" y="23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3" y="7"/>
                      <a:pt x="33" y="7"/>
                      <a:pt x="3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8" name="íṥḷïḋè"/>
              <p:cNvSpPr/>
              <p:nvPr/>
            </p:nvSpPr>
            <p:spPr bwMode="auto">
              <a:xfrm>
                <a:off x="1120" y="2052"/>
                <a:ext cx="1489" cy="904"/>
              </a:xfrm>
              <a:custGeom>
                <a:avLst/>
                <a:gdLst>
                  <a:gd name="T0" fmla="*/ 67 w 629"/>
                  <a:gd name="T1" fmla="*/ 18 h 382"/>
                  <a:gd name="T2" fmla="*/ 34 w 629"/>
                  <a:gd name="T3" fmla="*/ 29 h 382"/>
                  <a:gd name="T4" fmla="*/ 21 w 629"/>
                  <a:gd name="T5" fmla="*/ 54 h 382"/>
                  <a:gd name="T6" fmla="*/ 10 w 629"/>
                  <a:gd name="T7" fmla="*/ 105 h 382"/>
                  <a:gd name="T8" fmla="*/ 9 w 629"/>
                  <a:gd name="T9" fmla="*/ 119 h 382"/>
                  <a:gd name="T10" fmla="*/ 31 w 629"/>
                  <a:gd name="T11" fmla="*/ 166 h 382"/>
                  <a:gd name="T12" fmla="*/ 65 w 629"/>
                  <a:gd name="T13" fmla="*/ 204 h 382"/>
                  <a:gd name="T14" fmla="*/ 92 w 629"/>
                  <a:gd name="T15" fmla="*/ 196 h 382"/>
                  <a:gd name="T16" fmla="*/ 118 w 629"/>
                  <a:gd name="T17" fmla="*/ 230 h 382"/>
                  <a:gd name="T18" fmla="*/ 145 w 629"/>
                  <a:gd name="T19" fmla="*/ 250 h 382"/>
                  <a:gd name="T20" fmla="*/ 157 w 629"/>
                  <a:gd name="T21" fmla="*/ 271 h 382"/>
                  <a:gd name="T22" fmla="*/ 189 w 629"/>
                  <a:gd name="T23" fmla="*/ 293 h 382"/>
                  <a:gd name="T24" fmla="*/ 204 w 629"/>
                  <a:gd name="T25" fmla="*/ 302 h 382"/>
                  <a:gd name="T26" fmla="*/ 236 w 629"/>
                  <a:gd name="T27" fmla="*/ 314 h 382"/>
                  <a:gd name="T28" fmla="*/ 299 w 629"/>
                  <a:gd name="T29" fmla="*/ 324 h 382"/>
                  <a:gd name="T30" fmla="*/ 297 w 629"/>
                  <a:gd name="T31" fmla="*/ 350 h 382"/>
                  <a:gd name="T32" fmla="*/ 387 w 629"/>
                  <a:gd name="T33" fmla="*/ 339 h 382"/>
                  <a:gd name="T34" fmla="*/ 397 w 629"/>
                  <a:gd name="T35" fmla="*/ 369 h 382"/>
                  <a:gd name="T36" fmla="*/ 479 w 629"/>
                  <a:gd name="T37" fmla="*/ 357 h 382"/>
                  <a:gd name="T38" fmla="*/ 513 w 629"/>
                  <a:gd name="T39" fmla="*/ 340 h 382"/>
                  <a:gd name="T40" fmla="*/ 569 w 629"/>
                  <a:gd name="T41" fmla="*/ 360 h 382"/>
                  <a:gd name="T42" fmla="*/ 570 w 629"/>
                  <a:gd name="T43" fmla="*/ 358 h 382"/>
                  <a:gd name="T44" fmla="*/ 597 w 629"/>
                  <a:gd name="T45" fmla="*/ 348 h 382"/>
                  <a:gd name="T46" fmla="*/ 608 w 629"/>
                  <a:gd name="T47" fmla="*/ 332 h 382"/>
                  <a:gd name="T48" fmla="*/ 624 w 629"/>
                  <a:gd name="T49" fmla="*/ 281 h 382"/>
                  <a:gd name="T50" fmla="*/ 617 w 629"/>
                  <a:gd name="T51" fmla="*/ 248 h 382"/>
                  <a:gd name="T52" fmla="*/ 601 w 629"/>
                  <a:gd name="T53" fmla="*/ 207 h 382"/>
                  <a:gd name="T54" fmla="*/ 593 w 629"/>
                  <a:gd name="T55" fmla="*/ 192 h 382"/>
                  <a:gd name="T56" fmla="*/ 583 w 629"/>
                  <a:gd name="T57" fmla="*/ 197 h 382"/>
                  <a:gd name="T58" fmla="*/ 558 w 629"/>
                  <a:gd name="T59" fmla="*/ 203 h 382"/>
                  <a:gd name="T60" fmla="*/ 532 w 629"/>
                  <a:gd name="T61" fmla="*/ 214 h 382"/>
                  <a:gd name="T62" fmla="*/ 513 w 629"/>
                  <a:gd name="T63" fmla="*/ 190 h 382"/>
                  <a:gd name="T64" fmla="*/ 496 w 629"/>
                  <a:gd name="T65" fmla="*/ 172 h 382"/>
                  <a:gd name="T66" fmla="*/ 443 w 629"/>
                  <a:gd name="T67" fmla="*/ 166 h 382"/>
                  <a:gd name="T68" fmla="*/ 403 w 629"/>
                  <a:gd name="T69" fmla="*/ 150 h 382"/>
                  <a:gd name="T70" fmla="*/ 389 w 629"/>
                  <a:gd name="T71" fmla="*/ 134 h 382"/>
                  <a:gd name="T72" fmla="*/ 369 w 629"/>
                  <a:gd name="T73" fmla="*/ 136 h 382"/>
                  <a:gd name="T74" fmla="*/ 347 w 629"/>
                  <a:gd name="T75" fmla="*/ 98 h 382"/>
                  <a:gd name="T76" fmla="*/ 356 w 629"/>
                  <a:gd name="T77" fmla="*/ 74 h 382"/>
                  <a:gd name="T78" fmla="*/ 357 w 629"/>
                  <a:gd name="T79" fmla="*/ 40 h 382"/>
                  <a:gd name="T80" fmla="*/ 357 w 629"/>
                  <a:gd name="T81" fmla="*/ 22 h 382"/>
                  <a:gd name="T82" fmla="*/ 355 w 629"/>
                  <a:gd name="T83" fmla="*/ 20 h 382"/>
                  <a:gd name="T84" fmla="*/ 347 w 629"/>
                  <a:gd name="T85" fmla="*/ 15 h 382"/>
                  <a:gd name="T86" fmla="*/ 305 w 629"/>
                  <a:gd name="T87" fmla="*/ 2 h 382"/>
                  <a:gd name="T88" fmla="*/ 260 w 629"/>
                  <a:gd name="T89" fmla="*/ 12 h 382"/>
                  <a:gd name="T90" fmla="*/ 221 w 629"/>
                  <a:gd name="T91" fmla="*/ 18 h 382"/>
                  <a:gd name="T92" fmla="*/ 206 w 629"/>
                  <a:gd name="T93" fmla="*/ 20 h 382"/>
                  <a:gd name="T94" fmla="*/ 171 w 629"/>
                  <a:gd name="T95" fmla="*/ 18 h 382"/>
                  <a:gd name="T96" fmla="*/ 152 w 629"/>
                  <a:gd name="T97" fmla="*/ 0 h 382"/>
                  <a:gd name="T98" fmla="*/ 135 w 629"/>
                  <a:gd name="T99" fmla="*/ 10 h 382"/>
                  <a:gd name="T100" fmla="*/ 92 w 629"/>
                  <a:gd name="T101" fmla="*/ 6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9" h="382">
                    <a:moveTo>
                      <a:pt x="77" y="2"/>
                    </a:moveTo>
                    <a:cubicBezTo>
                      <a:pt x="77" y="2"/>
                      <a:pt x="77" y="2"/>
                      <a:pt x="77" y="2"/>
                    </a:cubicBezTo>
                    <a:cubicBezTo>
                      <a:pt x="76" y="6"/>
                      <a:pt x="73" y="8"/>
                      <a:pt x="70" y="11"/>
                    </a:cubicBezTo>
                    <a:cubicBezTo>
                      <a:pt x="67" y="12"/>
                      <a:pt x="67" y="14"/>
                      <a:pt x="67" y="16"/>
                    </a:cubicBezTo>
                    <a:cubicBezTo>
                      <a:pt x="67" y="18"/>
                      <a:pt x="67" y="18"/>
                      <a:pt x="67" y="18"/>
                    </a:cubicBezTo>
                    <a:cubicBezTo>
                      <a:pt x="67" y="20"/>
                      <a:pt x="65" y="23"/>
                      <a:pt x="62" y="28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1" y="31"/>
                      <a:pt x="59" y="32"/>
                      <a:pt x="57" y="32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2" y="34"/>
                      <a:pt x="32" y="34"/>
                      <a:pt x="32" y="34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26" y="44"/>
                      <a:pt x="22" y="50"/>
                      <a:pt x="21" y="54"/>
                    </a:cubicBezTo>
                    <a:cubicBezTo>
                      <a:pt x="21" y="56"/>
                      <a:pt x="23" y="63"/>
                      <a:pt x="29" y="75"/>
                    </a:cubicBezTo>
                    <a:cubicBezTo>
                      <a:pt x="32" y="84"/>
                      <a:pt x="32" y="84"/>
                      <a:pt x="32" y="84"/>
                    </a:cubicBezTo>
                    <a:cubicBezTo>
                      <a:pt x="34" y="88"/>
                      <a:pt x="33" y="92"/>
                      <a:pt x="29" y="98"/>
                    </a:cubicBezTo>
                    <a:cubicBezTo>
                      <a:pt x="22" y="105"/>
                      <a:pt x="22" y="105"/>
                      <a:pt x="22" y="105"/>
                    </a:cubicBezTo>
                    <a:cubicBezTo>
                      <a:pt x="10" y="105"/>
                      <a:pt x="10" y="105"/>
                      <a:pt x="10" y="105"/>
                    </a:cubicBezTo>
                    <a:cubicBezTo>
                      <a:pt x="7" y="92"/>
                      <a:pt x="7" y="92"/>
                      <a:pt x="7" y="92"/>
                    </a:cubicBezTo>
                    <a:cubicBezTo>
                      <a:pt x="4" y="108"/>
                      <a:pt x="4" y="108"/>
                      <a:pt x="4" y="108"/>
                    </a:cubicBezTo>
                    <a:cubicBezTo>
                      <a:pt x="9" y="116"/>
                      <a:pt x="9" y="116"/>
                      <a:pt x="9" y="116"/>
                    </a:cubicBezTo>
                    <a:cubicBezTo>
                      <a:pt x="10" y="117"/>
                      <a:pt x="10" y="118"/>
                      <a:pt x="9" y="118"/>
                    </a:cubicBezTo>
                    <a:cubicBezTo>
                      <a:pt x="9" y="119"/>
                      <a:pt x="9" y="119"/>
                      <a:pt x="9" y="119"/>
                    </a:cubicBezTo>
                    <a:cubicBezTo>
                      <a:pt x="7" y="120"/>
                      <a:pt x="5" y="124"/>
                      <a:pt x="2" y="131"/>
                    </a:cubicBezTo>
                    <a:cubicBezTo>
                      <a:pt x="0" y="137"/>
                      <a:pt x="1" y="143"/>
                      <a:pt x="6" y="150"/>
                    </a:cubicBezTo>
                    <a:cubicBezTo>
                      <a:pt x="15" y="150"/>
                      <a:pt x="15" y="150"/>
                      <a:pt x="15" y="150"/>
                    </a:cubicBezTo>
                    <a:cubicBezTo>
                      <a:pt x="19" y="150"/>
                      <a:pt x="23" y="156"/>
                      <a:pt x="30" y="165"/>
                    </a:cubicBezTo>
                    <a:cubicBezTo>
                      <a:pt x="31" y="166"/>
                      <a:pt x="31" y="166"/>
                      <a:pt x="31" y="166"/>
                    </a:cubicBezTo>
                    <a:cubicBezTo>
                      <a:pt x="31" y="166"/>
                      <a:pt x="31" y="166"/>
                      <a:pt x="31" y="166"/>
                    </a:cubicBezTo>
                    <a:cubicBezTo>
                      <a:pt x="31" y="168"/>
                      <a:pt x="32" y="170"/>
                      <a:pt x="34" y="172"/>
                    </a:cubicBezTo>
                    <a:cubicBezTo>
                      <a:pt x="55" y="192"/>
                      <a:pt x="55" y="192"/>
                      <a:pt x="55" y="192"/>
                    </a:cubicBezTo>
                    <a:cubicBezTo>
                      <a:pt x="55" y="192"/>
                      <a:pt x="55" y="192"/>
                      <a:pt x="55" y="192"/>
                    </a:cubicBezTo>
                    <a:cubicBezTo>
                      <a:pt x="65" y="204"/>
                      <a:pt x="65" y="204"/>
                      <a:pt x="65" y="204"/>
                    </a:cubicBezTo>
                    <a:cubicBezTo>
                      <a:pt x="70" y="204"/>
                      <a:pt x="70" y="204"/>
                      <a:pt x="70" y="204"/>
                    </a:cubicBezTo>
                    <a:cubicBezTo>
                      <a:pt x="76" y="193"/>
                      <a:pt x="76" y="193"/>
                      <a:pt x="76" y="193"/>
                    </a:cubicBezTo>
                    <a:cubicBezTo>
                      <a:pt x="77" y="192"/>
                      <a:pt x="77" y="192"/>
                      <a:pt x="77" y="192"/>
                    </a:cubicBezTo>
                    <a:cubicBezTo>
                      <a:pt x="77" y="192"/>
                      <a:pt x="77" y="192"/>
                      <a:pt x="77" y="192"/>
                    </a:cubicBezTo>
                    <a:cubicBezTo>
                      <a:pt x="92" y="196"/>
                      <a:pt x="92" y="196"/>
                      <a:pt x="92" y="196"/>
                    </a:cubicBezTo>
                    <a:cubicBezTo>
                      <a:pt x="92" y="196"/>
                      <a:pt x="92" y="196"/>
                      <a:pt x="92" y="196"/>
                    </a:cubicBezTo>
                    <a:cubicBezTo>
                      <a:pt x="92" y="197"/>
                      <a:pt x="92" y="197"/>
                      <a:pt x="92" y="197"/>
                    </a:cubicBezTo>
                    <a:cubicBezTo>
                      <a:pt x="94" y="207"/>
                      <a:pt x="94" y="207"/>
                      <a:pt x="94" y="207"/>
                    </a:cubicBezTo>
                    <a:cubicBezTo>
                      <a:pt x="112" y="227"/>
                      <a:pt x="112" y="227"/>
                      <a:pt x="112" y="227"/>
                    </a:cubicBezTo>
                    <a:cubicBezTo>
                      <a:pt x="118" y="230"/>
                      <a:pt x="118" y="230"/>
                      <a:pt x="118" y="230"/>
                    </a:cubicBezTo>
                    <a:cubicBezTo>
                      <a:pt x="118" y="230"/>
                      <a:pt x="118" y="230"/>
                      <a:pt x="118" y="230"/>
                    </a:cubicBezTo>
                    <a:cubicBezTo>
                      <a:pt x="121" y="232"/>
                      <a:pt x="121" y="232"/>
                      <a:pt x="121" y="232"/>
                    </a:cubicBezTo>
                    <a:cubicBezTo>
                      <a:pt x="121" y="232"/>
                      <a:pt x="121" y="232"/>
                      <a:pt x="121" y="232"/>
                    </a:cubicBezTo>
                    <a:cubicBezTo>
                      <a:pt x="135" y="252"/>
                      <a:pt x="135" y="252"/>
                      <a:pt x="135" y="252"/>
                    </a:cubicBezTo>
                    <a:cubicBezTo>
                      <a:pt x="145" y="250"/>
                      <a:pt x="145" y="250"/>
                      <a:pt x="145" y="250"/>
                    </a:cubicBezTo>
                    <a:cubicBezTo>
                      <a:pt x="146" y="250"/>
                      <a:pt x="146" y="250"/>
                      <a:pt x="146" y="250"/>
                    </a:cubicBezTo>
                    <a:cubicBezTo>
                      <a:pt x="147" y="250"/>
                      <a:pt x="147" y="250"/>
                      <a:pt x="147" y="250"/>
                    </a:cubicBezTo>
                    <a:cubicBezTo>
                      <a:pt x="147" y="251"/>
                      <a:pt x="147" y="251"/>
                      <a:pt x="147" y="251"/>
                    </a:cubicBezTo>
                    <a:cubicBezTo>
                      <a:pt x="148" y="252"/>
                      <a:pt x="148" y="252"/>
                      <a:pt x="148" y="252"/>
                    </a:cubicBezTo>
                    <a:cubicBezTo>
                      <a:pt x="157" y="271"/>
                      <a:pt x="157" y="271"/>
                      <a:pt x="157" y="271"/>
                    </a:cubicBezTo>
                    <a:cubicBezTo>
                      <a:pt x="168" y="278"/>
                      <a:pt x="168" y="278"/>
                      <a:pt x="168" y="278"/>
                    </a:cubicBezTo>
                    <a:cubicBezTo>
                      <a:pt x="177" y="280"/>
                      <a:pt x="177" y="280"/>
                      <a:pt x="177" y="280"/>
                    </a:cubicBezTo>
                    <a:cubicBezTo>
                      <a:pt x="182" y="292"/>
                      <a:pt x="182" y="292"/>
                      <a:pt x="182" y="292"/>
                    </a:cubicBezTo>
                    <a:cubicBezTo>
                      <a:pt x="189" y="292"/>
                      <a:pt x="189" y="292"/>
                      <a:pt x="189" y="292"/>
                    </a:cubicBezTo>
                    <a:cubicBezTo>
                      <a:pt x="189" y="293"/>
                      <a:pt x="189" y="293"/>
                      <a:pt x="189" y="293"/>
                    </a:cubicBezTo>
                    <a:cubicBezTo>
                      <a:pt x="189" y="293"/>
                      <a:pt x="189" y="293"/>
                      <a:pt x="189" y="293"/>
                    </a:cubicBezTo>
                    <a:cubicBezTo>
                      <a:pt x="203" y="301"/>
                      <a:pt x="203" y="301"/>
                      <a:pt x="203" y="301"/>
                    </a:cubicBezTo>
                    <a:cubicBezTo>
                      <a:pt x="203" y="301"/>
                      <a:pt x="203" y="301"/>
                      <a:pt x="203" y="301"/>
                    </a:cubicBezTo>
                    <a:cubicBezTo>
                      <a:pt x="203" y="301"/>
                      <a:pt x="203" y="301"/>
                      <a:pt x="203" y="301"/>
                    </a:cubicBezTo>
                    <a:cubicBezTo>
                      <a:pt x="204" y="302"/>
                      <a:pt x="204" y="302"/>
                      <a:pt x="204" y="302"/>
                    </a:cubicBezTo>
                    <a:cubicBezTo>
                      <a:pt x="214" y="314"/>
                      <a:pt x="214" y="314"/>
                      <a:pt x="214" y="314"/>
                    </a:cubicBezTo>
                    <a:cubicBezTo>
                      <a:pt x="229" y="312"/>
                      <a:pt x="229" y="312"/>
                      <a:pt x="229" y="312"/>
                    </a:cubicBezTo>
                    <a:cubicBezTo>
                      <a:pt x="230" y="312"/>
                      <a:pt x="230" y="312"/>
                      <a:pt x="230" y="312"/>
                    </a:cubicBezTo>
                    <a:cubicBezTo>
                      <a:pt x="236" y="314"/>
                      <a:pt x="236" y="314"/>
                      <a:pt x="236" y="314"/>
                    </a:cubicBezTo>
                    <a:cubicBezTo>
                      <a:pt x="236" y="314"/>
                      <a:pt x="236" y="314"/>
                      <a:pt x="236" y="314"/>
                    </a:cubicBezTo>
                    <a:cubicBezTo>
                      <a:pt x="246" y="322"/>
                      <a:pt x="246" y="322"/>
                      <a:pt x="246" y="322"/>
                    </a:cubicBezTo>
                    <a:cubicBezTo>
                      <a:pt x="263" y="324"/>
                      <a:pt x="263" y="324"/>
                      <a:pt x="263" y="324"/>
                    </a:cubicBezTo>
                    <a:cubicBezTo>
                      <a:pt x="273" y="322"/>
                      <a:pt x="273" y="322"/>
                      <a:pt x="273" y="322"/>
                    </a:cubicBezTo>
                    <a:cubicBezTo>
                      <a:pt x="273" y="322"/>
                      <a:pt x="273" y="322"/>
                      <a:pt x="273" y="322"/>
                    </a:cubicBezTo>
                    <a:cubicBezTo>
                      <a:pt x="287" y="320"/>
                      <a:pt x="296" y="321"/>
                      <a:pt x="299" y="324"/>
                    </a:cubicBezTo>
                    <a:cubicBezTo>
                      <a:pt x="301" y="328"/>
                      <a:pt x="300" y="331"/>
                      <a:pt x="295" y="335"/>
                    </a:cubicBezTo>
                    <a:cubicBezTo>
                      <a:pt x="291" y="339"/>
                      <a:pt x="291" y="339"/>
                      <a:pt x="291" y="339"/>
                    </a:cubicBezTo>
                    <a:cubicBezTo>
                      <a:pt x="290" y="341"/>
                      <a:pt x="292" y="344"/>
                      <a:pt x="297" y="349"/>
                    </a:cubicBezTo>
                    <a:cubicBezTo>
                      <a:pt x="297" y="350"/>
                      <a:pt x="297" y="350"/>
                      <a:pt x="297" y="350"/>
                    </a:cubicBezTo>
                    <a:cubicBezTo>
                      <a:pt x="297" y="350"/>
                      <a:pt x="297" y="350"/>
                      <a:pt x="297" y="350"/>
                    </a:cubicBezTo>
                    <a:cubicBezTo>
                      <a:pt x="300" y="352"/>
                      <a:pt x="300" y="352"/>
                      <a:pt x="300" y="352"/>
                    </a:cubicBezTo>
                    <a:cubicBezTo>
                      <a:pt x="301" y="351"/>
                      <a:pt x="301" y="351"/>
                      <a:pt x="301" y="351"/>
                    </a:cubicBezTo>
                    <a:cubicBezTo>
                      <a:pt x="311" y="332"/>
                      <a:pt x="319" y="322"/>
                      <a:pt x="325" y="320"/>
                    </a:cubicBezTo>
                    <a:cubicBezTo>
                      <a:pt x="331" y="318"/>
                      <a:pt x="343" y="323"/>
                      <a:pt x="363" y="335"/>
                    </a:cubicBezTo>
                    <a:cubicBezTo>
                      <a:pt x="387" y="339"/>
                      <a:pt x="387" y="339"/>
                      <a:pt x="387" y="339"/>
                    </a:cubicBezTo>
                    <a:cubicBezTo>
                      <a:pt x="387" y="340"/>
                      <a:pt x="387" y="340"/>
                      <a:pt x="387" y="340"/>
                    </a:cubicBezTo>
                    <a:cubicBezTo>
                      <a:pt x="387" y="341"/>
                      <a:pt x="387" y="341"/>
                      <a:pt x="387" y="341"/>
                    </a:cubicBezTo>
                    <a:cubicBezTo>
                      <a:pt x="385" y="352"/>
                      <a:pt x="385" y="352"/>
                      <a:pt x="385" y="352"/>
                    </a:cubicBezTo>
                    <a:cubicBezTo>
                      <a:pt x="397" y="354"/>
                      <a:pt x="397" y="354"/>
                      <a:pt x="397" y="354"/>
                    </a:cubicBezTo>
                    <a:cubicBezTo>
                      <a:pt x="397" y="369"/>
                      <a:pt x="397" y="369"/>
                      <a:pt x="397" y="369"/>
                    </a:cubicBezTo>
                    <a:cubicBezTo>
                      <a:pt x="401" y="376"/>
                      <a:pt x="403" y="380"/>
                      <a:pt x="405" y="381"/>
                    </a:cubicBezTo>
                    <a:cubicBezTo>
                      <a:pt x="407" y="382"/>
                      <a:pt x="419" y="382"/>
                      <a:pt x="441" y="381"/>
                    </a:cubicBezTo>
                    <a:cubicBezTo>
                      <a:pt x="453" y="374"/>
                      <a:pt x="453" y="374"/>
                      <a:pt x="453" y="374"/>
                    </a:cubicBezTo>
                    <a:cubicBezTo>
                      <a:pt x="465" y="358"/>
                      <a:pt x="465" y="358"/>
                      <a:pt x="465" y="358"/>
                    </a:cubicBezTo>
                    <a:cubicBezTo>
                      <a:pt x="479" y="357"/>
                      <a:pt x="479" y="357"/>
                      <a:pt x="479" y="357"/>
                    </a:cubicBezTo>
                    <a:cubicBezTo>
                      <a:pt x="486" y="355"/>
                      <a:pt x="486" y="355"/>
                      <a:pt x="486" y="355"/>
                    </a:cubicBezTo>
                    <a:cubicBezTo>
                      <a:pt x="512" y="340"/>
                      <a:pt x="512" y="340"/>
                      <a:pt x="512" y="340"/>
                    </a:cubicBezTo>
                    <a:cubicBezTo>
                      <a:pt x="513" y="340"/>
                      <a:pt x="513" y="340"/>
                      <a:pt x="513" y="340"/>
                    </a:cubicBezTo>
                    <a:cubicBezTo>
                      <a:pt x="513" y="340"/>
                      <a:pt x="513" y="340"/>
                      <a:pt x="513" y="340"/>
                    </a:cubicBezTo>
                    <a:cubicBezTo>
                      <a:pt x="513" y="340"/>
                      <a:pt x="513" y="340"/>
                      <a:pt x="513" y="340"/>
                    </a:cubicBezTo>
                    <a:cubicBezTo>
                      <a:pt x="528" y="338"/>
                      <a:pt x="537" y="338"/>
                      <a:pt x="539" y="340"/>
                    </a:cubicBezTo>
                    <a:cubicBezTo>
                      <a:pt x="557" y="354"/>
                      <a:pt x="557" y="354"/>
                      <a:pt x="557" y="354"/>
                    </a:cubicBezTo>
                    <a:cubicBezTo>
                      <a:pt x="562" y="356"/>
                      <a:pt x="562" y="356"/>
                      <a:pt x="562" y="356"/>
                    </a:cubicBezTo>
                    <a:cubicBezTo>
                      <a:pt x="563" y="357"/>
                      <a:pt x="563" y="357"/>
                      <a:pt x="563" y="357"/>
                    </a:cubicBezTo>
                    <a:cubicBezTo>
                      <a:pt x="569" y="360"/>
                      <a:pt x="569" y="360"/>
                      <a:pt x="569" y="360"/>
                    </a:cubicBezTo>
                    <a:cubicBezTo>
                      <a:pt x="570" y="360"/>
                      <a:pt x="570" y="360"/>
                      <a:pt x="570" y="360"/>
                    </a:cubicBezTo>
                    <a:cubicBezTo>
                      <a:pt x="570" y="359"/>
                      <a:pt x="570" y="359"/>
                      <a:pt x="570" y="359"/>
                    </a:cubicBezTo>
                    <a:cubicBezTo>
                      <a:pt x="570" y="358"/>
                      <a:pt x="570" y="358"/>
                      <a:pt x="570" y="358"/>
                    </a:cubicBezTo>
                    <a:cubicBezTo>
                      <a:pt x="570" y="358"/>
                      <a:pt x="570" y="358"/>
                      <a:pt x="570" y="358"/>
                    </a:cubicBezTo>
                    <a:cubicBezTo>
                      <a:pt x="570" y="358"/>
                      <a:pt x="570" y="358"/>
                      <a:pt x="570" y="358"/>
                    </a:cubicBezTo>
                    <a:cubicBezTo>
                      <a:pt x="573" y="346"/>
                      <a:pt x="573" y="346"/>
                      <a:pt x="573" y="346"/>
                    </a:cubicBezTo>
                    <a:cubicBezTo>
                      <a:pt x="571" y="342"/>
                      <a:pt x="571" y="339"/>
                      <a:pt x="573" y="337"/>
                    </a:cubicBezTo>
                    <a:cubicBezTo>
                      <a:pt x="573" y="335"/>
                      <a:pt x="575" y="334"/>
                      <a:pt x="579" y="333"/>
                    </a:cubicBezTo>
                    <a:cubicBezTo>
                      <a:pt x="585" y="332"/>
                      <a:pt x="590" y="337"/>
                      <a:pt x="596" y="348"/>
                    </a:cubicBezTo>
                    <a:cubicBezTo>
                      <a:pt x="597" y="348"/>
                      <a:pt x="597" y="348"/>
                      <a:pt x="597" y="348"/>
                    </a:cubicBezTo>
                    <a:cubicBezTo>
                      <a:pt x="597" y="348"/>
                      <a:pt x="597" y="348"/>
                      <a:pt x="597" y="348"/>
                    </a:cubicBezTo>
                    <a:cubicBezTo>
                      <a:pt x="607" y="344"/>
                      <a:pt x="607" y="344"/>
                      <a:pt x="607" y="344"/>
                    </a:cubicBezTo>
                    <a:cubicBezTo>
                      <a:pt x="609" y="344"/>
                      <a:pt x="610" y="342"/>
                      <a:pt x="610" y="340"/>
                    </a:cubicBezTo>
                    <a:cubicBezTo>
                      <a:pt x="608" y="332"/>
                      <a:pt x="608" y="332"/>
                      <a:pt x="608" y="332"/>
                    </a:cubicBezTo>
                    <a:cubicBezTo>
                      <a:pt x="608" y="332"/>
                      <a:pt x="608" y="332"/>
                      <a:pt x="608" y="332"/>
                    </a:cubicBezTo>
                    <a:cubicBezTo>
                      <a:pt x="607" y="329"/>
                      <a:pt x="608" y="326"/>
                      <a:pt x="611" y="325"/>
                    </a:cubicBezTo>
                    <a:cubicBezTo>
                      <a:pt x="615" y="322"/>
                      <a:pt x="615" y="322"/>
                      <a:pt x="615" y="322"/>
                    </a:cubicBezTo>
                    <a:cubicBezTo>
                      <a:pt x="623" y="312"/>
                      <a:pt x="623" y="312"/>
                      <a:pt x="623" y="312"/>
                    </a:cubicBezTo>
                    <a:cubicBezTo>
                      <a:pt x="629" y="299"/>
                      <a:pt x="629" y="299"/>
                      <a:pt x="629" y="299"/>
                    </a:cubicBezTo>
                    <a:cubicBezTo>
                      <a:pt x="624" y="291"/>
                      <a:pt x="623" y="285"/>
                      <a:pt x="624" y="281"/>
                    </a:cubicBezTo>
                    <a:cubicBezTo>
                      <a:pt x="625" y="270"/>
                      <a:pt x="625" y="270"/>
                      <a:pt x="625" y="270"/>
                    </a:cubicBezTo>
                    <a:cubicBezTo>
                      <a:pt x="623" y="265"/>
                      <a:pt x="622" y="262"/>
                      <a:pt x="622" y="259"/>
                    </a:cubicBezTo>
                    <a:cubicBezTo>
                      <a:pt x="622" y="258"/>
                      <a:pt x="620" y="254"/>
                      <a:pt x="617" y="249"/>
                    </a:cubicBezTo>
                    <a:cubicBezTo>
                      <a:pt x="617" y="249"/>
                      <a:pt x="617" y="249"/>
                      <a:pt x="617" y="249"/>
                    </a:cubicBezTo>
                    <a:cubicBezTo>
                      <a:pt x="617" y="248"/>
                      <a:pt x="617" y="248"/>
                      <a:pt x="617" y="248"/>
                    </a:cubicBezTo>
                    <a:cubicBezTo>
                      <a:pt x="615" y="234"/>
                      <a:pt x="615" y="234"/>
                      <a:pt x="615" y="234"/>
                    </a:cubicBezTo>
                    <a:cubicBezTo>
                      <a:pt x="615" y="231"/>
                      <a:pt x="615" y="228"/>
                      <a:pt x="615" y="224"/>
                    </a:cubicBezTo>
                    <a:cubicBezTo>
                      <a:pt x="612" y="221"/>
                      <a:pt x="609" y="218"/>
                      <a:pt x="608" y="216"/>
                    </a:cubicBezTo>
                    <a:cubicBezTo>
                      <a:pt x="602" y="208"/>
                      <a:pt x="602" y="208"/>
                      <a:pt x="602" y="208"/>
                    </a:cubicBezTo>
                    <a:cubicBezTo>
                      <a:pt x="601" y="207"/>
                      <a:pt x="601" y="207"/>
                      <a:pt x="601" y="207"/>
                    </a:cubicBezTo>
                    <a:cubicBezTo>
                      <a:pt x="601" y="206"/>
                      <a:pt x="601" y="206"/>
                      <a:pt x="601" y="206"/>
                    </a:cubicBezTo>
                    <a:cubicBezTo>
                      <a:pt x="601" y="206"/>
                      <a:pt x="601" y="206"/>
                      <a:pt x="601" y="206"/>
                    </a:cubicBezTo>
                    <a:cubicBezTo>
                      <a:pt x="599" y="196"/>
                      <a:pt x="599" y="196"/>
                      <a:pt x="599" y="196"/>
                    </a:cubicBezTo>
                    <a:cubicBezTo>
                      <a:pt x="593" y="191"/>
                      <a:pt x="593" y="191"/>
                      <a:pt x="593" y="191"/>
                    </a:cubicBezTo>
                    <a:cubicBezTo>
                      <a:pt x="593" y="192"/>
                      <a:pt x="593" y="192"/>
                      <a:pt x="593" y="192"/>
                    </a:cubicBezTo>
                    <a:cubicBezTo>
                      <a:pt x="582" y="182"/>
                      <a:pt x="582" y="182"/>
                      <a:pt x="582" y="182"/>
                    </a:cubicBezTo>
                    <a:cubicBezTo>
                      <a:pt x="582" y="183"/>
                      <a:pt x="582" y="183"/>
                      <a:pt x="582" y="183"/>
                    </a:cubicBezTo>
                    <a:cubicBezTo>
                      <a:pt x="583" y="196"/>
                      <a:pt x="583" y="196"/>
                      <a:pt x="583" y="196"/>
                    </a:cubicBezTo>
                    <a:cubicBezTo>
                      <a:pt x="583" y="196"/>
                      <a:pt x="583" y="196"/>
                      <a:pt x="583" y="196"/>
                    </a:cubicBezTo>
                    <a:cubicBezTo>
                      <a:pt x="583" y="197"/>
                      <a:pt x="583" y="197"/>
                      <a:pt x="583" y="197"/>
                    </a:cubicBezTo>
                    <a:cubicBezTo>
                      <a:pt x="577" y="200"/>
                      <a:pt x="577" y="200"/>
                      <a:pt x="577" y="200"/>
                    </a:cubicBezTo>
                    <a:cubicBezTo>
                      <a:pt x="577" y="208"/>
                      <a:pt x="577" y="208"/>
                      <a:pt x="577" y="208"/>
                    </a:cubicBezTo>
                    <a:cubicBezTo>
                      <a:pt x="577" y="209"/>
                      <a:pt x="577" y="209"/>
                      <a:pt x="577" y="209"/>
                    </a:cubicBezTo>
                    <a:cubicBezTo>
                      <a:pt x="563" y="214"/>
                      <a:pt x="563" y="214"/>
                      <a:pt x="563" y="214"/>
                    </a:cubicBezTo>
                    <a:cubicBezTo>
                      <a:pt x="558" y="203"/>
                      <a:pt x="558" y="203"/>
                      <a:pt x="558" y="203"/>
                    </a:cubicBezTo>
                    <a:cubicBezTo>
                      <a:pt x="555" y="202"/>
                      <a:pt x="555" y="202"/>
                      <a:pt x="555" y="202"/>
                    </a:cubicBezTo>
                    <a:cubicBezTo>
                      <a:pt x="551" y="207"/>
                      <a:pt x="551" y="207"/>
                      <a:pt x="551" y="207"/>
                    </a:cubicBezTo>
                    <a:cubicBezTo>
                      <a:pt x="548" y="215"/>
                      <a:pt x="548" y="215"/>
                      <a:pt x="548" y="215"/>
                    </a:cubicBezTo>
                    <a:cubicBezTo>
                      <a:pt x="538" y="218"/>
                      <a:pt x="538" y="218"/>
                      <a:pt x="538" y="218"/>
                    </a:cubicBezTo>
                    <a:cubicBezTo>
                      <a:pt x="532" y="214"/>
                      <a:pt x="532" y="214"/>
                      <a:pt x="532" y="214"/>
                    </a:cubicBezTo>
                    <a:cubicBezTo>
                      <a:pt x="524" y="211"/>
                      <a:pt x="524" y="211"/>
                      <a:pt x="524" y="211"/>
                    </a:cubicBezTo>
                    <a:cubicBezTo>
                      <a:pt x="522" y="200"/>
                      <a:pt x="522" y="200"/>
                      <a:pt x="522" y="200"/>
                    </a:cubicBezTo>
                    <a:cubicBezTo>
                      <a:pt x="519" y="193"/>
                      <a:pt x="519" y="193"/>
                      <a:pt x="519" y="193"/>
                    </a:cubicBezTo>
                    <a:cubicBezTo>
                      <a:pt x="514" y="191"/>
                      <a:pt x="514" y="191"/>
                      <a:pt x="514" y="191"/>
                    </a:cubicBezTo>
                    <a:cubicBezTo>
                      <a:pt x="513" y="190"/>
                      <a:pt x="513" y="190"/>
                      <a:pt x="513" y="190"/>
                    </a:cubicBezTo>
                    <a:cubicBezTo>
                      <a:pt x="510" y="186"/>
                      <a:pt x="510" y="186"/>
                      <a:pt x="510" y="186"/>
                    </a:cubicBezTo>
                    <a:cubicBezTo>
                      <a:pt x="510" y="186"/>
                      <a:pt x="510" y="186"/>
                      <a:pt x="510" y="186"/>
                    </a:cubicBezTo>
                    <a:cubicBezTo>
                      <a:pt x="506" y="180"/>
                      <a:pt x="506" y="180"/>
                      <a:pt x="506" y="180"/>
                    </a:cubicBezTo>
                    <a:cubicBezTo>
                      <a:pt x="501" y="172"/>
                      <a:pt x="501" y="172"/>
                      <a:pt x="501" y="172"/>
                    </a:cubicBezTo>
                    <a:cubicBezTo>
                      <a:pt x="496" y="172"/>
                      <a:pt x="496" y="172"/>
                      <a:pt x="496" y="172"/>
                    </a:cubicBezTo>
                    <a:cubicBezTo>
                      <a:pt x="488" y="175"/>
                      <a:pt x="488" y="175"/>
                      <a:pt x="488" y="175"/>
                    </a:cubicBezTo>
                    <a:cubicBezTo>
                      <a:pt x="487" y="176"/>
                      <a:pt x="487" y="176"/>
                      <a:pt x="487" y="176"/>
                    </a:cubicBezTo>
                    <a:cubicBezTo>
                      <a:pt x="467" y="174"/>
                      <a:pt x="467" y="174"/>
                      <a:pt x="467" y="174"/>
                    </a:cubicBezTo>
                    <a:cubicBezTo>
                      <a:pt x="451" y="171"/>
                      <a:pt x="451" y="171"/>
                      <a:pt x="451" y="171"/>
                    </a:cubicBezTo>
                    <a:cubicBezTo>
                      <a:pt x="450" y="170"/>
                      <a:pt x="447" y="169"/>
                      <a:pt x="443" y="166"/>
                    </a:cubicBezTo>
                    <a:cubicBezTo>
                      <a:pt x="431" y="162"/>
                      <a:pt x="431" y="162"/>
                      <a:pt x="431" y="162"/>
                    </a:cubicBezTo>
                    <a:cubicBezTo>
                      <a:pt x="422" y="160"/>
                      <a:pt x="417" y="158"/>
                      <a:pt x="415" y="156"/>
                    </a:cubicBezTo>
                    <a:cubicBezTo>
                      <a:pt x="413" y="154"/>
                      <a:pt x="413" y="154"/>
                      <a:pt x="413" y="154"/>
                    </a:cubicBezTo>
                    <a:cubicBezTo>
                      <a:pt x="411" y="154"/>
                      <a:pt x="411" y="154"/>
                      <a:pt x="411" y="154"/>
                    </a:cubicBezTo>
                    <a:cubicBezTo>
                      <a:pt x="403" y="150"/>
                      <a:pt x="403" y="150"/>
                      <a:pt x="403" y="150"/>
                    </a:cubicBezTo>
                    <a:cubicBezTo>
                      <a:pt x="403" y="149"/>
                      <a:pt x="403" y="149"/>
                      <a:pt x="403" y="149"/>
                    </a:cubicBezTo>
                    <a:cubicBezTo>
                      <a:pt x="401" y="148"/>
                      <a:pt x="400" y="146"/>
                      <a:pt x="399" y="145"/>
                    </a:cubicBezTo>
                    <a:cubicBezTo>
                      <a:pt x="398" y="141"/>
                      <a:pt x="398" y="141"/>
                      <a:pt x="398" y="141"/>
                    </a:cubicBezTo>
                    <a:cubicBezTo>
                      <a:pt x="395" y="136"/>
                      <a:pt x="395" y="136"/>
                      <a:pt x="395" y="136"/>
                    </a:cubicBezTo>
                    <a:cubicBezTo>
                      <a:pt x="389" y="134"/>
                      <a:pt x="389" y="134"/>
                      <a:pt x="389" y="134"/>
                    </a:cubicBezTo>
                    <a:cubicBezTo>
                      <a:pt x="387" y="135"/>
                      <a:pt x="387" y="135"/>
                      <a:pt x="387" y="135"/>
                    </a:cubicBezTo>
                    <a:cubicBezTo>
                      <a:pt x="385" y="137"/>
                      <a:pt x="385" y="137"/>
                      <a:pt x="385" y="137"/>
                    </a:cubicBezTo>
                    <a:cubicBezTo>
                      <a:pt x="384" y="138"/>
                      <a:pt x="384" y="138"/>
                      <a:pt x="384" y="138"/>
                    </a:cubicBezTo>
                    <a:cubicBezTo>
                      <a:pt x="382" y="139"/>
                      <a:pt x="380" y="140"/>
                      <a:pt x="379" y="140"/>
                    </a:cubicBezTo>
                    <a:cubicBezTo>
                      <a:pt x="375" y="141"/>
                      <a:pt x="372" y="140"/>
                      <a:pt x="369" y="136"/>
                    </a:cubicBezTo>
                    <a:cubicBezTo>
                      <a:pt x="361" y="128"/>
                      <a:pt x="361" y="128"/>
                      <a:pt x="361" y="128"/>
                    </a:cubicBezTo>
                    <a:cubicBezTo>
                      <a:pt x="358" y="124"/>
                      <a:pt x="356" y="121"/>
                      <a:pt x="355" y="119"/>
                    </a:cubicBezTo>
                    <a:cubicBezTo>
                      <a:pt x="353" y="116"/>
                      <a:pt x="353" y="116"/>
                      <a:pt x="353" y="116"/>
                    </a:cubicBezTo>
                    <a:cubicBezTo>
                      <a:pt x="351" y="113"/>
                      <a:pt x="349" y="110"/>
                      <a:pt x="347" y="108"/>
                    </a:cubicBezTo>
                    <a:cubicBezTo>
                      <a:pt x="346" y="104"/>
                      <a:pt x="346" y="101"/>
                      <a:pt x="347" y="98"/>
                    </a:cubicBezTo>
                    <a:cubicBezTo>
                      <a:pt x="347" y="98"/>
                      <a:pt x="347" y="98"/>
                      <a:pt x="347" y="98"/>
                    </a:cubicBezTo>
                    <a:cubicBezTo>
                      <a:pt x="347" y="98"/>
                      <a:pt x="347" y="98"/>
                      <a:pt x="347" y="98"/>
                    </a:cubicBezTo>
                    <a:cubicBezTo>
                      <a:pt x="352" y="89"/>
                      <a:pt x="352" y="89"/>
                      <a:pt x="352" y="89"/>
                    </a:cubicBezTo>
                    <a:cubicBezTo>
                      <a:pt x="355" y="80"/>
                      <a:pt x="355" y="80"/>
                      <a:pt x="355" y="80"/>
                    </a:cubicBezTo>
                    <a:cubicBezTo>
                      <a:pt x="356" y="74"/>
                      <a:pt x="356" y="74"/>
                      <a:pt x="356" y="74"/>
                    </a:cubicBezTo>
                    <a:cubicBezTo>
                      <a:pt x="354" y="64"/>
                      <a:pt x="354" y="64"/>
                      <a:pt x="354" y="64"/>
                    </a:cubicBezTo>
                    <a:cubicBezTo>
                      <a:pt x="348" y="59"/>
                      <a:pt x="348" y="59"/>
                      <a:pt x="348" y="59"/>
                    </a:cubicBezTo>
                    <a:cubicBezTo>
                      <a:pt x="349" y="52"/>
                      <a:pt x="349" y="52"/>
                      <a:pt x="349" y="52"/>
                    </a:cubicBezTo>
                    <a:cubicBezTo>
                      <a:pt x="349" y="46"/>
                      <a:pt x="351" y="43"/>
                      <a:pt x="355" y="42"/>
                    </a:cubicBezTo>
                    <a:cubicBezTo>
                      <a:pt x="357" y="42"/>
                      <a:pt x="357" y="41"/>
                      <a:pt x="357" y="40"/>
                    </a:cubicBezTo>
                    <a:cubicBezTo>
                      <a:pt x="357" y="39"/>
                      <a:pt x="357" y="39"/>
                      <a:pt x="357" y="39"/>
                    </a:cubicBezTo>
                    <a:cubicBezTo>
                      <a:pt x="357" y="31"/>
                      <a:pt x="357" y="31"/>
                      <a:pt x="357" y="31"/>
                    </a:cubicBezTo>
                    <a:cubicBezTo>
                      <a:pt x="357" y="31"/>
                      <a:pt x="357" y="31"/>
                      <a:pt x="357" y="31"/>
                    </a:cubicBezTo>
                    <a:cubicBezTo>
                      <a:pt x="357" y="31"/>
                      <a:pt x="357" y="31"/>
                      <a:pt x="357" y="31"/>
                    </a:cubicBezTo>
                    <a:cubicBezTo>
                      <a:pt x="357" y="22"/>
                      <a:pt x="357" y="22"/>
                      <a:pt x="357" y="22"/>
                    </a:cubicBezTo>
                    <a:cubicBezTo>
                      <a:pt x="357" y="22"/>
                      <a:pt x="357" y="22"/>
                      <a:pt x="357" y="22"/>
                    </a:cubicBezTo>
                    <a:cubicBezTo>
                      <a:pt x="356" y="21"/>
                      <a:pt x="356" y="21"/>
                      <a:pt x="356" y="21"/>
                    </a:cubicBezTo>
                    <a:cubicBezTo>
                      <a:pt x="356" y="21"/>
                      <a:pt x="356" y="21"/>
                      <a:pt x="356" y="21"/>
                    </a:cubicBezTo>
                    <a:cubicBezTo>
                      <a:pt x="356" y="21"/>
                      <a:pt x="356" y="21"/>
                      <a:pt x="356" y="21"/>
                    </a:cubicBezTo>
                    <a:cubicBezTo>
                      <a:pt x="355" y="20"/>
                      <a:pt x="355" y="20"/>
                      <a:pt x="355" y="20"/>
                    </a:cubicBezTo>
                    <a:cubicBezTo>
                      <a:pt x="355" y="20"/>
                      <a:pt x="355" y="20"/>
                      <a:pt x="355" y="20"/>
                    </a:cubicBezTo>
                    <a:cubicBezTo>
                      <a:pt x="354" y="20"/>
                      <a:pt x="354" y="20"/>
                      <a:pt x="354" y="20"/>
                    </a:cubicBezTo>
                    <a:cubicBezTo>
                      <a:pt x="347" y="15"/>
                      <a:pt x="347" y="15"/>
                      <a:pt x="347" y="15"/>
                    </a:cubicBezTo>
                    <a:cubicBezTo>
                      <a:pt x="347" y="15"/>
                      <a:pt x="347" y="15"/>
                      <a:pt x="347" y="15"/>
                    </a:cubicBezTo>
                    <a:cubicBezTo>
                      <a:pt x="347" y="15"/>
                      <a:pt x="347" y="15"/>
                      <a:pt x="347" y="15"/>
                    </a:cubicBezTo>
                    <a:cubicBezTo>
                      <a:pt x="341" y="10"/>
                      <a:pt x="341" y="10"/>
                      <a:pt x="341" y="10"/>
                    </a:cubicBezTo>
                    <a:cubicBezTo>
                      <a:pt x="322" y="7"/>
                      <a:pt x="322" y="7"/>
                      <a:pt x="322" y="7"/>
                    </a:cubicBezTo>
                    <a:cubicBezTo>
                      <a:pt x="322" y="7"/>
                      <a:pt x="322" y="7"/>
                      <a:pt x="322" y="7"/>
                    </a:cubicBezTo>
                    <a:cubicBezTo>
                      <a:pt x="316" y="2"/>
                      <a:pt x="316" y="2"/>
                      <a:pt x="316" y="2"/>
                    </a:cubicBezTo>
                    <a:cubicBezTo>
                      <a:pt x="305" y="2"/>
                      <a:pt x="305" y="2"/>
                      <a:pt x="305" y="2"/>
                    </a:cubicBezTo>
                    <a:cubicBezTo>
                      <a:pt x="303" y="2"/>
                      <a:pt x="301" y="4"/>
                      <a:pt x="299" y="5"/>
                    </a:cubicBezTo>
                    <a:cubicBezTo>
                      <a:pt x="298" y="5"/>
                      <a:pt x="298" y="5"/>
                      <a:pt x="298" y="5"/>
                    </a:cubicBezTo>
                    <a:cubicBezTo>
                      <a:pt x="289" y="8"/>
                      <a:pt x="289" y="8"/>
                      <a:pt x="289" y="8"/>
                    </a:cubicBezTo>
                    <a:cubicBezTo>
                      <a:pt x="267" y="8"/>
                      <a:pt x="267" y="8"/>
                      <a:pt x="267" y="8"/>
                    </a:cubicBezTo>
                    <a:cubicBezTo>
                      <a:pt x="264" y="9"/>
                      <a:pt x="261" y="10"/>
                      <a:pt x="260" y="12"/>
                    </a:cubicBezTo>
                    <a:cubicBezTo>
                      <a:pt x="257" y="14"/>
                      <a:pt x="253" y="15"/>
                      <a:pt x="247" y="17"/>
                    </a:cubicBezTo>
                    <a:cubicBezTo>
                      <a:pt x="237" y="20"/>
                      <a:pt x="237" y="20"/>
                      <a:pt x="237" y="20"/>
                    </a:cubicBezTo>
                    <a:cubicBezTo>
                      <a:pt x="237" y="20"/>
                      <a:pt x="237" y="20"/>
                      <a:pt x="237" y="20"/>
                    </a:cubicBezTo>
                    <a:cubicBezTo>
                      <a:pt x="236" y="20"/>
                      <a:pt x="236" y="20"/>
                      <a:pt x="236" y="20"/>
                    </a:cubicBezTo>
                    <a:cubicBezTo>
                      <a:pt x="221" y="18"/>
                      <a:pt x="221" y="18"/>
                      <a:pt x="221" y="18"/>
                    </a:cubicBezTo>
                    <a:cubicBezTo>
                      <a:pt x="220" y="18"/>
                      <a:pt x="220" y="18"/>
                      <a:pt x="220" y="18"/>
                    </a:cubicBezTo>
                    <a:cubicBezTo>
                      <a:pt x="220" y="18"/>
                      <a:pt x="220" y="18"/>
                      <a:pt x="220" y="18"/>
                    </a:cubicBezTo>
                    <a:cubicBezTo>
                      <a:pt x="220" y="18"/>
                      <a:pt x="220" y="18"/>
                      <a:pt x="220" y="18"/>
                    </a:cubicBezTo>
                    <a:cubicBezTo>
                      <a:pt x="215" y="18"/>
                      <a:pt x="215" y="18"/>
                      <a:pt x="215" y="18"/>
                    </a:cubicBezTo>
                    <a:cubicBezTo>
                      <a:pt x="206" y="20"/>
                      <a:pt x="206" y="20"/>
                      <a:pt x="206" y="20"/>
                    </a:cubicBezTo>
                    <a:cubicBezTo>
                      <a:pt x="188" y="22"/>
                      <a:pt x="188" y="22"/>
                      <a:pt x="188" y="22"/>
                    </a:cubicBezTo>
                    <a:cubicBezTo>
                      <a:pt x="188" y="22"/>
                      <a:pt x="188" y="22"/>
                      <a:pt x="188" y="22"/>
                    </a:cubicBezTo>
                    <a:cubicBezTo>
                      <a:pt x="187" y="22"/>
                      <a:pt x="187" y="22"/>
                      <a:pt x="187" y="22"/>
                    </a:cubicBezTo>
                    <a:cubicBezTo>
                      <a:pt x="179" y="18"/>
                      <a:pt x="179" y="18"/>
                      <a:pt x="179" y="18"/>
                    </a:cubicBezTo>
                    <a:cubicBezTo>
                      <a:pt x="171" y="18"/>
                      <a:pt x="171" y="18"/>
                      <a:pt x="171" y="18"/>
                    </a:cubicBezTo>
                    <a:cubicBezTo>
                      <a:pt x="168" y="18"/>
                      <a:pt x="165" y="15"/>
                      <a:pt x="161" y="10"/>
                    </a:cubicBezTo>
                    <a:cubicBezTo>
                      <a:pt x="160" y="10"/>
                      <a:pt x="160" y="10"/>
                      <a:pt x="160" y="10"/>
                    </a:cubicBezTo>
                    <a:cubicBezTo>
                      <a:pt x="159" y="6"/>
                      <a:pt x="158" y="4"/>
                      <a:pt x="158" y="4"/>
                    </a:cubicBezTo>
                    <a:cubicBezTo>
                      <a:pt x="156" y="2"/>
                      <a:pt x="156" y="2"/>
                      <a:pt x="156" y="2"/>
                    </a:cubicBezTo>
                    <a:cubicBezTo>
                      <a:pt x="152" y="0"/>
                      <a:pt x="152" y="0"/>
                      <a:pt x="152" y="0"/>
                    </a:cubicBezTo>
                    <a:cubicBezTo>
                      <a:pt x="149" y="4"/>
                      <a:pt x="149" y="4"/>
                      <a:pt x="149" y="4"/>
                    </a:cubicBezTo>
                    <a:cubicBezTo>
                      <a:pt x="149" y="4"/>
                      <a:pt x="149" y="4"/>
                      <a:pt x="149" y="4"/>
                    </a:cubicBezTo>
                    <a:cubicBezTo>
                      <a:pt x="136" y="10"/>
                      <a:pt x="136" y="10"/>
                      <a:pt x="136" y="10"/>
                    </a:cubicBezTo>
                    <a:cubicBezTo>
                      <a:pt x="135" y="10"/>
                      <a:pt x="135" y="10"/>
                      <a:pt x="135" y="10"/>
                    </a:cubicBezTo>
                    <a:cubicBezTo>
                      <a:pt x="135" y="10"/>
                      <a:pt x="135" y="10"/>
                      <a:pt x="135" y="10"/>
                    </a:cubicBezTo>
                    <a:cubicBezTo>
                      <a:pt x="119" y="11"/>
                      <a:pt x="119" y="11"/>
                      <a:pt x="119" y="11"/>
                    </a:cubicBezTo>
                    <a:cubicBezTo>
                      <a:pt x="117" y="11"/>
                      <a:pt x="112" y="10"/>
                      <a:pt x="106" y="8"/>
                    </a:cubicBezTo>
                    <a:cubicBezTo>
                      <a:pt x="93" y="6"/>
                      <a:pt x="93" y="6"/>
                      <a:pt x="93" y="6"/>
                    </a:cubicBezTo>
                    <a:cubicBezTo>
                      <a:pt x="92" y="6"/>
                      <a:pt x="92" y="6"/>
                      <a:pt x="92" y="6"/>
                    </a:cubicBezTo>
                    <a:cubicBezTo>
                      <a:pt x="92" y="6"/>
                      <a:pt x="92" y="6"/>
                      <a:pt x="92" y="6"/>
                    </a:cubicBezTo>
                    <a:cubicBezTo>
                      <a:pt x="84" y="2"/>
                      <a:pt x="84" y="2"/>
                      <a:pt x="84" y="2"/>
                    </a:cubicBezTo>
                    <a:lnTo>
                      <a:pt x="77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9" name="îş1ïdê"/>
              <p:cNvSpPr/>
              <p:nvPr/>
            </p:nvSpPr>
            <p:spPr bwMode="auto">
              <a:xfrm>
                <a:off x="2476" y="2805"/>
                <a:ext cx="673" cy="701"/>
              </a:xfrm>
              <a:custGeom>
                <a:avLst/>
                <a:gdLst>
                  <a:gd name="T0" fmla="*/ 10 w 284"/>
                  <a:gd name="T1" fmla="*/ 182 h 296"/>
                  <a:gd name="T2" fmla="*/ 41 w 284"/>
                  <a:gd name="T3" fmla="*/ 181 h 296"/>
                  <a:gd name="T4" fmla="*/ 42 w 284"/>
                  <a:gd name="T5" fmla="*/ 195 h 296"/>
                  <a:gd name="T6" fmla="*/ 68 w 284"/>
                  <a:gd name="T7" fmla="*/ 221 h 296"/>
                  <a:gd name="T8" fmla="*/ 72 w 284"/>
                  <a:gd name="T9" fmla="*/ 260 h 296"/>
                  <a:gd name="T10" fmla="*/ 110 w 284"/>
                  <a:gd name="T11" fmla="*/ 270 h 296"/>
                  <a:gd name="T12" fmla="*/ 118 w 284"/>
                  <a:gd name="T13" fmla="*/ 282 h 296"/>
                  <a:gd name="T14" fmla="*/ 136 w 284"/>
                  <a:gd name="T15" fmla="*/ 296 h 296"/>
                  <a:gd name="T16" fmla="*/ 136 w 284"/>
                  <a:gd name="T17" fmla="*/ 284 h 296"/>
                  <a:gd name="T18" fmla="*/ 135 w 284"/>
                  <a:gd name="T19" fmla="*/ 244 h 296"/>
                  <a:gd name="T20" fmla="*/ 162 w 284"/>
                  <a:gd name="T21" fmla="*/ 236 h 296"/>
                  <a:gd name="T22" fmla="*/ 190 w 284"/>
                  <a:gd name="T23" fmla="*/ 236 h 296"/>
                  <a:gd name="T24" fmla="*/ 220 w 284"/>
                  <a:gd name="T25" fmla="*/ 233 h 296"/>
                  <a:gd name="T26" fmla="*/ 256 w 284"/>
                  <a:gd name="T27" fmla="*/ 211 h 296"/>
                  <a:gd name="T28" fmla="*/ 265 w 284"/>
                  <a:gd name="T29" fmla="*/ 214 h 296"/>
                  <a:gd name="T30" fmla="*/ 270 w 284"/>
                  <a:gd name="T31" fmla="*/ 216 h 296"/>
                  <a:gd name="T32" fmla="*/ 284 w 284"/>
                  <a:gd name="T33" fmla="*/ 205 h 296"/>
                  <a:gd name="T34" fmla="*/ 274 w 284"/>
                  <a:gd name="T35" fmla="*/ 194 h 296"/>
                  <a:gd name="T36" fmla="*/ 252 w 284"/>
                  <a:gd name="T37" fmla="*/ 180 h 296"/>
                  <a:gd name="T38" fmla="*/ 236 w 284"/>
                  <a:gd name="T39" fmla="*/ 182 h 296"/>
                  <a:gd name="T40" fmla="*/ 230 w 284"/>
                  <a:gd name="T41" fmla="*/ 170 h 296"/>
                  <a:gd name="T42" fmla="*/ 234 w 284"/>
                  <a:gd name="T43" fmla="*/ 155 h 296"/>
                  <a:gd name="T44" fmla="*/ 226 w 284"/>
                  <a:gd name="T45" fmla="*/ 136 h 296"/>
                  <a:gd name="T46" fmla="*/ 232 w 284"/>
                  <a:gd name="T47" fmla="*/ 106 h 296"/>
                  <a:gd name="T48" fmla="*/ 216 w 284"/>
                  <a:gd name="T49" fmla="*/ 102 h 296"/>
                  <a:gd name="T50" fmla="*/ 200 w 284"/>
                  <a:gd name="T51" fmla="*/ 84 h 296"/>
                  <a:gd name="T52" fmla="*/ 198 w 284"/>
                  <a:gd name="T53" fmla="*/ 74 h 296"/>
                  <a:gd name="T54" fmla="*/ 206 w 284"/>
                  <a:gd name="T55" fmla="*/ 66 h 296"/>
                  <a:gd name="T56" fmla="*/ 236 w 284"/>
                  <a:gd name="T57" fmla="*/ 63 h 296"/>
                  <a:gd name="T58" fmla="*/ 243 w 284"/>
                  <a:gd name="T59" fmla="*/ 66 h 296"/>
                  <a:gd name="T60" fmla="*/ 256 w 284"/>
                  <a:gd name="T61" fmla="*/ 54 h 296"/>
                  <a:gd name="T62" fmla="*/ 235 w 284"/>
                  <a:gd name="T63" fmla="*/ 52 h 296"/>
                  <a:gd name="T64" fmla="*/ 227 w 284"/>
                  <a:gd name="T65" fmla="*/ 44 h 296"/>
                  <a:gd name="T66" fmla="*/ 222 w 284"/>
                  <a:gd name="T67" fmla="*/ 22 h 296"/>
                  <a:gd name="T68" fmla="*/ 198 w 284"/>
                  <a:gd name="T69" fmla="*/ 34 h 296"/>
                  <a:gd name="T70" fmla="*/ 201 w 284"/>
                  <a:gd name="T71" fmla="*/ 50 h 296"/>
                  <a:gd name="T72" fmla="*/ 193 w 284"/>
                  <a:gd name="T73" fmla="*/ 62 h 296"/>
                  <a:gd name="T74" fmla="*/ 183 w 284"/>
                  <a:gd name="T75" fmla="*/ 85 h 296"/>
                  <a:gd name="T76" fmla="*/ 183 w 284"/>
                  <a:gd name="T77" fmla="*/ 98 h 296"/>
                  <a:gd name="T78" fmla="*/ 178 w 284"/>
                  <a:gd name="T79" fmla="*/ 104 h 296"/>
                  <a:gd name="T80" fmla="*/ 173 w 284"/>
                  <a:gd name="T81" fmla="*/ 107 h 296"/>
                  <a:gd name="T82" fmla="*/ 154 w 284"/>
                  <a:gd name="T83" fmla="*/ 112 h 296"/>
                  <a:gd name="T84" fmla="*/ 138 w 284"/>
                  <a:gd name="T85" fmla="*/ 110 h 296"/>
                  <a:gd name="T86" fmla="*/ 129 w 284"/>
                  <a:gd name="T87" fmla="*/ 106 h 296"/>
                  <a:gd name="T88" fmla="*/ 122 w 284"/>
                  <a:gd name="T89" fmla="*/ 84 h 296"/>
                  <a:gd name="T90" fmla="*/ 113 w 284"/>
                  <a:gd name="T91" fmla="*/ 64 h 296"/>
                  <a:gd name="T92" fmla="*/ 110 w 284"/>
                  <a:gd name="T93" fmla="*/ 57 h 296"/>
                  <a:gd name="T94" fmla="*/ 100 w 284"/>
                  <a:gd name="T95" fmla="*/ 52 h 296"/>
                  <a:gd name="T96" fmla="*/ 86 w 284"/>
                  <a:gd name="T97" fmla="*/ 44 h 296"/>
                  <a:gd name="T98" fmla="*/ 86 w 284"/>
                  <a:gd name="T99" fmla="*/ 35 h 296"/>
                  <a:gd name="T100" fmla="*/ 77 w 284"/>
                  <a:gd name="T101" fmla="*/ 29 h 296"/>
                  <a:gd name="T102" fmla="*/ 61 w 284"/>
                  <a:gd name="T103" fmla="*/ 42 h 296"/>
                  <a:gd name="T104" fmla="*/ 50 w 284"/>
                  <a:gd name="T105" fmla="*/ 21 h 296"/>
                  <a:gd name="T106" fmla="*/ 40 w 284"/>
                  <a:gd name="T107" fmla="*/ 10 h 296"/>
                  <a:gd name="T108" fmla="*/ 28 w 284"/>
                  <a:gd name="T109" fmla="*/ 33 h 296"/>
                  <a:gd name="T110" fmla="*/ 28 w 284"/>
                  <a:gd name="T111" fmla="*/ 54 h 296"/>
                  <a:gd name="T112" fmla="*/ 46 w 284"/>
                  <a:gd name="T113" fmla="*/ 70 h 296"/>
                  <a:gd name="T114" fmla="*/ 31 w 284"/>
                  <a:gd name="T115" fmla="*/ 128 h 296"/>
                  <a:gd name="T116" fmla="*/ 2 w 284"/>
                  <a:gd name="T117" fmla="*/ 174 h 296"/>
                  <a:gd name="T118" fmla="*/ 2 w 284"/>
                  <a:gd name="T119" fmla="*/ 18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4" h="296">
                    <a:moveTo>
                      <a:pt x="2" y="182"/>
                    </a:moveTo>
                    <a:cubicBezTo>
                      <a:pt x="0" y="187"/>
                      <a:pt x="0" y="187"/>
                      <a:pt x="0" y="187"/>
                    </a:cubicBezTo>
                    <a:cubicBezTo>
                      <a:pt x="3" y="187"/>
                      <a:pt x="6" y="185"/>
                      <a:pt x="9" y="183"/>
                    </a:cubicBezTo>
                    <a:cubicBezTo>
                      <a:pt x="10" y="182"/>
                      <a:pt x="10" y="182"/>
                      <a:pt x="10" y="182"/>
                    </a:cubicBezTo>
                    <a:cubicBezTo>
                      <a:pt x="10" y="182"/>
                      <a:pt x="10" y="182"/>
                      <a:pt x="10" y="182"/>
                    </a:cubicBezTo>
                    <a:cubicBezTo>
                      <a:pt x="26" y="180"/>
                      <a:pt x="26" y="180"/>
                      <a:pt x="26" y="180"/>
                    </a:cubicBezTo>
                    <a:cubicBezTo>
                      <a:pt x="37" y="175"/>
                      <a:pt x="37" y="175"/>
                      <a:pt x="37" y="175"/>
                    </a:cubicBezTo>
                    <a:cubicBezTo>
                      <a:pt x="41" y="181"/>
                      <a:pt x="41" y="181"/>
                      <a:pt x="41" y="181"/>
                    </a:cubicBezTo>
                    <a:cubicBezTo>
                      <a:pt x="42" y="181"/>
                      <a:pt x="42" y="181"/>
                      <a:pt x="42" y="181"/>
                    </a:cubicBezTo>
                    <a:cubicBezTo>
                      <a:pt x="37" y="189"/>
                      <a:pt x="37" y="189"/>
                      <a:pt x="37" y="189"/>
                    </a:cubicBezTo>
                    <a:cubicBezTo>
                      <a:pt x="42" y="194"/>
                      <a:pt x="42" y="194"/>
                      <a:pt x="42" y="194"/>
                    </a:cubicBezTo>
                    <a:cubicBezTo>
                      <a:pt x="42" y="195"/>
                      <a:pt x="42" y="195"/>
                      <a:pt x="42" y="195"/>
                    </a:cubicBezTo>
                    <a:cubicBezTo>
                      <a:pt x="42" y="196"/>
                      <a:pt x="42" y="196"/>
                      <a:pt x="42" y="196"/>
                    </a:cubicBezTo>
                    <a:cubicBezTo>
                      <a:pt x="38" y="213"/>
                      <a:pt x="38" y="213"/>
                      <a:pt x="38" y="213"/>
                    </a:cubicBezTo>
                    <a:cubicBezTo>
                      <a:pt x="49" y="220"/>
                      <a:pt x="49" y="220"/>
                      <a:pt x="49" y="220"/>
                    </a:cubicBezTo>
                    <a:cubicBezTo>
                      <a:pt x="68" y="221"/>
                      <a:pt x="68" y="221"/>
                      <a:pt x="68" y="221"/>
                    </a:cubicBezTo>
                    <a:cubicBezTo>
                      <a:pt x="65" y="225"/>
                      <a:pt x="65" y="225"/>
                      <a:pt x="65" y="225"/>
                    </a:cubicBezTo>
                    <a:cubicBezTo>
                      <a:pt x="53" y="240"/>
                      <a:pt x="47" y="248"/>
                      <a:pt x="48" y="251"/>
                    </a:cubicBezTo>
                    <a:cubicBezTo>
                      <a:pt x="55" y="253"/>
                      <a:pt x="55" y="253"/>
                      <a:pt x="55" y="253"/>
                    </a:cubicBezTo>
                    <a:cubicBezTo>
                      <a:pt x="64" y="254"/>
                      <a:pt x="70" y="256"/>
                      <a:pt x="72" y="260"/>
                    </a:cubicBezTo>
                    <a:cubicBezTo>
                      <a:pt x="74" y="265"/>
                      <a:pt x="77" y="270"/>
                      <a:pt x="79" y="275"/>
                    </a:cubicBezTo>
                    <a:cubicBezTo>
                      <a:pt x="90" y="281"/>
                      <a:pt x="90" y="281"/>
                      <a:pt x="90" y="281"/>
                    </a:cubicBezTo>
                    <a:cubicBezTo>
                      <a:pt x="96" y="282"/>
                      <a:pt x="96" y="282"/>
                      <a:pt x="96" y="282"/>
                    </a:cubicBezTo>
                    <a:cubicBezTo>
                      <a:pt x="110" y="270"/>
                      <a:pt x="110" y="270"/>
                      <a:pt x="110" y="270"/>
                    </a:cubicBezTo>
                    <a:cubicBezTo>
                      <a:pt x="118" y="281"/>
                      <a:pt x="118" y="281"/>
                      <a:pt x="118" y="281"/>
                    </a:cubicBezTo>
                    <a:cubicBezTo>
                      <a:pt x="118" y="282"/>
                      <a:pt x="118" y="282"/>
                      <a:pt x="118" y="282"/>
                    </a:cubicBezTo>
                    <a:cubicBezTo>
                      <a:pt x="118" y="282"/>
                      <a:pt x="118" y="282"/>
                      <a:pt x="118" y="282"/>
                    </a:cubicBezTo>
                    <a:cubicBezTo>
                      <a:pt x="118" y="282"/>
                      <a:pt x="118" y="282"/>
                      <a:pt x="118" y="282"/>
                    </a:cubicBezTo>
                    <a:cubicBezTo>
                      <a:pt x="120" y="292"/>
                      <a:pt x="120" y="292"/>
                      <a:pt x="120" y="292"/>
                    </a:cubicBezTo>
                    <a:cubicBezTo>
                      <a:pt x="126" y="293"/>
                      <a:pt x="126" y="293"/>
                      <a:pt x="126" y="293"/>
                    </a:cubicBezTo>
                    <a:cubicBezTo>
                      <a:pt x="126" y="293"/>
                      <a:pt x="126" y="293"/>
                      <a:pt x="126" y="293"/>
                    </a:cubicBezTo>
                    <a:cubicBezTo>
                      <a:pt x="136" y="296"/>
                      <a:pt x="136" y="296"/>
                      <a:pt x="136" y="296"/>
                    </a:cubicBezTo>
                    <a:cubicBezTo>
                      <a:pt x="138" y="296"/>
                      <a:pt x="138" y="296"/>
                      <a:pt x="138" y="296"/>
                    </a:cubicBezTo>
                    <a:cubicBezTo>
                      <a:pt x="138" y="295"/>
                      <a:pt x="138" y="295"/>
                      <a:pt x="138" y="295"/>
                    </a:cubicBezTo>
                    <a:cubicBezTo>
                      <a:pt x="136" y="285"/>
                      <a:pt x="136" y="285"/>
                      <a:pt x="136" y="285"/>
                    </a:cubicBezTo>
                    <a:cubicBezTo>
                      <a:pt x="136" y="284"/>
                      <a:pt x="136" y="284"/>
                      <a:pt x="136" y="284"/>
                    </a:cubicBezTo>
                    <a:cubicBezTo>
                      <a:pt x="131" y="261"/>
                      <a:pt x="131" y="261"/>
                      <a:pt x="131" y="261"/>
                    </a:cubicBezTo>
                    <a:cubicBezTo>
                      <a:pt x="131" y="260"/>
                      <a:pt x="131" y="260"/>
                      <a:pt x="131" y="260"/>
                    </a:cubicBezTo>
                    <a:cubicBezTo>
                      <a:pt x="134" y="244"/>
                      <a:pt x="134" y="244"/>
                      <a:pt x="134" y="244"/>
                    </a:cubicBezTo>
                    <a:cubicBezTo>
                      <a:pt x="135" y="244"/>
                      <a:pt x="135" y="244"/>
                      <a:pt x="135" y="244"/>
                    </a:cubicBezTo>
                    <a:cubicBezTo>
                      <a:pt x="136" y="244"/>
                      <a:pt x="136" y="244"/>
                      <a:pt x="136" y="244"/>
                    </a:cubicBezTo>
                    <a:cubicBezTo>
                      <a:pt x="147" y="245"/>
                      <a:pt x="147" y="245"/>
                      <a:pt x="147" y="245"/>
                    </a:cubicBezTo>
                    <a:cubicBezTo>
                      <a:pt x="160" y="235"/>
                      <a:pt x="160" y="235"/>
                      <a:pt x="160" y="235"/>
                    </a:cubicBezTo>
                    <a:cubicBezTo>
                      <a:pt x="162" y="236"/>
                      <a:pt x="162" y="236"/>
                      <a:pt x="162" y="236"/>
                    </a:cubicBezTo>
                    <a:cubicBezTo>
                      <a:pt x="169" y="241"/>
                      <a:pt x="174" y="246"/>
                      <a:pt x="176" y="249"/>
                    </a:cubicBezTo>
                    <a:cubicBezTo>
                      <a:pt x="178" y="248"/>
                      <a:pt x="183" y="244"/>
                      <a:pt x="189" y="237"/>
                    </a:cubicBezTo>
                    <a:cubicBezTo>
                      <a:pt x="189" y="236"/>
                      <a:pt x="189" y="236"/>
                      <a:pt x="189" y="236"/>
                    </a:cubicBezTo>
                    <a:cubicBezTo>
                      <a:pt x="190" y="236"/>
                      <a:pt x="190" y="236"/>
                      <a:pt x="190" y="236"/>
                    </a:cubicBezTo>
                    <a:cubicBezTo>
                      <a:pt x="210" y="241"/>
                      <a:pt x="210" y="241"/>
                      <a:pt x="210" y="241"/>
                    </a:cubicBezTo>
                    <a:cubicBezTo>
                      <a:pt x="219" y="234"/>
                      <a:pt x="219" y="234"/>
                      <a:pt x="219" y="234"/>
                    </a:cubicBezTo>
                    <a:cubicBezTo>
                      <a:pt x="219" y="233"/>
                      <a:pt x="219" y="233"/>
                      <a:pt x="219" y="233"/>
                    </a:cubicBezTo>
                    <a:cubicBezTo>
                      <a:pt x="220" y="233"/>
                      <a:pt x="220" y="233"/>
                      <a:pt x="220" y="233"/>
                    </a:cubicBezTo>
                    <a:cubicBezTo>
                      <a:pt x="220" y="233"/>
                      <a:pt x="220" y="233"/>
                      <a:pt x="220" y="233"/>
                    </a:cubicBezTo>
                    <a:cubicBezTo>
                      <a:pt x="220" y="233"/>
                      <a:pt x="220" y="233"/>
                      <a:pt x="220" y="233"/>
                    </a:cubicBezTo>
                    <a:cubicBezTo>
                      <a:pt x="229" y="235"/>
                      <a:pt x="229" y="235"/>
                      <a:pt x="229" y="235"/>
                    </a:cubicBezTo>
                    <a:cubicBezTo>
                      <a:pt x="256" y="211"/>
                      <a:pt x="256" y="211"/>
                      <a:pt x="256" y="211"/>
                    </a:cubicBezTo>
                    <a:cubicBezTo>
                      <a:pt x="264" y="213"/>
                      <a:pt x="264" y="213"/>
                      <a:pt x="264" y="213"/>
                    </a:cubicBezTo>
                    <a:cubicBezTo>
                      <a:pt x="264" y="213"/>
                      <a:pt x="264" y="213"/>
                      <a:pt x="264" y="213"/>
                    </a:cubicBezTo>
                    <a:cubicBezTo>
                      <a:pt x="265" y="214"/>
                      <a:pt x="265" y="214"/>
                      <a:pt x="265" y="214"/>
                    </a:cubicBezTo>
                    <a:cubicBezTo>
                      <a:pt x="265" y="214"/>
                      <a:pt x="265" y="214"/>
                      <a:pt x="265" y="214"/>
                    </a:cubicBezTo>
                    <a:cubicBezTo>
                      <a:pt x="266" y="214"/>
                      <a:pt x="266" y="214"/>
                      <a:pt x="266" y="214"/>
                    </a:cubicBezTo>
                    <a:cubicBezTo>
                      <a:pt x="268" y="218"/>
                      <a:pt x="268" y="218"/>
                      <a:pt x="268" y="218"/>
                    </a:cubicBezTo>
                    <a:cubicBezTo>
                      <a:pt x="270" y="216"/>
                      <a:pt x="270" y="216"/>
                      <a:pt x="270" y="216"/>
                    </a:cubicBezTo>
                    <a:cubicBezTo>
                      <a:pt x="270" y="216"/>
                      <a:pt x="270" y="216"/>
                      <a:pt x="270" y="216"/>
                    </a:cubicBezTo>
                    <a:cubicBezTo>
                      <a:pt x="270" y="215"/>
                      <a:pt x="270" y="215"/>
                      <a:pt x="270" y="215"/>
                    </a:cubicBezTo>
                    <a:cubicBezTo>
                      <a:pt x="270" y="215"/>
                      <a:pt x="270" y="215"/>
                      <a:pt x="270" y="215"/>
                    </a:cubicBezTo>
                    <a:cubicBezTo>
                      <a:pt x="278" y="211"/>
                      <a:pt x="278" y="211"/>
                      <a:pt x="278" y="211"/>
                    </a:cubicBezTo>
                    <a:cubicBezTo>
                      <a:pt x="284" y="205"/>
                      <a:pt x="284" y="205"/>
                      <a:pt x="284" y="205"/>
                    </a:cubicBezTo>
                    <a:cubicBezTo>
                      <a:pt x="283" y="193"/>
                      <a:pt x="283" y="193"/>
                      <a:pt x="283" y="193"/>
                    </a:cubicBezTo>
                    <a:cubicBezTo>
                      <a:pt x="282" y="191"/>
                      <a:pt x="282" y="191"/>
                      <a:pt x="282" y="191"/>
                    </a:cubicBezTo>
                    <a:cubicBezTo>
                      <a:pt x="274" y="194"/>
                      <a:pt x="274" y="194"/>
                      <a:pt x="274" y="194"/>
                    </a:cubicBezTo>
                    <a:cubicBezTo>
                      <a:pt x="274" y="194"/>
                      <a:pt x="274" y="194"/>
                      <a:pt x="274" y="194"/>
                    </a:cubicBezTo>
                    <a:cubicBezTo>
                      <a:pt x="272" y="195"/>
                      <a:pt x="270" y="196"/>
                      <a:pt x="267" y="196"/>
                    </a:cubicBezTo>
                    <a:cubicBezTo>
                      <a:pt x="258" y="196"/>
                      <a:pt x="258" y="196"/>
                      <a:pt x="258" y="196"/>
                    </a:cubicBezTo>
                    <a:cubicBezTo>
                      <a:pt x="255" y="196"/>
                      <a:pt x="254" y="195"/>
                      <a:pt x="252" y="193"/>
                    </a:cubicBezTo>
                    <a:cubicBezTo>
                      <a:pt x="252" y="180"/>
                      <a:pt x="252" y="180"/>
                      <a:pt x="252" y="180"/>
                    </a:cubicBezTo>
                    <a:cubicBezTo>
                      <a:pt x="249" y="179"/>
                      <a:pt x="248" y="178"/>
                      <a:pt x="246" y="178"/>
                    </a:cubicBezTo>
                    <a:cubicBezTo>
                      <a:pt x="244" y="179"/>
                      <a:pt x="244" y="179"/>
                      <a:pt x="244" y="179"/>
                    </a:cubicBezTo>
                    <a:cubicBezTo>
                      <a:pt x="242" y="180"/>
                      <a:pt x="242" y="180"/>
                      <a:pt x="242" y="180"/>
                    </a:cubicBezTo>
                    <a:cubicBezTo>
                      <a:pt x="236" y="182"/>
                      <a:pt x="236" y="182"/>
                      <a:pt x="236" y="182"/>
                    </a:cubicBezTo>
                    <a:cubicBezTo>
                      <a:pt x="234" y="182"/>
                      <a:pt x="234" y="182"/>
                      <a:pt x="234" y="182"/>
                    </a:cubicBezTo>
                    <a:cubicBezTo>
                      <a:pt x="234" y="181"/>
                      <a:pt x="234" y="181"/>
                      <a:pt x="234" y="181"/>
                    </a:cubicBezTo>
                    <a:cubicBezTo>
                      <a:pt x="231" y="175"/>
                      <a:pt x="231" y="175"/>
                      <a:pt x="231" y="175"/>
                    </a:cubicBezTo>
                    <a:cubicBezTo>
                      <a:pt x="230" y="170"/>
                      <a:pt x="230" y="170"/>
                      <a:pt x="230" y="170"/>
                    </a:cubicBezTo>
                    <a:cubicBezTo>
                      <a:pt x="230" y="170"/>
                      <a:pt x="230" y="170"/>
                      <a:pt x="230" y="170"/>
                    </a:cubicBezTo>
                    <a:cubicBezTo>
                      <a:pt x="234" y="155"/>
                      <a:pt x="234" y="155"/>
                      <a:pt x="234" y="155"/>
                    </a:cubicBezTo>
                    <a:cubicBezTo>
                      <a:pt x="234" y="155"/>
                      <a:pt x="234" y="155"/>
                      <a:pt x="234" y="155"/>
                    </a:cubicBezTo>
                    <a:cubicBezTo>
                      <a:pt x="234" y="155"/>
                      <a:pt x="234" y="155"/>
                      <a:pt x="234" y="155"/>
                    </a:cubicBezTo>
                    <a:cubicBezTo>
                      <a:pt x="234" y="154"/>
                      <a:pt x="234" y="154"/>
                      <a:pt x="234" y="154"/>
                    </a:cubicBezTo>
                    <a:cubicBezTo>
                      <a:pt x="238" y="147"/>
                      <a:pt x="238" y="147"/>
                      <a:pt x="238" y="147"/>
                    </a:cubicBezTo>
                    <a:cubicBezTo>
                      <a:pt x="226" y="137"/>
                      <a:pt x="226" y="137"/>
                      <a:pt x="226" y="137"/>
                    </a:cubicBezTo>
                    <a:cubicBezTo>
                      <a:pt x="226" y="136"/>
                      <a:pt x="226" y="136"/>
                      <a:pt x="226" y="136"/>
                    </a:cubicBezTo>
                    <a:cubicBezTo>
                      <a:pt x="226" y="136"/>
                      <a:pt x="226" y="136"/>
                      <a:pt x="226" y="136"/>
                    </a:cubicBezTo>
                    <a:cubicBezTo>
                      <a:pt x="226" y="124"/>
                      <a:pt x="226" y="124"/>
                      <a:pt x="226" y="124"/>
                    </a:cubicBezTo>
                    <a:cubicBezTo>
                      <a:pt x="226" y="124"/>
                      <a:pt x="226" y="124"/>
                      <a:pt x="226" y="124"/>
                    </a:cubicBezTo>
                    <a:cubicBezTo>
                      <a:pt x="232" y="106"/>
                      <a:pt x="232" y="106"/>
                      <a:pt x="232" y="106"/>
                    </a:cubicBezTo>
                    <a:cubicBezTo>
                      <a:pt x="228" y="96"/>
                      <a:pt x="228" y="96"/>
                      <a:pt x="228" y="96"/>
                    </a:cubicBezTo>
                    <a:cubicBezTo>
                      <a:pt x="225" y="95"/>
                      <a:pt x="225" y="95"/>
                      <a:pt x="225" y="95"/>
                    </a:cubicBezTo>
                    <a:cubicBezTo>
                      <a:pt x="220" y="95"/>
                      <a:pt x="220" y="95"/>
                      <a:pt x="220" y="95"/>
                    </a:cubicBezTo>
                    <a:cubicBezTo>
                      <a:pt x="216" y="102"/>
                      <a:pt x="216" y="102"/>
                      <a:pt x="216" y="102"/>
                    </a:cubicBezTo>
                    <a:cubicBezTo>
                      <a:pt x="210" y="98"/>
                      <a:pt x="210" y="98"/>
                      <a:pt x="210" y="98"/>
                    </a:cubicBezTo>
                    <a:cubicBezTo>
                      <a:pt x="205" y="95"/>
                      <a:pt x="205" y="95"/>
                      <a:pt x="205" y="95"/>
                    </a:cubicBezTo>
                    <a:cubicBezTo>
                      <a:pt x="200" y="84"/>
                      <a:pt x="200" y="84"/>
                      <a:pt x="200" y="84"/>
                    </a:cubicBezTo>
                    <a:cubicBezTo>
                      <a:pt x="200" y="84"/>
                      <a:pt x="200" y="84"/>
                      <a:pt x="200" y="84"/>
                    </a:cubicBezTo>
                    <a:cubicBezTo>
                      <a:pt x="200" y="84"/>
                      <a:pt x="200" y="84"/>
                      <a:pt x="200" y="84"/>
                    </a:cubicBezTo>
                    <a:cubicBezTo>
                      <a:pt x="199" y="76"/>
                      <a:pt x="199" y="76"/>
                      <a:pt x="199" y="76"/>
                    </a:cubicBezTo>
                    <a:cubicBezTo>
                      <a:pt x="199" y="75"/>
                      <a:pt x="199" y="75"/>
                      <a:pt x="199" y="75"/>
                    </a:cubicBezTo>
                    <a:cubicBezTo>
                      <a:pt x="198" y="74"/>
                      <a:pt x="198" y="74"/>
                      <a:pt x="198" y="74"/>
                    </a:cubicBezTo>
                    <a:cubicBezTo>
                      <a:pt x="200" y="74"/>
                      <a:pt x="200" y="74"/>
                      <a:pt x="200" y="74"/>
                    </a:cubicBezTo>
                    <a:cubicBezTo>
                      <a:pt x="205" y="66"/>
                      <a:pt x="205" y="66"/>
                      <a:pt x="205" y="66"/>
                    </a:cubicBezTo>
                    <a:cubicBezTo>
                      <a:pt x="206" y="66"/>
                      <a:pt x="206" y="66"/>
                      <a:pt x="206" y="66"/>
                    </a:cubicBezTo>
                    <a:cubicBezTo>
                      <a:pt x="206" y="66"/>
                      <a:pt x="206" y="66"/>
                      <a:pt x="206" y="66"/>
                    </a:cubicBezTo>
                    <a:cubicBezTo>
                      <a:pt x="206" y="66"/>
                      <a:pt x="206" y="66"/>
                      <a:pt x="206" y="66"/>
                    </a:cubicBezTo>
                    <a:cubicBezTo>
                      <a:pt x="210" y="65"/>
                      <a:pt x="210" y="65"/>
                      <a:pt x="210" y="65"/>
                    </a:cubicBezTo>
                    <a:cubicBezTo>
                      <a:pt x="215" y="64"/>
                      <a:pt x="215" y="64"/>
                      <a:pt x="215" y="64"/>
                    </a:cubicBezTo>
                    <a:cubicBezTo>
                      <a:pt x="236" y="63"/>
                      <a:pt x="236" y="63"/>
                      <a:pt x="236" y="63"/>
                    </a:cubicBezTo>
                    <a:cubicBezTo>
                      <a:pt x="236" y="63"/>
                      <a:pt x="236" y="63"/>
                      <a:pt x="236" y="63"/>
                    </a:cubicBezTo>
                    <a:cubicBezTo>
                      <a:pt x="239" y="64"/>
                      <a:pt x="239" y="64"/>
                      <a:pt x="239" y="64"/>
                    </a:cubicBezTo>
                    <a:cubicBezTo>
                      <a:pt x="240" y="64"/>
                      <a:pt x="240" y="64"/>
                      <a:pt x="240" y="64"/>
                    </a:cubicBezTo>
                    <a:cubicBezTo>
                      <a:pt x="243" y="66"/>
                      <a:pt x="243" y="66"/>
                      <a:pt x="243" y="66"/>
                    </a:cubicBezTo>
                    <a:cubicBezTo>
                      <a:pt x="248" y="63"/>
                      <a:pt x="248" y="63"/>
                      <a:pt x="248" y="63"/>
                    </a:cubicBezTo>
                    <a:cubicBezTo>
                      <a:pt x="253" y="60"/>
                      <a:pt x="253" y="60"/>
                      <a:pt x="253" y="60"/>
                    </a:cubicBezTo>
                    <a:cubicBezTo>
                      <a:pt x="256" y="56"/>
                      <a:pt x="256" y="56"/>
                      <a:pt x="256" y="56"/>
                    </a:cubicBezTo>
                    <a:cubicBezTo>
                      <a:pt x="256" y="54"/>
                      <a:pt x="256" y="54"/>
                      <a:pt x="256" y="54"/>
                    </a:cubicBezTo>
                    <a:cubicBezTo>
                      <a:pt x="256" y="45"/>
                      <a:pt x="256" y="45"/>
                      <a:pt x="256" y="45"/>
                    </a:cubicBezTo>
                    <a:cubicBezTo>
                      <a:pt x="251" y="44"/>
                      <a:pt x="251" y="44"/>
                      <a:pt x="251" y="44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0" y="50"/>
                      <a:pt x="238" y="52"/>
                      <a:pt x="235" y="52"/>
                    </a:cubicBezTo>
                    <a:cubicBezTo>
                      <a:pt x="232" y="52"/>
                      <a:pt x="230" y="49"/>
                      <a:pt x="227" y="45"/>
                    </a:cubicBezTo>
                    <a:cubicBezTo>
                      <a:pt x="227" y="45"/>
                      <a:pt x="227" y="45"/>
                      <a:pt x="227" y="45"/>
                    </a:cubicBezTo>
                    <a:cubicBezTo>
                      <a:pt x="227" y="45"/>
                      <a:pt x="227" y="45"/>
                      <a:pt x="227" y="45"/>
                    </a:cubicBezTo>
                    <a:cubicBezTo>
                      <a:pt x="227" y="44"/>
                      <a:pt x="227" y="44"/>
                      <a:pt x="227" y="44"/>
                    </a:cubicBezTo>
                    <a:cubicBezTo>
                      <a:pt x="226" y="39"/>
                      <a:pt x="226" y="39"/>
                      <a:pt x="226" y="39"/>
                    </a:cubicBezTo>
                    <a:cubicBezTo>
                      <a:pt x="226" y="38"/>
                      <a:pt x="226" y="38"/>
                      <a:pt x="226" y="38"/>
                    </a:cubicBezTo>
                    <a:cubicBezTo>
                      <a:pt x="227" y="33"/>
                      <a:pt x="227" y="33"/>
                      <a:pt x="227" y="33"/>
                    </a:cubicBezTo>
                    <a:cubicBezTo>
                      <a:pt x="222" y="22"/>
                      <a:pt x="222" y="22"/>
                      <a:pt x="222" y="22"/>
                    </a:cubicBezTo>
                    <a:cubicBezTo>
                      <a:pt x="214" y="24"/>
                      <a:pt x="214" y="24"/>
                      <a:pt x="214" y="24"/>
                    </a:cubicBezTo>
                    <a:cubicBezTo>
                      <a:pt x="210" y="28"/>
                      <a:pt x="210" y="28"/>
                      <a:pt x="210" y="28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198" y="34"/>
                      <a:pt x="198" y="34"/>
                      <a:pt x="198" y="34"/>
                    </a:cubicBezTo>
                    <a:cubicBezTo>
                      <a:pt x="202" y="41"/>
                      <a:pt x="202" y="41"/>
                      <a:pt x="202" y="41"/>
                    </a:cubicBezTo>
                    <a:cubicBezTo>
                      <a:pt x="202" y="41"/>
                      <a:pt x="202" y="41"/>
                      <a:pt x="202" y="41"/>
                    </a:cubicBezTo>
                    <a:cubicBezTo>
                      <a:pt x="202" y="42"/>
                      <a:pt x="202" y="42"/>
                      <a:pt x="202" y="42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1"/>
                      <a:pt x="201" y="51"/>
                      <a:pt x="201" y="51"/>
                    </a:cubicBezTo>
                    <a:cubicBezTo>
                      <a:pt x="200" y="51"/>
                      <a:pt x="200" y="51"/>
                      <a:pt x="200" y="51"/>
                    </a:cubicBezTo>
                    <a:cubicBezTo>
                      <a:pt x="193" y="62"/>
                      <a:pt x="193" y="62"/>
                      <a:pt x="193" y="62"/>
                    </a:cubicBezTo>
                    <a:cubicBezTo>
                      <a:pt x="193" y="62"/>
                      <a:pt x="193" y="62"/>
                      <a:pt x="193" y="62"/>
                    </a:cubicBezTo>
                    <a:cubicBezTo>
                      <a:pt x="180" y="69"/>
                      <a:pt x="180" y="69"/>
                      <a:pt x="180" y="69"/>
                    </a:cubicBezTo>
                    <a:cubicBezTo>
                      <a:pt x="179" y="76"/>
                      <a:pt x="179" y="76"/>
                      <a:pt x="179" y="76"/>
                    </a:cubicBezTo>
                    <a:cubicBezTo>
                      <a:pt x="179" y="78"/>
                      <a:pt x="180" y="81"/>
                      <a:pt x="182" y="85"/>
                    </a:cubicBezTo>
                    <a:cubicBezTo>
                      <a:pt x="183" y="85"/>
                      <a:pt x="183" y="85"/>
                      <a:pt x="183" y="85"/>
                    </a:cubicBezTo>
                    <a:cubicBezTo>
                      <a:pt x="183" y="86"/>
                      <a:pt x="183" y="86"/>
                      <a:pt x="183" y="86"/>
                    </a:cubicBezTo>
                    <a:cubicBezTo>
                      <a:pt x="184" y="96"/>
                      <a:pt x="184" y="96"/>
                      <a:pt x="184" y="96"/>
                    </a:cubicBezTo>
                    <a:cubicBezTo>
                      <a:pt x="184" y="97"/>
                      <a:pt x="184" y="97"/>
                      <a:pt x="184" y="97"/>
                    </a:cubicBezTo>
                    <a:cubicBezTo>
                      <a:pt x="183" y="98"/>
                      <a:pt x="183" y="98"/>
                      <a:pt x="183" y="98"/>
                    </a:cubicBezTo>
                    <a:cubicBezTo>
                      <a:pt x="178" y="104"/>
                      <a:pt x="178" y="104"/>
                      <a:pt x="178" y="104"/>
                    </a:cubicBezTo>
                    <a:cubicBezTo>
                      <a:pt x="178" y="104"/>
                      <a:pt x="178" y="104"/>
                      <a:pt x="178" y="104"/>
                    </a:cubicBezTo>
                    <a:cubicBezTo>
                      <a:pt x="178" y="104"/>
                      <a:pt x="178" y="104"/>
                      <a:pt x="178" y="104"/>
                    </a:cubicBezTo>
                    <a:cubicBezTo>
                      <a:pt x="178" y="104"/>
                      <a:pt x="178" y="104"/>
                      <a:pt x="178" y="104"/>
                    </a:cubicBezTo>
                    <a:cubicBezTo>
                      <a:pt x="174" y="107"/>
                      <a:pt x="174" y="107"/>
                      <a:pt x="174" y="107"/>
                    </a:cubicBezTo>
                    <a:cubicBezTo>
                      <a:pt x="174" y="107"/>
                      <a:pt x="174" y="107"/>
                      <a:pt x="174" y="107"/>
                    </a:cubicBezTo>
                    <a:cubicBezTo>
                      <a:pt x="173" y="107"/>
                      <a:pt x="173" y="107"/>
                      <a:pt x="173" y="107"/>
                    </a:cubicBezTo>
                    <a:cubicBezTo>
                      <a:pt x="173" y="107"/>
                      <a:pt x="173" y="107"/>
                      <a:pt x="173" y="107"/>
                    </a:cubicBezTo>
                    <a:cubicBezTo>
                      <a:pt x="172" y="107"/>
                      <a:pt x="172" y="107"/>
                      <a:pt x="172" y="107"/>
                    </a:cubicBezTo>
                    <a:cubicBezTo>
                      <a:pt x="163" y="105"/>
                      <a:pt x="163" y="105"/>
                      <a:pt x="163" y="105"/>
                    </a:cubicBezTo>
                    <a:cubicBezTo>
                      <a:pt x="162" y="105"/>
                      <a:pt x="160" y="106"/>
                      <a:pt x="158" y="107"/>
                    </a:cubicBezTo>
                    <a:cubicBezTo>
                      <a:pt x="154" y="112"/>
                      <a:pt x="154" y="112"/>
                      <a:pt x="154" y="112"/>
                    </a:cubicBezTo>
                    <a:cubicBezTo>
                      <a:pt x="150" y="116"/>
                      <a:pt x="150" y="116"/>
                      <a:pt x="150" y="116"/>
                    </a:cubicBezTo>
                    <a:cubicBezTo>
                      <a:pt x="148" y="119"/>
                      <a:pt x="146" y="120"/>
                      <a:pt x="141" y="119"/>
                    </a:cubicBezTo>
                    <a:cubicBezTo>
                      <a:pt x="138" y="119"/>
                      <a:pt x="138" y="116"/>
                      <a:pt x="138" y="112"/>
                    </a:cubicBezTo>
                    <a:cubicBezTo>
                      <a:pt x="138" y="110"/>
                      <a:pt x="138" y="110"/>
                      <a:pt x="138" y="110"/>
                    </a:cubicBezTo>
                    <a:cubicBezTo>
                      <a:pt x="138" y="107"/>
                      <a:pt x="138" y="107"/>
                      <a:pt x="138" y="107"/>
                    </a:cubicBezTo>
                    <a:cubicBezTo>
                      <a:pt x="136" y="109"/>
                      <a:pt x="136" y="109"/>
                      <a:pt x="136" y="109"/>
                    </a:cubicBezTo>
                    <a:cubicBezTo>
                      <a:pt x="135" y="110"/>
                      <a:pt x="134" y="111"/>
                      <a:pt x="132" y="111"/>
                    </a:cubicBezTo>
                    <a:cubicBezTo>
                      <a:pt x="131" y="110"/>
                      <a:pt x="130" y="109"/>
                      <a:pt x="129" y="106"/>
                    </a:cubicBezTo>
                    <a:cubicBezTo>
                      <a:pt x="129" y="106"/>
                      <a:pt x="129" y="106"/>
                      <a:pt x="129" y="106"/>
                    </a:cubicBezTo>
                    <a:cubicBezTo>
                      <a:pt x="128" y="96"/>
                      <a:pt x="128" y="96"/>
                      <a:pt x="128" y="96"/>
                    </a:cubicBezTo>
                    <a:cubicBezTo>
                      <a:pt x="126" y="88"/>
                      <a:pt x="126" y="88"/>
                      <a:pt x="126" y="88"/>
                    </a:cubicBezTo>
                    <a:cubicBezTo>
                      <a:pt x="122" y="84"/>
                      <a:pt x="122" y="84"/>
                      <a:pt x="122" y="84"/>
                    </a:cubicBezTo>
                    <a:cubicBezTo>
                      <a:pt x="122" y="84"/>
                      <a:pt x="122" y="84"/>
                      <a:pt x="122" y="84"/>
                    </a:cubicBezTo>
                    <a:cubicBezTo>
                      <a:pt x="122" y="83"/>
                      <a:pt x="122" y="83"/>
                      <a:pt x="122" y="83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0" y="58"/>
                      <a:pt x="110" y="58"/>
                      <a:pt x="110" y="58"/>
                    </a:cubicBezTo>
                    <a:cubicBezTo>
                      <a:pt x="110" y="58"/>
                      <a:pt x="110" y="58"/>
                      <a:pt x="110" y="58"/>
                    </a:cubicBezTo>
                    <a:cubicBezTo>
                      <a:pt x="110" y="58"/>
                      <a:pt x="110" y="58"/>
                      <a:pt x="110" y="58"/>
                    </a:cubicBezTo>
                    <a:cubicBezTo>
                      <a:pt x="110" y="57"/>
                      <a:pt x="110" y="57"/>
                      <a:pt x="110" y="57"/>
                    </a:cubicBezTo>
                    <a:cubicBezTo>
                      <a:pt x="108" y="47"/>
                      <a:pt x="108" y="47"/>
                      <a:pt x="108" y="47"/>
                    </a:cubicBezTo>
                    <a:cubicBezTo>
                      <a:pt x="107" y="45"/>
                      <a:pt x="107" y="45"/>
                      <a:pt x="107" y="45"/>
                    </a:cubicBezTo>
                    <a:cubicBezTo>
                      <a:pt x="106" y="46"/>
                      <a:pt x="106" y="46"/>
                      <a:pt x="106" y="46"/>
                    </a:cubicBezTo>
                    <a:cubicBezTo>
                      <a:pt x="103" y="50"/>
                      <a:pt x="101" y="52"/>
                      <a:pt x="100" y="52"/>
                    </a:cubicBezTo>
                    <a:cubicBezTo>
                      <a:pt x="99" y="52"/>
                      <a:pt x="97" y="50"/>
                      <a:pt x="94" y="48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87" y="44"/>
                      <a:pt x="87" y="44"/>
                      <a:pt x="87" y="44"/>
                    </a:cubicBezTo>
                    <a:cubicBezTo>
                      <a:pt x="86" y="44"/>
                      <a:pt x="86" y="44"/>
                      <a:pt x="86" y="44"/>
                    </a:cubicBezTo>
                    <a:cubicBezTo>
                      <a:pt x="86" y="44"/>
                      <a:pt x="86" y="44"/>
                      <a:pt x="86" y="44"/>
                    </a:cubicBezTo>
                    <a:cubicBezTo>
                      <a:pt x="86" y="43"/>
                      <a:pt x="86" y="43"/>
                      <a:pt x="86" y="43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4" y="29"/>
                      <a:pt x="84" y="29"/>
                      <a:pt x="84" y="29"/>
                    </a:cubicBezTo>
                    <a:cubicBezTo>
                      <a:pt x="81" y="21"/>
                      <a:pt x="81" y="21"/>
                      <a:pt x="81" y="21"/>
                    </a:cubicBezTo>
                    <a:cubicBezTo>
                      <a:pt x="78" y="21"/>
                      <a:pt x="78" y="21"/>
                      <a:pt x="78" y="21"/>
                    </a:cubicBezTo>
                    <a:cubicBezTo>
                      <a:pt x="78" y="24"/>
                      <a:pt x="78" y="27"/>
                      <a:pt x="77" y="29"/>
                    </a:cubicBezTo>
                    <a:cubicBezTo>
                      <a:pt x="76" y="31"/>
                      <a:pt x="75" y="33"/>
                      <a:pt x="72" y="35"/>
                    </a:cubicBezTo>
                    <a:cubicBezTo>
                      <a:pt x="72" y="38"/>
                      <a:pt x="70" y="40"/>
                      <a:pt x="69" y="41"/>
                    </a:cubicBezTo>
                    <a:cubicBezTo>
                      <a:pt x="66" y="44"/>
                      <a:pt x="64" y="44"/>
                      <a:pt x="62" y="42"/>
                    </a:cubicBezTo>
                    <a:cubicBezTo>
                      <a:pt x="61" y="42"/>
                      <a:pt x="61" y="42"/>
                      <a:pt x="61" y="42"/>
                    </a:cubicBezTo>
                    <a:cubicBezTo>
                      <a:pt x="58" y="41"/>
                      <a:pt x="58" y="38"/>
                      <a:pt x="58" y="33"/>
                    </a:cubicBezTo>
                    <a:cubicBezTo>
                      <a:pt x="58" y="31"/>
                      <a:pt x="58" y="31"/>
                      <a:pt x="58" y="31"/>
                    </a:cubicBezTo>
                    <a:cubicBezTo>
                      <a:pt x="53" y="28"/>
                      <a:pt x="53" y="28"/>
                      <a:pt x="53" y="28"/>
                    </a:cubicBezTo>
                    <a:cubicBezTo>
                      <a:pt x="51" y="27"/>
                      <a:pt x="50" y="24"/>
                      <a:pt x="50" y="21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40" y="17"/>
                      <a:pt x="41" y="20"/>
                      <a:pt x="41" y="22"/>
                    </a:cubicBezTo>
                    <a:cubicBezTo>
                      <a:pt x="41" y="26"/>
                      <a:pt x="39" y="29"/>
                      <a:pt x="36" y="30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6" y="52"/>
                      <a:pt x="27" y="54"/>
                      <a:pt x="28" y="54"/>
                    </a:cubicBezTo>
                    <a:cubicBezTo>
                      <a:pt x="30" y="55"/>
                      <a:pt x="33" y="55"/>
                      <a:pt x="36" y="53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46" y="69"/>
                      <a:pt x="46" y="69"/>
                      <a:pt x="46" y="69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6" y="70"/>
                      <a:pt x="46" y="70"/>
                      <a:pt x="46" y="70"/>
                    </a:cubicBezTo>
                    <a:cubicBezTo>
                      <a:pt x="43" y="102"/>
                      <a:pt x="40" y="120"/>
                      <a:pt x="36" y="125"/>
                    </a:cubicBezTo>
                    <a:cubicBezTo>
                      <a:pt x="35" y="126"/>
                      <a:pt x="34" y="127"/>
                      <a:pt x="31" y="128"/>
                    </a:cubicBezTo>
                    <a:cubicBezTo>
                      <a:pt x="28" y="128"/>
                      <a:pt x="26" y="127"/>
                      <a:pt x="24" y="126"/>
                    </a:cubicBezTo>
                    <a:cubicBezTo>
                      <a:pt x="13" y="146"/>
                      <a:pt x="6" y="157"/>
                      <a:pt x="3" y="159"/>
                    </a:cubicBezTo>
                    <a:cubicBezTo>
                      <a:pt x="4" y="159"/>
                      <a:pt x="4" y="159"/>
                      <a:pt x="4" y="159"/>
                    </a:cubicBezTo>
                    <a:cubicBezTo>
                      <a:pt x="2" y="159"/>
                      <a:pt x="1" y="164"/>
                      <a:pt x="2" y="174"/>
                    </a:cubicBezTo>
                    <a:cubicBezTo>
                      <a:pt x="4" y="176"/>
                      <a:pt x="4" y="176"/>
                      <a:pt x="4" y="176"/>
                    </a:cubicBezTo>
                    <a:cubicBezTo>
                      <a:pt x="5" y="176"/>
                      <a:pt x="5" y="176"/>
                      <a:pt x="5" y="176"/>
                    </a:cubicBezTo>
                    <a:cubicBezTo>
                      <a:pt x="6" y="177"/>
                      <a:pt x="6" y="177"/>
                      <a:pt x="6" y="177"/>
                    </a:cubicBezTo>
                    <a:lnTo>
                      <a:pt x="2" y="1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0" name="ïsļïḍe"/>
              <p:cNvSpPr/>
              <p:nvPr/>
            </p:nvSpPr>
            <p:spPr bwMode="auto">
              <a:xfrm>
                <a:off x="2959" y="2796"/>
                <a:ext cx="455" cy="392"/>
              </a:xfrm>
              <a:custGeom>
                <a:avLst/>
                <a:gdLst>
                  <a:gd name="T0" fmla="*/ 142 w 192"/>
                  <a:gd name="T1" fmla="*/ 7 h 166"/>
                  <a:gd name="T2" fmla="*/ 131 w 192"/>
                  <a:gd name="T3" fmla="*/ 10 h 166"/>
                  <a:gd name="T4" fmla="*/ 129 w 192"/>
                  <a:gd name="T5" fmla="*/ 0 h 166"/>
                  <a:gd name="T6" fmla="*/ 125 w 192"/>
                  <a:gd name="T7" fmla="*/ 10 h 166"/>
                  <a:gd name="T8" fmla="*/ 119 w 192"/>
                  <a:gd name="T9" fmla="*/ 18 h 166"/>
                  <a:gd name="T10" fmla="*/ 108 w 192"/>
                  <a:gd name="T11" fmla="*/ 17 h 166"/>
                  <a:gd name="T12" fmla="*/ 106 w 192"/>
                  <a:gd name="T13" fmla="*/ 25 h 166"/>
                  <a:gd name="T14" fmla="*/ 94 w 192"/>
                  <a:gd name="T15" fmla="*/ 28 h 166"/>
                  <a:gd name="T16" fmla="*/ 90 w 192"/>
                  <a:gd name="T17" fmla="*/ 30 h 166"/>
                  <a:gd name="T18" fmla="*/ 80 w 192"/>
                  <a:gd name="T19" fmla="*/ 26 h 166"/>
                  <a:gd name="T20" fmla="*/ 73 w 192"/>
                  <a:gd name="T21" fmla="*/ 24 h 166"/>
                  <a:gd name="T22" fmla="*/ 84 w 192"/>
                  <a:gd name="T23" fmla="*/ 40 h 166"/>
                  <a:gd name="T24" fmla="*/ 90 w 192"/>
                  <a:gd name="T25" fmla="*/ 46 h 166"/>
                  <a:gd name="T26" fmla="*/ 88 w 192"/>
                  <a:gd name="T27" fmla="*/ 55 h 166"/>
                  <a:gd name="T28" fmla="*/ 69 w 192"/>
                  <a:gd name="T29" fmla="*/ 64 h 166"/>
                  <a:gd name="T30" fmla="*/ 62 w 192"/>
                  <a:gd name="T31" fmla="*/ 65 h 166"/>
                  <a:gd name="T32" fmla="*/ 55 w 192"/>
                  <a:gd name="T33" fmla="*/ 63 h 166"/>
                  <a:gd name="T34" fmla="*/ 47 w 192"/>
                  <a:gd name="T35" fmla="*/ 71 h 166"/>
                  <a:gd name="T36" fmla="*/ 39 w 192"/>
                  <a:gd name="T37" fmla="*/ 74 h 166"/>
                  <a:gd name="T38" fmla="*/ 8 w 192"/>
                  <a:gd name="T39" fmla="*/ 74 h 166"/>
                  <a:gd name="T40" fmla="*/ 4 w 192"/>
                  <a:gd name="T41" fmla="*/ 96 h 166"/>
                  <a:gd name="T42" fmla="*/ 11 w 192"/>
                  <a:gd name="T43" fmla="*/ 100 h 166"/>
                  <a:gd name="T44" fmla="*/ 15 w 192"/>
                  <a:gd name="T45" fmla="*/ 95 h 166"/>
                  <a:gd name="T46" fmla="*/ 28 w 192"/>
                  <a:gd name="T47" fmla="*/ 96 h 166"/>
                  <a:gd name="T48" fmla="*/ 31 w 192"/>
                  <a:gd name="T49" fmla="*/ 118 h 166"/>
                  <a:gd name="T50" fmla="*/ 26 w 192"/>
                  <a:gd name="T51" fmla="*/ 130 h 166"/>
                  <a:gd name="T52" fmla="*/ 38 w 192"/>
                  <a:gd name="T53" fmla="*/ 148 h 166"/>
                  <a:gd name="T54" fmla="*/ 33 w 192"/>
                  <a:gd name="T55" fmla="*/ 166 h 166"/>
                  <a:gd name="T56" fmla="*/ 46 w 192"/>
                  <a:gd name="T57" fmla="*/ 159 h 166"/>
                  <a:gd name="T58" fmla="*/ 55 w 192"/>
                  <a:gd name="T59" fmla="*/ 160 h 166"/>
                  <a:gd name="T60" fmla="*/ 84 w 192"/>
                  <a:gd name="T61" fmla="*/ 160 h 166"/>
                  <a:gd name="T62" fmla="*/ 98 w 192"/>
                  <a:gd name="T63" fmla="*/ 150 h 166"/>
                  <a:gd name="T64" fmla="*/ 114 w 192"/>
                  <a:gd name="T65" fmla="*/ 137 h 166"/>
                  <a:gd name="T66" fmla="*/ 124 w 192"/>
                  <a:gd name="T67" fmla="*/ 141 h 166"/>
                  <a:gd name="T68" fmla="*/ 137 w 192"/>
                  <a:gd name="T69" fmla="*/ 146 h 166"/>
                  <a:gd name="T70" fmla="*/ 146 w 192"/>
                  <a:gd name="T71" fmla="*/ 149 h 166"/>
                  <a:gd name="T72" fmla="*/ 148 w 192"/>
                  <a:gd name="T73" fmla="*/ 144 h 166"/>
                  <a:gd name="T74" fmla="*/ 151 w 192"/>
                  <a:gd name="T75" fmla="*/ 142 h 166"/>
                  <a:gd name="T76" fmla="*/ 157 w 192"/>
                  <a:gd name="T77" fmla="*/ 138 h 166"/>
                  <a:gd name="T78" fmla="*/ 173 w 192"/>
                  <a:gd name="T79" fmla="*/ 126 h 166"/>
                  <a:gd name="T80" fmla="*/ 176 w 192"/>
                  <a:gd name="T81" fmla="*/ 124 h 166"/>
                  <a:gd name="T82" fmla="*/ 183 w 192"/>
                  <a:gd name="T83" fmla="*/ 122 h 166"/>
                  <a:gd name="T84" fmla="*/ 190 w 192"/>
                  <a:gd name="T85" fmla="*/ 118 h 166"/>
                  <a:gd name="T86" fmla="*/ 186 w 192"/>
                  <a:gd name="T87" fmla="*/ 103 h 166"/>
                  <a:gd name="T88" fmla="*/ 188 w 192"/>
                  <a:gd name="T89" fmla="*/ 94 h 166"/>
                  <a:gd name="T90" fmla="*/ 174 w 192"/>
                  <a:gd name="T91" fmla="*/ 83 h 166"/>
                  <a:gd name="T92" fmla="*/ 186 w 192"/>
                  <a:gd name="T93" fmla="*/ 34 h 166"/>
                  <a:gd name="T94" fmla="*/ 178 w 192"/>
                  <a:gd name="T95" fmla="*/ 38 h 166"/>
                  <a:gd name="T96" fmla="*/ 168 w 192"/>
                  <a:gd name="T97" fmla="*/ 38 h 166"/>
                  <a:gd name="T98" fmla="*/ 167 w 192"/>
                  <a:gd name="T99" fmla="*/ 34 h 166"/>
                  <a:gd name="T100" fmla="*/ 166 w 192"/>
                  <a:gd name="T101" fmla="*/ 32 h 166"/>
                  <a:gd name="T102" fmla="*/ 156 w 192"/>
                  <a:gd name="T103" fmla="*/ 2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92" h="166">
                    <a:moveTo>
                      <a:pt x="150" y="3"/>
                    </a:moveTo>
                    <a:cubicBezTo>
                      <a:pt x="148" y="2"/>
                      <a:pt x="148" y="2"/>
                      <a:pt x="148" y="2"/>
                    </a:cubicBezTo>
                    <a:cubicBezTo>
                      <a:pt x="144" y="4"/>
                      <a:pt x="144" y="4"/>
                      <a:pt x="144" y="4"/>
                    </a:cubicBezTo>
                    <a:cubicBezTo>
                      <a:pt x="142" y="7"/>
                      <a:pt x="142" y="7"/>
                      <a:pt x="142" y="7"/>
                    </a:cubicBezTo>
                    <a:cubicBezTo>
                      <a:pt x="141" y="11"/>
                      <a:pt x="139" y="13"/>
                      <a:pt x="136" y="13"/>
                    </a:cubicBezTo>
                    <a:cubicBezTo>
                      <a:pt x="135" y="13"/>
                      <a:pt x="133" y="12"/>
                      <a:pt x="132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0" y="6"/>
                      <a:pt x="130" y="6"/>
                      <a:pt x="130" y="6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5" y="4"/>
                      <a:pt x="125" y="4"/>
                      <a:pt x="125" y="4"/>
                    </a:cubicBezTo>
                    <a:cubicBezTo>
                      <a:pt x="125" y="10"/>
                      <a:pt x="125" y="10"/>
                      <a:pt x="125" y="10"/>
                    </a:cubicBezTo>
                    <a:cubicBezTo>
                      <a:pt x="125" y="10"/>
                      <a:pt x="125" y="10"/>
                      <a:pt x="125" y="10"/>
                    </a:cubicBezTo>
                    <a:cubicBezTo>
                      <a:pt x="124" y="10"/>
                      <a:pt x="124" y="10"/>
                      <a:pt x="124" y="10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9" y="18"/>
                      <a:pt x="119" y="18"/>
                      <a:pt x="119" y="18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08" y="17"/>
                      <a:pt x="108" y="17"/>
                      <a:pt x="108" y="17"/>
                    </a:cubicBezTo>
                    <a:cubicBezTo>
                      <a:pt x="108" y="17"/>
                      <a:pt x="108" y="17"/>
                      <a:pt x="108" y="17"/>
                    </a:cubicBezTo>
                    <a:cubicBezTo>
                      <a:pt x="108" y="17"/>
                      <a:pt x="108" y="17"/>
                      <a:pt x="108" y="17"/>
                    </a:cubicBezTo>
                    <a:cubicBezTo>
                      <a:pt x="108" y="17"/>
                      <a:pt x="108" y="17"/>
                      <a:pt x="108" y="17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04" y="22"/>
                      <a:pt x="104" y="22"/>
                      <a:pt x="104" y="22"/>
                    </a:cubicBezTo>
                    <a:cubicBezTo>
                      <a:pt x="106" y="25"/>
                      <a:pt x="106" y="25"/>
                      <a:pt x="106" y="25"/>
                    </a:cubicBezTo>
                    <a:cubicBezTo>
                      <a:pt x="106" y="25"/>
                      <a:pt x="106" y="25"/>
                      <a:pt x="106" y="25"/>
                    </a:cubicBezTo>
                    <a:cubicBezTo>
                      <a:pt x="103" y="29"/>
                      <a:pt x="103" y="29"/>
                      <a:pt x="103" y="29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28"/>
                      <a:pt x="94" y="28"/>
                      <a:pt x="94" y="28"/>
                    </a:cubicBezTo>
                    <a:cubicBezTo>
                      <a:pt x="94" y="27"/>
                      <a:pt x="94" y="27"/>
                      <a:pt x="94" y="27"/>
                    </a:cubicBezTo>
                    <a:cubicBezTo>
                      <a:pt x="92" y="26"/>
                      <a:pt x="92" y="26"/>
                      <a:pt x="92" y="26"/>
                    </a:cubicBezTo>
                    <a:cubicBezTo>
                      <a:pt x="91" y="29"/>
                      <a:pt x="91" y="29"/>
                      <a:pt x="91" y="29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84" y="30"/>
                      <a:pt x="84" y="30"/>
                      <a:pt x="84" y="30"/>
                    </a:cubicBezTo>
                    <a:cubicBezTo>
                      <a:pt x="84" y="30"/>
                      <a:pt x="84" y="30"/>
                      <a:pt x="84" y="30"/>
                    </a:cubicBezTo>
                    <a:cubicBezTo>
                      <a:pt x="80" y="27"/>
                      <a:pt x="80" y="27"/>
                      <a:pt x="80" y="27"/>
                    </a:cubicBezTo>
                    <a:cubicBezTo>
                      <a:pt x="80" y="26"/>
                      <a:pt x="80" y="26"/>
                      <a:pt x="80" y="26"/>
                    </a:cubicBezTo>
                    <a:cubicBezTo>
                      <a:pt x="80" y="26"/>
                      <a:pt x="80" y="26"/>
                      <a:pt x="80" y="26"/>
                    </a:cubicBezTo>
                    <a:cubicBezTo>
                      <a:pt x="80" y="26"/>
                      <a:pt x="80" y="26"/>
                      <a:pt x="80" y="26"/>
                    </a:cubicBezTo>
                    <a:cubicBezTo>
                      <a:pt x="80" y="25"/>
                      <a:pt x="80" y="25"/>
                      <a:pt x="80" y="25"/>
                    </a:cubicBezTo>
                    <a:cubicBezTo>
                      <a:pt x="73" y="24"/>
                      <a:pt x="73" y="24"/>
                      <a:pt x="73" y="24"/>
                    </a:cubicBezTo>
                    <a:cubicBezTo>
                      <a:pt x="68" y="26"/>
                      <a:pt x="68" y="26"/>
                      <a:pt x="68" y="26"/>
                    </a:cubicBezTo>
                    <a:cubicBezTo>
                      <a:pt x="66" y="28"/>
                      <a:pt x="66" y="28"/>
                      <a:pt x="66" y="28"/>
                    </a:cubicBezTo>
                    <a:cubicBezTo>
                      <a:pt x="74" y="37"/>
                      <a:pt x="74" y="37"/>
                      <a:pt x="74" y="37"/>
                    </a:cubicBez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40"/>
                      <a:pt x="84" y="40"/>
                      <a:pt x="84" y="40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90" y="46"/>
                      <a:pt x="90" y="46"/>
                      <a:pt x="90" y="46"/>
                    </a:cubicBezTo>
                    <a:cubicBezTo>
                      <a:pt x="88" y="54"/>
                      <a:pt x="88" y="54"/>
                      <a:pt x="88" y="54"/>
                    </a:cubicBezTo>
                    <a:cubicBezTo>
                      <a:pt x="88" y="54"/>
                      <a:pt x="88" y="54"/>
                      <a:pt x="88" y="54"/>
                    </a:cubicBezTo>
                    <a:cubicBezTo>
                      <a:pt x="88" y="55"/>
                      <a:pt x="88" y="55"/>
                      <a:pt x="88" y="55"/>
                    </a:cubicBezTo>
                    <a:cubicBezTo>
                      <a:pt x="88" y="55"/>
                      <a:pt x="88" y="55"/>
                      <a:pt x="88" y="55"/>
                    </a:cubicBezTo>
                    <a:cubicBezTo>
                      <a:pt x="81" y="60"/>
                      <a:pt x="81" y="60"/>
                      <a:pt x="81" y="60"/>
                    </a:cubicBezTo>
                    <a:cubicBezTo>
                      <a:pt x="81" y="61"/>
                      <a:pt x="81" y="61"/>
                      <a:pt x="81" y="61"/>
                    </a:cubicBezTo>
                    <a:cubicBezTo>
                      <a:pt x="80" y="61"/>
                      <a:pt x="80" y="61"/>
                      <a:pt x="80" y="61"/>
                    </a:cubicBezTo>
                    <a:cubicBezTo>
                      <a:pt x="69" y="64"/>
                      <a:pt x="69" y="64"/>
                      <a:pt x="69" y="64"/>
                    </a:cubicBezTo>
                    <a:cubicBezTo>
                      <a:pt x="69" y="64"/>
                      <a:pt x="69" y="64"/>
                      <a:pt x="69" y="64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5" y="63"/>
                      <a:pt x="55" y="63"/>
                      <a:pt x="55" y="63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46" y="71"/>
                      <a:pt x="46" y="71"/>
                      <a:pt x="46" y="71"/>
                    </a:cubicBezTo>
                    <a:cubicBezTo>
                      <a:pt x="46" y="71"/>
                      <a:pt x="46" y="71"/>
                      <a:pt x="46" y="71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0" y="71"/>
                      <a:pt x="30" y="71"/>
                      <a:pt x="30" y="71"/>
                    </a:cubicBezTo>
                    <a:cubicBezTo>
                      <a:pt x="12" y="72"/>
                      <a:pt x="12" y="72"/>
                      <a:pt x="12" y="72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4" y="74"/>
                      <a:pt x="4" y="74"/>
                      <a:pt x="4" y="74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9" y="98"/>
                      <a:pt x="9" y="98"/>
                      <a:pt x="9" y="98"/>
                    </a:cubicBezTo>
                    <a:cubicBezTo>
                      <a:pt x="9" y="98"/>
                      <a:pt x="9" y="98"/>
                      <a:pt x="9" y="98"/>
                    </a:cubicBezTo>
                    <a:cubicBezTo>
                      <a:pt x="9" y="98"/>
                      <a:pt x="9" y="98"/>
                      <a:pt x="9" y="98"/>
                    </a:cubicBezTo>
                    <a:cubicBezTo>
                      <a:pt x="11" y="100"/>
                      <a:pt x="11" y="100"/>
                      <a:pt x="11" y="100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21" y="94"/>
                      <a:pt x="21" y="94"/>
                      <a:pt x="21" y="94"/>
                    </a:cubicBezTo>
                    <a:cubicBezTo>
                      <a:pt x="22" y="94"/>
                      <a:pt x="22" y="94"/>
                      <a:pt x="22" y="94"/>
                    </a:cubicBezTo>
                    <a:cubicBezTo>
                      <a:pt x="22" y="94"/>
                      <a:pt x="22" y="94"/>
                      <a:pt x="22" y="94"/>
                    </a:cubicBezTo>
                    <a:cubicBezTo>
                      <a:pt x="28" y="96"/>
                      <a:pt x="28" y="96"/>
                      <a:pt x="28" y="96"/>
                    </a:cubicBezTo>
                    <a:cubicBezTo>
                      <a:pt x="34" y="110"/>
                      <a:pt x="34" y="110"/>
                      <a:pt x="34" y="110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3" y="110"/>
                      <a:pt x="33" y="110"/>
                      <a:pt x="33" y="110"/>
                    </a:cubicBezTo>
                    <a:cubicBezTo>
                      <a:pt x="31" y="118"/>
                      <a:pt x="31" y="118"/>
                      <a:pt x="31" y="118"/>
                    </a:cubicBezTo>
                    <a:cubicBezTo>
                      <a:pt x="31" y="118"/>
                      <a:pt x="31" y="118"/>
                      <a:pt x="31" y="118"/>
                    </a:cubicBezTo>
                    <a:cubicBezTo>
                      <a:pt x="29" y="122"/>
                      <a:pt x="29" y="122"/>
                      <a:pt x="29" y="122"/>
                    </a:cubicBezTo>
                    <a:cubicBezTo>
                      <a:pt x="29" y="123"/>
                      <a:pt x="29" y="123"/>
                      <a:pt x="29" y="123"/>
                    </a:cubicBezTo>
                    <a:cubicBezTo>
                      <a:pt x="26" y="130"/>
                      <a:pt x="26" y="130"/>
                      <a:pt x="26" y="130"/>
                    </a:cubicBezTo>
                    <a:cubicBezTo>
                      <a:pt x="26" y="138"/>
                      <a:pt x="26" y="138"/>
                      <a:pt x="26" y="138"/>
                    </a:cubicBezTo>
                    <a:cubicBezTo>
                      <a:pt x="31" y="143"/>
                      <a:pt x="31" y="143"/>
                      <a:pt x="31" y="143"/>
                    </a:cubicBezTo>
                    <a:cubicBezTo>
                      <a:pt x="31" y="143"/>
                      <a:pt x="31" y="143"/>
                      <a:pt x="31" y="143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8" y="149"/>
                      <a:pt x="38" y="149"/>
                      <a:pt x="38" y="149"/>
                    </a:cubicBezTo>
                    <a:cubicBezTo>
                      <a:pt x="39" y="149"/>
                      <a:pt x="39" y="149"/>
                      <a:pt x="39" y="149"/>
                    </a:cubicBezTo>
                    <a:cubicBezTo>
                      <a:pt x="34" y="160"/>
                      <a:pt x="34" y="160"/>
                      <a:pt x="34" y="160"/>
                    </a:cubicBezTo>
                    <a:cubicBezTo>
                      <a:pt x="33" y="166"/>
                      <a:pt x="33" y="166"/>
                      <a:pt x="33" y="166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35" y="165"/>
                      <a:pt x="35" y="165"/>
                      <a:pt x="35" y="165"/>
                    </a:cubicBezTo>
                    <a:cubicBezTo>
                      <a:pt x="39" y="163"/>
                      <a:pt x="39" y="163"/>
                      <a:pt x="39" y="163"/>
                    </a:cubicBezTo>
                    <a:cubicBezTo>
                      <a:pt x="46" y="159"/>
                      <a:pt x="46" y="159"/>
                      <a:pt x="46" y="159"/>
                    </a:cubicBezTo>
                    <a:cubicBezTo>
                      <a:pt x="46" y="159"/>
                      <a:pt x="46" y="159"/>
                      <a:pt x="46" y="159"/>
                    </a:cubicBezTo>
                    <a:cubicBezTo>
                      <a:pt x="54" y="160"/>
                      <a:pt x="54" y="160"/>
                      <a:pt x="54" y="160"/>
                    </a:cubicBezTo>
                    <a:cubicBezTo>
                      <a:pt x="55" y="160"/>
                      <a:pt x="55" y="160"/>
                      <a:pt x="55" y="160"/>
                    </a:cubicBezTo>
                    <a:cubicBezTo>
                      <a:pt x="55" y="160"/>
                      <a:pt x="55" y="160"/>
                      <a:pt x="55" y="160"/>
                    </a:cubicBezTo>
                    <a:cubicBezTo>
                      <a:pt x="67" y="165"/>
                      <a:pt x="67" y="165"/>
                      <a:pt x="67" y="165"/>
                    </a:cubicBezTo>
                    <a:cubicBezTo>
                      <a:pt x="80" y="165"/>
                      <a:pt x="80" y="165"/>
                      <a:pt x="80" y="165"/>
                    </a:cubicBezTo>
                    <a:cubicBezTo>
                      <a:pt x="84" y="160"/>
                      <a:pt x="84" y="160"/>
                      <a:pt x="84" y="160"/>
                    </a:cubicBezTo>
                    <a:cubicBezTo>
                      <a:pt x="84" y="160"/>
                      <a:pt x="84" y="160"/>
                      <a:pt x="84" y="160"/>
                    </a:cubicBezTo>
                    <a:cubicBezTo>
                      <a:pt x="84" y="160"/>
                      <a:pt x="84" y="160"/>
                      <a:pt x="84" y="160"/>
                    </a:cubicBezTo>
                    <a:cubicBezTo>
                      <a:pt x="91" y="156"/>
                      <a:pt x="91" y="156"/>
                      <a:pt x="91" y="156"/>
                    </a:cubicBezTo>
                    <a:cubicBezTo>
                      <a:pt x="98" y="151"/>
                      <a:pt x="98" y="151"/>
                      <a:pt x="98" y="151"/>
                    </a:cubicBezTo>
                    <a:cubicBezTo>
                      <a:pt x="98" y="150"/>
                      <a:pt x="98" y="150"/>
                      <a:pt x="98" y="150"/>
                    </a:cubicBezTo>
                    <a:cubicBezTo>
                      <a:pt x="98" y="150"/>
                      <a:pt x="98" y="150"/>
                      <a:pt x="98" y="150"/>
                    </a:cubicBezTo>
                    <a:cubicBezTo>
                      <a:pt x="103" y="149"/>
                      <a:pt x="103" y="149"/>
                      <a:pt x="103" y="149"/>
                    </a:cubicBezTo>
                    <a:cubicBezTo>
                      <a:pt x="108" y="145"/>
                      <a:pt x="108" y="145"/>
                      <a:pt x="108" y="145"/>
                    </a:cubicBezTo>
                    <a:cubicBezTo>
                      <a:pt x="114" y="137"/>
                      <a:pt x="114" y="137"/>
                      <a:pt x="114" y="137"/>
                    </a:cubicBezTo>
                    <a:cubicBezTo>
                      <a:pt x="123" y="140"/>
                      <a:pt x="123" y="140"/>
                      <a:pt x="123" y="140"/>
                    </a:cubicBezTo>
                    <a:cubicBezTo>
                      <a:pt x="124" y="140"/>
                      <a:pt x="124" y="140"/>
                      <a:pt x="124" y="140"/>
                    </a:cubicBezTo>
                    <a:cubicBezTo>
                      <a:pt x="124" y="141"/>
                      <a:pt x="124" y="141"/>
                      <a:pt x="124" y="141"/>
                    </a:cubicBezTo>
                    <a:cubicBezTo>
                      <a:pt x="124" y="141"/>
                      <a:pt x="124" y="141"/>
                      <a:pt x="124" y="141"/>
                    </a:cubicBezTo>
                    <a:cubicBezTo>
                      <a:pt x="126" y="144"/>
                      <a:pt x="127" y="146"/>
                      <a:pt x="128" y="146"/>
                    </a:cubicBezTo>
                    <a:cubicBezTo>
                      <a:pt x="133" y="146"/>
                      <a:pt x="133" y="146"/>
                      <a:pt x="133" y="146"/>
                    </a:cubicBezTo>
                    <a:cubicBezTo>
                      <a:pt x="134" y="146"/>
                      <a:pt x="134" y="146"/>
                      <a:pt x="134" y="146"/>
                    </a:cubicBezTo>
                    <a:cubicBezTo>
                      <a:pt x="137" y="146"/>
                      <a:pt x="137" y="146"/>
                      <a:pt x="137" y="146"/>
                    </a:cubicBezTo>
                    <a:cubicBezTo>
                      <a:pt x="138" y="146"/>
                      <a:pt x="138" y="146"/>
                      <a:pt x="138" y="146"/>
                    </a:cubicBezTo>
                    <a:cubicBezTo>
                      <a:pt x="138" y="147"/>
                      <a:pt x="138" y="147"/>
                      <a:pt x="138" y="147"/>
                    </a:cubicBezTo>
                    <a:cubicBezTo>
                      <a:pt x="144" y="149"/>
                      <a:pt x="144" y="149"/>
                      <a:pt x="144" y="149"/>
                    </a:cubicBezTo>
                    <a:cubicBezTo>
                      <a:pt x="146" y="149"/>
                      <a:pt x="146" y="149"/>
                      <a:pt x="146" y="149"/>
                    </a:cubicBezTo>
                    <a:cubicBezTo>
                      <a:pt x="147" y="148"/>
                      <a:pt x="147" y="148"/>
                      <a:pt x="147" y="148"/>
                    </a:cubicBezTo>
                    <a:cubicBezTo>
                      <a:pt x="148" y="145"/>
                      <a:pt x="148" y="145"/>
                      <a:pt x="148" y="145"/>
                    </a:cubicBezTo>
                    <a:cubicBezTo>
                      <a:pt x="148" y="145"/>
                      <a:pt x="148" y="145"/>
                      <a:pt x="148" y="145"/>
                    </a:cubicBezTo>
                    <a:cubicBezTo>
                      <a:pt x="148" y="144"/>
                      <a:pt x="148" y="144"/>
                      <a:pt x="148" y="144"/>
                    </a:cubicBezTo>
                    <a:cubicBezTo>
                      <a:pt x="148" y="144"/>
                      <a:pt x="148" y="144"/>
                      <a:pt x="148" y="144"/>
                    </a:cubicBezTo>
                    <a:cubicBezTo>
                      <a:pt x="148" y="144"/>
                      <a:pt x="148" y="144"/>
                      <a:pt x="148" y="144"/>
                    </a:cubicBezTo>
                    <a:cubicBezTo>
                      <a:pt x="151" y="142"/>
                      <a:pt x="151" y="142"/>
                      <a:pt x="151" y="142"/>
                    </a:cubicBezTo>
                    <a:cubicBezTo>
                      <a:pt x="151" y="142"/>
                      <a:pt x="151" y="142"/>
                      <a:pt x="151" y="142"/>
                    </a:cubicBezTo>
                    <a:cubicBezTo>
                      <a:pt x="156" y="138"/>
                      <a:pt x="156" y="138"/>
                      <a:pt x="156" y="138"/>
                    </a:cubicBezTo>
                    <a:cubicBezTo>
                      <a:pt x="156" y="138"/>
                      <a:pt x="156" y="138"/>
                      <a:pt x="156" y="138"/>
                    </a:cubicBezTo>
                    <a:cubicBezTo>
                      <a:pt x="156" y="138"/>
                      <a:pt x="156" y="138"/>
                      <a:pt x="156" y="138"/>
                    </a:cubicBezTo>
                    <a:cubicBezTo>
                      <a:pt x="157" y="138"/>
                      <a:pt x="157" y="138"/>
                      <a:pt x="157" y="138"/>
                    </a:cubicBezTo>
                    <a:cubicBezTo>
                      <a:pt x="161" y="138"/>
                      <a:pt x="161" y="138"/>
                      <a:pt x="161" y="138"/>
                    </a:cubicBezTo>
                    <a:cubicBezTo>
                      <a:pt x="161" y="136"/>
                      <a:pt x="162" y="133"/>
                      <a:pt x="165" y="131"/>
                    </a:cubicBezTo>
                    <a:cubicBezTo>
                      <a:pt x="168" y="129"/>
                      <a:pt x="170" y="128"/>
                      <a:pt x="171" y="128"/>
                    </a:cubicBezTo>
                    <a:cubicBezTo>
                      <a:pt x="173" y="126"/>
                      <a:pt x="173" y="126"/>
                      <a:pt x="173" y="126"/>
                    </a:cubicBezTo>
                    <a:cubicBezTo>
                      <a:pt x="174" y="126"/>
                      <a:pt x="174" y="126"/>
                      <a:pt x="174" y="126"/>
                    </a:cubicBezTo>
                    <a:cubicBezTo>
                      <a:pt x="174" y="126"/>
                      <a:pt x="174" y="126"/>
                      <a:pt x="174" y="126"/>
                    </a:cubicBezTo>
                    <a:cubicBezTo>
                      <a:pt x="176" y="124"/>
                      <a:pt x="176" y="124"/>
                      <a:pt x="176" y="124"/>
                    </a:cubicBezTo>
                    <a:cubicBezTo>
                      <a:pt x="176" y="124"/>
                      <a:pt x="176" y="124"/>
                      <a:pt x="176" y="124"/>
                    </a:cubicBezTo>
                    <a:cubicBezTo>
                      <a:pt x="176" y="124"/>
                      <a:pt x="176" y="124"/>
                      <a:pt x="176" y="124"/>
                    </a:cubicBezTo>
                    <a:cubicBezTo>
                      <a:pt x="176" y="123"/>
                      <a:pt x="176" y="123"/>
                      <a:pt x="176" y="123"/>
                    </a:cubicBezTo>
                    <a:cubicBezTo>
                      <a:pt x="177" y="123"/>
                      <a:pt x="177" y="123"/>
                      <a:pt x="177" y="123"/>
                    </a:cubicBezTo>
                    <a:cubicBezTo>
                      <a:pt x="183" y="122"/>
                      <a:pt x="183" y="122"/>
                      <a:pt x="183" y="122"/>
                    </a:cubicBezTo>
                    <a:cubicBezTo>
                      <a:pt x="187" y="122"/>
                      <a:pt x="187" y="122"/>
                      <a:pt x="187" y="122"/>
                    </a:cubicBezTo>
                    <a:cubicBezTo>
                      <a:pt x="188" y="120"/>
                      <a:pt x="188" y="120"/>
                      <a:pt x="188" y="120"/>
                    </a:cubicBezTo>
                    <a:cubicBezTo>
                      <a:pt x="190" y="118"/>
                      <a:pt x="190" y="118"/>
                      <a:pt x="190" y="118"/>
                    </a:cubicBezTo>
                    <a:cubicBezTo>
                      <a:pt x="190" y="118"/>
                      <a:pt x="190" y="118"/>
                      <a:pt x="190" y="118"/>
                    </a:cubicBezTo>
                    <a:cubicBezTo>
                      <a:pt x="192" y="114"/>
                      <a:pt x="192" y="114"/>
                      <a:pt x="192" y="114"/>
                    </a:cubicBezTo>
                    <a:cubicBezTo>
                      <a:pt x="191" y="114"/>
                      <a:pt x="191" y="114"/>
                      <a:pt x="191" y="114"/>
                    </a:cubicBezTo>
                    <a:cubicBezTo>
                      <a:pt x="188" y="111"/>
                      <a:pt x="187" y="108"/>
                      <a:pt x="186" y="103"/>
                    </a:cubicBezTo>
                    <a:cubicBezTo>
                      <a:pt x="186" y="103"/>
                      <a:pt x="186" y="103"/>
                      <a:pt x="186" y="103"/>
                    </a:cubicBezTo>
                    <a:cubicBezTo>
                      <a:pt x="186" y="103"/>
                      <a:pt x="186" y="103"/>
                      <a:pt x="186" y="103"/>
                    </a:cubicBezTo>
                    <a:cubicBezTo>
                      <a:pt x="186" y="103"/>
                      <a:pt x="186" y="103"/>
                      <a:pt x="186" y="103"/>
                    </a:cubicBezTo>
                    <a:cubicBezTo>
                      <a:pt x="186" y="102"/>
                      <a:pt x="186" y="102"/>
                      <a:pt x="186" y="102"/>
                    </a:cubicBezTo>
                    <a:cubicBezTo>
                      <a:pt x="188" y="94"/>
                      <a:pt x="188" y="94"/>
                      <a:pt x="188" y="94"/>
                    </a:cubicBezTo>
                    <a:cubicBezTo>
                      <a:pt x="188" y="91"/>
                      <a:pt x="188" y="89"/>
                      <a:pt x="190" y="87"/>
                    </a:cubicBezTo>
                    <a:cubicBezTo>
                      <a:pt x="190" y="80"/>
                      <a:pt x="190" y="80"/>
                      <a:pt x="190" y="80"/>
                    </a:cubicBezTo>
                    <a:cubicBezTo>
                      <a:pt x="189" y="79"/>
                      <a:pt x="188" y="78"/>
                      <a:pt x="186" y="78"/>
                    </a:cubicBezTo>
                    <a:cubicBezTo>
                      <a:pt x="174" y="83"/>
                      <a:pt x="174" y="83"/>
                      <a:pt x="174" y="83"/>
                    </a:cubicBezTo>
                    <a:cubicBezTo>
                      <a:pt x="174" y="70"/>
                      <a:pt x="174" y="70"/>
                      <a:pt x="174" y="70"/>
                    </a:cubicBezTo>
                    <a:cubicBezTo>
                      <a:pt x="175" y="68"/>
                      <a:pt x="179" y="64"/>
                      <a:pt x="186" y="60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82" y="41"/>
                      <a:pt x="183" y="37"/>
                      <a:pt x="186" y="34"/>
                    </a:cubicBezTo>
                    <a:cubicBezTo>
                      <a:pt x="186" y="32"/>
                      <a:pt x="186" y="32"/>
                      <a:pt x="186" y="32"/>
                    </a:cubicBezTo>
                    <a:cubicBezTo>
                      <a:pt x="182" y="32"/>
                      <a:pt x="182" y="32"/>
                      <a:pt x="182" y="32"/>
                    </a:cubicBezTo>
                    <a:cubicBezTo>
                      <a:pt x="180" y="32"/>
                      <a:pt x="180" y="32"/>
                      <a:pt x="180" y="32"/>
                    </a:cubicBezTo>
                    <a:cubicBezTo>
                      <a:pt x="178" y="38"/>
                      <a:pt x="178" y="38"/>
                      <a:pt x="178" y="38"/>
                    </a:cubicBezTo>
                    <a:cubicBezTo>
                      <a:pt x="177" y="40"/>
                      <a:pt x="175" y="41"/>
                      <a:pt x="174" y="41"/>
                    </a:cubicBezTo>
                    <a:cubicBezTo>
                      <a:pt x="173" y="41"/>
                      <a:pt x="173" y="41"/>
                      <a:pt x="173" y="41"/>
                    </a:cubicBezTo>
                    <a:cubicBezTo>
                      <a:pt x="169" y="38"/>
                      <a:pt x="169" y="38"/>
                      <a:pt x="169" y="38"/>
                    </a:cubicBezTo>
                    <a:cubicBezTo>
                      <a:pt x="168" y="38"/>
                      <a:pt x="168" y="38"/>
                      <a:pt x="168" y="38"/>
                    </a:cubicBezTo>
                    <a:cubicBezTo>
                      <a:pt x="168" y="38"/>
                      <a:pt x="168" y="38"/>
                      <a:pt x="168" y="38"/>
                    </a:cubicBezTo>
                    <a:cubicBezTo>
                      <a:pt x="168" y="38"/>
                      <a:pt x="168" y="38"/>
                      <a:pt x="168" y="38"/>
                    </a:cubicBezTo>
                    <a:cubicBezTo>
                      <a:pt x="168" y="37"/>
                      <a:pt x="168" y="37"/>
                      <a:pt x="168" y="37"/>
                    </a:cubicBezTo>
                    <a:cubicBezTo>
                      <a:pt x="167" y="34"/>
                      <a:pt x="167" y="34"/>
                      <a:pt x="167" y="34"/>
                    </a:cubicBezTo>
                    <a:cubicBezTo>
                      <a:pt x="166" y="30"/>
                      <a:pt x="166" y="30"/>
                      <a:pt x="166" y="30"/>
                    </a:cubicBezTo>
                    <a:cubicBezTo>
                      <a:pt x="166" y="30"/>
                      <a:pt x="166" y="30"/>
                      <a:pt x="166" y="30"/>
                    </a:cubicBezTo>
                    <a:cubicBezTo>
                      <a:pt x="166" y="30"/>
                      <a:pt x="166" y="30"/>
                      <a:pt x="166" y="30"/>
                    </a:cubicBezTo>
                    <a:cubicBezTo>
                      <a:pt x="166" y="32"/>
                      <a:pt x="166" y="32"/>
                      <a:pt x="166" y="32"/>
                    </a:cubicBezTo>
                    <a:cubicBezTo>
                      <a:pt x="158" y="32"/>
                      <a:pt x="158" y="32"/>
                      <a:pt x="158" y="32"/>
                    </a:cubicBezTo>
                    <a:cubicBezTo>
                      <a:pt x="158" y="30"/>
                      <a:pt x="158" y="30"/>
                      <a:pt x="158" y="30"/>
                    </a:cubicBezTo>
                    <a:cubicBezTo>
                      <a:pt x="156" y="26"/>
                      <a:pt x="156" y="26"/>
                      <a:pt x="156" y="26"/>
                    </a:cubicBezTo>
                    <a:cubicBezTo>
                      <a:pt x="156" y="20"/>
                      <a:pt x="156" y="20"/>
                      <a:pt x="156" y="20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6"/>
                      <a:pt x="152" y="6"/>
                      <a:pt x="152" y="6"/>
                    </a:cubicBezTo>
                    <a:lnTo>
                      <a:pt x="15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1" name="işlïḓe"/>
              <p:cNvSpPr/>
              <p:nvPr/>
            </p:nvSpPr>
            <p:spPr bwMode="auto">
              <a:xfrm>
                <a:off x="3033" y="3037"/>
                <a:ext cx="594" cy="452"/>
              </a:xfrm>
              <a:custGeom>
                <a:avLst/>
                <a:gdLst>
                  <a:gd name="T0" fmla="*/ 202 w 251"/>
                  <a:gd name="T1" fmla="*/ 6 h 191"/>
                  <a:gd name="T2" fmla="*/ 188 w 251"/>
                  <a:gd name="T3" fmla="*/ 18 h 191"/>
                  <a:gd name="T4" fmla="*/ 172 w 251"/>
                  <a:gd name="T5" fmla="*/ 22 h 191"/>
                  <a:gd name="T6" fmla="*/ 161 w 251"/>
                  <a:gd name="T7" fmla="*/ 21 h 191"/>
                  <a:gd name="T8" fmla="*/ 161 w 251"/>
                  <a:gd name="T9" fmla="*/ 21 h 191"/>
                  <a:gd name="T10" fmla="*/ 147 w 251"/>
                  <a:gd name="T11" fmla="*/ 26 h 191"/>
                  <a:gd name="T12" fmla="*/ 137 w 251"/>
                  <a:gd name="T13" fmla="*/ 32 h 191"/>
                  <a:gd name="T14" fmla="*/ 127 w 251"/>
                  <a:gd name="T15" fmla="*/ 40 h 191"/>
                  <a:gd name="T16" fmla="*/ 120 w 251"/>
                  <a:gd name="T17" fmla="*/ 47 h 191"/>
                  <a:gd name="T18" fmla="*/ 118 w 251"/>
                  <a:gd name="T19" fmla="*/ 51 h 191"/>
                  <a:gd name="T20" fmla="*/ 103 w 251"/>
                  <a:gd name="T21" fmla="*/ 48 h 191"/>
                  <a:gd name="T22" fmla="*/ 85 w 251"/>
                  <a:gd name="T23" fmla="*/ 40 h 191"/>
                  <a:gd name="T24" fmla="*/ 80 w 251"/>
                  <a:gd name="T25" fmla="*/ 46 h 191"/>
                  <a:gd name="T26" fmla="*/ 74 w 251"/>
                  <a:gd name="T27" fmla="*/ 51 h 191"/>
                  <a:gd name="T28" fmla="*/ 63 w 251"/>
                  <a:gd name="T29" fmla="*/ 58 h 191"/>
                  <a:gd name="T30" fmla="*/ 51 w 251"/>
                  <a:gd name="T31" fmla="*/ 67 h 191"/>
                  <a:gd name="T32" fmla="*/ 23 w 251"/>
                  <a:gd name="T33" fmla="*/ 62 h 191"/>
                  <a:gd name="T34" fmla="*/ 9 w 251"/>
                  <a:gd name="T35" fmla="*/ 65 h 191"/>
                  <a:gd name="T36" fmla="*/ 1 w 251"/>
                  <a:gd name="T37" fmla="*/ 69 h 191"/>
                  <a:gd name="T38" fmla="*/ 2 w 251"/>
                  <a:gd name="T39" fmla="*/ 79 h 191"/>
                  <a:gd name="T40" fmla="*/ 21 w 251"/>
                  <a:gd name="T41" fmla="*/ 79 h 191"/>
                  <a:gd name="T42" fmla="*/ 23 w 251"/>
                  <a:gd name="T43" fmla="*/ 94 h 191"/>
                  <a:gd name="T44" fmla="*/ 38 w 251"/>
                  <a:gd name="T45" fmla="*/ 92 h 191"/>
                  <a:gd name="T46" fmla="*/ 50 w 251"/>
                  <a:gd name="T47" fmla="*/ 89 h 191"/>
                  <a:gd name="T48" fmla="*/ 53 w 251"/>
                  <a:gd name="T49" fmla="*/ 108 h 191"/>
                  <a:gd name="T50" fmla="*/ 46 w 251"/>
                  <a:gd name="T51" fmla="*/ 116 h 191"/>
                  <a:gd name="T52" fmla="*/ 35 w 251"/>
                  <a:gd name="T53" fmla="*/ 124 h 191"/>
                  <a:gd name="T54" fmla="*/ 53 w 251"/>
                  <a:gd name="T55" fmla="*/ 128 h 191"/>
                  <a:gd name="T56" fmla="*/ 61 w 251"/>
                  <a:gd name="T57" fmla="*/ 133 h 191"/>
                  <a:gd name="T58" fmla="*/ 77 w 251"/>
                  <a:gd name="T59" fmla="*/ 142 h 191"/>
                  <a:gd name="T60" fmla="*/ 70 w 251"/>
                  <a:gd name="T61" fmla="*/ 150 h 191"/>
                  <a:gd name="T62" fmla="*/ 97 w 251"/>
                  <a:gd name="T63" fmla="*/ 178 h 191"/>
                  <a:gd name="T64" fmla="*/ 107 w 251"/>
                  <a:gd name="T65" fmla="*/ 174 h 191"/>
                  <a:gd name="T66" fmla="*/ 123 w 251"/>
                  <a:gd name="T67" fmla="*/ 184 h 191"/>
                  <a:gd name="T68" fmla="*/ 127 w 251"/>
                  <a:gd name="T69" fmla="*/ 179 h 191"/>
                  <a:gd name="T70" fmla="*/ 135 w 251"/>
                  <a:gd name="T71" fmla="*/ 180 h 191"/>
                  <a:gd name="T72" fmla="*/ 155 w 251"/>
                  <a:gd name="T73" fmla="*/ 185 h 191"/>
                  <a:gd name="T74" fmla="*/ 157 w 251"/>
                  <a:gd name="T75" fmla="*/ 186 h 191"/>
                  <a:gd name="T76" fmla="*/ 173 w 251"/>
                  <a:gd name="T77" fmla="*/ 173 h 191"/>
                  <a:gd name="T78" fmla="*/ 179 w 251"/>
                  <a:gd name="T79" fmla="*/ 178 h 191"/>
                  <a:gd name="T80" fmla="*/ 183 w 251"/>
                  <a:gd name="T81" fmla="*/ 170 h 191"/>
                  <a:gd name="T82" fmla="*/ 198 w 251"/>
                  <a:gd name="T83" fmla="*/ 152 h 191"/>
                  <a:gd name="T84" fmla="*/ 207 w 251"/>
                  <a:gd name="T85" fmla="*/ 154 h 191"/>
                  <a:gd name="T86" fmla="*/ 205 w 251"/>
                  <a:gd name="T87" fmla="*/ 143 h 191"/>
                  <a:gd name="T88" fmla="*/ 207 w 251"/>
                  <a:gd name="T89" fmla="*/ 137 h 191"/>
                  <a:gd name="T90" fmla="*/ 229 w 251"/>
                  <a:gd name="T91" fmla="*/ 126 h 191"/>
                  <a:gd name="T92" fmla="*/ 228 w 251"/>
                  <a:gd name="T93" fmla="*/ 114 h 191"/>
                  <a:gd name="T94" fmla="*/ 233 w 251"/>
                  <a:gd name="T95" fmla="*/ 105 h 191"/>
                  <a:gd name="T96" fmla="*/ 239 w 251"/>
                  <a:gd name="T97" fmla="*/ 90 h 191"/>
                  <a:gd name="T98" fmla="*/ 248 w 251"/>
                  <a:gd name="T99" fmla="*/ 78 h 191"/>
                  <a:gd name="T100" fmla="*/ 248 w 251"/>
                  <a:gd name="T101" fmla="*/ 67 h 191"/>
                  <a:gd name="T102" fmla="*/ 248 w 251"/>
                  <a:gd name="T103" fmla="*/ 60 h 191"/>
                  <a:gd name="T104" fmla="*/ 227 w 251"/>
                  <a:gd name="T105" fmla="*/ 61 h 191"/>
                  <a:gd name="T106" fmla="*/ 221 w 251"/>
                  <a:gd name="T107" fmla="*/ 51 h 191"/>
                  <a:gd name="T108" fmla="*/ 211 w 251"/>
                  <a:gd name="T109" fmla="*/ 50 h 191"/>
                  <a:gd name="T110" fmla="*/ 222 w 251"/>
                  <a:gd name="T111" fmla="*/ 29 h 191"/>
                  <a:gd name="T112" fmla="*/ 221 w 251"/>
                  <a:gd name="T113" fmla="*/ 14 h 191"/>
                  <a:gd name="T114" fmla="*/ 217 w 251"/>
                  <a:gd name="T115" fmla="*/ 0 h 191"/>
                  <a:gd name="T116" fmla="*/ 208 w 251"/>
                  <a:gd name="T117" fmla="*/ 4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1" h="191">
                    <a:moveTo>
                      <a:pt x="201" y="4"/>
                    </a:moveTo>
                    <a:cubicBezTo>
                      <a:pt x="201" y="5"/>
                      <a:pt x="201" y="5"/>
                      <a:pt x="201" y="5"/>
                    </a:cubicBezTo>
                    <a:cubicBezTo>
                      <a:pt x="202" y="6"/>
                      <a:pt x="202" y="6"/>
                      <a:pt x="202" y="6"/>
                    </a:cubicBezTo>
                    <a:cubicBezTo>
                      <a:pt x="197" y="14"/>
                      <a:pt x="197" y="14"/>
                      <a:pt x="197" y="14"/>
                    </a:cubicBezTo>
                    <a:cubicBezTo>
                      <a:pt x="195" y="16"/>
                      <a:pt x="192" y="18"/>
                      <a:pt x="189" y="18"/>
                    </a:cubicBezTo>
                    <a:cubicBezTo>
                      <a:pt x="188" y="18"/>
                      <a:pt x="188" y="18"/>
                      <a:pt x="188" y="18"/>
                    </a:cubicBezTo>
                    <a:cubicBezTo>
                      <a:pt x="184" y="15"/>
                      <a:pt x="184" y="15"/>
                      <a:pt x="184" y="15"/>
                    </a:cubicBezTo>
                    <a:cubicBezTo>
                      <a:pt x="180" y="16"/>
                      <a:pt x="180" y="16"/>
                      <a:pt x="180" y="16"/>
                    </a:cubicBezTo>
                    <a:cubicBezTo>
                      <a:pt x="172" y="22"/>
                      <a:pt x="172" y="22"/>
                      <a:pt x="172" y="22"/>
                    </a:cubicBezTo>
                    <a:cubicBezTo>
                      <a:pt x="170" y="22"/>
                      <a:pt x="167" y="20"/>
                      <a:pt x="164" y="16"/>
                    </a:cubicBezTo>
                    <a:cubicBezTo>
                      <a:pt x="161" y="21"/>
                      <a:pt x="161" y="21"/>
                      <a:pt x="161" y="21"/>
                    </a:cubicBezTo>
                    <a:cubicBezTo>
                      <a:pt x="161" y="21"/>
                      <a:pt x="161" y="21"/>
                      <a:pt x="161" y="21"/>
                    </a:cubicBezTo>
                    <a:cubicBezTo>
                      <a:pt x="161" y="21"/>
                      <a:pt x="161" y="21"/>
                      <a:pt x="161" y="21"/>
                    </a:cubicBezTo>
                    <a:cubicBezTo>
                      <a:pt x="161" y="21"/>
                      <a:pt x="161" y="21"/>
                      <a:pt x="161" y="21"/>
                    </a:cubicBezTo>
                    <a:cubicBezTo>
                      <a:pt x="161" y="21"/>
                      <a:pt x="161" y="21"/>
                      <a:pt x="161" y="21"/>
                    </a:cubicBezTo>
                    <a:cubicBezTo>
                      <a:pt x="158" y="24"/>
                      <a:pt x="158" y="24"/>
                      <a:pt x="158" y="24"/>
                    </a:cubicBezTo>
                    <a:cubicBezTo>
                      <a:pt x="153" y="24"/>
                      <a:pt x="153" y="24"/>
                      <a:pt x="153" y="24"/>
                    </a:cubicBezTo>
                    <a:cubicBezTo>
                      <a:pt x="147" y="26"/>
                      <a:pt x="147" y="26"/>
                      <a:pt x="147" y="26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9" y="30"/>
                      <a:pt x="139" y="30"/>
                      <a:pt x="139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5" y="34"/>
                      <a:pt x="134" y="36"/>
                      <a:pt x="135" y="37"/>
                    </a:cubicBezTo>
                    <a:cubicBezTo>
                      <a:pt x="138" y="41"/>
                      <a:pt x="138" y="41"/>
                      <a:pt x="138" y="41"/>
                    </a:cubicBezTo>
                    <a:cubicBezTo>
                      <a:pt x="127" y="40"/>
                      <a:pt x="127" y="40"/>
                      <a:pt x="127" y="40"/>
                    </a:cubicBezTo>
                    <a:cubicBezTo>
                      <a:pt x="121" y="45"/>
                      <a:pt x="121" y="45"/>
                      <a:pt x="121" y="45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19" y="50"/>
                      <a:pt x="119" y="50"/>
                      <a:pt x="119" y="50"/>
                    </a:cubicBezTo>
                    <a:cubicBezTo>
                      <a:pt x="118" y="51"/>
                      <a:pt x="118" y="51"/>
                      <a:pt x="118" y="51"/>
                    </a:cubicBezTo>
                    <a:cubicBezTo>
                      <a:pt x="118" y="51"/>
                      <a:pt x="118" y="51"/>
                      <a:pt x="118" y="51"/>
                    </a:cubicBezTo>
                    <a:cubicBezTo>
                      <a:pt x="112" y="51"/>
                      <a:pt x="112" y="51"/>
                      <a:pt x="112" y="51"/>
                    </a:cubicBezTo>
                    <a:cubicBezTo>
                      <a:pt x="105" y="48"/>
                      <a:pt x="105" y="48"/>
                      <a:pt x="105" y="48"/>
                    </a:cubicBezTo>
                    <a:cubicBezTo>
                      <a:pt x="103" y="48"/>
                      <a:pt x="103" y="48"/>
                      <a:pt x="103" y="48"/>
                    </a:cubicBezTo>
                    <a:cubicBezTo>
                      <a:pt x="97" y="49"/>
                      <a:pt x="97" y="49"/>
                      <a:pt x="97" y="49"/>
                    </a:cubicBezTo>
                    <a:cubicBezTo>
                      <a:pt x="95" y="49"/>
                      <a:pt x="92" y="46"/>
                      <a:pt x="89" y="42"/>
                    </a:cubicBezTo>
                    <a:cubicBezTo>
                      <a:pt x="85" y="40"/>
                      <a:pt x="85" y="40"/>
                      <a:pt x="85" y="40"/>
                    </a:cubicBezTo>
                    <a:cubicBezTo>
                      <a:pt x="81" y="46"/>
                      <a:pt x="81" y="46"/>
                      <a:pt x="81" y="46"/>
                    </a:cubicBezTo>
                    <a:cubicBezTo>
                      <a:pt x="81" y="46"/>
                      <a:pt x="81" y="46"/>
                      <a:pt x="81" y="46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75" y="50"/>
                      <a:pt x="75" y="50"/>
                      <a:pt x="75" y="50"/>
                    </a:cubicBezTo>
                    <a:cubicBezTo>
                      <a:pt x="74" y="50"/>
                      <a:pt x="74" y="50"/>
                      <a:pt x="74" y="50"/>
                    </a:cubicBezTo>
                    <a:cubicBezTo>
                      <a:pt x="74" y="51"/>
                      <a:pt x="74" y="51"/>
                      <a:pt x="74" y="51"/>
                    </a:cubicBezTo>
                    <a:cubicBezTo>
                      <a:pt x="73" y="51"/>
                      <a:pt x="73" y="51"/>
                      <a:pt x="73" y="51"/>
                    </a:cubicBezTo>
                    <a:cubicBezTo>
                      <a:pt x="69" y="52"/>
                      <a:pt x="69" y="52"/>
                      <a:pt x="69" y="52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51" y="67"/>
                      <a:pt x="51" y="67"/>
                      <a:pt x="51" y="67"/>
                    </a:cubicBezTo>
                    <a:cubicBezTo>
                      <a:pt x="35" y="67"/>
                      <a:pt x="35" y="67"/>
                      <a:pt x="35" y="67"/>
                    </a:cubicBezTo>
                    <a:cubicBezTo>
                      <a:pt x="35" y="67"/>
                      <a:pt x="35" y="67"/>
                      <a:pt x="35" y="67"/>
                    </a:cubicBezTo>
                    <a:cubicBezTo>
                      <a:pt x="23" y="62"/>
                      <a:pt x="23" y="62"/>
                      <a:pt x="23" y="62"/>
                    </a:cubicBezTo>
                    <a:cubicBezTo>
                      <a:pt x="16" y="62"/>
                      <a:pt x="16" y="62"/>
                      <a:pt x="16" y="62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9" y="65"/>
                      <a:pt x="9" y="65"/>
                      <a:pt x="9" y="65"/>
                    </a:cubicBezTo>
                    <a:cubicBezTo>
                      <a:pt x="9" y="65"/>
                      <a:pt x="9" y="65"/>
                      <a:pt x="9" y="65"/>
                    </a:cubicBezTo>
                    <a:cubicBezTo>
                      <a:pt x="5" y="66"/>
                      <a:pt x="5" y="66"/>
                      <a:pt x="5" y="66"/>
                    </a:cubicBezTo>
                    <a:cubicBezTo>
                      <a:pt x="3" y="67"/>
                      <a:pt x="2" y="68"/>
                      <a:pt x="1" y="69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" y="79"/>
                      <a:pt x="2" y="79"/>
                      <a:pt x="2" y="79"/>
                    </a:cubicBezTo>
                    <a:cubicBezTo>
                      <a:pt x="11" y="76"/>
                      <a:pt x="11" y="76"/>
                      <a:pt x="11" y="76"/>
                    </a:cubicBezTo>
                    <a:cubicBezTo>
                      <a:pt x="13" y="76"/>
                      <a:pt x="16" y="77"/>
                      <a:pt x="20" y="79"/>
                    </a:cubicBezTo>
                    <a:cubicBezTo>
                      <a:pt x="21" y="79"/>
                      <a:pt x="21" y="79"/>
                      <a:pt x="21" y="79"/>
                    </a:cubicBezTo>
                    <a:cubicBezTo>
                      <a:pt x="21" y="80"/>
                      <a:pt x="21" y="80"/>
                      <a:pt x="21" y="80"/>
                    </a:cubicBezTo>
                    <a:cubicBezTo>
                      <a:pt x="21" y="93"/>
                      <a:pt x="21" y="93"/>
                      <a:pt x="21" y="93"/>
                    </a:cubicBezTo>
                    <a:cubicBezTo>
                      <a:pt x="23" y="94"/>
                      <a:pt x="23" y="94"/>
                      <a:pt x="23" y="94"/>
                    </a:cubicBezTo>
                    <a:cubicBezTo>
                      <a:pt x="32" y="94"/>
                      <a:pt x="32" y="94"/>
                      <a:pt x="32" y="94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38" y="92"/>
                      <a:pt x="38" y="92"/>
                      <a:pt x="38" y="92"/>
                    </a:cubicBezTo>
                    <a:cubicBezTo>
                      <a:pt x="41" y="90"/>
                      <a:pt x="44" y="89"/>
                      <a:pt x="47" y="88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50" y="89"/>
                      <a:pt x="50" y="89"/>
                      <a:pt x="50" y="89"/>
                    </a:cubicBezTo>
                    <a:cubicBezTo>
                      <a:pt x="52" y="94"/>
                      <a:pt x="52" y="94"/>
                      <a:pt x="52" y="94"/>
                    </a:cubicBezTo>
                    <a:cubicBezTo>
                      <a:pt x="52" y="94"/>
                      <a:pt x="52" y="94"/>
                      <a:pt x="52" y="94"/>
                    </a:cubicBezTo>
                    <a:cubicBezTo>
                      <a:pt x="53" y="108"/>
                      <a:pt x="53" y="108"/>
                      <a:pt x="53" y="108"/>
                    </a:cubicBezTo>
                    <a:cubicBezTo>
                      <a:pt x="53" y="109"/>
                      <a:pt x="53" y="109"/>
                      <a:pt x="53" y="109"/>
                    </a:cubicBezTo>
                    <a:cubicBezTo>
                      <a:pt x="46" y="116"/>
                      <a:pt x="46" y="116"/>
                      <a:pt x="46" y="116"/>
                    </a:cubicBezTo>
                    <a:cubicBezTo>
                      <a:pt x="46" y="116"/>
                      <a:pt x="46" y="116"/>
                      <a:pt x="46" y="116"/>
                    </a:cubicBezTo>
                    <a:cubicBezTo>
                      <a:pt x="46" y="117"/>
                      <a:pt x="46" y="117"/>
                      <a:pt x="46" y="117"/>
                    </a:cubicBezTo>
                    <a:cubicBezTo>
                      <a:pt x="37" y="121"/>
                      <a:pt x="37" y="121"/>
                      <a:pt x="37" y="121"/>
                    </a:cubicBezTo>
                    <a:cubicBezTo>
                      <a:pt x="35" y="124"/>
                      <a:pt x="35" y="124"/>
                      <a:pt x="35" y="124"/>
                    </a:cubicBezTo>
                    <a:cubicBezTo>
                      <a:pt x="36" y="126"/>
                      <a:pt x="36" y="126"/>
                      <a:pt x="36" y="126"/>
                    </a:cubicBezTo>
                    <a:cubicBezTo>
                      <a:pt x="53" y="128"/>
                      <a:pt x="53" y="128"/>
                      <a:pt x="53" y="128"/>
                    </a:cubicBezTo>
                    <a:cubicBezTo>
                      <a:pt x="53" y="128"/>
                      <a:pt x="53" y="128"/>
                      <a:pt x="53" y="128"/>
                    </a:cubicBezTo>
                    <a:cubicBezTo>
                      <a:pt x="53" y="128"/>
                      <a:pt x="53" y="128"/>
                      <a:pt x="53" y="128"/>
                    </a:cubicBezTo>
                    <a:cubicBezTo>
                      <a:pt x="54" y="129"/>
                      <a:pt x="54" y="129"/>
                      <a:pt x="54" y="129"/>
                    </a:cubicBezTo>
                    <a:cubicBezTo>
                      <a:pt x="61" y="133"/>
                      <a:pt x="61" y="133"/>
                      <a:pt x="61" y="133"/>
                    </a:cubicBezTo>
                    <a:cubicBezTo>
                      <a:pt x="76" y="132"/>
                      <a:pt x="76" y="132"/>
                      <a:pt x="76" y="132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7" y="142"/>
                      <a:pt x="77" y="142"/>
                      <a:pt x="77" y="142"/>
                    </a:cubicBezTo>
                    <a:cubicBezTo>
                      <a:pt x="77" y="143"/>
                      <a:pt x="77" y="143"/>
                      <a:pt x="77" y="143"/>
                    </a:cubicBezTo>
                    <a:cubicBezTo>
                      <a:pt x="77" y="143"/>
                      <a:pt x="77" y="143"/>
                      <a:pt x="77" y="143"/>
                    </a:cubicBezTo>
                    <a:cubicBezTo>
                      <a:pt x="70" y="150"/>
                      <a:pt x="70" y="150"/>
                      <a:pt x="70" y="150"/>
                    </a:cubicBezTo>
                    <a:cubicBezTo>
                      <a:pt x="69" y="158"/>
                      <a:pt x="71" y="164"/>
                      <a:pt x="75" y="165"/>
                    </a:cubicBezTo>
                    <a:cubicBezTo>
                      <a:pt x="87" y="172"/>
                      <a:pt x="87" y="172"/>
                      <a:pt x="87" y="172"/>
                    </a:cubicBezTo>
                    <a:cubicBezTo>
                      <a:pt x="97" y="178"/>
                      <a:pt x="97" y="178"/>
                      <a:pt x="97" y="178"/>
                    </a:cubicBezTo>
                    <a:cubicBezTo>
                      <a:pt x="106" y="174"/>
                      <a:pt x="106" y="174"/>
                      <a:pt x="106" y="174"/>
                    </a:cubicBezTo>
                    <a:cubicBezTo>
                      <a:pt x="107" y="174"/>
                      <a:pt x="107" y="174"/>
                      <a:pt x="107" y="174"/>
                    </a:cubicBezTo>
                    <a:cubicBezTo>
                      <a:pt x="107" y="174"/>
                      <a:pt x="107" y="174"/>
                      <a:pt x="107" y="174"/>
                    </a:cubicBezTo>
                    <a:cubicBezTo>
                      <a:pt x="108" y="174"/>
                      <a:pt x="108" y="174"/>
                      <a:pt x="108" y="174"/>
                    </a:cubicBezTo>
                    <a:cubicBezTo>
                      <a:pt x="121" y="184"/>
                      <a:pt x="121" y="184"/>
                      <a:pt x="121" y="184"/>
                    </a:cubicBezTo>
                    <a:cubicBezTo>
                      <a:pt x="123" y="184"/>
                      <a:pt x="123" y="184"/>
                      <a:pt x="123" y="184"/>
                    </a:cubicBezTo>
                    <a:cubicBezTo>
                      <a:pt x="126" y="180"/>
                      <a:pt x="126" y="180"/>
                      <a:pt x="126" y="180"/>
                    </a:cubicBezTo>
                    <a:cubicBezTo>
                      <a:pt x="127" y="180"/>
                      <a:pt x="127" y="180"/>
                      <a:pt x="127" y="180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28" y="179"/>
                      <a:pt x="128" y="179"/>
                      <a:pt x="128" y="179"/>
                    </a:cubicBezTo>
                    <a:cubicBezTo>
                      <a:pt x="135" y="180"/>
                      <a:pt x="135" y="180"/>
                      <a:pt x="135" y="180"/>
                    </a:cubicBezTo>
                    <a:cubicBezTo>
                      <a:pt x="137" y="167"/>
                      <a:pt x="137" y="167"/>
                      <a:pt x="137" y="167"/>
                    </a:cubicBezTo>
                    <a:cubicBezTo>
                      <a:pt x="147" y="184"/>
                      <a:pt x="147" y="184"/>
                      <a:pt x="147" y="184"/>
                    </a:cubicBezTo>
                    <a:cubicBezTo>
                      <a:pt x="155" y="185"/>
                      <a:pt x="155" y="185"/>
                      <a:pt x="155" y="185"/>
                    </a:cubicBezTo>
                    <a:cubicBezTo>
                      <a:pt x="156" y="185"/>
                      <a:pt x="156" y="185"/>
                      <a:pt x="156" y="185"/>
                    </a:cubicBezTo>
                    <a:cubicBezTo>
                      <a:pt x="157" y="185"/>
                      <a:pt x="157" y="185"/>
                      <a:pt x="157" y="185"/>
                    </a:cubicBezTo>
                    <a:cubicBezTo>
                      <a:pt x="157" y="186"/>
                      <a:pt x="157" y="186"/>
                      <a:pt x="157" y="186"/>
                    </a:cubicBezTo>
                    <a:cubicBezTo>
                      <a:pt x="157" y="191"/>
                      <a:pt x="157" y="191"/>
                      <a:pt x="157" y="191"/>
                    </a:cubicBezTo>
                    <a:cubicBezTo>
                      <a:pt x="160" y="190"/>
                      <a:pt x="160" y="190"/>
                      <a:pt x="160" y="190"/>
                    </a:cubicBezTo>
                    <a:cubicBezTo>
                      <a:pt x="173" y="173"/>
                      <a:pt x="173" y="173"/>
                      <a:pt x="173" y="173"/>
                    </a:cubicBezTo>
                    <a:cubicBezTo>
                      <a:pt x="179" y="181"/>
                      <a:pt x="179" y="181"/>
                      <a:pt x="179" y="181"/>
                    </a:cubicBezTo>
                    <a:cubicBezTo>
                      <a:pt x="179" y="178"/>
                      <a:pt x="179" y="178"/>
                      <a:pt x="179" y="178"/>
                    </a:cubicBezTo>
                    <a:cubicBezTo>
                      <a:pt x="179" y="178"/>
                      <a:pt x="179" y="178"/>
                      <a:pt x="179" y="178"/>
                    </a:cubicBezTo>
                    <a:cubicBezTo>
                      <a:pt x="179" y="178"/>
                      <a:pt x="179" y="178"/>
                      <a:pt x="179" y="178"/>
                    </a:cubicBezTo>
                    <a:cubicBezTo>
                      <a:pt x="179" y="178"/>
                      <a:pt x="179" y="178"/>
                      <a:pt x="179" y="178"/>
                    </a:cubicBezTo>
                    <a:cubicBezTo>
                      <a:pt x="183" y="170"/>
                      <a:pt x="183" y="170"/>
                      <a:pt x="183" y="170"/>
                    </a:cubicBezTo>
                    <a:cubicBezTo>
                      <a:pt x="186" y="164"/>
                      <a:pt x="186" y="164"/>
                      <a:pt x="186" y="164"/>
                    </a:cubicBezTo>
                    <a:cubicBezTo>
                      <a:pt x="196" y="164"/>
                      <a:pt x="196" y="164"/>
                      <a:pt x="196" y="164"/>
                    </a:cubicBezTo>
                    <a:cubicBezTo>
                      <a:pt x="198" y="152"/>
                      <a:pt x="198" y="152"/>
                      <a:pt x="198" y="152"/>
                    </a:cubicBezTo>
                    <a:cubicBezTo>
                      <a:pt x="199" y="152"/>
                      <a:pt x="199" y="152"/>
                      <a:pt x="199" y="152"/>
                    </a:cubicBezTo>
                    <a:cubicBezTo>
                      <a:pt x="200" y="153"/>
                      <a:pt x="200" y="153"/>
                      <a:pt x="200" y="153"/>
                    </a:cubicBezTo>
                    <a:cubicBezTo>
                      <a:pt x="207" y="154"/>
                      <a:pt x="207" y="154"/>
                      <a:pt x="207" y="154"/>
                    </a:cubicBezTo>
                    <a:cubicBezTo>
                      <a:pt x="208" y="150"/>
                      <a:pt x="208" y="150"/>
                      <a:pt x="208" y="150"/>
                    </a:cubicBezTo>
                    <a:cubicBezTo>
                      <a:pt x="205" y="144"/>
                      <a:pt x="205" y="144"/>
                      <a:pt x="205" y="144"/>
                    </a:cubicBezTo>
                    <a:cubicBezTo>
                      <a:pt x="205" y="143"/>
                      <a:pt x="205" y="143"/>
                      <a:pt x="205" y="143"/>
                    </a:cubicBezTo>
                    <a:cubicBezTo>
                      <a:pt x="207" y="138"/>
                      <a:pt x="207" y="138"/>
                      <a:pt x="207" y="138"/>
                    </a:cubicBezTo>
                    <a:cubicBezTo>
                      <a:pt x="207" y="138"/>
                      <a:pt x="207" y="138"/>
                      <a:pt x="207" y="138"/>
                    </a:cubicBezTo>
                    <a:cubicBezTo>
                      <a:pt x="207" y="137"/>
                      <a:pt x="207" y="137"/>
                      <a:pt x="207" y="137"/>
                    </a:cubicBezTo>
                    <a:cubicBezTo>
                      <a:pt x="208" y="137"/>
                      <a:pt x="208" y="137"/>
                      <a:pt x="208" y="137"/>
                    </a:cubicBezTo>
                    <a:cubicBezTo>
                      <a:pt x="208" y="137"/>
                      <a:pt x="208" y="137"/>
                      <a:pt x="208" y="137"/>
                    </a:cubicBezTo>
                    <a:cubicBezTo>
                      <a:pt x="229" y="126"/>
                      <a:pt x="229" y="126"/>
                      <a:pt x="229" y="126"/>
                    </a:cubicBezTo>
                    <a:cubicBezTo>
                      <a:pt x="228" y="115"/>
                      <a:pt x="228" y="115"/>
                      <a:pt x="228" y="115"/>
                    </a:cubicBezTo>
                    <a:cubicBezTo>
                      <a:pt x="228" y="115"/>
                      <a:pt x="228" y="115"/>
                      <a:pt x="228" y="115"/>
                    </a:cubicBezTo>
                    <a:cubicBezTo>
                      <a:pt x="228" y="114"/>
                      <a:pt x="228" y="114"/>
                      <a:pt x="228" y="114"/>
                    </a:cubicBezTo>
                    <a:cubicBezTo>
                      <a:pt x="232" y="106"/>
                      <a:pt x="232" y="106"/>
                      <a:pt x="232" y="106"/>
                    </a:cubicBezTo>
                    <a:cubicBezTo>
                      <a:pt x="233" y="105"/>
                      <a:pt x="233" y="105"/>
                      <a:pt x="233" y="105"/>
                    </a:cubicBezTo>
                    <a:cubicBezTo>
                      <a:pt x="233" y="105"/>
                      <a:pt x="233" y="105"/>
                      <a:pt x="233" y="105"/>
                    </a:cubicBezTo>
                    <a:cubicBezTo>
                      <a:pt x="239" y="90"/>
                      <a:pt x="239" y="90"/>
                      <a:pt x="239" y="90"/>
                    </a:cubicBezTo>
                    <a:cubicBezTo>
                      <a:pt x="239" y="90"/>
                      <a:pt x="239" y="90"/>
                      <a:pt x="239" y="90"/>
                    </a:cubicBezTo>
                    <a:cubicBezTo>
                      <a:pt x="239" y="90"/>
                      <a:pt x="239" y="90"/>
                      <a:pt x="239" y="90"/>
                    </a:cubicBezTo>
                    <a:cubicBezTo>
                      <a:pt x="245" y="84"/>
                      <a:pt x="245" y="84"/>
                      <a:pt x="245" y="84"/>
                    </a:cubicBezTo>
                    <a:cubicBezTo>
                      <a:pt x="248" y="78"/>
                      <a:pt x="248" y="78"/>
                      <a:pt x="248" y="78"/>
                    </a:cubicBezTo>
                    <a:cubicBezTo>
                      <a:pt x="248" y="78"/>
                      <a:pt x="248" y="78"/>
                      <a:pt x="248" y="78"/>
                    </a:cubicBezTo>
                    <a:cubicBezTo>
                      <a:pt x="248" y="78"/>
                      <a:pt x="248" y="78"/>
                      <a:pt x="248" y="78"/>
                    </a:cubicBezTo>
                    <a:cubicBezTo>
                      <a:pt x="251" y="73"/>
                      <a:pt x="251" y="73"/>
                      <a:pt x="251" y="73"/>
                    </a:cubicBezTo>
                    <a:cubicBezTo>
                      <a:pt x="248" y="67"/>
                      <a:pt x="248" y="67"/>
                      <a:pt x="248" y="67"/>
                    </a:cubicBezTo>
                    <a:cubicBezTo>
                      <a:pt x="248" y="66"/>
                      <a:pt x="248" y="66"/>
                      <a:pt x="248" y="66"/>
                    </a:cubicBezTo>
                    <a:cubicBezTo>
                      <a:pt x="248" y="66"/>
                      <a:pt x="248" y="66"/>
                      <a:pt x="248" y="66"/>
                    </a:cubicBezTo>
                    <a:cubicBezTo>
                      <a:pt x="248" y="60"/>
                      <a:pt x="248" y="60"/>
                      <a:pt x="248" y="60"/>
                    </a:cubicBezTo>
                    <a:cubicBezTo>
                      <a:pt x="245" y="60"/>
                      <a:pt x="245" y="60"/>
                      <a:pt x="245" y="60"/>
                    </a:cubicBezTo>
                    <a:cubicBezTo>
                      <a:pt x="239" y="63"/>
                      <a:pt x="239" y="63"/>
                      <a:pt x="239" y="63"/>
                    </a:cubicBezTo>
                    <a:cubicBezTo>
                      <a:pt x="236" y="65"/>
                      <a:pt x="232" y="64"/>
                      <a:pt x="227" y="61"/>
                    </a:cubicBezTo>
                    <a:cubicBezTo>
                      <a:pt x="225" y="59"/>
                      <a:pt x="225" y="55"/>
                      <a:pt x="226" y="49"/>
                    </a:cubicBezTo>
                    <a:cubicBezTo>
                      <a:pt x="223" y="49"/>
                      <a:pt x="223" y="49"/>
                      <a:pt x="223" y="49"/>
                    </a:cubicBezTo>
                    <a:cubicBezTo>
                      <a:pt x="221" y="51"/>
                      <a:pt x="221" y="51"/>
                      <a:pt x="221" y="51"/>
                    </a:cubicBezTo>
                    <a:cubicBezTo>
                      <a:pt x="217" y="55"/>
                      <a:pt x="215" y="57"/>
                      <a:pt x="214" y="57"/>
                    </a:cubicBezTo>
                    <a:cubicBezTo>
                      <a:pt x="213" y="57"/>
                      <a:pt x="213" y="57"/>
                      <a:pt x="212" y="57"/>
                    </a:cubicBezTo>
                    <a:cubicBezTo>
                      <a:pt x="211" y="56"/>
                      <a:pt x="211" y="54"/>
                      <a:pt x="211" y="50"/>
                    </a:cubicBezTo>
                    <a:cubicBezTo>
                      <a:pt x="211" y="47"/>
                      <a:pt x="211" y="44"/>
                      <a:pt x="212" y="44"/>
                    </a:cubicBezTo>
                    <a:cubicBezTo>
                      <a:pt x="213" y="42"/>
                      <a:pt x="213" y="42"/>
                      <a:pt x="214" y="43"/>
                    </a:cubicBezTo>
                    <a:cubicBezTo>
                      <a:pt x="222" y="29"/>
                      <a:pt x="222" y="29"/>
                      <a:pt x="222" y="29"/>
                    </a:cubicBezTo>
                    <a:cubicBezTo>
                      <a:pt x="224" y="24"/>
                      <a:pt x="224" y="24"/>
                      <a:pt x="224" y="24"/>
                    </a:cubicBezTo>
                    <a:cubicBezTo>
                      <a:pt x="225" y="18"/>
                      <a:pt x="225" y="18"/>
                      <a:pt x="225" y="18"/>
                    </a:cubicBezTo>
                    <a:cubicBezTo>
                      <a:pt x="221" y="14"/>
                      <a:pt x="221" y="14"/>
                      <a:pt x="221" y="14"/>
                    </a:cubicBezTo>
                    <a:cubicBezTo>
                      <a:pt x="219" y="13"/>
                      <a:pt x="219" y="10"/>
                      <a:pt x="220" y="6"/>
                    </a:cubicBezTo>
                    <a:cubicBezTo>
                      <a:pt x="220" y="4"/>
                      <a:pt x="220" y="4"/>
                      <a:pt x="220" y="4"/>
                    </a:cubicBezTo>
                    <a:cubicBezTo>
                      <a:pt x="220" y="2"/>
                      <a:pt x="219" y="1"/>
                      <a:pt x="217" y="0"/>
                    </a:cubicBezTo>
                    <a:cubicBezTo>
                      <a:pt x="217" y="0"/>
                      <a:pt x="217" y="0"/>
                      <a:pt x="217" y="0"/>
                    </a:cubicBezTo>
                    <a:cubicBezTo>
                      <a:pt x="216" y="1"/>
                      <a:pt x="216" y="1"/>
                      <a:pt x="216" y="1"/>
                    </a:cubicBezTo>
                    <a:cubicBezTo>
                      <a:pt x="215" y="4"/>
                      <a:pt x="212" y="6"/>
                      <a:pt x="208" y="4"/>
                    </a:cubicBezTo>
                    <a:cubicBezTo>
                      <a:pt x="206" y="4"/>
                      <a:pt x="203" y="4"/>
                      <a:pt x="20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2" name="ïṣľiḓe"/>
              <p:cNvSpPr/>
              <p:nvPr/>
            </p:nvSpPr>
            <p:spPr bwMode="auto">
              <a:xfrm>
                <a:off x="3115" y="2540"/>
                <a:ext cx="337" cy="341"/>
              </a:xfrm>
              <a:custGeom>
                <a:avLst/>
                <a:gdLst>
                  <a:gd name="T0" fmla="*/ 134 w 142"/>
                  <a:gd name="T1" fmla="*/ 16 h 144"/>
                  <a:gd name="T2" fmla="*/ 129 w 142"/>
                  <a:gd name="T3" fmla="*/ 14 h 144"/>
                  <a:gd name="T4" fmla="*/ 125 w 142"/>
                  <a:gd name="T5" fmla="*/ 12 h 144"/>
                  <a:gd name="T6" fmla="*/ 117 w 142"/>
                  <a:gd name="T7" fmla="*/ 14 h 144"/>
                  <a:gd name="T8" fmla="*/ 111 w 142"/>
                  <a:gd name="T9" fmla="*/ 11 h 144"/>
                  <a:gd name="T10" fmla="*/ 110 w 142"/>
                  <a:gd name="T11" fmla="*/ 10 h 144"/>
                  <a:gd name="T12" fmla="*/ 102 w 142"/>
                  <a:gd name="T13" fmla="*/ 2 h 144"/>
                  <a:gd name="T14" fmla="*/ 88 w 142"/>
                  <a:gd name="T15" fmla="*/ 8 h 144"/>
                  <a:gd name="T16" fmla="*/ 86 w 142"/>
                  <a:gd name="T17" fmla="*/ 20 h 144"/>
                  <a:gd name="T18" fmla="*/ 81 w 142"/>
                  <a:gd name="T19" fmla="*/ 30 h 144"/>
                  <a:gd name="T20" fmla="*/ 72 w 142"/>
                  <a:gd name="T21" fmla="*/ 43 h 144"/>
                  <a:gd name="T22" fmla="*/ 58 w 142"/>
                  <a:gd name="T23" fmla="*/ 59 h 144"/>
                  <a:gd name="T24" fmla="*/ 44 w 142"/>
                  <a:gd name="T25" fmla="*/ 72 h 144"/>
                  <a:gd name="T26" fmla="*/ 36 w 142"/>
                  <a:gd name="T27" fmla="*/ 82 h 144"/>
                  <a:gd name="T28" fmla="*/ 0 w 142"/>
                  <a:gd name="T29" fmla="*/ 84 h 144"/>
                  <a:gd name="T30" fmla="*/ 10 w 142"/>
                  <a:gd name="T31" fmla="*/ 113 h 144"/>
                  <a:gd name="T32" fmla="*/ 16 w 142"/>
                  <a:gd name="T33" fmla="*/ 117 h 144"/>
                  <a:gd name="T34" fmla="*/ 21 w 142"/>
                  <a:gd name="T35" fmla="*/ 131 h 144"/>
                  <a:gd name="T36" fmla="*/ 22 w 142"/>
                  <a:gd name="T37" fmla="*/ 134 h 144"/>
                  <a:gd name="T38" fmla="*/ 31 w 142"/>
                  <a:gd name="T39" fmla="*/ 131 h 144"/>
                  <a:gd name="T40" fmla="*/ 35 w 142"/>
                  <a:gd name="T41" fmla="*/ 133 h 144"/>
                  <a:gd name="T42" fmla="*/ 38 w 142"/>
                  <a:gd name="T43" fmla="*/ 123 h 144"/>
                  <a:gd name="T44" fmla="*/ 55 w 142"/>
                  <a:gd name="T45" fmla="*/ 116 h 144"/>
                  <a:gd name="T46" fmla="*/ 56 w 142"/>
                  <a:gd name="T47" fmla="*/ 106 h 144"/>
                  <a:gd name="T48" fmla="*/ 60 w 142"/>
                  <a:gd name="T49" fmla="*/ 103 h 144"/>
                  <a:gd name="T50" fmla="*/ 61 w 142"/>
                  <a:gd name="T51" fmla="*/ 103 h 144"/>
                  <a:gd name="T52" fmla="*/ 68 w 142"/>
                  <a:gd name="T53" fmla="*/ 110 h 144"/>
                  <a:gd name="T54" fmla="*/ 70 w 142"/>
                  <a:gd name="T55" fmla="*/ 116 h 144"/>
                  <a:gd name="T56" fmla="*/ 76 w 142"/>
                  <a:gd name="T57" fmla="*/ 108 h 144"/>
                  <a:gd name="T58" fmla="*/ 81 w 142"/>
                  <a:gd name="T59" fmla="*/ 106 h 144"/>
                  <a:gd name="T60" fmla="*/ 87 w 142"/>
                  <a:gd name="T61" fmla="*/ 107 h 144"/>
                  <a:gd name="T62" fmla="*/ 90 w 142"/>
                  <a:gd name="T63" fmla="*/ 118 h 144"/>
                  <a:gd name="T64" fmla="*/ 94 w 142"/>
                  <a:gd name="T65" fmla="*/ 127 h 144"/>
                  <a:gd name="T66" fmla="*/ 97 w 142"/>
                  <a:gd name="T67" fmla="*/ 135 h 144"/>
                  <a:gd name="T68" fmla="*/ 104 w 142"/>
                  <a:gd name="T69" fmla="*/ 135 h 144"/>
                  <a:gd name="T70" fmla="*/ 104 w 142"/>
                  <a:gd name="T71" fmla="*/ 136 h 144"/>
                  <a:gd name="T72" fmla="*/ 108 w 142"/>
                  <a:gd name="T73" fmla="*/ 144 h 144"/>
                  <a:gd name="T74" fmla="*/ 110 w 142"/>
                  <a:gd name="T75" fmla="*/ 138 h 144"/>
                  <a:gd name="T76" fmla="*/ 112 w 142"/>
                  <a:gd name="T77" fmla="*/ 137 h 144"/>
                  <a:gd name="T78" fmla="*/ 115 w 142"/>
                  <a:gd name="T79" fmla="*/ 135 h 144"/>
                  <a:gd name="T80" fmla="*/ 118 w 142"/>
                  <a:gd name="T81" fmla="*/ 132 h 144"/>
                  <a:gd name="T82" fmla="*/ 94 w 142"/>
                  <a:gd name="T83" fmla="*/ 84 h 144"/>
                  <a:gd name="T84" fmla="*/ 88 w 142"/>
                  <a:gd name="T85" fmla="*/ 64 h 144"/>
                  <a:gd name="T86" fmla="*/ 87 w 142"/>
                  <a:gd name="T87" fmla="*/ 64 h 144"/>
                  <a:gd name="T88" fmla="*/ 91 w 142"/>
                  <a:gd name="T89" fmla="*/ 52 h 144"/>
                  <a:gd name="T90" fmla="*/ 130 w 142"/>
                  <a:gd name="T91" fmla="*/ 44 h 144"/>
                  <a:gd name="T92" fmla="*/ 140 w 142"/>
                  <a:gd name="T93" fmla="*/ 38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2" h="144">
                    <a:moveTo>
                      <a:pt x="142" y="29"/>
                    </a:moveTo>
                    <a:cubicBezTo>
                      <a:pt x="139" y="22"/>
                      <a:pt x="139" y="22"/>
                      <a:pt x="139" y="22"/>
                    </a:cubicBezTo>
                    <a:cubicBezTo>
                      <a:pt x="134" y="16"/>
                      <a:pt x="134" y="16"/>
                      <a:pt x="134" y="16"/>
                    </a:cubicBezTo>
                    <a:cubicBezTo>
                      <a:pt x="130" y="15"/>
                      <a:pt x="130" y="15"/>
                      <a:pt x="130" y="15"/>
                    </a:cubicBezTo>
                    <a:cubicBezTo>
                      <a:pt x="129" y="15"/>
                      <a:pt x="129" y="15"/>
                      <a:pt x="129" y="15"/>
                    </a:cubicBezTo>
                    <a:cubicBezTo>
                      <a:pt x="129" y="14"/>
                      <a:pt x="129" y="14"/>
                      <a:pt x="129" y="14"/>
                    </a:cubicBezTo>
                    <a:cubicBezTo>
                      <a:pt x="129" y="14"/>
                      <a:pt x="129" y="14"/>
                      <a:pt x="129" y="14"/>
                    </a:cubicBezTo>
                    <a:cubicBezTo>
                      <a:pt x="125" y="12"/>
                      <a:pt x="125" y="12"/>
                      <a:pt x="125" y="12"/>
                    </a:cubicBezTo>
                    <a:cubicBezTo>
                      <a:pt x="125" y="12"/>
                      <a:pt x="125" y="12"/>
                      <a:pt x="125" y="12"/>
                    </a:cubicBezTo>
                    <a:cubicBezTo>
                      <a:pt x="124" y="12"/>
                      <a:pt x="124" y="12"/>
                      <a:pt x="124" y="12"/>
                    </a:cubicBezTo>
                    <a:cubicBezTo>
                      <a:pt x="122" y="13"/>
                      <a:pt x="122" y="13"/>
                      <a:pt x="122" y="13"/>
                    </a:cubicBezTo>
                    <a:cubicBezTo>
                      <a:pt x="117" y="14"/>
                      <a:pt x="117" y="14"/>
                      <a:pt x="117" y="14"/>
                    </a:cubicBezTo>
                    <a:cubicBezTo>
                      <a:pt x="117" y="14"/>
                      <a:pt x="117" y="14"/>
                      <a:pt x="117" y="14"/>
                    </a:cubicBezTo>
                    <a:cubicBezTo>
                      <a:pt x="116" y="13"/>
                      <a:pt x="116" y="13"/>
                      <a:pt x="116" y="13"/>
                    </a:cubicBezTo>
                    <a:cubicBezTo>
                      <a:pt x="111" y="11"/>
                      <a:pt x="111" y="11"/>
                      <a:pt x="111" y="11"/>
                    </a:cubicBezTo>
                    <a:cubicBezTo>
                      <a:pt x="111" y="11"/>
                      <a:pt x="111" y="11"/>
                      <a:pt x="111" y="11"/>
                    </a:cubicBezTo>
                    <a:cubicBezTo>
                      <a:pt x="110" y="11"/>
                      <a:pt x="110" y="11"/>
                      <a:pt x="110" y="11"/>
                    </a:cubicBezTo>
                    <a:cubicBezTo>
                      <a:pt x="110" y="10"/>
                      <a:pt x="110" y="10"/>
                      <a:pt x="110" y="10"/>
                    </a:cubicBezTo>
                    <a:cubicBezTo>
                      <a:pt x="110" y="10"/>
                      <a:pt x="110" y="10"/>
                      <a:pt x="110" y="10"/>
                    </a:cubicBezTo>
                    <a:cubicBezTo>
                      <a:pt x="106" y="6"/>
                      <a:pt x="106" y="6"/>
                      <a:pt x="106" y="6"/>
                    </a:cubicBezTo>
                    <a:cubicBezTo>
                      <a:pt x="102" y="2"/>
                      <a:pt x="102" y="2"/>
                      <a:pt x="102" y="2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88" y="8"/>
                      <a:pt x="88" y="8"/>
                      <a:pt x="88" y="8"/>
                    </a:cubicBezTo>
                    <a:cubicBezTo>
                      <a:pt x="86" y="20"/>
                      <a:pt x="86" y="20"/>
                      <a:pt x="86" y="20"/>
                    </a:cubicBezTo>
                    <a:cubicBezTo>
                      <a:pt x="86" y="20"/>
                      <a:pt x="86" y="20"/>
                      <a:pt x="86" y="20"/>
                    </a:cubicBezTo>
                    <a:cubicBezTo>
                      <a:pt x="86" y="20"/>
                      <a:pt x="86" y="20"/>
                      <a:pt x="86" y="20"/>
                    </a:cubicBezTo>
                    <a:cubicBezTo>
                      <a:pt x="81" y="29"/>
                      <a:pt x="81" y="29"/>
                      <a:pt x="81" y="29"/>
                    </a:cubicBezTo>
                    <a:cubicBezTo>
                      <a:pt x="81" y="30"/>
                      <a:pt x="81" y="30"/>
                      <a:pt x="81" y="30"/>
                    </a:cubicBezTo>
                    <a:cubicBezTo>
                      <a:pt x="81" y="30"/>
                      <a:pt x="81" y="30"/>
                      <a:pt x="81" y="30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2" y="44"/>
                      <a:pt x="72" y="44"/>
                      <a:pt x="72" y="44"/>
                    </a:cubicBezTo>
                    <a:cubicBezTo>
                      <a:pt x="68" y="46"/>
                      <a:pt x="65" y="49"/>
                      <a:pt x="62" y="52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57" y="61"/>
                      <a:pt x="54" y="63"/>
                      <a:pt x="48" y="66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37" y="82"/>
                      <a:pt x="37" y="82"/>
                      <a:pt x="37" y="82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3" y="104"/>
                      <a:pt x="3" y="104"/>
                      <a:pt x="3" y="104"/>
                    </a:cubicBezTo>
                    <a:cubicBezTo>
                      <a:pt x="10" y="113"/>
                      <a:pt x="10" y="113"/>
                      <a:pt x="10" y="113"/>
                    </a:cubicBezTo>
                    <a:cubicBezTo>
                      <a:pt x="16" y="116"/>
                      <a:pt x="16" y="116"/>
                      <a:pt x="16" y="116"/>
                    </a:cubicBezTo>
                    <a:cubicBezTo>
                      <a:pt x="16" y="117"/>
                      <a:pt x="16" y="117"/>
                      <a:pt x="16" y="117"/>
                    </a:cubicBezTo>
                    <a:cubicBezTo>
                      <a:pt x="16" y="117"/>
                      <a:pt x="16" y="117"/>
                      <a:pt x="16" y="117"/>
                    </a:cubicBezTo>
                    <a:cubicBezTo>
                      <a:pt x="16" y="117"/>
                      <a:pt x="16" y="117"/>
                      <a:pt x="16" y="117"/>
                    </a:cubicBezTo>
                    <a:cubicBezTo>
                      <a:pt x="19" y="121"/>
                      <a:pt x="21" y="124"/>
                      <a:pt x="21" y="126"/>
                    </a:cubicBezTo>
                    <a:cubicBezTo>
                      <a:pt x="21" y="131"/>
                      <a:pt x="21" y="131"/>
                      <a:pt x="21" y="131"/>
                    </a:cubicBezTo>
                    <a:cubicBezTo>
                      <a:pt x="19" y="133"/>
                      <a:pt x="19" y="133"/>
                      <a:pt x="19" y="133"/>
                    </a:cubicBezTo>
                    <a:cubicBezTo>
                      <a:pt x="20" y="134"/>
                      <a:pt x="20" y="134"/>
                      <a:pt x="20" y="134"/>
                    </a:cubicBezTo>
                    <a:cubicBezTo>
                      <a:pt x="22" y="134"/>
                      <a:pt x="22" y="134"/>
                      <a:pt x="22" y="134"/>
                    </a:cubicBezTo>
                    <a:cubicBezTo>
                      <a:pt x="24" y="129"/>
                      <a:pt x="24" y="129"/>
                      <a:pt x="24" y="129"/>
                    </a:cubicBezTo>
                    <a:cubicBezTo>
                      <a:pt x="25" y="129"/>
                      <a:pt x="25" y="129"/>
                      <a:pt x="25" y="129"/>
                    </a:cubicBezTo>
                    <a:cubicBezTo>
                      <a:pt x="31" y="131"/>
                      <a:pt x="31" y="131"/>
                      <a:pt x="31" y="131"/>
                    </a:cubicBezTo>
                    <a:cubicBezTo>
                      <a:pt x="32" y="133"/>
                      <a:pt x="32" y="133"/>
                      <a:pt x="32" y="133"/>
                    </a:cubicBezTo>
                    <a:cubicBezTo>
                      <a:pt x="35" y="133"/>
                      <a:pt x="35" y="133"/>
                      <a:pt x="35" y="133"/>
                    </a:cubicBezTo>
                    <a:cubicBezTo>
                      <a:pt x="35" y="133"/>
                      <a:pt x="35" y="133"/>
                      <a:pt x="35" y="133"/>
                    </a:cubicBezTo>
                    <a:cubicBezTo>
                      <a:pt x="34" y="130"/>
                      <a:pt x="34" y="130"/>
                      <a:pt x="34" y="130"/>
                    </a:cubicBezTo>
                    <a:cubicBezTo>
                      <a:pt x="34" y="130"/>
                      <a:pt x="34" y="130"/>
                      <a:pt x="34" y="130"/>
                    </a:cubicBezTo>
                    <a:cubicBezTo>
                      <a:pt x="38" y="123"/>
                      <a:pt x="38" y="123"/>
                      <a:pt x="38" y="123"/>
                    </a:cubicBezTo>
                    <a:cubicBezTo>
                      <a:pt x="39" y="121"/>
                      <a:pt x="41" y="120"/>
                      <a:pt x="44" y="121"/>
                    </a:cubicBezTo>
                    <a:cubicBezTo>
                      <a:pt x="51" y="121"/>
                      <a:pt x="51" y="121"/>
                      <a:pt x="51" y="121"/>
                    </a:cubicBezTo>
                    <a:cubicBezTo>
                      <a:pt x="55" y="116"/>
                      <a:pt x="55" y="116"/>
                      <a:pt x="55" y="116"/>
                    </a:cubicBezTo>
                    <a:cubicBezTo>
                      <a:pt x="55" y="111"/>
                      <a:pt x="55" y="111"/>
                      <a:pt x="55" y="111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7" y="105"/>
                      <a:pt x="57" y="105"/>
                      <a:pt x="57" y="105"/>
                    </a:cubicBezTo>
                    <a:cubicBezTo>
                      <a:pt x="57" y="105"/>
                      <a:pt x="57" y="105"/>
                      <a:pt x="57" y="105"/>
                    </a:cubicBezTo>
                    <a:cubicBezTo>
                      <a:pt x="60" y="103"/>
                      <a:pt x="60" y="103"/>
                      <a:pt x="60" y="103"/>
                    </a:cubicBezTo>
                    <a:cubicBezTo>
                      <a:pt x="60" y="103"/>
                      <a:pt x="60" y="103"/>
                      <a:pt x="60" y="103"/>
                    </a:cubicBezTo>
                    <a:cubicBezTo>
                      <a:pt x="60" y="103"/>
                      <a:pt x="60" y="103"/>
                      <a:pt x="60" y="103"/>
                    </a:cubicBezTo>
                    <a:cubicBezTo>
                      <a:pt x="61" y="103"/>
                      <a:pt x="61" y="103"/>
                      <a:pt x="61" y="103"/>
                    </a:cubicBezTo>
                    <a:cubicBezTo>
                      <a:pt x="67" y="104"/>
                      <a:pt x="67" y="104"/>
                      <a:pt x="67" y="104"/>
                    </a:cubicBezTo>
                    <a:cubicBezTo>
                      <a:pt x="67" y="105"/>
                      <a:pt x="67" y="105"/>
                      <a:pt x="67" y="105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2"/>
                      <a:pt x="68" y="112"/>
                      <a:pt x="68" y="112"/>
                    </a:cubicBezTo>
                    <a:cubicBezTo>
                      <a:pt x="69" y="116"/>
                      <a:pt x="69" y="116"/>
                      <a:pt x="69" y="116"/>
                    </a:cubicBezTo>
                    <a:cubicBezTo>
                      <a:pt x="70" y="116"/>
                      <a:pt x="70" y="116"/>
                      <a:pt x="70" y="116"/>
                    </a:cubicBezTo>
                    <a:cubicBezTo>
                      <a:pt x="72" y="113"/>
                      <a:pt x="72" y="113"/>
                      <a:pt x="72" y="113"/>
                    </a:cubicBezTo>
                    <a:cubicBezTo>
                      <a:pt x="72" y="113"/>
                      <a:pt x="72" y="113"/>
                      <a:pt x="72" y="113"/>
                    </a:cubicBezTo>
                    <a:cubicBezTo>
                      <a:pt x="76" y="108"/>
                      <a:pt x="76" y="108"/>
                      <a:pt x="76" y="108"/>
                    </a:cubicBezTo>
                    <a:cubicBezTo>
                      <a:pt x="76" y="108"/>
                      <a:pt x="76" y="108"/>
                      <a:pt x="76" y="108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81" y="106"/>
                      <a:pt x="81" y="106"/>
                      <a:pt x="81" y="106"/>
                    </a:cubicBezTo>
                    <a:cubicBezTo>
                      <a:pt x="81" y="105"/>
                      <a:pt x="81" y="105"/>
                      <a:pt x="81" y="105"/>
                    </a:cubicBezTo>
                    <a:cubicBezTo>
                      <a:pt x="86" y="107"/>
                      <a:pt x="86" y="107"/>
                      <a:pt x="86" y="107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8" y="107"/>
                      <a:pt x="88" y="107"/>
                      <a:pt x="88" y="107"/>
                    </a:cubicBezTo>
                    <a:cubicBezTo>
                      <a:pt x="90" y="113"/>
                      <a:pt x="90" y="113"/>
                      <a:pt x="90" y="113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4" y="126"/>
                      <a:pt x="94" y="126"/>
                      <a:pt x="94" y="126"/>
                    </a:cubicBezTo>
                    <a:cubicBezTo>
                      <a:pt x="94" y="126"/>
                      <a:pt x="94" y="126"/>
                      <a:pt x="94" y="126"/>
                    </a:cubicBezTo>
                    <a:cubicBezTo>
                      <a:pt x="94" y="127"/>
                      <a:pt x="94" y="127"/>
                      <a:pt x="94" y="127"/>
                    </a:cubicBezTo>
                    <a:cubicBezTo>
                      <a:pt x="94" y="132"/>
                      <a:pt x="94" y="132"/>
                      <a:pt x="94" y="132"/>
                    </a:cubicBezTo>
                    <a:cubicBezTo>
                      <a:pt x="96" y="135"/>
                      <a:pt x="96" y="135"/>
                      <a:pt x="96" y="135"/>
                    </a:cubicBezTo>
                    <a:cubicBezTo>
                      <a:pt x="97" y="135"/>
                      <a:pt x="97" y="135"/>
                      <a:pt x="97" y="135"/>
                    </a:cubicBezTo>
                    <a:cubicBezTo>
                      <a:pt x="98" y="133"/>
                      <a:pt x="98" y="133"/>
                      <a:pt x="98" y="133"/>
                    </a:cubicBezTo>
                    <a:cubicBezTo>
                      <a:pt x="99" y="132"/>
                      <a:pt x="99" y="132"/>
                      <a:pt x="99" y="132"/>
                    </a:cubicBezTo>
                    <a:cubicBezTo>
                      <a:pt x="104" y="135"/>
                      <a:pt x="104" y="135"/>
                      <a:pt x="104" y="135"/>
                    </a:cubicBezTo>
                    <a:cubicBezTo>
                      <a:pt x="104" y="135"/>
                      <a:pt x="104" y="135"/>
                      <a:pt x="104" y="135"/>
                    </a:cubicBezTo>
                    <a:cubicBezTo>
                      <a:pt x="104" y="135"/>
                      <a:pt x="104" y="135"/>
                      <a:pt x="104" y="135"/>
                    </a:cubicBez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06" y="143"/>
                      <a:pt x="106" y="143"/>
                      <a:pt x="106" y="143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08" y="143"/>
                      <a:pt x="108" y="143"/>
                      <a:pt x="108" y="143"/>
                    </a:cubicBezTo>
                    <a:cubicBezTo>
                      <a:pt x="110" y="138"/>
                      <a:pt x="110" y="138"/>
                      <a:pt x="110" y="138"/>
                    </a:cubicBezTo>
                    <a:cubicBezTo>
                      <a:pt x="110" y="138"/>
                      <a:pt x="110" y="138"/>
                      <a:pt x="110" y="138"/>
                    </a:cubicBezTo>
                    <a:cubicBezTo>
                      <a:pt x="111" y="137"/>
                      <a:pt x="111" y="137"/>
                      <a:pt x="111" y="137"/>
                    </a:cubicBezTo>
                    <a:cubicBezTo>
                      <a:pt x="111" y="137"/>
                      <a:pt x="111" y="137"/>
                      <a:pt x="111" y="137"/>
                    </a:cubicBezTo>
                    <a:cubicBezTo>
                      <a:pt x="112" y="137"/>
                      <a:pt x="112" y="137"/>
                      <a:pt x="112" y="137"/>
                    </a:cubicBezTo>
                    <a:cubicBezTo>
                      <a:pt x="114" y="135"/>
                      <a:pt x="114" y="135"/>
                      <a:pt x="114" y="135"/>
                    </a:cubicBezTo>
                    <a:cubicBezTo>
                      <a:pt x="115" y="135"/>
                      <a:pt x="115" y="135"/>
                      <a:pt x="115" y="135"/>
                    </a:cubicBezTo>
                    <a:cubicBezTo>
                      <a:pt x="115" y="135"/>
                      <a:pt x="115" y="135"/>
                      <a:pt x="115" y="135"/>
                    </a:cubicBezTo>
                    <a:cubicBezTo>
                      <a:pt x="118" y="135"/>
                      <a:pt x="118" y="135"/>
                      <a:pt x="118" y="135"/>
                    </a:cubicBezTo>
                    <a:cubicBezTo>
                      <a:pt x="118" y="133"/>
                      <a:pt x="118" y="133"/>
                      <a:pt x="118" y="133"/>
                    </a:cubicBezTo>
                    <a:cubicBezTo>
                      <a:pt x="118" y="132"/>
                      <a:pt x="118" y="132"/>
                      <a:pt x="118" y="132"/>
                    </a:cubicBezTo>
                    <a:cubicBezTo>
                      <a:pt x="116" y="113"/>
                      <a:pt x="116" y="113"/>
                      <a:pt x="116" y="113"/>
                    </a:cubicBezTo>
                    <a:cubicBezTo>
                      <a:pt x="108" y="101"/>
                      <a:pt x="108" y="101"/>
                      <a:pt x="108" y="101"/>
                    </a:cubicBezTo>
                    <a:cubicBezTo>
                      <a:pt x="94" y="84"/>
                      <a:pt x="94" y="84"/>
                      <a:pt x="94" y="84"/>
                    </a:cubicBezTo>
                    <a:cubicBezTo>
                      <a:pt x="93" y="84"/>
                      <a:pt x="93" y="84"/>
                      <a:pt x="93" y="84"/>
                    </a:cubicBezTo>
                    <a:cubicBezTo>
                      <a:pt x="92" y="73"/>
                      <a:pt x="92" y="73"/>
                      <a:pt x="92" y="73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87" y="64"/>
                      <a:pt x="87" y="64"/>
                      <a:pt x="87" y="64"/>
                    </a:cubicBezTo>
                    <a:cubicBezTo>
                      <a:pt x="87" y="64"/>
                      <a:pt x="87" y="64"/>
                      <a:pt x="87" y="64"/>
                    </a:cubicBezTo>
                    <a:cubicBezTo>
                      <a:pt x="88" y="63"/>
                      <a:pt x="88" y="63"/>
                      <a:pt x="88" y="63"/>
                    </a:cubicBezTo>
                    <a:cubicBezTo>
                      <a:pt x="90" y="52"/>
                      <a:pt x="90" y="52"/>
                      <a:pt x="90" y="52"/>
                    </a:cubicBezTo>
                    <a:cubicBezTo>
                      <a:pt x="91" y="52"/>
                      <a:pt x="91" y="52"/>
                      <a:pt x="9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117" y="51"/>
                      <a:pt x="117" y="51"/>
                      <a:pt x="117" y="51"/>
                    </a:cubicBezTo>
                    <a:cubicBezTo>
                      <a:pt x="130" y="44"/>
                      <a:pt x="130" y="44"/>
                      <a:pt x="130" y="44"/>
                    </a:cubicBezTo>
                    <a:cubicBezTo>
                      <a:pt x="130" y="44"/>
                      <a:pt x="130" y="44"/>
                      <a:pt x="130" y="44"/>
                    </a:cubicBezTo>
                    <a:cubicBezTo>
                      <a:pt x="131" y="43"/>
                      <a:pt x="131" y="43"/>
                      <a:pt x="131" y="43"/>
                    </a:cubicBezTo>
                    <a:cubicBezTo>
                      <a:pt x="136" y="42"/>
                      <a:pt x="139" y="40"/>
                      <a:pt x="140" y="38"/>
                    </a:cubicBezTo>
                    <a:cubicBezTo>
                      <a:pt x="141" y="36"/>
                      <a:pt x="142" y="33"/>
                      <a:pt x="14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3" name="íṥlíḓè"/>
              <p:cNvSpPr/>
              <p:nvPr/>
            </p:nvSpPr>
            <p:spPr bwMode="auto">
              <a:xfrm>
                <a:off x="3115" y="1877"/>
                <a:ext cx="384" cy="684"/>
              </a:xfrm>
              <a:custGeom>
                <a:avLst/>
                <a:gdLst>
                  <a:gd name="T0" fmla="*/ 48 w 162"/>
                  <a:gd name="T1" fmla="*/ 90 h 289"/>
                  <a:gd name="T2" fmla="*/ 61 w 162"/>
                  <a:gd name="T3" fmla="*/ 100 h 289"/>
                  <a:gd name="T4" fmla="*/ 70 w 162"/>
                  <a:gd name="T5" fmla="*/ 108 h 289"/>
                  <a:gd name="T6" fmla="*/ 88 w 162"/>
                  <a:gd name="T7" fmla="*/ 114 h 289"/>
                  <a:gd name="T8" fmla="*/ 88 w 162"/>
                  <a:gd name="T9" fmla="*/ 115 h 289"/>
                  <a:gd name="T10" fmla="*/ 93 w 162"/>
                  <a:gd name="T11" fmla="*/ 123 h 289"/>
                  <a:gd name="T12" fmla="*/ 89 w 162"/>
                  <a:gd name="T13" fmla="*/ 136 h 289"/>
                  <a:gd name="T14" fmla="*/ 88 w 162"/>
                  <a:gd name="T15" fmla="*/ 144 h 289"/>
                  <a:gd name="T16" fmla="*/ 84 w 162"/>
                  <a:gd name="T17" fmla="*/ 158 h 289"/>
                  <a:gd name="T18" fmla="*/ 70 w 162"/>
                  <a:gd name="T19" fmla="*/ 156 h 289"/>
                  <a:gd name="T20" fmla="*/ 56 w 162"/>
                  <a:gd name="T21" fmla="*/ 166 h 289"/>
                  <a:gd name="T22" fmla="*/ 58 w 162"/>
                  <a:gd name="T23" fmla="*/ 177 h 289"/>
                  <a:gd name="T24" fmla="*/ 44 w 162"/>
                  <a:gd name="T25" fmla="*/ 174 h 289"/>
                  <a:gd name="T26" fmla="*/ 32 w 162"/>
                  <a:gd name="T27" fmla="*/ 169 h 289"/>
                  <a:gd name="T28" fmla="*/ 20 w 162"/>
                  <a:gd name="T29" fmla="*/ 196 h 289"/>
                  <a:gd name="T30" fmla="*/ 24 w 162"/>
                  <a:gd name="T31" fmla="*/ 204 h 289"/>
                  <a:gd name="T32" fmla="*/ 26 w 162"/>
                  <a:gd name="T33" fmla="*/ 211 h 289"/>
                  <a:gd name="T34" fmla="*/ 27 w 162"/>
                  <a:gd name="T35" fmla="*/ 222 h 289"/>
                  <a:gd name="T36" fmla="*/ 3 w 162"/>
                  <a:gd name="T37" fmla="*/ 227 h 289"/>
                  <a:gd name="T38" fmla="*/ 3 w 162"/>
                  <a:gd name="T39" fmla="*/ 243 h 289"/>
                  <a:gd name="T40" fmla="*/ 6 w 162"/>
                  <a:gd name="T41" fmla="*/ 254 h 289"/>
                  <a:gd name="T42" fmla="*/ 33 w 162"/>
                  <a:gd name="T43" fmla="*/ 252 h 289"/>
                  <a:gd name="T44" fmla="*/ 43 w 162"/>
                  <a:gd name="T45" fmla="*/ 260 h 289"/>
                  <a:gd name="T46" fmla="*/ 51 w 162"/>
                  <a:gd name="T47" fmla="*/ 266 h 289"/>
                  <a:gd name="T48" fmla="*/ 58 w 162"/>
                  <a:gd name="T49" fmla="*/ 260 h 289"/>
                  <a:gd name="T50" fmla="*/ 76 w 162"/>
                  <a:gd name="T51" fmla="*/ 273 h 289"/>
                  <a:gd name="T52" fmla="*/ 98 w 162"/>
                  <a:gd name="T53" fmla="*/ 274 h 289"/>
                  <a:gd name="T54" fmla="*/ 104 w 162"/>
                  <a:gd name="T55" fmla="*/ 278 h 289"/>
                  <a:gd name="T56" fmla="*/ 104 w 162"/>
                  <a:gd name="T57" fmla="*/ 279 h 289"/>
                  <a:gd name="T58" fmla="*/ 113 w 162"/>
                  <a:gd name="T59" fmla="*/ 287 h 289"/>
                  <a:gd name="T60" fmla="*/ 124 w 162"/>
                  <a:gd name="T61" fmla="*/ 280 h 289"/>
                  <a:gd name="T62" fmla="*/ 120 w 162"/>
                  <a:gd name="T63" fmla="*/ 274 h 289"/>
                  <a:gd name="T64" fmla="*/ 124 w 162"/>
                  <a:gd name="T65" fmla="*/ 257 h 289"/>
                  <a:gd name="T66" fmla="*/ 134 w 162"/>
                  <a:gd name="T67" fmla="*/ 256 h 289"/>
                  <a:gd name="T68" fmla="*/ 121 w 162"/>
                  <a:gd name="T69" fmla="*/ 242 h 289"/>
                  <a:gd name="T70" fmla="*/ 117 w 162"/>
                  <a:gd name="T71" fmla="*/ 237 h 289"/>
                  <a:gd name="T72" fmla="*/ 122 w 162"/>
                  <a:gd name="T73" fmla="*/ 231 h 289"/>
                  <a:gd name="T74" fmla="*/ 151 w 162"/>
                  <a:gd name="T75" fmla="*/ 233 h 289"/>
                  <a:gd name="T76" fmla="*/ 162 w 162"/>
                  <a:gd name="T77" fmla="*/ 231 h 289"/>
                  <a:gd name="T78" fmla="*/ 145 w 162"/>
                  <a:gd name="T79" fmla="*/ 187 h 289"/>
                  <a:gd name="T80" fmla="*/ 137 w 162"/>
                  <a:gd name="T81" fmla="*/ 184 h 289"/>
                  <a:gd name="T82" fmla="*/ 136 w 162"/>
                  <a:gd name="T83" fmla="*/ 172 h 289"/>
                  <a:gd name="T84" fmla="*/ 138 w 162"/>
                  <a:gd name="T85" fmla="*/ 95 h 289"/>
                  <a:gd name="T86" fmla="*/ 140 w 162"/>
                  <a:gd name="T87" fmla="*/ 80 h 289"/>
                  <a:gd name="T88" fmla="*/ 148 w 162"/>
                  <a:gd name="T89" fmla="*/ 68 h 289"/>
                  <a:gd name="T90" fmla="*/ 139 w 162"/>
                  <a:gd name="T91" fmla="*/ 55 h 289"/>
                  <a:gd name="T92" fmla="*/ 138 w 162"/>
                  <a:gd name="T93" fmla="*/ 44 h 289"/>
                  <a:gd name="T94" fmla="*/ 138 w 162"/>
                  <a:gd name="T95" fmla="*/ 43 h 289"/>
                  <a:gd name="T96" fmla="*/ 146 w 162"/>
                  <a:gd name="T97" fmla="*/ 18 h 289"/>
                  <a:gd name="T98" fmla="*/ 150 w 162"/>
                  <a:gd name="T99" fmla="*/ 10 h 289"/>
                  <a:gd name="T100" fmla="*/ 156 w 162"/>
                  <a:gd name="T101" fmla="*/ 6 h 289"/>
                  <a:gd name="T102" fmla="*/ 148 w 162"/>
                  <a:gd name="T103" fmla="*/ 0 h 289"/>
                  <a:gd name="T104" fmla="*/ 134 w 162"/>
                  <a:gd name="T105" fmla="*/ 5 h 289"/>
                  <a:gd name="T106" fmla="*/ 122 w 162"/>
                  <a:gd name="T107" fmla="*/ 16 h 289"/>
                  <a:gd name="T108" fmla="*/ 105 w 162"/>
                  <a:gd name="T109" fmla="*/ 28 h 289"/>
                  <a:gd name="T110" fmla="*/ 98 w 162"/>
                  <a:gd name="T111" fmla="*/ 35 h 289"/>
                  <a:gd name="T112" fmla="*/ 93 w 162"/>
                  <a:gd name="T113" fmla="*/ 59 h 289"/>
                  <a:gd name="T114" fmla="*/ 92 w 162"/>
                  <a:gd name="T115" fmla="*/ 66 h 289"/>
                  <a:gd name="T116" fmla="*/ 87 w 162"/>
                  <a:gd name="T117" fmla="*/ 72 h 289"/>
                  <a:gd name="T118" fmla="*/ 86 w 162"/>
                  <a:gd name="T119" fmla="*/ 73 h 289"/>
                  <a:gd name="T120" fmla="*/ 76 w 162"/>
                  <a:gd name="T121" fmla="*/ 74 h 289"/>
                  <a:gd name="T122" fmla="*/ 76 w 162"/>
                  <a:gd name="T123" fmla="*/ 74 h 289"/>
                  <a:gd name="T124" fmla="*/ 54 w 162"/>
                  <a:gd name="T125" fmla="*/ 66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2" h="289">
                    <a:moveTo>
                      <a:pt x="54" y="66"/>
                    </a:moveTo>
                    <a:cubicBezTo>
                      <a:pt x="52" y="65"/>
                      <a:pt x="52" y="65"/>
                      <a:pt x="52" y="65"/>
                    </a:cubicBezTo>
                    <a:cubicBezTo>
                      <a:pt x="48" y="90"/>
                      <a:pt x="48" y="90"/>
                      <a:pt x="48" y="90"/>
                    </a:cubicBezTo>
                    <a:cubicBezTo>
                      <a:pt x="54" y="98"/>
                      <a:pt x="54" y="98"/>
                      <a:pt x="54" y="98"/>
                    </a:cubicBezTo>
                    <a:cubicBezTo>
                      <a:pt x="61" y="100"/>
                      <a:pt x="61" y="100"/>
                      <a:pt x="61" y="100"/>
                    </a:cubicBezTo>
                    <a:cubicBezTo>
                      <a:pt x="61" y="100"/>
                      <a:pt x="61" y="100"/>
                      <a:pt x="61" y="100"/>
                    </a:cubicBezTo>
                    <a:cubicBezTo>
                      <a:pt x="61" y="100"/>
                      <a:pt x="61" y="100"/>
                      <a:pt x="61" y="100"/>
                    </a:cubicBezTo>
                    <a:cubicBezTo>
                      <a:pt x="62" y="101"/>
                      <a:pt x="62" y="101"/>
                      <a:pt x="62" y="101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82" y="110"/>
                      <a:pt x="82" y="110"/>
                      <a:pt x="82" y="110"/>
                    </a:cubicBezTo>
                    <a:cubicBezTo>
                      <a:pt x="82" y="110"/>
                      <a:pt x="82" y="110"/>
                      <a:pt x="82" y="110"/>
                    </a:cubicBezTo>
                    <a:cubicBezTo>
                      <a:pt x="88" y="114"/>
                      <a:pt x="88" y="114"/>
                      <a:pt x="88" y="114"/>
                    </a:cubicBezTo>
                    <a:cubicBezTo>
                      <a:pt x="88" y="114"/>
                      <a:pt x="88" y="114"/>
                      <a:pt x="88" y="114"/>
                    </a:cubicBezTo>
                    <a:cubicBezTo>
                      <a:pt x="88" y="114"/>
                      <a:pt x="88" y="114"/>
                      <a:pt x="88" y="114"/>
                    </a:cubicBezTo>
                    <a:cubicBezTo>
                      <a:pt x="88" y="115"/>
                      <a:pt x="88" y="115"/>
                      <a:pt x="88" y="115"/>
                    </a:cubicBezTo>
                    <a:cubicBezTo>
                      <a:pt x="93" y="122"/>
                      <a:pt x="93" y="122"/>
                      <a:pt x="93" y="122"/>
                    </a:cubicBezTo>
                    <a:cubicBezTo>
                      <a:pt x="94" y="122"/>
                      <a:pt x="94" y="122"/>
                      <a:pt x="94" y="122"/>
                    </a:cubicBezTo>
                    <a:cubicBezTo>
                      <a:pt x="93" y="123"/>
                      <a:pt x="93" y="123"/>
                      <a:pt x="93" y="123"/>
                    </a:cubicBezTo>
                    <a:cubicBezTo>
                      <a:pt x="89" y="130"/>
                      <a:pt x="89" y="130"/>
                      <a:pt x="89" y="130"/>
                    </a:cubicBezTo>
                    <a:cubicBezTo>
                      <a:pt x="88" y="130"/>
                      <a:pt x="88" y="132"/>
                      <a:pt x="88" y="136"/>
                    </a:cubicBezTo>
                    <a:cubicBezTo>
                      <a:pt x="89" y="136"/>
                      <a:pt x="89" y="136"/>
                      <a:pt x="89" y="136"/>
                    </a:cubicBezTo>
                    <a:cubicBezTo>
                      <a:pt x="89" y="143"/>
                      <a:pt x="89" y="143"/>
                      <a:pt x="89" y="143"/>
                    </a:cubicBezTo>
                    <a:cubicBezTo>
                      <a:pt x="88" y="144"/>
                      <a:pt x="88" y="144"/>
                      <a:pt x="88" y="144"/>
                    </a:cubicBezTo>
                    <a:cubicBezTo>
                      <a:pt x="88" y="144"/>
                      <a:pt x="88" y="144"/>
                      <a:pt x="88" y="144"/>
                    </a:cubicBezTo>
                    <a:cubicBezTo>
                      <a:pt x="85" y="156"/>
                      <a:pt x="85" y="156"/>
                      <a:pt x="85" y="156"/>
                    </a:cubicBezTo>
                    <a:cubicBezTo>
                      <a:pt x="84" y="158"/>
                      <a:pt x="84" y="158"/>
                      <a:pt x="84" y="158"/>
                    </a:cubicBezTo>
                    <a:cubicBezTo>
                      <a:pt x="84" y="158"/>
                      <a:pt x="84" y="158"/>
                      <a:pt x="84" y="158"/>
                    </a:cubicBezTo>
                    <a:cubicBezTo>
                      <a:pt x="82" y="157"/>
                      <a:pt x="82" y="157"/>
                      <a:pt x="82" y="157"/>
                    </a:cubicBezTo>
                    <a:cubicBezTo>
                      <a:pt x="77" y="156"/>
                      <a:pt x="77" y="156"/>
                      <a:pt x="77" y="156"/>
                    </a:cubicBezTo>
                    <a:cubicBezTo>
                      <a:pt x="70" y="156"/>
                      <a:pt x="70" y="156"/>
                      <a:pt x="70" y="156"/>
                    </a:cubicBezTo>
                    <a:cubicBezTo>
                      <a:pt x="64" y="158"/>
                      <a:pt x="64" y="158"/>
                      <a:pt x="64" y="158"/>
                    </a:cubicBezTo>
                    <a:cubicBezTo>
                      <a:pt x="58" y="164"/>
                      <a:pt x="58" y="164"/>
                      <a:pt x="58" y="164"/>
                    </a:cubicBezTo>
                    <a:cubicBezTo>
                      <a:pt x="56" y="166"/>
                      <a:pt x="56" y="166"/>
                      <a:pt x="56" y="166"/>
                    </a:cubicBezTo>
                    <a:cubicBezTo>
                      <a:pt x="65" y="170"/>
                      <a:pt x="65" y="170"/>
                      <a:pt x="65" y="170"/>
                    </a:cubicBezTo>
                    <a:cubicBezTo>
                      <a:pt x="64" y="172"/>
                      <a:pt x="64" y="172"/>
                      <a:pt x="64" y="172"/>
                    </a:cubicBezTo>
                    <a:cubicBezTo>
                      <a:pt x="64" y="174"/>
                      <a:pt x="62" y="176"/>
                      <a:pt x="58" y="177"/>
                    </a:cubicBezTo>
                    <a:cubicBezTo>
                      <a:pt x="53" y="177"/>
                      <a:pt x="53" y="177"/>
                      <a:pt x="53" y="177"/>
                    </a:cubicBezTo>
                    <a:cubicBezTo>
                      <a:pt x="44" y="174"/>
                      <a:pt x="44" y="174"/>
                      <a:pt x="44" y="174"/>
                    </a:cubicBezTo>
                    <a:cubicBezTo>
                      <a:pt x="44" y="174"/>
                      <a:pt x="44" y="174"/>
                      <a:pt x="44" y="174"/>
                    </a:cubicBezTo>
                    <a:cubicBezTo>
                      <a:pt x="44" y="174"/>
                      <a:pt x="44" y="174"/>
                      <a:pt x="44" y="174"/>
                    </a:cubicBezTo>
                    <a:cubicBezTo>
                      <a:pt x="35" y="169"/>
                      <a:pt x="35" y="169"/>
                      <a:pt x="35" y="169"/>
                    </a:cubicBezTo>
                    <a:cubicBezTo>
                      <a:pt x="32" y="169"/>
                      <a:pt x="32" y="169"/>
                      <a:pt x="32" y="169"/>
                    </a:cubicBezTo>
                    <a:cubicBezTo>
                      <a:pt x="22" y="183"/>
                      <a:pt x="22" y="183"/>
                      <a:pt x="22" y="183"/>
                    </a:cubicBezTo>
                    <a:cubicBezTo>
                      <a:pt x="20" y="188"/>
                      <a:pt x="20" y="188"/>
                      <a:pt x="20" y="188"/>
                    </a:cubicBezTo>
                    <a:cubicBezTo>
                      <a:pt x="20" y="196"/>
                      <a:pt x="20" y="196"/>
                      <a:pt x="20" y="196"/>
                    </a:cubicBezTo>
                    <a:cubicBezTo>
                      <a:pt x="24" y="203"/>
                      <a:pt x="24" y="203"/>
                      <a:pt x="24" y="203"/>
                    </a:cubicBezTo>
                    <a:cubicBezTo>
                      <a:pt x="24" y="204"/>
                      <a:pt x="24" y="204"/>
                      <a:pt x="24" y="204"/>
                    </a:cubicBezTo>
                    <a:cubicBezTo>
                      <a:pt x="24" y="204"/>
                      <a:pt x="24" y="204"/>
                      <a:pt x="24" y="204"/>
                    </a:cubicBezTo>
                    <a:cubicBezTo>
                      <a:pt x="24" y="204"/>
                      <a:pt x="24" y="204"/>
                      <a:pt x="24" y="204"/>
                    </a:cubicBezTo>
                    <a:cubicBezTo>
                      <a:pt x="26" y="210"/>
                      <a:pt x="26" y="210"/>
                      <a:pt x="26" y="210"/>
                    </a:cubicBezTo>
                    <a:cubicBezTo>
                      <a:pt x="26" y="211"/>
                      <a:pt x="26" y="211"/>
                      <a:pt x="26" y="211"/>
                    </a:cubicBezTo>
                    <a:cubicBezTo>
                      <a:pt x="26" y="220"/>
                      <a:pt x="26" y="220"/>
                      <a:pt x="26" y="220"/>
                    </a:cubicBezTo>
                    <a:cubicBezTo>
                      <a:pt x="26" y="221"/>
                      <a:pt x="26" y="221"/>
                      <a:pt x="26" y="221"/>
                    </a:cubicBezTo>
                    <a:cubicBezTo>
                      <a:pt x="27" y="222"/>
                      <a:pt x="27" y="222"/>
                      <a:pt x="27" y="222"/>
                    </a:cubicBezTo>
                    <a:cubicBezTo>
                      <a:pt x="20" y="223"/>
                      <a:pt x="20" y="223"/>
                      <a:pt x="20" y="223"/>
                    </a:cubicBezTo>
                    <a:cubicBezTo>
                      <a:pt x="8" y="223"/>
                      <a:pt x="8" y="223"/>
                      <a:pt x="8" y="223"/>
                    </a:cubicBezTo>
                    <a:cubicBezTo>
                      <a:pt x="3" y="227"/>
                      <a:pt x="3" y="227"/>
                      <a:pt x="3" y="227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1" y="231"/>
                      <a:pt x="1" y="231"/>
                      <a:pt x="1" y="231"/>
                    </a:cubicBezTo>
                    <a:cubicBezTo>
                      <a:pt x="3" y="243"/>
                      <a:pt x="3" y="243"/>
                      <a:pt x="3" y="243"/>
                    </a:cubicBezTo>
                    <a:cubicBezTo>
                      <a:pt x="4" y="243"/>
                      <a:pt x="4" y="243"/>
                      <a:pt x="4" y="243"/>
                    </a:cubicBezTo>
                    <a:cubicBezTo>
                      <a:pt x="4" y="248"/>
                      <a:pt x="4" y="248"/>
                      <a:pt x="4" y="248"/>
                    </a:cubicBezTo>
                    <a:cubicBezTo>
                      <a:pt x="6" y="254"/>
                      <a:pt x="6" y="254"/>
                      <a:pt x="6" y="254"/>
                    </a:cubicBezTo>
                    <a:cubicBezTo>
                      <a:pt x="15" y="259"/>
                      <a:pt x="15" y="259"/>
                      <a:pt x="15" y="259"/>
                    </a:cubicBezTo>
                    <a:cubicBezTo>
                      <a:pt x="27" y="256"/>
                      <a:pt x="27" y="256"/>
                      <a:pt x="27" y="256"/>
                    </a:cubicBezTo>
                    <a:cubicBezTo>
                      <a:pt x="33" y="252"/>
                      <a:pt x="33" y="252"/>
                      <a:pt x="33" y="252"/>
                    </a:cubicBezTo>
                    <a:cubicBezTo>
                      <a:pt x="34" y="252"/>
                      <a:pt x="34" y="252"/>
                      <a:pt x="34" y="252"/>
                    </a:cubicBezTo>
                    <a:cubicBezTo>
                      <a:pt x="40" y="252"/>
                      <a:pt x="40" y="252"/>
                      <a:pt x="40" y="252"/>
                    </a:cubicBezTo>
                    <a:cubicBezTo>
                      <a:pt x="43" y="260"/>
                      <a:pt x="43" y="260"/>
                      <a:pt x="43" y="260"/>
                    </a:cubicBezTo>
                    <a:cubicBezTo>
                      <a:pt x="45" y="262"/>
                      <a:pt x="46" y="264"/>
                      <a:pt x="47" y="266"/>
                    </a:cubicBezTo>
                    <a:cubicBezTo>
                      <a:pt x="50" y="266"/>
                      <a:pt x="50" y="266"/>
                      <a:pt x="50" y="266"/>
                    </a:cubicBezTo>
                    <a:cubicBezTo>
                      <a:pt x="51" y="266"/>
                      <a:pt x="51" y="266"/>
                      <a:pt x="51" y="266"/>
                    </a:cubicBezTo>
                    <a:cubicBezTo>
                      <a:pt x="52" y="266"/>
                      <a:pt x="52" y="266"/>
                      <a:pt x="52" y="266"/>
                    </a:cubicBezTo>
                    <a:cubicBezTo>
                      <a:pt x="52" y="265"/>
                      <a:pt x="52" y="265"/>
                      <a:pt x="52" y="265"/>
                    </a:cubicBezTo>
                    <a:cubicBezTo>
                      <a:pt x="58" y="260"/>
                      <a:pt x="58" y="260"/>
                      <a:pt x="58" y="260"/>
                    </a:cubicBezTo>
                    <a:cubicBezTo>
                      <a:pt x="63" y="270"/>
                      <a:pt x="63" y="270"/>
                      <a:pt x="63" y="270"/>
                    </a:cubicBezTo>
                    <a:cubicBezTo>
                      <a:pt x="68" y="273"/>
                      <a:pt x="68" y="273"/>
                      <a:pt x="68" y="273"/>
                    </a:cubicBezTo>
                    <a:cubicBezTo>
                      <a:pt x="76" y="273"/>
                      <a:pt x="76" y="273"/>
                      <a:pt x="76" y="273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4" y="272"/>
                      <a:pt x="84" y="272"/>
                      <a:pt x="84" y="272"/>
                    </a:cubicBezTo>
                    <a:cubicBezTo>
                      <a:pt x="98" y="274"/>
                      <a:pt x="98" y="274"/>
                      <a:pt x="98" y="274"/>
                    </a:cubicBezTo>
                    <a:cubicBezTo>
                      <a:pt x="98" y="274"/>
                      <a:pt x="98" y="274"/>
                      <a:pt x="98" y="274"/>
                    </a:cubicBezTo>
                    <a:cubicBezTo>
                      <a:pt x="98" y="275"/>
                      <a:pt x="98" y="275"/>
                      <a:pt x="98" y="275"/>
                    </a:cubicBezTo>
                    <a:cubicBezTo>
                      <a:pt x="104" y="278"/>
                      <a:pt x="104" y="278"/>
                      <a:pt x="104" y="278"/>
                    </a:cubicBezTo>
                    <a:cubicBezTo>
                      <a:pt x="104" y="278"/>
                      <a:pt x="104" y="278"/>
                      <a:pt x="104" y="278"/>
                    </a:cubicBezTo>
                    <a:cubicBezTo>
                      <a:pt x="104" y="278"/>
                      <a:pt x="104" y="278"/>
                      <a:pt x="104" y="278"/>
                    </a:cubicBezTo>
                    <a:cubicBezTo>
                      <a:pt x="104" y="279"/>
                      <a:pt x="104" y="279"/>
                      <a:pt x="104" y="279"/>
                    </a:cubicBezTo>
                    <a:cubicBezTo>
                      <a:pt x="110" y="283"/>
                      <a:pt x="110" y="283"/>
                      <a:pt x="110" y="283"/>
                    </a:cubicBezTo>
                    <a:cubicBezTo>
                      <a:pt x="110" y="283"/>
                      <a:pt x="110" y="283"/>
                      <a:pt x="110" y="283"/>
                    </a:cubicBezTo>
                    <a:cubicBezTo>
                      <a:pt x="113" y="287"/>
                      <a:pt x="113" y="287"/>
                      <a:pt x="113" y="287"/>
                    </a:cubicBezTo>
                    <a:cubicBezTo>
                      <a:pt x="117" y="289"/>
                      <a:pt x="117" y="289"/>
                      <a:pt x="117" y="289"/>
                    </a:cubicBezTo>
                    <a:cubicBezTo>
                      <a:pt x="124" y="288"/>
                      <a:pt x="124" y="288"/>
                      <a:pt x="124" y="288"/>
                    </a:cubicBezTo>
                    <a:cubicBezTo>
                      <a:pt x="124" y="280"/>
                      <a:pt x="124" y="280"/>
                      <a:pt x="124" y="280"/>
                    </a:cubicBezTo>
                    <a:cubicBezTo>
                      <a:pt x="120" y="274"/>
                      <a:pt x="120" y="274"/>
                      <a:pt x="120" y="274"/>
                    </a:cubicBezTo>
                    <a:cubicBezTo>
                      <a:pt x="120" y="274"/>
                      <a:pt x="120" y="274"/>
                      <a:pt x="120" y="274"/>
                    </a:cubicBezTo>
                    <a:cubicBezTo>
                      <a:pt x="120" y="274"/>
                      <a:pt x="120" y="274"/>
                      <a:pt x="120" y="274"/>
                    </a:cubicBezTo>
                    <a:cubicBezTo>
                      <a:pt x="118" y="263"/>
                      <a:pt x="118" y="263"/>
                      <a:pt x="118" y="263"/>
                    </a:cubicBezTo>
                    <a:cubicBezTo>
                      <a:pt x="123" y="258"/>
                      <a:pt x="123" y="258"/>
                      <a:pt x="123" y="258"/>
                    </a:cubicBezTo>
                    <a:cubicBezTo>
                      <a:pt x="124" y="257"/>
                      <a:pt x="124" y="257"/>
                      <a:pt x="124" y="257"/>
                    </a:cubicBezTo>
                    <a:cubicBezTo>
                      <a:pt x="124" y="257"/>
                      <a:pt x="124" y="257"/>
                      <a:pt x="124" y="257"/>
                    </a:cubicBezTo>
                    <a:cubicBezTo>
                      <a:pt x="129" y="256"/>
                      <a:pt x="129" y="256"/>
                      <a:pt x="129" y="256"/>
                    </a:cubicBezTo>
                    <a:cubicBezTo>
                      <a:pt x="134" y="256"/>
                      <a:pt x="134" y="256"/>
                      <a:pt x="134" y="256"/>
                    </a:cubicBezTo>
                    <a:cubicBezTo>
                      <a:pt x="136" y="254"/>
                      <a:pt x="136" y="254"/>
                      <a:pt x="136" y="254"/>
                    </a:cubicBezTo>
                    <a:cubicBezTo>
                      <a:pt x="132" y="250"/>
                      <a:pt x="132" y="250"/>
                      <a:pt x="132" y="250"/>
                    </a:cubicBezTo>
                    <a:cubicBezTo>
                      <a:pt x="121" y="242"/>
                      <a:pt x="121" y="242"/>
                      <a:pt x="121" y="242"/>
                    </a:cubicBezTo>
                    <a:cubicBezTo>
                      <a:pt x="118" y="238"/>
                      <a:pt x="118" y="238"/>
                      <a:pt x="118" y="238"/>
                    </a:cubicBezTo>
                    <a:cubicBezTo>
                      <a:pt x="118" y="238"/>
                      <a:pt x="118" y="238"/>
                      <a:pt x="118" y="238"/>
                    </a:cubicBezTo>
                    <a:cubicBezTo>
                      <a:pt x="117" y="237"/>
                      <a:pt x="117" y="237"/>
                      <a:pt x="117" y="237"/>
                    </a:cubicBezTo>
                    <a:cubicBezTo>
                      <a:pt x="118" y="236"/>
                      <a:pt x="118" y="236"/>
                      <a:pt x="118" y="236"/>
                    </a:cubicBezTo>
                    <a:cubicBezTo>
                      <a:pt x="121" y="230"/>
                      <a:pt x="121" y="230"/>
                      <a:pt x="121" y="230"/>
                    </a:cubicBezTo>
                    <a:cubicBezTo>
                      <a:pt x="122" y="231"/>
                      <a:pt x="122" y="231"/>
                      <a:pt x="122" y="231"/>
                    </a:cubicBezTo>
                    <a:cubicBezTo>
                      <a:pt x="130" y="233"/>
                      <a:pt x="130" y="233"/>
                      <a:pt x="130" y="233"/>
                    </a:cubicBezTo>
                    <a:cubicBezTo>
                      <a:pt x="151" y="232"/>
                      <a:pt x="151" y="232"/>
                      <a:pt x="151" y="232"/>
                    </a:cubicBezTo>
                    <a:cubicBezTo>
                      <a:pt x="151" y="233"/>
                      <a:pt x="151" y="233"/>
                      <a:pt x="151" y="233"/>
                    </a:cubicBezTo>
                    <a:cubicBezTo>
                      <a:pt x="152" y="233"/>
                      <a:pt x="152" y="233"/>
                      <a:pt x="152" y="233"/>
                    </a:cubicBezTo>
                    <a:cubicBezTo>
                      <a:pt x="158" y="235"/>
                      <a:pt x="158" y="235"/>
                      <a:pt x="158" y="235"/>
                    </a:cubicBezTo>
                    <a:cubicBezTo>
                      <a:pt x="162" y="231"/>
                      <a:pt x="162" y="231"/>
                      <a:pt x="162" y="231"/>
                    </a:cubicBezTo>
                    <a:cubicBezTo>
                      <a:pt x="160" y="219"/>
                      <a:pt x="160" y="219"/>
                      <a:pt x="160" y="219"/>
                    </a:cubicBezTo>
                    <a:cubicBezTo>
                      <a:pt x="152" y="214"/>
                      <a:pt x="152" y="214"/>
                      <a:pt x="152" y="214"/>
                    </a:cubicBezTo>
                    <a:cubicBezTo>
                      <a:pt x="146" y="210"/>
                      <a:pt x="144" y="202"/>
                      <a:pt x="145" y="187"/>
                    </a:cubicBezTo>
                    <a:cubicBezTo>
                      <a:pt x="138" y="184"/>
                      <a:pt x="138" y="184"/>
                      <a:pt x="138" y="184"/>
                    </a:cubicBezTo>
                    <a:cubicBezTo>
                      <a:pt x="138" y="184"/>
                      <a:pt x="138" y="184"/>
                      <a:pt x="138" y="184"/>
                    </a:cubicBezTo>
                    <a:cubicBezTo>
                      <a:pt x="137" y="184"/>
                      <a:pt x="137" y="184"/>
                      <a:pt x="137" y="184"/>
                    </a:cubicBezTo>
                    <a:cubicBezTo>
                      <a:pt x="137" y="183"/>
                      <a:pt x="137" y="183"/>
                      <a:pt x="137" y="183"/>
                    </a:cubicBezTo>
                    <a:cubicBezTo>
                      <a:pt x="137" y="182"/>
                      <a:pt x="137" y="182"/>
                      <a:pt x="137" y="182"/>
                    </a:cubicBezTo>
                    <a:cubicBezTo>
                      <a:pt x="136" y="172"/>
                      <a:pt x="136" y="172"/>
                      <a:pt x="136" y="172"/>
                    </a:cubicBezTo>
                    <a:cubicBezTo>
                      <a:pt x="144" y="131"/>
                      <a:pt x="144" y="131"/>
                      <a:pt x="144" y="131"/>
                    </a:cubicBezTo>
                    <a:cubicBezTo>
                      <a:pt x="141" y="119"/>
                      <a:pt x="139" y="111"/>
                      <a:pt x="139" y="107"/>
                    </a:cubicBezTo>
                    <a:cubicBezTo>
                      <a:pt x="138" y="95"/>
                      <a:pt x="138" y="95"/>
                      <a:pt x="138" y="95"/>
                    </a:cubicBezTo>
                    <a:cubicBezTo>
                      <a:pt x="139" y="82"/>
                      <a:pt x="139" y="82"/>
                      <a:pt x="139" y="82"/>
                    </a:cubicBezTo>
                    <a:cubicBezTo>
                      <a:pt x="139" y="81"/>
                      <a:pt x="139" y="81"/>
                      <a:pt x="139" y="81"/>
                    </a:cubicBezTo>
                    <a:cubicBezTo>
                      <a:pt x="140" y="80"/>
                      <a:pt x="140" y="80"/>
                      <a:pt x="140" y="80"/>
                    </a:cubicBezTo>
                    <a:cubicBezTo>
                      <a:pt x="140" y="80"/>
                      <a:pt x="140" y="80"/>
                      <a:pt x="140" y="80"/>
                    </a:cubicBezTo>
                    <a:cubicBezTo>
                      <a:pt x="148" y="74"/>
                      <a:pt x="148" y="74"/>
                      <a:pt x="148" y="74"/>
                    </a:cubicBezTo>
                    <a:cubicBezTo>
                      <a:pt x="148" y="68"/>
                      <a:pt x="148" y="68"/>
                      <a:pt x="148" y="68"/>
                    </a:cubicBezTo>
                    <a:cubicBezTo>
                      <a:pt x="148" y="66"/>
                      <a:pt x="147" y="64"/>
                      <a:pt x="145" y="61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139" y="55"/>
                      <a:pt x="139" y="55"/>
                      <a:pt x="139" y="55"/>
                    </a:cubicBezTo>
                    <a:cubicBezTo>
                      <a:pt x="139" y="54"/>
                      <a:pt x="139" y="54"/>
                      <a:pt x="139" y="54"/>
                    </a:cubicBezTo>
                    <a:cubicBezTo>
                      <a:pt x="138" y="44"/>
                      <a:pt x="138" y="44"/>
                      <a:pt x="138" y="44"/>
                    </a:cubicBezTo>
                    <a:cubicBezTo>
                      <a:pt x="138" y="44"/>
                      <a:pt x="138" y="44"/>
                      <a:pt x="138" y="44"/>
                    </a:cubicBezTo>
                    <a:cubicBezTo>
                      <a:pt x="138" y="44"/>
                      <a:pt x="138" y="44"/>
                      <a:pt x="138" y="44"/>
                    </a:cubicBezTo>
                    <a:cubicBezTo>
                      <a:pt x="138" y="43"/>
                      <a:pt x="138" y="43"/>
                      <a:pt x="138" y="43"/>
                    </a:cubicBezTo>
                    <a:cubicBezTo>
                      <a:pt x="138" y="43"/>
                      <a:pt x="138" y="43"/>
                      <a:pt x="138" y="43"/>
                    </a:cubicBezTo>
                    <a:cubicBezTo>
                      <a:pt x="149" y="30"/>
                      <a:pt x="149" y="30"/>
                      <a:pt x="149" y="30"/>
                    </a:cubicBezTo>
                    <a:cubicBezTo>
                      <a:pt x="149" y="24"/>
                      <a:pt x="149" y="24"/>
                      <a:pt x="149" y="24"/>
                    </a:cubicBezTo>
                    <a:cubicBezTo>
                      <a:pt x="146" y="18"/>
                      <a:pt x="146" y="18"/>
                      <a:pt x="146" y="18"/>
                    </a:cubicBezTo>
                    <a:cubicBezTo>
                      <a:pt x="146" y="18"/>
                      <a:pt x="146" y="18"/>
                      <a:pt x="146" y="18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50" y="10"/>
                      <a:pt x="150" y="10"/>
                      <a:pt x="150" y="10"/>
                    </a:cubicBezTo>
                    <a:cubicBezTo>
                      <a:pt x="150" y="10"/>
                      <a:pt x="150" y="10"/>
                      <a:pt x="150" y="10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56" y="6"/>
                      <a:pt x="156" y="6"/>
                      <a:pt x="156" y="6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53" y="0"/>
                      <a:pt x="153" y="0"/>
                      <a:pt x="153" y="0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146" y="9"/>
                      <a:pt x="146" y="9"/>
                      <a:pt x="146" y="9"/>
                    </a:cubicBezTo>
                    <a:cubicBezTo>
                      <a:pt x="145" y="9"/>
                      <a:pt x="145" y="9"/>
                      <a:pt x="145" y="9"/>
                    </a:cubicBezTo>
                    <a:cubicBezTo>
                      <a:pt x="134" y="5"/>
                      <a:pt x="134" y="5"/>
                      <a:pt x="134" y="5"/>
                    </a:cubicBezTo>
                    <a:cubicBezTo>
                      <a:pt x="128" y="4"/>
                      <a:pt x="128" y="4"/>
                      <a:pt x="128" y="4"/>
                    </a:cubicBezTo>
                    <a:cubicBezTo>
                      <a:pt x="130" y="14"/>
                      <a:pt x="130" y="14"/>
                      <a:pt x="130" y="14"/>
                    </a:cubicBezTo>
                    <a:cubicBezTo>
                      <a:pt x="122" y="16"/>
                      <a:pt x="122" y="16"/>
                      <a:pt x="122" y="16"/>
                    </a:cubicBezTo>
                    <a:cubicBezTo>
                      <a:pt x="109" y="23"/>
                      <a:pt x="109" y="23"/>
                      <a:pt x="109" y="23"/>
                    </a:cubicBezTo>
                    <a:cubicBezTo>
                      <a:pt x="105" y="28"/>
                      <a:pt x="105" y="28"/>
                      <a:pt x="105" y="28"/>
                    </a:cubicBezTo>
                    <a:cubicBezTo>
                      <a:pt x="105" y="28"/>
                      <a:pt x="105" y="28"/>
                      <a:pt x="105" y="28"/>
                    </a:cubicBezTo>
                    <a:cubicBezTo>
                      <a:pt x="105" y="29"/>
                      <a:pt x="105" y="29"/>
                      <a:pt x="105" y="29"/>
                    </a:cubicBezTo>
                    <a:cubicBezTo>
                      <a:pt x="104" y="29"/>
                      <a:pt x="104" y="29"/>
                      <a:pt x="104" y="29"/>
                    </a:cubicBezTo>
                    <a:cubicBezTo>
                      <a:pt x="98" y="35"/>
                      <a:pt x="98" y="35"/>
                      <a:pt x="98" y="35"/>
                    </a:cubicBezTo>
                    <a:cubicBezTo>
                      <a:pt x="96" y="44"/>
                      <a:pt x="96" y="44"/>
                      <a:pt x="96" y="44"/>
                    </a:cubicBezTo>
                    <a:cubicBezTo>
                      <a:pt x="96" y="45"/>
                      <a:pt x="96" y="45"/>
                      <a:pt x="96" y="45"/>
                    </a:cubicBezTo>
                    <a:cubicBezTo>
                      <a:pt x="93" y="59"/>
                      <a:pt x="93" y="59"/>
                      <a:pt x="93" y="59"/>
                    </a:cubicBezTo>
                    <a:cubicBezTo>
                      <a:pt x="93" y="59"/>
                      <a:pt x="93" y="59"/>
                      <a:pt x="93" y="59"/>
                    </a:cubicBezTo>
                    <a:cubicBezTo>
                      <a:pt x="92" y="65"/>
                      <a:pt x="92" y="65"/>
                      <a:pt x="92" y="65"/>
                    </a:cubicBezTo>
                    <a:cubicBezTo>
                      <a:pt x="92" y="66"/>
                      <a:pt x="92" y="66"/>
                      <a:pt x="92" y="66"/>
                    </a:cubicBezTo>
                    <a:cubicBezTo>
                      <a:pt x="92" y="66"/>
                      <a:pt x="92" y="66"/>
                      <a:pt x="92" y="66"/>
                    </a:cubicBezTo>
                    <a:cubicBezTo>
                      <a:pt x="91" y="66"/>
                      <a:pt x="91" y="66"/>
                      <a:pt x="91" y="66"/>
                    </a:cubicBezTo>
                    <a:cubicBezTo>
                      <a:pt x="87" y="72"/>
                      <a:pt x="87" y="72"/>
                      <a:pt x="87" y="72"/>
                    </a:cubicBezTo>
                    <a:cubicBezTo>
                      <a:pt x="86" y="72"/>
                      <a:pt x="86" y="72"/>
                      <a:pt x="86" y="72"/>
                    </a:cubicBezTo>
                    <a:cubicBezTo>
                      <a:pt x="86" y="72"/>
                      <a:pt x="86" y="72"/>
                      <a:pt x="86" y="72"/>
                    </a:cubicBezTo>
                    <a:cubicBezTo>
                      <a:pt x="86" y="73"/>
                      <a:pt x="86" y="73"/>
                      <a:pt x="86" y="73"/>
                    </a:cubicBezTo>
                    <a:cubicBezTo>
                      <a:pt x="86" y="73"/>
                      <a:pt x="86" y="73"/>
                      <a:pt x="86" y="73"/>
                    </a:cubicBezTo>
                    <a:cubicBezTo>
                      <a:pt x="76" y="74"/>
                      <a:pt x="76" y="74"/>
                      <a:pt x="76" y="74"/>
                    </a:cubicBezTo>
                    <a:cubicBezTo>
                      <a:pt x="76" y="74"/>
                      <a:pt x="76" y="74"/>
                      <a:pt x="76" y="74"/>
                    </a:cubicBezTo>
                    <a:cubicBezTo>
                      <a:pt x="76" y="74"/>
                      <a:pt x="76" y="74"/>
                      <a:pt x="76" y="74"/>
                    </a:cubicBezTo>
                    <a:cubicBezTo>
                      <a:pt x="76" y="74"/>
                      <a:pt x="76" y="74"/>
                      <a:pt x="76" y="74"/>
                    </a:cubicBezTo>
                    <a:cubicBezTo>
                      <a:pt x="76" y="74"/>
                      <a:pt x="76" y="74"/>
                      <a:pt x="76" y="74"/>
                    </a:cubicBezTo>
                    <a:cubicBezTo>
                      <a:pt x="61" y="69"/>
                      <a:pt x="61" y="69"/>
                      <a:pt x="61" y="69"/>
                    </a:cubicBezTo>
                    <a:cubicBezTo>
                      <a:pt x="61" y="69"/>
                      <a:pt x="61" y="69"/>
                      <a:pt x="61" y="69"/>
                    </a:cubicBezTo>
                    <a:lnTo>
                      <a:pt x="54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4" name="íSḻiḍè"/>
              <p:cNvSpPr/>
              <p:nvPr/>
            </p:nvSpPr>
            <p:spPr bwMode="auto">
              <a:xfrm>
                <a:off x="3447" y="1749"/>
                <a:ext cx="256" cy="561"/>
              </a:xfrm>
              <a:custGeom>
                <a:avLst/>
                <a:gdLst>
                  <a:gd name="T0" fmla="*/ 100 w 108"/>
                  <a:gd name="T1" fmla="*/ 4 h 237"/>
                  <a:gd name="T2" fmla="*/ 94 w 108"/>
                  <a:gd name="T3" fmla="*/ 6 h 237"/>
                  <a:gd name="T4" fmla="*/ 88 w 108"/>
                  <a:gd name="T5" fmla="*/ 12 h 237"/>
                  <a:gd name="T6" fmla="*/ 87 w 108"/>
                  <a:gd name="T7" fmla="*/ 12 h 237"/>
                  <a:gd name="T8" fmla="*/ 68 w 108"/>
                  <a:gd name="T9" fmla="*/ 14 h 237"/>
                  <a:gd name="T10" fmla="*/ 61 w 108"/>
                  <a:gd name="T11" fmla="*/ 20 h 237"/>
                  <a:gd name="T12" fmla="*/ 56 w 108"/>
                  <a:gd name="T13" fmla="*/ 24 h 237"/>
                  <a:gd name="T14" fmla="*/ 46 w 108"/>
                  <a:gd name="T15" fmla="*/ 24 h 237"/>
                  <a:gd name="T16" fmla="*/ 42 w 108"/>
                  <a:gd name="T17" fmla="*/ 38 h 237"/>
                  <a:gd name="T18" fmla="*/ 41 w 108"/>
                  <a:gd name="T19" fmla="*/ 38 h 237"/>
                  <a:gd name="T20" fmla="*/ 33 w 108"/>
                  <a:gd name="T21" fmla="*/ 46 h 237"/>
                  <a:gd name="T22" fmla="*/ 21 w 108"/>
                  <a:gd name="T23" fmla="*/ 60 h 237"/>
                  <a:gd name="T24" fmla="*/ 14 w 108"/>
                  <a:gd name="T25" fmla="*/ 68 h 237"/>
                  <a:gd name="T26" fmla="*/ 13 w 108"/>
                  <a:gd name="T27" fmla="*/ 77 h 237"/>
                  <a:gd name="T28" fmla="*/ 13 w 108"/>
                  <a:gd name="T29" fmla="*/ 85 h 237"/>
                  <a:gd name="T30" fmla="*/ 8 w 108"/>
                  <a:gd name="T31" fmla="*/ 92 h 237"/>
                  <a:gd name="T32" fmla="*/ 8 w 108"/>
                  <a:gd name="T33" fmla="*/ 112 h 237"/>
                  <a:gd name="T34" fmla="*/ 12 w 108"/>
                  <a:gd name="T35" fmla="*/ 122 h 237"/>
                  <a:gd name="T36" fmla="*/ 11 w 108"/>
                  <a:gd name="T37" fmla="*/ 132 h 237"/>
                  <a:gd name="T38" fmla="*/ 3 w 108"/>
                  <a:gd name="T39" fmla="*/ 162 h 237"/>
                  <a:gd name="T40" fmla="*/ 9 w 108"/>
                  <a:gd name="T41" fmla="*/ 186 h 237"/>
                  <a:gd name="T42" fmla="*/ 7 w 108"/>
                  <a:gd name="T43" fmla="*/ 237 h 237"/>
                  <a:gd name="T44" fmla="*/ 17 w 108"/>
                  <a:gd name="T45" fmla="*/ 228 h 237"/>
                  <a:gd name="T46" fmla="*/ 56 w 108"/>
                  <a:gd name="T47" fmla="*/ 208 h 237"/>
                  <a:gd name="T48" fmla="*/ 75 w 108"/>
                  <a:gd name="T49" fmla="*/ 210 h 237"/>
                  <a:gd name="T50" fmla="*/ 91 w 108"/>
                  <a:gd name="T51" fmla="*/ 196 h 237"/>
                  <a:gd name="T52" fmla="*/ 95 w 108"/>
                  <a:gd name="T53" fmla="*/ 186 h 237"/>
                  <a:gd name="T54" fmla="*/ 95 w 108"/>
                  <a:gd name="T55" fmla="*/ 184 h 237"/>
                  <a:gd name="T56" fmla="*/ 97 w 108"/>
                  <a:gd name="T57" fmla="*/ 170 h 237"/>
                  <a:gd name="T58" fmla="*/ 98 w 108"/>
                  <a:gd name="T59" fmla="*/ 162 h 237"/>
                  <a:gd name="T60" fmla="*/ 95 w 108"/>
                  <a:gd name="T61" fmla="*/ 140 h 237"/>
                  <a:gd name="T62" fmla="*/ 96 w 108"/>
                  <a:gd name="T63" fmla="*/ 134 h 237"/>
                  <a:gd name="T64" fmla="*/ 108 w 108"/>
                  <a:gd name="T65" fmla="*/ 108 h 237"/>
                  <a:gd name="T66" fmla="*/ 91 w 108"/>
                  <a:gd name="T67" fmla="*/ 92 h 237"/>
                  <a:gd name="T68" fmla="*/ 88 w 108"/>
                  <a:gd name="T69" fmla="*/ 85 h 237"/>
                  <a:gd name="T70" fmla="*/ 90 w 108"/>
                  <a:gd name="T71" fmla="*/ 73 h 237"/>
                  <a:gd name="T72" fmla="*/ 92 w 108"/>
                  <a:gd name="T73" fmla="*/ 65 h 237"/>
                  <a:gd name="T74" fmla="*/ 104 w 108"/>
                  <a:gd name="T75" fmla="*/ 56 h 237"/>
                  <a:gd name="T76" fmla="*/ 107 w 108"/>
                  <a:gd name="T77" fmla="*/ 33 h 237"/>
                  <a:gd name="T78" fmla="*/ 100 w 108"/>
                  <a:gd name="T79" fmla="*/ 32 h 237"/>
                  <a:gd name="T80" fmla="*/ 91 w 108"/>
                  <a:gd name="T81" fmla="*/ 26 h 237"/>
                  <a:gd name="T82" fmla="*/ 90 w 108"/>
                  <a:gd name="T83" fmla="*/ 16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8" h="237">
                    <a:moveTo>
                      <a:pt x="101" y="12"/>
                    </a:moveTo>
                    <a:cubicBezTo>
                      <a:pt x="102" y="10"/>
                      <a:pt x="102" y="10"/>
                      <a:pt x="102" y="10"/>
                    </a:cubicBezTo>
                    <a:cubicBezTo>
                      <a:pt x="100" y="4"/>
                      <a:pt x="100" y="4"/>
                      <a:pt x="100" y="4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7" y="12"/>
                      <a:pt x="87" y="12"/>
                      <a:pt x="87" y="12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7" y="15"/>
                      <a:pt x="77" y="15"/>
                      <a:pt x="77" y="15"/>
                    </a:cubicBezTo>
                    <a:cubicBezTo>
                      <a:pt x="68" y="14"/>
                      <a:pt x="68" y="14"/>
                      <a:pt x="68" y="14"/>
                    </a:cubicBezTo>
                    <a:cubicBezTo>
                      <a:pt x="62" y="15"/>
                      <a:pt x="62" y="15"/>
                      <a:pt x="62" y="15"/>
                    </a:cubicBezTo>
                    <a:cubicBezTo>
                      <a:pt x="61" y="20"/>
                      <a:pt x="61" y="20"/>
                      <a:pt x="61" y="20"/>
                    </a:cubicBezTo>
                    <a:cubicBezTo>
                      <a:pt x="61" y="20"/>
                      <a:pt x="61" y="20"/>
                      <a:pt x="61" y="20"/>
                    </a:cubicBezTo>
                    <a:cubicBezTo>
                      <a:pt x="61" y="20"/>
                      <a:pt x="61" y="20"/>
                      <a:pt x="61" y="20"/>
                    </a:cubicBezTo>
                    <a:cubicBezTo>
                      <a:pt x="56" y="23"/>
                      <a:pt x="56" y="23"/>
                      <a:pt x="56" y="23"/>
                    </a:cubicBezTo>
                    <a:cubicBezTo>
                      <a:pt x="56" y="24"/>
                      <a:pt x="56" y="24"/>
                      <a:pt x="56" y="24"/>
                    </a:cubicBezTo>
                    <a:cubicBezTo>
                      <a:pt x="55" y="24"/>
                      <a:pt x="55" y="24"/>
                      <a:pt x="55" y="24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6" y="24"/>
                      <a:pt x="46" y="24"/>
                      <a:pt x="46" y="24"/>
                    </a:cubicBezTo>
                    <a:cubicBezTo>
                      <a:pt x="46" y="32"/>
                      <a:pt x="46" y="32"/>
                      <a:pt x="46" y="32"/>
                    </a:cubicBezTo>
                    <a:cubicBezTo>
                      <a:pt x="46" y="32"/>
                      <a:pt x="46" y="32"/>
                      <a:pt x="46" y="32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34" y="46"/>
                      <a:pt x="34" y="46"/>
                      <a:pt x="34" y="46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25" y="48"/>
                      <a:pt x="25" y="48"/>
                      <a:pt x="25" y="48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21" y="62"/>
                      <a:pt x="21" y="62"/>
                      <a:pt x="21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13" y="77"/>
                      <a:pt x="13" y="77"/>
                      <a:pt x="13" y="77"/>
                    </a:cubicBezTo>
                    <a:cubicBezTo>
                      <a:pt x="13" y="77"/>
                      <a:pt x="13" y="77"/>
                      <a:pt x="13" y="77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3" y="85"/>
                      <a:pt x="13" y="85"/>
                      <a:pt x="13" y="85"/>
                    </a:cubicBezTo>
                    <a:cubicBezTo>
                      <a:pt x="13" y="85"/>
                      <a:pt x="13" y="85"/>
                      <a:pt x="13" y="85"/>
                    </a:cubicBezTo>
                    <a:cubicBezTo>
                      <a:pt x="13" y="86"/>
                      <a:pt x="13" y="86"/>
                      <a:pt x="13" y="86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2" y="99"/>
                      <a:pt x="2" y="99"/>
                      <a:pt x="2" y="99"/>
                    </a:cubicBezTo>
                    <a:cubicBezTo>
                      <a:pt x="3" y="107"/>
                      <a:pt x="3" y="107"/>
                      <a:pt x="3" y="107"/>
                    </a:cubicBezTo>
                    <a:cubicBezTo>
                      <a:pt x="8" y="112"/>
                      <a:pt x="8" y="112"/>
                      <a:pt x="8" y="112"/>
                    </a:cubicBezTo>
                    <a:cubicBezTo>
                      <a:pt x="8" y="112"/>
                      <a:pt x="8" y="112"/>
                      <a:pt x="8" y="112"/>
                    </a:cubicBezTo>
                    <a:cubicBezTo>
                      <a:pt x="8" y="112"/>
                      <a:pt x="8" y="112"/>
                      <a:pt x="8" y="112"/>
                    </a:cubicBezTo>
                    <a:cubicBezTo>
                      <a:pt x="11" y="116"/>
                      <a:pt x="12" y="120"/>
                      <a:pt x="12" y="122"/>
                    </a:cubicBezTo>
                    <a:cubicBezTo>
                      <a:pt x="12" y="131"/>
                      <a:pt x="12" y="131"/>
                      <a:pt x="12" y="131"/>
                    </a:cubicBezTo>
                    <a:cubicBezTo>
                      <a:pt x="12" y="131"/>
                      <a:pt x="12" y="131"/>
                      <a:pt x="12" y="131"/>
                    </a:cubicBezTo>
                    <a:cubicBezTo>
                      <a:pt x="11" y="132"/>
                      <a:pt x="11" y="132"/>
                      <a:pt x="11" y="132"/>
                    </a:cubicBezTo>
                    <a:cubicBezTo>
                      <a:pt x="3" y="138"/>
                      <a:pt x="3" y="138"/>
                      <a:pt x="3" y="138"/>
                    </a:cubicBezTo>
                    <a:cubicBezTo>
                      <a:pt x="2" y="150"/>
                      <a:pt x="2" y="150"/>
                      <a:pt x="2" y="150"/>
                    </a:cubicBezTo>
                    <a:cubicBezTo>
                      <a:pt x="3" y="162"/>
                      <a:pt x="3" y="162"/>
                      <a:pt x="3" y="162"/>
                    </a:cubicBezTo>
                    <a:cubicBezTo>
                      <a:pt x="3" y="166"/>
                      <a:pt x="5" y="173"/>
                      <a:pt x="9" y="184"/>
                    </a:cubicBezTo>
                    <a:cubicBezTo>
                      <a:pt x="9" y="185"/>
                      <a:pt x="9" y="185"/>
                      <a:pt x="9" y="185"/>
                    </a:cubicBezTo>
                    <a:cubicBezTo>
                      <a:pt x="9" y="186"/>
                      <a:pt x="9" y="186"/>
                      <a:pt x="9" y="186"/>
                    </a:cubicBezTo>
                    <a:cubicBezTo>
                      <a:pt x="0" y="226"/>
                      <a:pt x="0" y="226"/>
                      <a:pt x="0" y="226"/>
                    </a:cubicBezTo>
                    <a:cubicBezTo>
                      <a:pt x="1" y="234"/>
                      <a:pt x="1" y="234"/>
                      <a:pt x="1" y="234"/>
                    </a:cubicBezTo>
                    <a:cubicBezTo>
                      <a:pt x="7" y="237"/>
                      <a:pt x="7" y="237"/>
                      <a:pt x="7" y="237"/>
                    </a:cubicBezTo>
                    <a:cubicBezTo>
                      <a:pt x="16" y="228"/>
                      <a:pt x="16" y="228"/>
                      <a:pt x="16" y="228"/>
                    </a:cubicBezTo>
                    <a:cubicBezTo>
                      <a:pt x="16" y="228"/>
                      <a:pt x="16" y="228"/>
                      <a:pt x="16" y="228"/>
                    </a:cubicBezTo>
                    <a:cubicBezTo>
                      <a:pt x="17" y="228"/>
                      <a:pt x="17" y="228"/>
                      <a:pt x="17" y="228"/>
                    </a:cubicBezTo>
                    <a:cubicBezTo>
                      <a:pt x="48" y="216"/>
                      <a:pt x="48" y="216"/>
                      <a:pt x="48" y="216"/>
                    </a:cubicBezTo>
                    <a:cubicBezTo>
                      <a:pt x="56" y="208"/>
                      <a:pt x="56" y="208"/>
                      <a:pt x="56" y="208"/>
                    </a:cubicBezTo>
                    <a:cubicBezTo>
                      <a:pt x="56" y="208"/>
                      <a:pt x="56" y="208"/>
                      <a:pt x="56" y="208"/>
                    </a:cubicBezTo>
                    <a:cubicBezTo>
                      <a:pt x="57" y="208"/>
                      <a:pt x="57" y="208"/>
                      <a:pt x="57" y="208"/>
                    </a:cubicBezTo>
                    <a:cubicBezTo>
                      <a:pt x="58" y="208"/>
                      <a:pt x="58" y="208"/>
                      <a:pt x="58" y="208"/>
                    </a:cubicBezTo>
                    <a:cubicBezTo>
                      <a:pt x="75" y="210"/>
                      <a:pt x="75" y="210"/>
                      <a:pt x="75" y="210"/>
                    </a:cubicBezTo>
                    <a:cubicBezTo>
                      <a:pt x="78" y="210"/>
                      <a:pt x="83" y="208"/>
                      <a:pt x="90" y="204"/>
                    </a:cubicBezTo>
                    <a:cubicBezTo>
                      <a:pt x="90" y="196"/>
                      <a:pt x="90" y="196"/>
                      <a:pt x="90" y="196"/>
                    </a:cubicBezTo>
                    <a:cubicBezTo>
                      <a:pt x="91" y="196"/>
                      <a:pt x="91" y="196"/>
                      <a:pt x="91" y="196"/>
                    </a:cubicBezTo>
                    <a:cubicBezTo>
                      <a:pt x="91" y="196"/>
                      <a:pt x="91" y="196"/>
                      <a:pt x="91" y="196"/>
                    </a:cubicBezTo>
                    <a:cubicBezTo>
                      <a:pt x="96" y="191"/>
                      <a:pt x="96" y="191"/>
                      <a:pt x="96" y="191"/>
                    </a:cubicBezTo>
                    <a:cubicBezTo>
                      <a:pt x="95" y="186"/>
                      <a:pt x="95" y="186"/>
                      <a:pt x="95" y="186"/>
                    </a:cubicBezTo>
                    <a:cubicBezTo>
                      <a:pt x="95" y="186"/>
                      <a:pt x="95" y="186"/>
                      <a:pt x="95" y="186"/>
                    </a:cubicBezTo>
                    <a:cubicBezTo>
                      <a:pt x="95" y="185"/>
                      <a:pt x="95" y="185"/>
                      <a:pt x="95" y="185"/>
                    </a:cubicBezTo>
                    <a:cubicBezTo>
                      <a:pt x="95" y="184"/>
                      <a:pt x="95" y="184"/>
                      <a:pt x="95" y="184"/>
                    </a:cubicBezTo>
                    <a:cubicBezTo>
                      <a:pt x="95" y="184"/>
                      <a:pt x="95" y="184"/>
                      <a:pt x="95" y="184"/>
                    </a:cubicBezTo>
                    <a:cubicBezTo>
                      <a:pt x="97" y="182"/>
                      <a:pt x="97" y="181"/>
                      <a:pt x="96" y="180"/>
                    </a:cubicBezTo>
                    <a:cubicBezTo>
                      <a:pt x="94" y="177"/>
                      <a:pt x="95" y="174"/>
                      <a:pt x="97" y="170"/>
                    </a:cubicBezTo>
                    <a:cubicBezTo>
                      <a:pt x="99" y="168"/>
                      <a:pt x="99" y="168"/>
                      <a:pt x="99" y="168"/>
                    </a:cubicBezTo>
                    <a:cubicBezTo>
                      <a:pt x="99" y="168"/>
                      <a:pt x="99" y="168"/>
                      <a:pt x="99" y="168"/>
                    </a:cubicBezTo>
                    <a:cubicBezTo>
                      <a:pt x="98" y="162"/>
                      <a:pt x="98" y="162"/>
                      <a:pt x="98" y="162"/>
                    </a:cubicBezTo>
                    <a:cubicBezTo>
                      <a:pt x="92" y="155"/>
                      <a:pt x="92" y="155"/>
                      <a:pt x="92" y="155"/>
                    </a:cubicBezTo>
                    <a:cubicBezTo>
                      <a:pt x="90" y="153"/>
                      <a:pt x="89" y="150"/>
                      <a:pt x="91" y="147"/>
                    </a:cubicBezTo>
                    <a:cubicBezTo>
                      <a:pt x="92" y="145"/>
                      <a:pt x="93" y="142"/>
                      <a:pt x="95" y="140"/>
                    </a:cubicBezTo>
                    <a:cubicBezTo>
                      <a:pt x="96" y="134"/>
                      <a:pt x="96" y="134"/>
                      <a:pt x="96" y="134"/>
                    </a:cubicBezTo>
                    <a:cubicBezTo>
                      <a:pt x="96" y="134"/>
                      <a:pt x="96" y="134"/>
                      <a:pt x="96" y="134"/>
                    </a:cubicBezTo>
                    <a:cubicBezTo>
                      <a:pt x="96" y="134"/>
                      <a:pt x="96" y="134"/>
                      <a:pt x="96" y="134"/>
                    </a:cubicBezTo>
                    <a:cubicBezTo>
                      <a:pt x="101" y="124"/>
                      <a:pt x="101" y="124"/>
                      <a:pt x="101" y="124"/>
                    </a:cubicBezTo>
                    <a:cubicBezTo>
                      <a:pt x="102" y="120"/>
                      <a:pt x="102" y="120"/>
                      <a:pt x="102" y="120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4" y="100"/>
                      <a:pt x="104" y="100"/>
                      <a:pt x="104" y="100"/>
                    </a:cubicBezTo>
                    <a:cubicBezTo>
                      <a:pt x="92" y="92"/>
                      <a:pt x="92" y="92"/>
                      <a:pt x="92" y="92"/>
                    </a:cubicBezTo>
                    <a:cubicBezTo>
                      <a:pt x="91" y="92"/>
                      <a:pt x="91" y="92"/>
                      <a:pt x="91" y="92"/>
                    </a:cubicBezTo>
                    <a:cubicBezTo>
                      <a:pt x="91" y="92"/>
                      <a:pt x="91" y="92"/>
                      <a:pt x="91" y="92"/>
                    </a:cubicBezTo>
                    <a:cubicBezTo>
                      <a:pt x="91" y="92"/>
                      <a:pt x="91" y="92"/>
                      <a:pt x="91" y="92"/>
                    </a:cubicBezTo>
                    <a:cubicBezTo>
                      <a:pt x="88" y="85"/>
                      <a:pt x="88" y="85"/>
                      <a:pt x="88" y="85"/>
                    </a:cubicBezTo>
                    <a:cubicBezTo>
                      <a:pt x="88" y="85"/>
                      <a:pt x="88" y="85"/>
                      <a:pt x="88" y="85"/>
                    </a:cubicBezTo>
                    <a:cubicBezTo>
                      <a:pt x="88" y="84"/>
                      <a:pt x="88" y="84"/>
                      <a:pt x="88" y="84"/>
                    </a:cubicBezTo>
                    <a:cubicBezTo>
                      <a:pt x="90" y="73"/>
                      <a:pt x="90" y="73"/>
                      <a:pt x="90" y="73"/>
                    </a:cubicBezTo>
                    <a:cubicBezTo>
                      <a:pt x="90" y="73"/>
                      <a:pt x="90" y="73"/>
                      <a:pt x="90" y="73"/>
                    </a:cubicBezTo>
                    <a:cubicBezTo>
                      <a:pt x="90" y="73"/>
                      <a:pt x="90" y="73"/>
                      <a:pt x="90" y="73"/>
                    </a:cubicBezTo>
                    <a:cubicBezTo>
                      <a:pt x="92" y="65"/>
                      <a:pt x="92" y="65"/>
                      <a:pt x="92" y="65"/>
                    </a:cubicBezTo>
                    <a:cubicBezTo>
                      <a:pt x="92" y="62"/>
                      <a:pt x="92" y="60"/>
                      <a:pt x="94" y="58"/>
                    </a:cubicBezTo>
                    <a:cubicBezTo>
                      <a:pt x="94" y="58"/>
                      <a:pt x="96" y="57"/>
                      <a:pt x="97" y="57"/>
                    </a:cubicBezTo>
                    <a:cubicBezTo>
                      <a:pt x="104" y="56"/>
                      <a:pt x="104" y="56"/>
                      <a:pt x="104" y="56"/>
                    </a:cubicBezTo>
                    <a:cubicBezTo>
                      <a:pt x="106" y="51"/>
                      <a:pt x="106" y="51"/>
                      <a:pt x="106" y="51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07" y="33"/>
                      <a:pt x="107" y="33"/>
                      <a:pt x="107" y="33"/>
                    </a:cubicBezTo>
                    <a:cubicBezTo>
                      <a:pt x="100" y="32"/>
                      <a:pt x="100" y="32"/>
                      <a:pt x="100" y="32"/>
                    </a:cubicBezTo>
                    <a:cubicBezTo>
                      <a:pt x="100" y="32"/>
                      <a:pt x="100" y="32"/>
                      <a:pt x="100" y="32"/>
                    </a:cubicBezTo>
                    <a:cubicBezTo>
                      <a:pt x="100" y="32"/>
                      <a:pt x="100" y="32"/>
                      <a:pt x="100" y="32"/>
                    </a:cubicBezTo>
                    <a:cubicBezTo>
                      <a:pt x="92" y="28"/>
                      <a:pt x="92" y="28"/>
                      <a:pt x="92" y="28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1" y="26"/>
                      <a:pt x="91" y="26"/>
                      <a:pt x="91" y="26"/>
                    </a:cubicBezTo>
                    <a:cubicBezTo>
                      <a:pt x="91" y="26"/>
                      <a:pt x="91" y="26"/>
                      <a:pt x="91" y="26"/>
                    </a:cubicBezTo>
                    <a:cubicBezTo>
                      <a:pt x="90" y="16"/>
                      <a:pt x="90" y="16"/>
                      <a:pt x="90" y="16"/>
                    </a:cubicBezTo>
                    <a:cubicBezTo>
                      <a:pt x="90" y="16"/>
                      <a:pt x="90" y="16"/>
                      <a:pt x="90" y="16"/>
                    </a:cubicBezTo>
                    <a:cubicBezTo>
                      <a:pt x="90" y="14"/>
                      <a:pt x="90" y="14"/>
                      <a:pt x="90" y="14"/>
                    </a:cubicBezTo>
                    <a:lnTo>
                      <a:pt x="101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5" name="íşļïḋé"/>
              <p:cNvSpPr/>
              <p:nvPr/>
            </p:nvSpPr>
            <p:spPr bwMode="auto">
              <a:xfrm>
                <a:off x="3381" y="2706"/>
                <a:ext cx="409" cy="473"/>
              </a:xfrm>
              <a:custGeom>
                <a:avLst/>
                <a:gdLst>
                  <a:gd name="T0" fmla="*/ 150 w 173"/>
                  <a:gd name="T1" fmla="*/ 34 h 200"/>
                  <a:gd name="T2" fmla="*/ 146 w 173"/>
                  <a:gd name="T3" fmla="*/ 26 h 200"/>
                  <a:gd name="T4" fmla="*/ 143 w 173"/>
                  <a:gd name="T5" fmla="*/ 12 h 200"/>
                  <a:gd name="T6" fmla="*/ 136 w 173"/>
                  <a:gd name="T7" fmla="*/ 17 h 200"/>
                  <a:gd name="T8" fmla="*/ 125 w 173"/>
                  <a:gd name="T9" fmla="*/ 15 h 200"/>
                  <a:gd name="T10" fmla="*/ 125 w 173"/>
                  <a:gd name="T11" fmla="*/ 7 h 200"/>
                  <a:gd name="T12" fmla="*/ 122 w 173"/>
                  <a:gd name="T13" fmla="*/ 10 h 200"/>
                  <a:gd name="T14" fmla="*/ 109 w 173"/>
                  <a:gd name="T15" fmla="*/ 22 h 200"/>
                  <a:gd name="T16" fmla="*/ 107 w 173"/>
                  <a:gd name="T17" fmla="*/ 22 h 200"/>
                  <a:gd name="T18" fmla="*/ 99 w 173"/>
                  <a:gd name="T19" fmla="*/ 16 h 200"/>
                  <a:gd name="T20" fmla="*/ 92 w 173"/>
                  <a:gd name="T21" fmla="*/ 13 h 200"/>
                  <a:gd name="T22" fmla="*/ 75 w 173"/>
                  <a:gd name="T23" fmla="*/ 8 h 200"/>
                  <a:gd name="T24" fmla="*/ 66 w 173"/>
                  <a:gd name="T25" fmla="*/ 4 h 200"/>
                  <a:gd name="T26" fmla="*/ 47 w 173"/>
                  <a:gd name="T27" fmla="*/ 0 h 200"/>
                  <a:gd name="T28" fmla="*/ 40 w 173"/>
                  <a:gd name="T29" fmla="*/ 16 h 200"/>
                  <a:gd name="T30" fmla="*/ 34 w 173"/>
                  <a:gd name="T31" fmla="*/ 16 h 200"/>
                  <a:gd name="T32" fmla="*/ 14 w 173"/>
                  <a:gd name="T33" fmla="*/ 26 h 200"/>
                  <a:gd name="T34" fmla="*/ 13 w 173"/>
                  <a:gd name="T35" fmla="*/ 72 h 200"/>
                  <a:gd name="T36" fmla="*/ 9 w 173"/>
                  <a:gd name="T37" fmla="*/ 83 h 200"/>
                  <a:gd name="T38" fmla="*/ 1 w 173"/>
                  <a:gd name="T39" fmla="*/ 109 h 200"/>
                  <a:gd name="T40" fmla="*/ 7 w 173"/>
                  <a:gd name="T41" fmla="*/ 111 h 200"/>
                  <a:gd name="T42" fmla="*/ 17 w 173"/>
                  <a:gd name="T43" fmla="*/ 126 h 200"/>
                  <a:gd name="T44" fmla="*/ 14 w 173"/>
                  <a:gd name="T45" fmla="*/ 132 h 200"/>
                  <a:gd name="T46" fmla="*/ 24 w 173"/>
                  <a:gd name="T47" fmla="*/ 158 h 200"/>
                  <a:gd name="T48" fmla="*/ 38 w 173"/>
                  <a:gd name="T49" fmla="*/ 151 h 200"/>
                  <a:gd name="T50" fmla="*/ 46 w 173"/>
                  <a:gd name="T51" fmla="*/ 151 h 200"/>
                  <a:gd name="T52" fmla="*/ 52 w 173"/>
                  <a:gd name="T53" fmla="*/ 140 h 200"/>
                  <a:gd name="T54" fmla="*/ 68 w 173"/>
                  <a:gd name="T55" fmla="*/ 135 h 200"/>
                  <a:gd name="T56" fmla="*/ 77 w 173"/>
                  <a:gd name="T57" fmla="*/ 151 h 200"/>
                  <a:gd name="T58" fmla="*/ 81 w 173"/>
                  <a:gd name="T59" fmla="*/ 165 h 200"/>
                  <a:gd name="T60" fmla="*/ 71 w 173"/>
                  <a:gd name="T61" fmla="*/ 185 h 200"/>
                  <a:gd name="T62" fmla="*/ 84 w 173"/>
                  <a:gd name="T63" fmla="*/ 187 h 200"/>
                  <a:gd name="T64" fmla="*/ 89 w 173"/>
                  <a:gd name="T65" fmla="*/ 199 h 200"/>
                  <a:gd name="T66" fmla="*/ 102 w 173"/>
                  <a:gd name="T67" fmla="*/ 196 h 200"/>
                  <a:gd name="T68" fmla="*/ 108 w 173"/>
                  <a:gd name="T69" fmla="*/ 178 h 200"/>
                  <a:gd name="T70" fmla="*/ 135 w 173"/>
                  <a:gd name="T71" fmla="*/ 189 h 200"/>
                  <a:gd name="T72" fmla="*/ 128 w 173"/>
                  <a:gd name="T73" fmla="*/ 172 h 200"/>
                  <a:gd name="T74" fmla="*/ 128 w 173"/>
                  <a:gd name="T75" fmla="*/ 170 h 200"/>
                  <a:gd name="T76" fmla="*/ 166 w 173"/>
                  <a:gd name="T77" fmla="*/ 166 h 200"/>
                  <a:gd name="T78" fmla="*/ 167 w 173"/>
                  <a:gd name="T79" fmla="*/ 165 h 200"/>
                  <a:gd name="T80" fmla="*/ 167 w 173"/>
                  <a:gd name="T81" fmla="*/ 163 h 200"/>
                  <a:gd name="T82" fmla="*/ 166 w 173"/>
                  <a:gd name="T83" fmla="*/ 142 h 200"/>
                  <a:gd name="T84" fmla="*/ 170 w 173"/>
                  <a:gd name="T85" fmla="*/ 134 h 200"/>
                  <a:gd name="T86" fmla="*/ 163 w 173"/>
                  <a:gd name="T87" fmla="*/ 126 h 200"/>
                  <a:gd name="T88" fmla="*/ 158 w 173"/>
                  <a:gd name="T89" fmla="*/ 98 h 200"/>
                  <a:gd name="T90" fmla="*/ 151 w 173"/>
                  <a:gd name="T91" fmla="*/ 102 h 200"/>
                  <a:gd name="T92" fmla="*/ 150 w 173"/>
                  <a:gd name="T93" fmla="*/ 84 h 200"/>
                  <a:gd name="T94" fmla="*/ 163 w 173"/>
                  <a:gd name="T95" fmla="*/ 50 h 200"/>
                  <a:gd name="T96" fmla="*/ 150 w 173"/>
                  <a:gd name="T97" fmla="*/ 34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73" h="200">
                    <a:moveTo>
                      <a:pt x="150" y="34"/>
                    </a:moveTo>
                    <a:cubicBezTo>
                      <a:pt x="150" y="34"/>
                      <a:pt x="150" y="34"/>
                      <a:pt x="150" y="34"/>
                    </a:cubicBezTo>
                    <a:cubicBezTo>
                      <a:pt x="150" y="34"/>
                      <a:pt x="150" y="34"/>
                      <a:pt x="150" y="34"/>
                    </a:cubicBezTo>
                    <a:cubicBezTo>
                      <a:pt x="150" y="33"/>
                      <a:pt x="150" y="33"/>
                      <a:pt x="150" y="33"/>
                    </a:cubicBezTo>
                    <a:cubicBezTo>
                      <a:pt x="146" y="27"/>
                      <a:pt x="146" y="27"/>
                      <a:pt x="146" y="27"/>
                    </a:cubicBezTo>
                    <a:cubicBezTo>
                      <a:pt x="146" y="26"/>
                      <a:pt x="146" y="26"/>
                      <a:pt x="146" y="26"/>
                    </a:cubicBezTo>
                    <a:cubicBezTo>
                      <a:pt x="146" y="26"/>
                      <a:pt x="146" y="26"/>
                      <a:pt x="146" y="26"/>
                    </a:cubicBezTo>
                    <a:cubicBezTo>
                      <a:pt x="147" y="16"/>
                      <a:pt x="147" y="16"/>
                      <a:pt x="147" y="16"/>
                    </a:cubicBezTo>
                    <a:cubicBezTo>
                      <a:pt x="147" y="15"/>
                      <a:pt x="146" y="14"/>
                      <a:pt x="143" y="12"/>
                    </a:cubicBezTo>
                    <a:cubicBezTo>
                      <a:pt x="141" y="12"/>
                      <a:pt x="141" y="12"/>
                      <a:pt x="141" y="12"/>
                    </a:cubicBezTo>
                    <a:cubicBezTo>
                      <a:pt x="137" y="17"/>
                      <a:pt x="137" y="17"/>
                      <a:pt x="137" y="17"/>
                    </a:cubicBezTo>
                    <a:cubicBezTo>
                      <a:pt x="136" y="17"/>
                      <a:pt x="136" y="17"/>
                      <a:pt x="136" y="17"/>
                    </a:cubicBezTo>
                    <a:cubicBezTo>
                      <a:pt x="136" y="17"/>
                      <a:pt x="136" y="17"/>
                      <a:pt x="136" y="17"/>
                    </a:cubicBezTo>
                    <a:cubicBezTo>
                      <a:pt x="126" y="22"/>
                      <a:pt x="126" y="22"/>
                      <a:pt x="126" y="22"/>
                    </a:cubicBezTo>
                    <a:cubicBezTo>
                      <a:pt x="125" y="15"/>
                      <a:pt x="125" y="15"/>
                      <a:pt x="125" y="15"/>
                    </a:cubicBezTo>
                    <a:cubicBezTo>
                      <a:pt x="125" y="14"/>
                      <a:pt x="125" y="14"/>
                      <a:pt x="125" y="14"/>
                    </a:cubicBezTo>
                    <a:cubicBezTo>
                      <a:pt x="126" y="11"/>
                      <a:pt x="126" y="11"/>
                      <a:pt x="126" y="11"/>
                    </a:cubicBezTo>
                    <a:cubicBezTo>
                      <a:pt x="125" y="7"/>
                      <a:pt x="125" y="7"/>
                      <a:pt x="125" y="7"/>
                    </a:cubicBezTo>
                    <a:cubicBezTo>
                      <a:pt x="124" y="6"/>
                      <a:pt x="124" y="6"/>
                      <a:pt x="124" y="6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09" y="22"/>
                      <a:pt x="109" y="22"/>
                      <a:pt x="109" y="22"/>
                    </a:cubicBezTo>
                    <a:cubicBezTo>
                      <a:pt x="108" y="22"/>
                      <a:pt x="108" y="22"/>
                      <a:pt x="108" y="22"/>
                    </a:cubicBezTo>
                    <a:cubicBezTo>
                      <a:pt x="108" y="22"/>
                      <a:pt x="108" y="22"/>
                      <a:pt x="108" y="22"/>
                    </a:cubicBezTo>
                    <a:cubicBezTo>
                      <a:pt x="107" y="22"/>
                      <a:pt x="107" y="22"/>
                      <a:pt x="107" y="22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99" y="16"/>
                      <a:pt x="99" y="16"/>
                      <a:pt x="99" y="16"/>
                    </a:cubicBezTo>
                    <a:cubicBezTo>
                      <a:pt x="92" y="14"/>
                      <a:pt x="92" y="14"/>
                      <a:pt x="92" y="14"/>
                    </a:cubicBezTo>
                    <a:cubicBezTo>
                      <a:pt x="92" y="14"/>
                      <a:pt x="92" y="14"/>
                      <a:pt x="92" y="14"/>
                    </a:cubicBezTo>
                    <a:cubicBezTo>
                      <a:pt x="92" y="13"/>
                      <a:pt x="92" y="13"/>
                      <a:pt x="92" y="13"/>
                    </a:cubicBezTo>
                    <a:cubicBezTo>
                      <a:pt x="88" y="10"/>
                      <a:pt x="88" y="10"/>
                      <a:pt x="88" y="10"/>
                    </a:cubicBezTo>
                    <a:cubicBezTo>
                      <a:pt x="75" y="8"/>
                      <a:pt x="75" y="8"/>
                      <a:pt x="75" y="8"/>
                    </a:cubicBezTo>
                    <a:cubicBezTo>
                      <a:pt x="75" y="8"/>
                      <a:pt x="75" y="8"/>
                      <a:pt x="75" y="8"/>
                    </a:cubicBezTo>
                    <a:cubicBezTo>
                      <a:pt x="74" y="8"/>
                      <a:pt x="74" y="8"/>
                      <a:pt x="74" y="8"/>
                    </a:cubicBezTo>
                    <a:cubicBezTo>
                      <a:pt x="66" y="3"/>
                      <a:pt x="66" y="3"/>
                      <a:pt x="66" y="3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50" y="15"/>
                      <a:pt x="50" y="15"/>
                      <a:pt x="50" y="15"/>
                    </a:cubicBezTo>
                    <a:cubicBezTo>
                      <a:pt x="48" y="15"/>
                      <a:pt x="48" y="15"/>
                      <a:pt x="48" y="15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10" y="62"/>
                      <a:pt x="10" y="62"/>
                      <a:pt x="10" y="62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13" y="74"/>
                      <a:pt x="13" y="74"/>
                      <a:pt x="13" y="74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10" y="76"/>
                      <a:pt x="9" y="79"/>
                      <a:pt x="9" y="83"/>
                    </a:cubicBezTo>
                    <a:cubicBezTo>
                      <a:pt x="13" y="99"/>
                      <a:pt x="13" y="99"/>
                      <a:pt x="13" y="99"/>
                    </a:cubicBezTo>
                    <a:cubicBezTo>
                      <a:pt x="12" y="100"/>
                      <a:pt x="12" y="100"/>
                      <a:pt x="12" y="100"/>
                    </a:cubicBezTo>
                    <a:cubicBezTo>
                      <a:pt x="5" y="104"/>
                      <a:pt x="1" y="107"/>
                      <a:pt x="1" y="109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7" y="112"/>
                      <a:pt x="7" y="112"/>
                      <a:pt x="7" y="112"/>
                    </a:cubicBezTo>
                    <a:cubicBezTo>
                      <a:pt x="7" y="111"/>
                      <a:pt x="7" y="111"/>
                      <a:pt x="7" y="111"/>
                    </a:cubicBezTo>
                    <a:cubicBezTo>
                      <a:pt x="8" y="111"/>
                      <a:pt x="8" y="111"/>
                      <a:pt x="8" y="111"/>
                    </a:cubicBezTo>
                    <a:cubicBezTo>
                      <a:pt x="12" y="111"/>
                      <a:pt x="15" y="113"/>
                      <a:pt x="16" y="117"/>
                    </a:cubicBezTo>
                    <a:cubicBezTo>
                      <a:pt x="17" y="126"/>
                      <a:pt x="17" y="126"/>
                      <a:pt x="17" y="126"/>
                    </a:cubicBezTo>
                    <a:cubicBezTo>
                      <a:pt x="16" y="127"/>
                      <a:pt x="16" y="127"/>
                      <a:pt x="16" y="127"/>
                    </a:cubicBezTo>
                    <a:cubicBezTo>
                      <a:pt x="16" y="128"/>
                      <a:pt x="16" y="128"/>
                      <a:pt x="16" y="128"/>
                    </a:cubicBezTo>
                    <a:cubicBezTo>
                      <a:pt x="14" y="129"/>
                      <a:pt x="14" y="130"/>
                      <a:pt x="14" y="132"/>
                    </a:cubicBezTo>
                    <a:cubicBezTo>
                      <a:pt x="12" y="141"/>
                      <a:pt x="12" y="141"/>
                      <a:pt x="12" y="141"/>
                    </a:cubicBezTo>
                    <a:cubicBezTo>
                      <a:pt x="13" y="144"/>
                      <a:pt x="14" y="146"/>
                      <a:pt x="16" y="148"/>
                    </a:cubicBezTo>
                    <a:cubicBezTo>
                      <a:pt x="24" y="158"/>
                      <a:pt x="24" y="158"/>
                      <a:pt x="24" y="158"/>
                    </a:cubicBezTo>
                    <a:cubicBezTo>
                      <a:pt x="32" y="152"/>
                      <a:pt x="32" y="152"/>
                      <a:pt x="32" y="152"/>
                    </a:cubicBezTo>
                    <a:cubicBezTo>
                      <a:pt x="38" y="151"/>
                      <a:pt x="38" y="151"/>
                      <a:pt x="38" y="151"/>
                    </a:cubicBezTo>
                    <a:cubicBezTo>
                      <a:pt x="38" y="151"/>
                      <a:pt x="38" y="151"/>
                      <a:pt x="38" y="151"/>
                    </a:cubicBezTo>
                    <a:cubicBezTo>
                      <a:pt x="38" y="152"/>
                      <a:pt x="38" y="152"/>
                      <a:pt x="38" y="152"/>
                    </a:cubicBezTo>
                    <a:cubicBezTo>
                      <a:pt x="42" y="153"/>
                      <a:pt x="42" y="153"/>
                      <a:pt x="42" y="153"/>
                    </a:cubicBezTo>
                    <a:cubicBezTo>
                      <a:pt x="44" y="153"/>
                      <a:pt x="45" y="152"/>
                      <a:pt x="46" y="151"/>
                    </a:cubicBezTo>
                    <a:cubicBezTo>
                      <a:pt x="50" y="146"/>
                      <a:pt x="50" y="146"/>
                      <a:pt x="50" y="146"/>
                    </a:cubicBezTo>
                    <a:cubicBezTo>
                      <a:pt x="49" y="143"/>
                      <a:pt x="49" y="143"/>
                      <a:pt x="49" y="143"/>
                    </a:cubicBezTo>
                    <a:cubicBezTo>
                      <a:pt x="50" y="142"/>
                      <a:pt x="51" y="141"/>
                      <a:pt x="52" y="140"/>
                    </a:cubicBezTo>
                    <a:cubicBezTo>
                      <a:pt x="62" y="140"/>
                      <a:pt x="62" y="140"/>
                      <a:pt x="62" y="140"/>
                    </a:cubicBezTo>
                    <a:cubicBezTo>
                      <a:pt x="64" y="141"/>
                      <a:pt x="65" y="140"/>
                      <a:pt x="65" y="140"/>
                    </a:cubicBezTo>
                    <a:cubicBezTo>
                      <a:pt x="66" y="137"/>
                      <a:pt x="67" y="136"/>
                      <a:pt x="68" y="135"/>
                    </a:cubicBezTo>
                    <a:cubicBezTo>
                      <a:pt x="70" y="135"/>
                      <a:pt x="72" y="135"/>
                      <a:pt x="73" y="136"/>
                    </a:cubicBezTo>
                    <a:cubicBezTo>
                      <a:pt x="76" y="139"/>
                      <a:pt x="78" y="141"/>
                      <a:pt x="78" y="144"/>
                    </a:cubicBezTo>
                    <a:cubicBezTo>
                      <a:pt x="77" y="151"/>
                      <a:pt x="77" y="151"/>
                      <a:pt x="77" y="151"/>
                    </a:cubicBezTo>
                    <a:cubicBezTo>
                      <a:pt x="78" y="152"/>
                      <a:pt x="78" y="152"/>
                      <a:pt x="78" y="152"/>
                    </a:cubicBezTo>
                    <a:cubicBezTo>
                      <a:pt x="81" y="154"/>
                      <a:pt x="82" y="156"/>
                      <a:pt x="82" y="158"/>
                    </a:cubicBezTo>
                    <a:cubicBezTo>
                      <a:pt x="81" y="165"/>
                      <a:pt x="81" y="165"/>
                      <a:pt x="81" y="165"/>
                    </a:cubicBezTo>
                    <a:cubicBezTo>
                      <a:pt x="80" y="169"/>
                      <a:pt x="78" y="172"/>
                      <a:pt x="77" y="172"/>
                    </a:cubicBezTo>
                    <a:cubicBezTo>
                      <a:pt x="77" y="172"/>
                      <a:pt x="77" y="172"/>
                      <a:pt x="77" y="172"/>
                    </a:cubicBezTo>
                    <a:cubicBezTo>
                      <a:pt x="71" y="185"/>
                      <a:pt x="71" y="185"/>
                      <a:pt x="71" y="185"/>
                    </a:cubicBezTo>
                    <a:cubicBezTo>
                      <a:pt x="73" y="186"/>
                      <a:pt x="73" y="186"/>
                      <a:pt x="73" y="186"/>
                    </a:cubicBezTo>
                    <a:cubicBezTo>
                      <a:pt x="82" y="186"/>
                      <a:pt x="82" y="186"/>
                      <a:pt x="82" y="186"/>
                    </a:cubicBezTo>
                    <a:cubicBezTo>
                      <a:pt x="84" y="187"/>
                      <a:pt x="84" y="187"/>
                      <a:pt x="84" y="187"/>
                    </a:cubicBezTo>
                    <a:cubicBezTo>
                      <a:pt x="84" y="188"/>
                      <a:pt x="84" y="188"/>
                      <a:pt x="84" y="188"/>
                    </a:cubicBezTo>
                    <a:cubicBezTo>
                      <a:pt x="82" y="192"/>
                      <a:pt x="82" y="195"/>
                      <a:pt x="82" y="197"/>
                    </a:cubicBezTo>
                    <a:cubicBezTo>
                      <a:pt x="86" y="199"/>
                      <a:pt x="88" y="200"/>
                      <a:pt x="89" y="199"/>
                    </a:cubicBezTo>
                    <a:cubicBezTo>
                      <a:pt x="94" y="197"/>
                      <a:pt x="94" y="197"/>
                      <a:pt x="94" y="197"/>
                    </a:cubicBezTo>
                    <a:cubicBezTo>
                      <a:pt x="97" y="196"/>
                      <a:pt x="97" y="196"/>
                      <a:pt x="97" y="196"/>
                    </a:cubicBezTo>
                    <a:cubicBezTo>
                      <a:pt x="102" y="196"/>
                      <a:pt x="102" y="196"/>
                      <a:pt x="102" y="196"/>
                    </a:cubicBezTo>
                    <a:cubicBezTo>
                      <a:pt x="108" y="190"/>
                      <a:pt x="108" y="190"/>
                      <a:pt x="108" y="190"/>
                    </a:cubicBezTo>
                    <a:cubicBezTo>
                      <a:pt x="108" y="183"/>
                      <a:pt x="108" y="183"/>
                      <a:pt x="108" y="183"/>
                    </a:cubicBezTo>
                    <a:cubicBezTo>
                      <a:pt x="107" y="181"/>
                      <a:pt x="108" y="179"/>
                      <a:pt x="108" y="178"/>
                    </a:cubicBezTo>
                    <a:cubicBezTo>
                      <a:pt x="110" y="177"/>
                      <a:pt x="113" y="177"/>
                      <a:pt x="118" y="180"/>
                    </a:cubicBezTo>
                    <a:cubicBezTo>
                      <a:pt x="128" y="186"/>
                      <a:pt x="128" y="186"/>
                      <a:pt x="128" y="186"/>
                    </a:cubicBezTo>
                    <a:cubicBezTo>
                      <a:pt x="131" y="188"/>
                      <a:pt x="133" y="189"/>
                      <a:pt x="135" y="189"/>
                    </a:cubicBezTo>
                    <a:cubicBezTo>
                      <a:pt x="135" y="188"/>
                      <a:pt x="135" y="188"/>
                      <a:pt x="135" y="188"/>
                    </a:cubicBezTo>
                    <a:cubicBezTo>
                      <a:pt x="136" y="187"/>
                      <a:pt x="135" y="184"/>
                      <a:pt x="133" y="180"/>
                    </a:cubicBezTo>
                    <a:cubicBezTo>
                      <a:pt x="128" y="172"/>
                      <a:pt x="128" y="172"/>
                      <a:pt x="128" y="172"/>
                    </a:cubicBezTo>
                    <a:cubicBezTo>
                      <a:pt x="128" y="171"/>
                      <a:pt x="128" y="171"/>
                      <a:pt x="128" y="171"/>
                    </a:cubicBezTo>
                    <a:cubicBezTo>
                      <a:pt x="128" y="171"/>
                      <a:pt x="128" y="171"/>
                      <a:pt x="128" y="171"/>
                    </a:cubicBezTo>
                    <a:cubicBezTo>
                      <a:pt x="128" y="170"/>
                      <a:pt x="128" y="170"/>
                      <a:pt x="128" y="170"/>
                    </a:cubicBezTo>
                    <a:cubicBezTo>
                      <a:pt x="134" y="163"/>
                      <a:pt x="139" y="160"/>
                      <a:pt x="146" y="163"/>
                    </a:cubicBezTo>
                    <a:cubicBezTo>
                      <a:pt x="160" y="170"/>
                      <a:pt x="160" y="170"/>
                      <a:pt x="160" y="170"/>
                    </a:cubicBezTo>
                    <a:cubicBezTo>
                      <a:pt x="166" y="166"/>
                      <a:pt x="166" y="166"/>
                      <a:pt x="166" y="166"/>
                    </a:cubicBezTo>
                    <a:cubicBezTo>
                      <a:pt x="167" y="166"/>
                      <a:pt x="167" y="166"/>
                      <a:pt x="167" y="166"/>
                    </a:cubicBezTo>
                    <a:cubicBezTo>
                      <a:pt x="167" y="165"/>
                      <a:pt x="167" y="165"/>
                      <a:pt x="167" y="165"/>
                    </a:cubicBezTo>
                    <a:cubicBezTo>
                      <a:pt x="167" y="165"/>
                      <a:pt x="167" y="165"/>
                      <a:pt x="167" y="165"/>
                    </a:cubicBezTo>
                    <a:cubicBezTo>
                      <a:pt x="166" y="164"/>
                      <a:pt x="166" y="164"/>
                      <a:pt x="166" y="164"/>
                    </a:cubicBezTo>
                    <a:cubicBezTo>
                      <a:pt x="166" y="164"/>
                      <a:pt x="166" y="164"/>
                      <a:pt x="166" y="164"/>
                    </a:cubicBezTo>
                    <a:cubicBezTo>
                      <a:pt x="167" y="163"/>
                      <a:pt x="167" y="163"/>
                      <a:pt x="167" y="163"/>
                    </a:cubicBezTo>
                    <a:cubicBezTo>
                      <a:pt x="172" y="155"/>
                      <a:pt x="173" y="149"/>
                      <a:pt x="172" y="146"/>
                    </a:cubicBezTo>
                    <a:cubicBezTo>
                      <a:pt x="170" y="143"/>
                      <a:pt x="168" y="142"/>
                      <a:pt x="167" y="142"/>
                    </a:cubicBezTo>
                    <a:cubicBezTo>
                      <a:pt x="166" y="142"/>
                      <a:pt x="166" y="142"/>
                      <a:pt x="166" y="142"/>
                    </a:cubicBezTo>
                    <a:cubicBezTo>
                      <a:pt x="165" y="138"/>
                      <a:pt x="165" y="138"/>
                      <a:pt x="165" y="138"/>
                    </a:cubicBezTo>
                    <a:cubicBezTo>
                      <a:pt x="166" y="138"/>
                      <a:pt x="166" y="138"/>
                      <a:pt x="166" y="138"/>
                    </a:cubicBezTo>
                    <a:cubicBezTo>
                      <a:pt x="168" y="136"/>
                      <a:pt x="170" y="135"/>
                      <a:pt x="170" y="134"/>
                    </a:cubicBezTo>
                    <a:cubicBezTo>
                      <a:pt x="169" y="132"/>
                      <a:pt x="169" y="132"/>
                      <a:pt x="169" y="132"/>
                    </a:cubicBezTo>
                    <a:cubicBezTo>
                      <a:pt x="163" y="126"/>
                      <a:pt x="163" y="126"/>
                      <a:pt x="163" y="126"/>
                    </a:cubicBezTo>
                    <a:cubicBezTo>
                      <a:pt x="163" y="126"/>
                      <a:pt x="163" y="126"/>
                      <a:pt x="163" y="126"/>
                    </a:cubicBezTo>
                    <a:cubicBezTo>
                      <a:pt x="163" y="125"/>
                      <a:pt x="163" y="125"/>
                      <a:pt x="163" y="125"/>
                    </a:cubicBezTo>
                    <a:cubicBezTo>
                      <a:pt x="160" y="116"/>
                      <a:pt x="160" y="116"/>
                      <a:pt x="160" y="116"/>
                    </a:cubicBezTo>
                    <a:cubicBezTo>
                      <a:pt x="158" y="110"/>
                      <a:pt x="158" y="104"/>
                      <a:pt x="158" y="98"/>
                    </a:cubicBezTo>
                    <a:cubicBezTo>
                      <a:pt x="158" y="94"/>
                      <a:pt x="158" y="94"/>
                      <a:pt x="158" y="94"/>
                    </a:cubicBezTo>
                    <a:cubicBezTo>
                      <a:pt x="154" y="98"/>
                      <a:pt x="154" y="98"/>
                      <a:pt x="154" y="98"/>
                    </a:cubicBezTo>
                    <a:cubicBezTo>
                      <a:pt x="151" y="102"/>
                      <a:pt x="151" y="102"/>
                      <a:pt x="151" y="102"/>
                    </a:cubicBezTo>
                    <a:cubicBezTo>
                      <a:pt x="150" y="85"/>
                      <a:pt x="150" y="85"/>
                      <a:pt x="150" y="85"/>
                    </a:cubicBezTo>
                    <a:cubicBezTo>
                      <a:pt x="150" y="85"/>
                      <a:pt x="150" y="85"/>
                      <a:pt x="150" y="85"/>
                    </a:cubicBezTo>
                    <a:cubicBezTo>
                      <a:pt x="150" y="84"/>
                      <a:pt x="150" y="84"/>
                      <a:pt x="150" y="84"/>
                    </a:cubicBezTo>
                    <a:cubicBezTo>
                      <a:pt x="150" y="84"/>
                      <a:pt x="150" y="84"/>
                      <a:pt x="150" y="84"/>
                    </a:cubicBezTo>
                    <a:cubicBezTo>
                      <a:pt x="159" y="71"/>
                      <a:pt x="165" y="64"/>
                      <a:pt x="167" y="62"/>
                    </a:cubicBezTo>
                    <a:cubicBezTo>
                      <a:pt x="163" y="50"/>
                      <a:pt x="163" y="50"/>
                      <a:pt x="163" y="50"/>
                    </a:cubicBezTo>
                    <a:cubicBezTo>
                      <a:pt x="162" y="44"/>
                      <a:pt x="161" y="40"/>
                      <a:pt x="161" y="38"/>
                    </a:cubicBezTo>
                    <a:cubicBezTo>
                      <a:pt x="154" y="35"/>
                      <a:pt x="154" y="35"/>
                      <a:pt x="154" y="35"/>
                    </a:cubicBezTo>
                    <a:lnTo>
                      <a:pt x="15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6" name="îṥḻíḋé"/>
              <p:cNvSpPr/>
              <p:nvPr/>
            </p:nvSpPr>
            <p:spPr bwMode="auto">
              <a:xfrm>
                <a:off x="3333" y="2433"/>
                <a:ext cx="578" cy="363"/>
              </a:xfrm>
              <a:custGeom>
                <a:avLst/>
                <a:gdLst>
                  <a:gd name="T0" fmla="*/ 32 w 244"/>
                  <a:gd name="T1" fmla="*/ 5 h 153"/>
                  <a:gd name="T2" fmla="*/ 43 w 244"/>
                  <a:gd name="T3" fmla="*/ 12 h 153"/>
                  <a:gd name="T4" fmla="*/ 49 w 244"/>
                  <a:gd name="T5" fmla="*/ 20 h 153"/>
                  <a:gd name="T6" fmla="*/ 44 w 244"/>
                  <a:gd name="T7" fmla="*/ 26 h 153"/>
                  <a:gd name="T8" fmla="*/ 30 w 244"/>
                  <a:gd name="T9" fmla="*/ 29 h 153"/>
                  <a:gd name="T10" fmla="*/ 32 w 244"/>
                  <a:gd name="T11" fmla="*/ 37 h 153"/>
                  <a:gd name="T12" fmla="*/ 36 w 244"/>
                  <a:gd name="T13" fmla="*/ 54 h 153"/>
                  <a:gd name="T14" fmla="*/ 45 w 244"/>
                  <a:gd name="T15" fmla="*/ 57 h 153"/>
                  <a:gd name="T16" fmla="*/ 46 w 244"/>
                  <a:gd name="T17" fmla="*/ 58 h 153"/>
                  <a:gd name="T18" fmla="*/ 51 w 244"/>
                  <a:gd name="T19" fmla="*/ 65 h 153"/>
                  <a:gd name="T20" fmla="*/ 54 w 244"/>
                  <a:gd name="T21" fmla="*/ 73 h 153"/>
                  <a:gd name="T22" fmla="*/ 40 w 244"/>
                  <a:gd name="T23" fmla="*/ 92 h 153"/>
                  <a:gd name="T24" fmla="*/ 2 w 244"/>
                  <a:gd name="T25" fmla="*/ 102 h 153"/>
                  <a:gd name="T26" fmla="*/ 4 w 244"/>
                  <a:gd name="T27" fmla="*/ 116 h 153"/>
                  <a:gd name="T28" fmla="*/ 19 w 244"/>
                  <a:gd name="T29" fmla="*/ 143 h 153"/>
                  <a:gd name="T30" fmla="*/ 20 w 244"/>
                  <a:gd name="T31" fmla="*/ 143 h 153"/>
                  <a:gd name="T32" fmla="*/ 26 w 244"/>
                  <a:gd name="T33" fmla="*/ 151 h 153"/>
                  <a:gd name="T34" fmla="*/ 30 w 244"/>
                  <a:gd name="T35" fmla="*/ 138 h 153"/>
                  <a:gd name="T36" fmla="*/ 39 w 244"/>
                  <a:gd name="T37" fmla="*/ 127 h 153"/>
                  <a:gd name="T38" fmla="*/ 56 w 244"/>
                  <a:gd name="T39" fmla="*/ 127 h 153"/>
                  <a:gd name="T40" fmla="*/ 63 w 244"/>
                  <a:gd name="T41" fmla="*/ 111 h 153"/>
                  <a:gd name="T42" fmla="*/ 80 w 244"/>
                  <a:gd name="T43" fmla="*/ 111 h 153"/>
                  <a:gd name="T44" fmla="*/ 109 w 244"/>
                  <a:gd name="T45" fmla="*/ 121 h 153"/>
                  <a:gd name="T46" fmla="*/ 110 w 244"/>
                  <a:gd name="T47" fmla="*/ 121 h 153"/>
                  <a:gd name="T48" fmla="*/ 121 w 244"/>
                  <a:gd name="T49" fmla="*/ 127 h 153"/>
                  <a:gd name="T50" fmla="*/ 121 w 244"/>
                  <a:gd name="T51" fmla="*/ 127 h 153"/>
                  <a:gd name="T52" fmla="*/ 132 w 244"/>
                  <a:gd name="T53" fmla="*/ 128 h 153"/>
                  <a:gd name="T54" fmla="*/ 142 w 244"/>
                  <a:gd name="T55" fmla="*/ 115 h 153"/>
                  <a:gd name="T56" fmla="*/ 148 w 244"/>
                  <a:gd name="T57" fmla="*/ 120 h 153"/>
                  <a:gd name="T58" fmla="*/ 149 w 244"/>
                  <a:gd name="T59" fmla="*/ 129 h 153"/>
                  <a:gd name="T60" fmla="*/ 159 w 244"/>
                  <a:gd name="T61" fmla="*/ 123 h 153"/>
                  <a:gd name="T62" fmla="*/ 165 w 244"/>
                  <a:gd name="T63" fmla="*/ 123 h 153"/>
                  <a:gd name="T64" fmla="*/ 170 w 244"/>
                  <a:gd name="T65" fmla="*/ 141 h 153"/>
                  <a:gd name="T66" fmla="*/ 194 w 244"/>
                  <a:gd name="T67" fmla="*/ 130 h 153"/>
                  <a:gd name="T68" fmla="*/ 215 w 244"/>
                  <a:gd name="T69" fmla="*/ 121 h 153"/>
                  <a:gd name="T70" fmla="*/ 237 w 244"/>
                  <a:gd name="T71" fmla="*/ 114 h 153"/>
                  <a:gd name="T72" fmla="*/ 242 w 244"/>
                  <a:gd name="T73" fmla="*/ 111 h 153"/>
                  <a:gd name="T74" fmla="*/ 230 w 244"/>
                  <a:gd name="T75" fmla="*/ 77 h 153"/>
                  <a:gd name="T76" fmla="*/ 236 w 244"/>
                  <a:gd name="T77" fmla="*/ 67 h 153"/>
                  <a:gd name="T78" fmla="*/ 222 w 244"/>
                  <a:gd name="T79" fmla="*/ 63 h 153"/>
                  <a:gd name="T80" fmla="*/ 215 w 244"/>
                  <a:gd name="T81" fmla="*/ 55 h 153"/>
                  <a:gd name="T82" fmla="*/ 214 w 244"/>
                  <a:gd name="T83" fmla="*/ 54 h 153"/>
                  <a:gd name="T84" fmla="*/ 186 w 244"/>
                  <a:gd name="T85" fmla="*/ 47 h 153"/>
                  <a:gd name="T86" fmla="*/ 162 w 244"/>
                  <a:gd name="T87" fmla="*/ 47 h 153"/>
                  <a:gd name="T88" fmla="*/ 108 w 244"/>
                  <a:gd name="T89" fmla="*/ 25 h 153"/>
                  <a:gd name="T90" fmla="*/ 72 w 244"/>
                  <a:gd name="T91" fmla="*/ 0 h 153"/>
                  <a:gd name="T92" fmla="*/ 37 w 244"/>
                  <a:gd name="T93" fmla="*/ 3 h 153"/>
                  <a:gd name="T94" fmla="*/ 31 w 244"/>
                  <a:gd name="T95" fmla="*/ 1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4" h="153">
                    <a:moveTo>
                      <a:pt x="31" y="1"/>
                    </a:moveTo>
                    <a:cubicBezTo>
                      <a:pt x="30" y="2"/>
                      <a:pt x="30" y="2"/>
                      <a:pt x="30" y="2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43" y="12"/>
                      <a:pt x="43" y="12"/>
                      <a:pt x="43" y="12"/>
                    </a:cubicBezTo>
                    <a:cubicBezTo>
                      <a:pt x="43" y="12"/>
                      <a:pt x="43" y="12"/>
                      <a:pt x="43" y="12"/>
                    </a:cubicBezTo>
                    <a:cubicBezTo>
                      <a:pt x="43" y="12"/>
                      <a:pt x="43" y="12"/>
                      <a:pt x="43" y="12"/>
                    </a:cubicBezTo>
                    <a:cubicBezTo>
                      <a:pt x="43" y="12"/>
                      <a:pt x="43" y="12"/>
                      <a:pt x="43" y="12"/>
                    </a:cubicBezTo>
                    <a:cubicBezTo>
                      <a:pt x="50" y="19"/>
                      <a:pt x="50" y="19"/>
                      <a:pt x="50" y="19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45" y="25"/>
                      <a:pt x="45" y="25"/>
                      <a:pt x="45" y="25"/>
                    </a:cubicBezTo>
                    <a:cubicBezTo>
                      <a:pt x="44" y="25"/>
                      <a:pt x="44" y="25"/>
                      <a:pt x="44" y="25"/>
                    </a:cubicBezTo>
                    <a:cubicBezTo>
                      <a:pt x="44" y="26"/>
                      <a:pt x="44" y="26"/>
                      <a:pt x="44" y="26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3" y="27"/>
                      <a:pt x="33" y="27"/>
                      <a:pt x="33" y="27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2" y="33"/>
                      <a:pt x="32" y="33"/>
                      <a:pt x="32" y="33"/>
                    </a:cubicBezTo>
                    <a:cubicBezTo>
                      <a:pt x="32" y="33"/>
                      <a:pt x="32" y="33"/>
                      <a:pt x="32" y="33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6" y="43"/>
                      <a:pt x="36" y="43"/>
                      <a:pt x="36" y="43"/>
                    </a:cubicBezTo>
                    <a:cubicBezTo>
                      <a:pt x="36" y="43"/>
                      <a:pt x="36" y="43"/>
                      <a:pt x="36" y="43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9" y="55"/>
                      <a:pt x="39" y="55"/>
                      <a:pt x="39" y="55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4" y="73"/>
                      <a:pt x="54" y="73"/>
                      <a:pt x="54" y="73"/>
                    </a:cubicBezTo>
                    <a:cubicBezTo>
                      <a:pt x="54" y="73"/>
                      <a:pt x="54" y="73"/>
                      <a:pt x="54" y="73"/>
                    </a:cubicBezTo>
                    <a:cubicBezTo>
                      <a:pt x="54" y="73"/>
                      <a:pt x="54" y="73"/>
                      <a:pt x="54" y="73"/>
                    </a:cubicBezTo>
                    <a:cubicBezTo>
                      <a:pt x="54" y="78"/>
                      <a:pt x="54" y="78"/>
                      <a:pt x="54" y="78"/>
                    </a:cubicBezTo>
                    <a:cubicBezTo>
                      <a:pt x="53" y="81"/>
                      <a:pt x="52" y="83"/>
                      <a:pt x="52" y="85"/>
                    </a:cubicBezTo>
                    <a:cubicBezTo>
                      <a:pt x="50" y="87"/>
                      <a:pt x="46" y="90"/>
                      <a:pt x="40" y="92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" y="102"/>
                      <a:pt x="2" y="102"/>
                      <a:pt x="2" y="102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4" y="116"/>
                      <a:pt x="4" y="116"/>
                      <a:pt x="4" y="116"/>
                    </a:cubicBezTo>
                    <a:cubicBezTo>
                      <a:pt x="4" y="116"/>
                      <a:pt x="4" y="116"/>
                      <a:pt x="4" y="116"/>
                    </a:cubicBezTo>
                    <a:cubicBezTo>
                      <a:pt x="4" y="117"/>
                      <a:pt x="4" y="117"/>
                      <a:pt x="4" y="117"/>
                    </a:cubicBezTo>
                    <a:cubicBezTo>
                      <a:pt x="6" y="127"/>
                      <a:pt x="6" y="127"/>
                      <a:pt x="6" y="127"/>
                    </a:cubicBezTo>
                    <a:cubicBezTo>
                      <a:pt x="19" y="143"/>
                      <a:pt x="19" y="143"/>
                      <a:pt x="19" y="143"/>
                    </a:cubicBezTo>
                    <a:cubicBezTo>
                      <a:pt x="20" y="143"/>
                      <a:pt x="20" y="143"/>
                      <a:pt x="20" y="143"/>
                    </a:cubicBezTo>
                    <a:cubicBezTo>
                      <a:pt x="20" y="143"/>
                      <a:pt x="20" y="143"/>
                      <a:pt x="20" y="143"/>
                    </a:cubicBezTo>
                    <a:cubicBezTo>
                      <a:pt x="20" y="143"/>
                      <a:pt x="20" y="143"/>
                      <a:pt x="20" y="143"/>
                    </a:cubicBezTo>
                    <a:cubicBezTo>
                      <a:pt x="25" y="153"/>
                      <a:pt x="25" y="153"/>
                      <a:pt x="25" y="153"/>
                    </a:cubicBezTo>
                    <a:cubicBezTo>
                      <a:pt x="26" y="151"/>
                      <a:pt x="26" y="151"/>
                      <a:pt x="26" y="151"/>
                    </a:cubicBezTo>
                    <a:cubicBezTo>
                      <a:pt x="26" y="151"/>
                      <a:pt x="26" y="151"/>
                      <a:pt x="26" y="151"/>
                    </a:cubicBezTo>
                    <a:cubicBezTo>
                      <a:pt x="30" y="139"/>
                      <a:pt x="30" y="139"/>
                      <a:pt x="30" y="139"/>
                    </a:cubicBezTo>
                    <a:cubicBezTo>
                      <a:pt x="30" y="139"/>
                      <a:pt x="30" y="139"/>
                      <a:pt x="30" y="139"/>
                    </a:cubicBezTo>
                    <a:cubicBezTo>
                      <a:pt x="30" y="138"/>
                      <a:pt x="30" y="138"/>
                      <a:pt x="30" y="138"/>
                    </a:cubicBezTo>
                    <a:cubicBezTo>
                      <a:pt x="30" y="138"/>
                      <a:pt x="30" y="138"/>
                      <a:pt x="30" y="138"/>
                    </a:cubicBezTo>
                    <a:cubicBezTo>
                      <a:pt x="38" y="128"/>
                      <a:pt x="38" y="128"/>
                      <a:pt x="38" y="128"/>
                    </a:cubicBezTo>
                    <a:cubicBezTo>
                      <a:pt x="39" y="127"/>
                      <a:pt x="39" y="127"/>
                      <a:pt x="39" y="127"/>
                    </a:cubicBezTo>
                    <a:cubicBezTo>
                      <a:pt x="49" y="123"/>
                      <a:pt x="49" y="123"/>
                      <a:pt x="49" y="123"/>
                    </a:cubicBezTo>
                    <a:cubicBezTo>
                      <a:pt x="50" y="123"/>
                      <a:pt x="50" y="123"/>
                      <a:pt x="50" y="123"/>
                    </a:cubicBezTo>
                    <a:cubicBezTo>
                      <a:pt x="56" y="127"/>
                      <a:pt x="56" y="127"/>
                      <a:pt x="56" y="127"/>
                    </a:cubicBezTo>
                    <a:cubicBezTo>
                      <a:pt x="64" y="126"/>
                      <a:pt x="64" y="126"/>
                      <a:pt x="64" y="126"/>
                    </a:cubicBezTo>
                    <a:cubicBezTo>
                      <a:pt x="62" y="112"/>
                      <a:pt x="62" y="112"/>
                      <a:pt x="62" y="112"/>
                    </a:cubicBezTo>
                    <a:cubicBezTo>
                      <a:pt x="63" y="111"/>
                      <a:pt x="63" y="111"/>
                      <a:pt x="63" y="111"/>
                    </a:cubicBezTo>
                    <a:cubicBezTo>
                      <a:pt x="71" y="111"/>
                      <a:pt x="71" y="111"/>
                      <a:pt x="71" y="111"/>
                    </a:cubicBezTo>
                    <a:cubicBezTo>
                      <a:pt x="79" y="111"/>
                      <a:pt x="79" y="111"/>
                      <a:pt x="79" y="111"/>
                    </a:cubicBezTo>
                    <a:cubicBezTo>
                      <a:pt x="80" y="111"/>
                      <a:pt x="80" y="111"/>
                      <a:pt x="80" y="111"/>
                    </a:cubicBezTo>
                    <a:cubicBezTo>
                      <a:pt x="80" y="111"/>
                      <a:pt x="80" y="111"/>
                      <a:pt x="80" y="111"/>
                    </a:cubicBezTo>
                    <a:cubicBezTo>
                      <a:pt x="96" y="119"/>
                      <a:pt x="96" y="119"/>
                      <a:pt x="96" y="119"/>
                    </a:cubicBezTo>
                    <a:cubicBezTo>
                      <a:pt x="109" y="121"/>
                      <a:pt x="109" y="121"/>
                      <a:pt x="109" y="121"/>
                    </a:cubicBezTo>
                    <a:cubicBezTo>
                      <a:pt x="110" y="121"/>
                      <a:pt x="110" y="121"/>
                      <a:pt x="110" y="121"/>
                    </a:cubicBezTo>
                    <a:cubicBezTo>
                      <a:pt x="110" y="121"/>
                      <a:pt x="110" y="121"/>
                      <a:pt x="110" y="121"/>
                    </a:cubicBezTo>
                    <a:cubicBezTo>
                      <a:pt x="110" y="121"/>
                      <a:pt x="110" y="121"/>
                      <a:pt x="110" y="121"/>
                    </a:cubicBezTo>
                    <a:cubicBezTo>
                      <a:pt x="114" y="125"/>
                      <a:pt x="114" y="125"/>
                      <a:pt x="114" y="125"/>
                    </a:cubicBezTo>
                    <a:cubicBezTo>
                      <a:pt x="121" y="127"/>
                      <a:pt x="121" y="127"/>
                      <a:pt x="121" y="127"/>
                    </a:cubicBezTo>
                    <a:cubicBezTo>
                      <a:pt x="121" y="127"/>
                      <a:pt x="121" y="127"/>
                      <a:pt x="121" y="127"/>
                    </a:cubicBezTo>
                    <a:cubicBezTo>
                      <a:pt x="121" y="127"/>
                      <a:pt x="121" y="127"/>
                      <a:pt x="121" y="127"/>
                    </a:cubicBezTo>
                    <a:cubicBezTo>
                      <a:pt x="121" y="127"/>
                      <a:pt x="121" y="127"/>
                      <a:pt x="121" y="127"/>
                    </a:cubicBezTo>
                    <a:cubicBezTo>
                      <a:pt x="121" y="127"/>
                      <a:pt x="121" y="127"/>
                      <a:pt x="121" y="127"/>
                    </a:cubicBezTo>
                    <a:cubicBezTo>
                      <a:pt x="125" y="131"/>
                      <a:pt x="125" y="131"/>
                      <a:pt x="125" y="131"/>
                    </a:cubicBezTo>
                    <a:cubicBezTo>
                      <a:pt x="127" y="132"/>
                      <a:pt x="127" y="132"/>
                      <a:pt x="127" y="132"/>
                    </a:cubicBezTo>
                    <a:cubicBezTo>
                      <a:pt x="132" y="128"/>
                      <a:pt x="132" y="128"/>
                      <a:pt x="132" y="128"/>
                    </a:cubicBezTo>
                    <a:cubicBezTo>
                      <a:pt x="132" y="127"/>
                      <a:pt x="132" y="127"/>
                      <a:pt x="132" y="127"/>
                    </a:cubicBezTo>
                    <a:cubicBezTo>
                      <a:pt x="138" y="122"/>
                      <a:pt x="138" y="122"/>
                      <a:pt x="138" y="122"/>
                    </a:cubicBezTo>
                    <a:cubicBezTo>
                      <a:pt x="142" y="115"/>
                      <a:pt x="142" y="115"/>
                      <a:pt x="142" y="115"/>
                    </a:cubicBezTo>
                    <a:cubicBezTo>
                      <a:pt x="148" y="119"/>
                      <a:pt x="148" y="119"/>
                      <a:pt x="148" y="119"/>
                    </a:cubicBezTo>
                    <a:cubicBezTo>
                      <a:pt x="148" y="119"/>
                      <a:pt x="148" y="119"/>
                      <a:pt x="148" y="119"/>
                    </a:cubicBezTo>
                    <a:cubicBezTo>
                      <a:pt x="148" y="120"/>
                      <a:pt x="148" y="120"/>
                      <a:pt x="148" y="120"/>
                    </a:cubicBezTo>
                    <a:cubicBezTo>
                      <a:pt x="150" y="125"/>
                      <a:pt x="150" y="125"/>
                      <a:pt x="150" y="125"/>
                    </a:cubicBezTo>
                    <a:cubicBezTo>
                      <a:pt x="150" y="126"/>
                      <a:pt x="150" y="126"/>
                      <a:pt x="150" y="126"/>
                    </a:cubicBezTo>
                    <a:cubicBezTo>
                      <a:pt x="149" y="129"/>
                      <a:pt x="149" y="129"/>
                      <a:pt x="149" y="129"/>
                    </a:cubicBezTo>
                    <a:cubicBezTo>
                      <a:pt x="150" y="130"/>
                      <a:pt x="150" y="130"/>
                      <a:pt x="150" y="130"/>
                    </a:cubicBezTo>
                    <a:cubicBezTo>
                      <a:pt x="154" y="128"/>
                      <a:pt x="154" y="128"/>
                      <a:pt x="154" y="128"/>
                    </a:cubicBezTo>
                    <a:cubicBezTo>
                      <a:pt x="159" y="123"/>
                      <a:pt x="159" y="123"/>
                      <a:pt x="159" y="123"/>
                    </a:cubicBezTo>
                    <a:cubicBezTo>
                      <a:pt x="164" y="123"/>
                      <a:pt x="164" y="123"/>
                      <a:pt x="164" y="123"/>
                    </a:cubicBezTo>
                    <a:cubicBezTo>
                      <a:pt x="164" y="123"/>
                      <a:pt x="164" y="123"/>
                      <a:pt x="164" y="123"/>
                    </a:cubicBezTo>
                    <a:cubicBezTo>
                      <a:pt x="165" y="123"/>
                      <a:pt x="165" y="123"/>
                      <a:pt x="165" y="123"/>
                    </a:cubicBezTo>
                    <a:cubicBezTo>
                      <a:pt x="168" y="125"/>
                      <a:pt x="168" y="125"/>
                      <a:pt x="168" y="125"/>
                    </a:cubicBezTo>
                    <a:cubicBezTo>
                      <a:pt x="171" y="128"/>
                      <a:pt x="172" y="130"/>
                      <a:pt x="171" y="132"/>
                    </a:cubicBezTo>
                    <a:cubicBezTo>
                      <a:pt x="170" y="141"/>
                      <a:pt x="170" y="141"/>
                      <a:pt x="170" y="141"/>
                    </a:cubicBezTo>
                    <a:cubicBezTo>
                      <a:pt x="173" y="145"/>
                      <a:pt x="173" y="145"/>
                      <a:pt x="173" y="145"/>
                    </a:cubicBezTo>
                    <a:cubicBezTo>
                      <a:pt x="174" y="145"/>
                      <a:pt x="174" y="145"/>
                      <a:pt x="174" y="145"/>
                    </a:cubicBezTo>
                    <a:cubicBezTo>
                      <a:pt x="183" y="135"/>
                      <a:pt x="190" y="130"/>
                      <a:pt x="194" y="130"/>
                    </a:cubicBezTo>
                    <a:cubicBezTo>
                      <a:pt x="204" y="130"/>
                      <a:pt x="204" y="130"/>
                      <a:pt x="204" y="130"/>
                    </a:cubicBezTo>
                    <a:cubicBezTo>
                      <a:pt x="207" y="125"/>
                      <a:pt x="207" y="125"/>
                      <a:pt x="207" y="125"/>
                    </a:cubicBezTo>
                    <a:cubicBezTo>
                      <a:pt x="215" y="121"/>
                      <a:pt x="215" y="121"/>
                      <a:pt x="215" y="121"/>
                    </a:cubicBezTo>
                    <a:cubicBezTo>
                      <a:pt x="216" y="121"/>
                      <a:pt x="216" y="121"/>
                      <a:pt x="216" y="121"/>
                    </a:cubicBezTo>
                    <a:cubicBezTo>
                      <a:pt x="226" y="120"/>
                      <a:pt x="226" y="120"/>
                      <a:pt x="226" y="120"/>
                    </a:cubicBezTo>
                    <a:cubicBezTo>
                      <a:pt x="237" y="114"/>
                      <a:pt x="237" y="114"/>
                      <a:pt x="237" y="114"/>
                    </a:cubicBezTo>
                    <a:cubicBezTo>
                      <a:pt x="237" y="114"/>
                      <a:pt x="237" y="114"/>
                      <a:pt x="237" y="114"/>
                    </a:cubicBezTo>
                    <a:cubicBezTo>
                      <a:pt x="244" y="114"/>
                      <a:pt x="244" y="114"/>
                      <a:pt x="244" y="114"/>
                    </a:cubicBezTo>
                    <a:cubicBezTo>
                      <a:pt x="242" y="111"/>
                      <a:pt x="242" y="111"/>
                      <a:pt x="242" y="111"/>
                    </a:cubicBezTo>
                    <a:cubicBezTo>
                      <a:pt x="243" y="110"/>
                      <a:pt x="243" y="110"/>
                      <a:pt x="243" y="110"/>
                    </a:cubicBezTo>
                    <a:cubicBezTo>
                      <a:pt x="244" y="108"/>
                      <a:pt x="244" y="108"/>
                      <a:pt x="244" y="108"/>
                    </a:cubicBezTo>
                    <a:cubicBezTo>
                      <a:pt x="230" y="77"/>
                      <a:pt x="230" y="77"/>
                      <a:pt x="230" y="77"/>
                    </a:cubicBezTo>
                    <a:cubicBezTo>
                      <a:pt x="230" y="76"/>
                      <a:pt x="230" y="76"/>
                      <a:pt x="230" y="76"/>
                    </a:cubicBezTo>
                    <a:cubicBezTo>
                      <a:pt x="229" y="75"/>
                      <a:pt x="229" y="75"/>
                      <a:pt x="229" y="75"/>
                    </a:cubicBezTo>
                    <a:cubicBezTo>
                      <a:pt x="236" y="67"/>
                      <a:pt x="236" y="67"/>
                      <a:pt x="236" y="67"/>
                    </a:cubicBezTo>
                    <a:cubicBezTo>
                      <a:pt x="234" y="65"/>
                      <a:pt x="234" y="65"/>
                      <a:pt x="234" y="65"/>
                    </a:cubicBezTo>
                    <a:cubicBezTo>
                      <a:pt x="223" y="63"/>
                      <a:pt x="223" y="63"/>
                      <a:pt x="223" y="63"/>
                    </a:cubicBezTo>
                    <a:cubicBezTo>
                      <a:pt x="222" y="63"/>
                      <a:pt x="222" y="63"/>
                      <a:pt x="222" y="63"/>
                    </a:cubicBezTo>
                    <a:cubicBezTo>
                      <a:pt x="222" y="63"/>
                      <a:pt x="222" y="63"/>
                      <a:pt x="222" y="63"/>
                    </a:cubicBezTo>
                    <a:cubicBezTo>
                      <a:pt x="222" y="62"/>
                      <a:pt x="222" y="62"/>
                      <a:pt x="222" y="62"/>
                    </a:cubicBezTo>
                    <a:cubicBezTo>
                      <a:pt x="215" y="55"/>
                      <a:pt x="215" y="55"/>
                      <a:pt x="215" y="55"/>
                    </a:cubicBezTo>
                    <a:cubicBezTo>
                      <a:pt x="215" y="53"/>
                      <a:pt x="215" y="53"/>
                      <a:pt x="215" y="53"/>
                    </a:cubicBezTo>
                    <a:cubicBezTo>
                      <a:pt x="215" y="53"/>
                      <a:pt x="215" y="53"/>
                      <a:pt x="215" y="53"/>
                    </a:cubicBezTo>
                    <a:cubicBezTo>
                      <a:pt x="214" y="54"/>
                      <a:pt x="214" y="54"/>
                      <a:pt x="214" y="54"/>
                    </a:cubicBezTo>
                    <a:cubicBezTo>
                      <a:pt x="208" y="50"/>
                      <a:pt x="208" y="50"/>
                      <a:pt x="208" y="50"/>
                    </a:cubicBezTo>
                    <a:cubicBezTo>
                      <a:pt x="206" y="53"/>
                      <a:pt x="203" y="56"/>
                      <a:pt x="200" y="57"/>
                    </a:cubicBezTo>
                    <a:cubicBezTo>
                      <a:pt x="197" y="58"/>
                      <a:pt x="192" y="55"/>
                      <a:pt x="186" y="47"/>
                    </a:cubicBezTo>
                    <a:cubicBezTo>
                      <a:pt x="183" y="43"/>
                      <a:pt x="183" y="43"/>
                      <a:pt x="183" y="43"/>
                    </a:cubicBezTo>
                    <a:cubicBezTo>
                      <a:pt x="183" y="43"/>
                      <a:pt x="180" y="43"/>
                      <a:pt x="176" y="45"/>
                    </a:cubicBezTo>
                    <a:cubicBezTo>
                      <a:pt x="169" y="47"/>
                      <a:pt x="164" y="48"/>
                      <a:pt x="162" y="47"/>
                    </a:cubicBezTo>
                    <a:cubicBezTo>
                      <a:pt x="160" y="45"/>
                      <a:pt x="160" y="41"/>
                      <a:pt x="160" y="35"/>
                    </a:cubicBezTo>
                    <a:cubicBezTo>
                      <a:pt x="161" y="31"/>
                      <a:pt x="160" y="29"/>
                      <a:pt x="160" y="27"/>
                    </a:cubicBezTo>
                    <a:cubicBezTo>
                      <a:pt x="108" y="25"/>
                      <a:pt x="108" y="25"/>
                      <a:pt x="108" y="25"/>
                    </a:cubicBezTo>
                    <a:cubicBezTo>
                      <a:pt x="103" y="23"/>
                      <a:pt x="99" y="21"/>
                      <a:pt x="97" y="19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6" y="15"/>
                      <a:pt x="80" y="10"/>
                      <a:pt x="72" y="0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lnTo>
                      <a:pt x="31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7" name="íṡḷîďé"/>
              <p:cNvSpPr/>
              <p:nvPr/>
            </p:nvSpPr>
            <p:spPr bwMode="auto">
              <a:xfrm>
                <a:off x="3461" y="3098"/>
                <a:ext cx="601" cy="476"/>
              </a:xfrm>
              <a:custGeom>
                <a:avLst/>
                <a:gdLst>
                  <a:gd name="T0" fmla="*/ 244 w 254"/>
                  <a:gd name="T1" fmla="*/ 64 h 201"/>
                  <a:gd name="T2" fmla="*/ 254 w 254"/>
                  <a:gd name="T3" fmla="*/ 63 h 201"/>
                  <a:gd name="T4" fmla="*/ 236 w 254"/>
                  <a:gd name="T5" fmla="*/ 44 h 201"/>
                  <a:gd name="T6" fmla="*/ 223 w 254"/>
                  <a:gd name="T7" fmla="*/ 22 h 201"/>
                  <a:gd name="T8" fmla="*/ 202 w 254"/>
                  <a:gd name="T9" fmla="*/ 27 h 201"/>
                  <a:gd name="T10" fmla="*/ 200 w 254"/>
                  <a:gd name="T11" fmla="*/ 29 h 201"/>
                  <a:gd name="T12" fmla="*/ 182 w 254"/>
                  <a:gd name="T13" fmla="*/ 25 h 201"/>
                  <a:gd name="T14" fmla="*/ 150 w 254"/>
                  <a:gd name="T15" fmla="*/ 40 h 201"/>
                  <a:gd name="T16" fmla="*/ 150 w 254"/>
                  <a:gd name="T17" fmla="*/ 19 h 201"/>
                  <a:gd name="T18" fmla="*/ 149 w 254"/>
                  <a:gd name="T19" fmla="*/ 10 h 201"/>
                  <a:gd name="T20" fmla="*/ 138 w 254"/>
                  <a:gd name="T21" fmla="*/ 10 h 201"/>
                  <a:gd name="T22" fmla="*/ 126 w 254"/>
                  <a:gd name="T23" fmla="*/ 9 h 201"/>
                  <a:gd name="T24" fmla="*/ 110 w 254"/>
                  <a:gd name="T25" fmla="*/ 1 h 201"/>
                  <a:gd name="T26" fmla="*/ 105 w 254"/>
                  <a:gd name="T27" fmla="*/ 24 h 201"/>
                  <a:gd name="T28" fmla="*/ 82 w 254"/>
                  <a:gd name="T29" fmla="*/ 18 h 201"/>
                  <a:gd name="T30" fmla="*/ 78 w 254"/>
                  <a:gd name="T31" fmla="*/ 16 h 201"/>
                  <a:gd name="T32" fmla="*/ 72 w 254"/>
                  <a:gd name="T33" fmla="*/ 33 h 201"/>
                  <a:gd name="T34" fmla="*/ 75 w 254"/>
                  <a:gd name="T35" fmla="*/ 47 h 201"/>
                  <a:gd name="T36" fmla="*/ 68 w 254"/>
                  <a:gd name="T37" fmla="*/ 61 h 201"/>
                  <a:gd name="T38" fmla="*/ 52 w 254"/>
                  <a:gd name="T39" fmla="*/ 102 h 201"/>
                  <a:gd name="T40" fmla="*/ 29 w 254"/>
                  <a:gd name="T41" fmla="*/ 117 h 201"/>
                  <a:gd name="T42" fmla="*/ 32 w 254"/>
                  <a:gd name="T43" fmla="*/ 124 h 201"/>
                  <a:gd name="T44" fmla="*/ 19 w 254"/>
                  <a:gd name="T45" fmla="*/ 142 h 201"/>
                  <a:gd name="T46" fmla="*/ 5 w 254"/>
                  <a:gd name="T47" fmla="*/ 146 h 201"/>
                  <a:gd name="T48" fmla="*/ 2 w 254"/>
                  <a:gd name="T49" fmla="*/ 184 h 201"/>
                  <a:gd name="T50" fmla="*/ 8 w 254"/>
                  <a:gd name="T51" fmla="*/ 196 h 201"/>
                  <a:gd name="T52" fmla="*/ 21 w 254"/>
                  <a:gd name="T53" fmla="*/ 200 h 201"/>
                  <a:gd name="T54" fmla="*/ 22 w 254"/>
                  <a:gd name="T55" fmla="*/ 199 h 201"/>
                  <a:gd name="T56" fmla="*/ 18 w 254"/>
                  <a:gd name="T57" fmla="*/ 186 h 201"/>
                  <a:gd name="T58" fmla="*/ 12 w 254"/>
                  <a:gd name="T59" fmla="*/ 182 h 201"/>
                  <a:gd name="T60" fmla="*/ 18 w 254"/>
                  <a:gd name="T61" fmla="*/ 173 h 201"/>
                  <a:gd name="T62" fmla="*/ 32 w 254"/>
                  <a:gd name="T63" fmla="*/ 162 h 201"/>
                  <a:gd name="T64" fmla="*/ 64 w 254"/>
                  <a:gd name="T65" fmla="*/ 141 h 201"/>
                  <a:gd name="T66" fmla="*/ 70 w 254"/>
                  <a:gd name="T67" fmla="*/ 145 h 201"/>
                  <a:gd name="T68" fmla="*/ 75 w 254"/>
                  <a:gd name="T69" fmla="*/ 141 h 201"/>
                  <a:gd name="T70" fmla="*/ 96 w 254"/>
                  <a:gd name="T71" fmla="*/ 137 h 201"/>
                  <a:gd name="T72" fmla="*/ 98 w 254"/>
                  <a:gd name="T73" fmla="*/ 136 h 201"/>
                  <a:gd name="T74" fmla="*/ 119 w 254"/>
                  <a:gd name="T75" fmla="*/ 128 h 201"/>
                  <a:gd name="T76" fmla="*/ 124 w 254"/>
                  <a:gd name="T77" fmla="*/ 96 h 201"/>
                  <a:gd name="T78" fmla="*/ 130 w 254"/>
                  <a:gd name="T79" fmla="*/ 94 h 201"/>
                  <a:gd name="T80" fmla="*/ 132 w 254"/>
                  <a:gd name="T81" fmla="*/ 95 h 201"/>
                  <a:gd name="T82" fmla="*/ 159 w 254"/>
                  <a:gd name="T83" fmla="*/ 112 h 201"/>
                  <a:gd name="T84" fmla="*/ 156 w 254"/>
                  <a:gd name="T85" fmla="*/ 103 h 201"/>
                  <a:gd name="T86" fmla="*/ 166 w 254"/>
                  <a:gd name="T87" fmla="*/ 99 h 201"/>
                  <a:gd name="T88" fmla="*/ 173 w 254"/>
                  <a:gd name="T89" fmla="*/ 95 h 201"/>
                  <a:gd name="T90" fmla="*/ 193 w 254"/>
                  <a:gd name="T91" fmla="*/ 101 h 201"/>
                  <a:gd name="T92" fmla="*/ 206 w 254"/>
                  <a:gd name="T93" fmla="*/ 92 h 201"/>
                  <a:gd name="T94" fmla="*/ 207 w 254"/>
                  <a:gd name="T95" fmla="*/ 94 h 201"/>
                  <a:gd name="T96" fmla="*/ 238 w 254"/>
                  <a:gd name="T97" fmla="*/ 69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54" h="201">
                    <a:moveTo>
                      <a:pt x="238" y="69"/>
                    </a:moveTo>
                    <a:cubicBezTo>
                      <a:pt x="242" y="68"/>
                      <a:pt x="244" y="67"/>
                      <a:pt x="244" y="65"/>
                    </a:cubicBezTo>
                    <a:cubicBezTo>
                      <a:pt x="244" y="64"/>
                      <a:pt x="244" y="64"/>
                      <a:pt x="244" y="64"/>
                    </a:cubicBezTo>
                    <a:cubicBezTo>
                      <a:pt x="245" y="63"/>
                      <a:pt x="245" y="63"/>
                      <a:pt x="245" y="63"/>
                    </a:cubicBezTo>
                    <a:cubicBezTo>
                      <a:pt x="246" y="63"/>
                      <a:pt x="246" y="63"/>
                      <a:pt x="246" y="63"/>
                    </a:cubicBezTo>
                    <a:cubicBezTo>
                      <a:pt x="254" y="63"/>
                      <a:pt x="254" y="63"/>
                      <a:pt x="254" y="63"/>
                    </a:cubicBezTo>
                    <a:cubicBezTo>
                      <a:pt x="254" y="58"/>
                      <a:pt x="254" y="58"/>
                      <a:pt x="254" y="58"/>
                    </a:cubicBezTo>
                    <a:cubicBezTo>
                      <a:pt x="252" y="58"/>
                      <a:pt x="250" y="57"/>
                      <a:pt x="248" y="55"/>
                    </a:cubicBezTo>
                    <a:cubicBezTo>
                      <a:pt x="236" y="44"/>
                      <a:pt x="236" y="44"/>
                      <a:pt x="236" y="44"/>
                    </a:cubicBezTo>
                    <a:cubicBezTo>
                      <a:pt x="236" y="44"/>
                      <a:pt x="236" y="44"/>
                      <a:pt x="236" y="44"/>
                    </a:cubicBezTo>
                    <a:cubicBezTo>
                      <a:pt x="230" y="29"/>
                      <a:pt x="230" y="29"/>
                      <a:pt x="230" y="29"/>
                    </a:cubicBezTo>
                    <a:cubicBezTo>
                      <a:pt x="223" y="22"/>
                      <a:pt x="223" y="22"/>
                      <a:pt x="223" y="22"/>
                    </a:cubicBezTo>
                    <a:cubicBezTo>
                      <a:pt x="214" y="21"/>
                      <a:pt x="208" y="21"/>
                      <a:pt x="203" y="22"/>
                    </a:cubicBezTo>
                    <a:cubicBezTo>
                      <a:pt x="201" y="22"/>
                      <a:pt x="201" y="22"/>
                      <a:pt x="201" y="22"/>
                    </a:cubicBezTo>
                    <a:cubicBezTo>
                      <a:pt x="202" y="27"/>
                      <a:pt x="202" y="27"/>
                      <a:pt x="202" y="27"/>
                    </a:cubicBezTo>
                    <a:cubicBezTo>
                      <a:pt x="202" y="28"/>
                      <a:pt x="202" y="28"/>
                      <a:pt x="202" y="28"/>
                    </a:cubicBezTo>
                    <a:cubicBezTo>
                      <a:pt x="202" y="29"/>
                      <a:pt x="202" y="29"/>
                      <a:pt x="202" y="29"/>
                    </a:cubicBezTo>
                    <a:cubicBezTo>
                      <a:pt x="200" y="29"/>
                      <a:pt x="200" y="29"/>
                      <a:pt x="200" y="29"/>
                    </a:cubicBezTo>
                    <a:cubicBezTo>
                      <a:pt x="194" y="32"/>
                      <a:pt x="194" y="32"/>
                      <a:pt x="194" y="32"/>
                    </a:cubicBezTo>
                    <a:cubicBezTo>
                      <a:pt x="193" y="31"/>
                      <a:pt x="193" y="31"/>
                      <a:pt x="193" y="31"/>
                    </a:cubicBezTo>
                    <a:cubicBezTo>
                      <a:pt x="188" y="26"/>
                      <a:pt x="184" y="24"/>
                      <a:pt x="182" y="25"/>
                    </a:cubicBezTo>
                    <a:cubicBezTo>
                      <a:pt x="168" y="32"/>
                      <a:pt x="160" y="35"/>
                      <a:pt x="158" y="33"/>
                    </a:cubicBezTo>
                    <a:cubicBezTo>
                      <a:pt x="156" y="34"/>
                      <a:pt x="154" y="35"/>
                      <a:pt x="152" y="38"/>
                    </a:cubicBezTo>
                    <a:cubicBezTo>
                      <a:pt x="150" y="40"/>
                      <a:pt x="150" y="40"/>
                      <a:pt x="150" y="40"/>
                    </a:cubicBezTo>
                    <a:cubicBezTo>
                      <a:pt x="149" y="38"/>
                      <a:pt x="149" y="38"/>
                      <a:pt x="149" y="38"/>
                    </a:cubicBezTo>
                    <a:cubicBezTo>
                      <a:pt x="145" y="34"/>
                      <a:pt x="143" y="31"/>
                      <a:pt x="143" y="29"/>
                    </a:cubicBezTo>
                    <a:cubicBezTo>
                      <a:pt x="143" y="27"/>
                      <a:pt x="146" y="24"/>
                      <a:pt x="150" y="19"/>
                    </a:cubicBezTo>
                    <a:cubicBezTo>
                      <a:pt x="156" y="12"/>
                      <a:pt x="159" y="9"/>
                      <a:pt x="159" y="8"/>
                    </a:cubicBezTo>
                    <a:cubicBezTo>
                      <a:pt x="158" y="6"/>
                      <a:pt x="158" y="6"/>
                      <a:pt x="158" y="6"/>
                    </a:cubicBezTo>
                    <a:cubicBezTo>
                      <a:pt x="156" y="5"/>
                      <a:pt x="153" y="7"/>
                      <a:pt x="149" y="10"/>
                    </a:cubicBezTo>
                    <a:cubicBezTo>
                      <a:pt x="145" y="13"/>
                      <a:pt x="142" y="14"/>
                      <a:pt x="141" y="14"/>
                    </a:cubicBezTo>
                    <a:cubicBezTo>
                      <a:pt x="140" y="14"/>
                      <a:pt x="139" y="12"/>
                      <a:pt x="139" y="10"/>
                    </a:cubicBezTo>
                    <a:cubicBezTo>
                      <a:pt x="138" y="10"/>
                      <a:pt x="138" y="10"/>
                      <a:pt x="138" y="10"/>
                    </a:cubicBezTo>
                    <a:cubicBezTo>
                      <a:pt x="135" y="3"/>
                      <a:pt x="135" y="3"/>
                      <a:pt x="135" y="3"/>
                    </a:cubicBezTo>
                    <a:cubicBezTo>
                      <a:pt x="127" y="8"/>
                      <a:pt x="127" y="8"/>
                      <a:pt x="127" y="8"/>
                    </a:cubicBezTo>
                    <a:cubicBezTo>
                      <a:pt x="126" y="9"/>
                      <a:pt x="126" y="9"/>
                      <a:pt x="126" y="9"/>
                    </a:cubicBezTo>
                    <a:cubicBezTo>
                      <a:pt x="126" y="8"/>
                      <a:pt x="126" y="8"/>
                      <a:pt x="126" y="8"/>
                    </a:cubicBezTo>
                    <a:cubicBezTo>
                      <a:pt x="126" y="8"/>
                      <a:pt x="126" y="8"/>
                      <a:pt x="126" y="8"/>
                    </a:cubicBezTo>
                    <a:cubicBezTo>
                      <a:pt x="120" y="5"/>
                      <a:pt x="115" y="3"/>
                      <a:pt x="110" y="1"/>
                    </a:cubicBezTo>
                    <a:cubicBezTo>
                      <a:pt x="106" y="0"/>
                      <a:pt x="102" y="1"/>
                      <a:pt x="99" y="6"/>
                    </a:cubicBezTo>
                    <a:cubicBezTo>
                      <a:pt x="102" y="12"/>
                      <a:pt x="102" y="12"/>
                      <a:pt x="102" y="12"/>
                    </a:cubicBezTo>
                    <a:cubicBezTo>
                      <a:pt x="105" y="18"/>
                      <a:pt x="106" y="22"/>
                      <a:pt x="105" y="24"/>
                    </a:cubicBezTo>
                    <a:cubicBezTo>
                      <a:pt x="104" y="26"/>
                      <a:pt x="103" y="27"/>
                      <a:pt x="102" y="27"/>
                    </a:cubicBezTo>
                    <a:cubicBezTo>
                      <a:pt x="99" y="28"/>
                      <a:pt x="96" y="27"/>
                      <a:pt x="91" y="23"/>
                    </a:cubicBezTo>
                    <a:cubicBezTo>
                      <a:pt x="88" y="21"/>
                      <a:pt x="85" y="19"/>
                      <a:pt x="82" y="18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7"/>
                      <a:pt x="78" y="17"/>
                      <a:pt x="78" y="17"/>
                    </a:cubicBezTo>
                    <a:cubicBezTo>
                      <a:pt x="78" y="26"/>
                      <a:pt x="78" y="26"/>
                      <a:pt x="78" y="26"/>
                    </a:cubicBezTo>
                    <a:cubicBezTo>
                      <a:pt x="72" y="33"/>
                      <a:pt x="72" y="33"/>
                      <a:pt x="72" y="33"/>
                    </a:cubicBezTo>
                    <a:cubicBezTo>
                      <a:pt x="72" y="40"/>
                      <a:pt x="72" y="40"/>
                      <a:pt x="72" y="40"/>
                    </a:cubicBezTo>
                    <a:cubicBezTo>
                      <a:pt x="74" y="47"/>
                      <a:pt x="74" y="47"/>
                      <a:pt x="74" y="47"/>
                    </a:cubicBezTo>
                    <a:cubicBezTo>
                      <a:pt x="75" y="47"/>
                      <a:pt x="75" y="47"/>
                      <a:pt x="75" y="47"/>
                    </a:cubicBezTo>
                    <a:cubicBezTo>
                      <a:pt x="70" y="54"/>
                      <a:pt x="70" y="54"/>
                      <a:pt x="70" y="54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8" y="61"/>
                      <a:pt x="68" y="61"/>
                      <a:pt x="68" y="61"/>
                    </a:cubicBezTo>
                    <a:cubicBezTo>
                      <a:pt x="62" y="67"/>
                      <a:pt x="62" y="67"/>
                      <a:pt x="62" y="67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52" y="102"/>
                      <a:pt x="52" y="102"/>
                      <a:pt x="52" y="102"/>
                    </a:cubicBezTo>
                    <a:cubicBezTo>
                      <a:pt x="52" y="102"/>
                      <a:pt x="52" y="102"/>
                      <a:pt x="52" y="102"/>
                    </a:cubicBezTo>
                    <a:cubicBezTo>
                      <a:pt x="30" y="115"/>
                      <a:pt x="30" y="115"/>
                      <a:pt x="30" y="115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0" y="133"/>
                      <a:pt x="30" y="133"/>
                      <a:pt x="30" y="133"/>
                    </a:cubicBezTo>
                    <a:cubicBezTo>
                      <a:pt x="21" y="132"/>
                      <a:pt x="21" y="132"/>
                      <a:pt x="21" y="132"/>
                    </a:cubicBezTo>
                    <a:cubicBezTo>
                      <a:pt x="19" y="142"/>
                      <a:pt x="19" y="142"/>
                      <a:pt x="19" y="142"/>
                    </a:cubicBezTo>
                    <a:cubicBezTo>
                      <a:pt x="8" y="142"/>
                      <a:pt x="8" y="142"/>
                      <a:pt x="8" y="142"/>
                    </a:cubicBezTo>
                    <a:cubicBezTo>
                      <a:pt x="5" y="146"/>
                      <a:pt x="5" y="146"/>
                      <a:pt x="5" y="146"/>
                    </a:cubicBezTo>
                    <a:cubicBezTo>
                      <a:pt x="5" y="146"/>
                      <a:pt x="5" y="146"/>
                      <a:pt x="5" y="146"/>
                    </a:cubicBezTo>
                    <a:cubicBezTo>
                      <a:pt x="2" y="153"/>
                      <a:pt x="2" y="153"/>
                      <a:pt x="2" y="153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2" y="184"/>
                      <a:pt x="2" y="184"/>
                      <a:pt x="2" y="184"/>
                    </a:cubicBezTo>
                    <a:cubicBezTo>
                      <a:pt x="3" y="184"/>
                      <a:pt x="3" y="184"/>
                      <a:pt x="3" y="184"/>
                    </a:cubicBezTo>
                    <a:cubicBezTo>
                      <a:pt x="3" y="190"/>
                      <a:pt x="3" y="190"/>
                      <a:pt x="3" y="190"/>
                    </a:cubicBezTo>
                    <a:cubicBezTo>
                      <a:pt x="8" y="196"/>
                      <a:pt x="8" y="196"/>
                      <a:pt x="8" y="196"/>
                    </a:cubicBezTo>
                    <a:cubicBezTo>
                      <a:pt x="8" y="196"/>
                      <a:pt x="8" y="196"/>
                      <a:pt x="8" y="196"/>
                    </a:cubicBezTo>
                    <a:cubicBezTo>
                      <a:pt x="8" y="201"/>
                      <a:pt x="8" y="201"/>
                      <a:pt x="8" y="201"/>
                    </a:cubicBezTo>
                    <a:cubicBezTo>
                      <a:pt x="21" y="200"/>
                      <a:pt x="21" y="200"/>
                      <a:pt x="21" y="200"/>
                    </a:cubicBezTo>
                    <a:cubicBezTo>
                      <a:pt x="22" y="199"/>
                      <a:pt x="22" y="199"/>
                      <a:pt x="22" y="199"/>
                    </a:cubicBezTo>
                    <a:cubicBezTo>
                      <a:pt x="22" y="199"/>
                      <a:pt x="22" y="199"/>
                      <a:pt x="22" y="199"/>
                    </a:cubicBezTo>
                    <a:cubicBezTo>
                      <a:pt x="22" y="199"/>
                      <a:pt x="22" y="199"/>
                      <a:pt x="22" y="199"/>
                    </a:cubicBezTo>
                    <a:cubicBezTo>
                      <a:pt x="22" y="198"/>
                      <a:pt x="22" y="198"/>
                      <a:pt x="22" y="198"/>
                    </a:cubicBezTo>
                    <a:cubicBezTo>
                      <a:pt x="26" y="194"/>
                      <a:pt x="26" y="194"/>
                      <a:pt x="26" y="194"/>
                    </a:cubicBezTo>
                    <a:cubicBezTo>
                      <a:pt x="18" y="186"/>
                      <a:pt x="18" y="186"/>
                      <a:pt x="18" y="186"/>
                    </a:cubicBezTo>
                    <a:cubicBezTo>
                      <a:pt x="17" y="186"/>
                      <a:pt x="17" y="186"/>
                      <a:pt x="17" y="186"/>
                    </a:cubicBezTo>
                    <a:cubicBezTo>
                      <a:pt x="12" y="182"/>
                      <a:pt x="12" y="182"/>
                      <a:pt x="12" y="182"/>
                    </a:cubicBezTo>
                    <a:cubicBezTo>
                      <a:pt x="12" y="182"/>
                      <a:pt x="12" y="182"/>
                      <a:pt x="12" y="182"/>
                    </a:cubicBezTo>
                    <a:cubicBezTo>
                      <a:pt x="12" y="181"/>
                      <a:pt x="12" y="181"/>
                      <a:pt x="12" y="181"/>
                    </a:cubicBezTo>
                    <a:cubicBezTo>
                      <a:pt x="12" y="173"/>
                      <a:pt x="12" y="173"/>
                      <a:pt x="12" y="173"/>
                    </a:cubicBezTo>
                    <a:cubicBezTo>
                      <a:pt x="18" y="173"/>
                      <a:pt x="18" y="173"/>
                      <a:pt x="18" y="173"/>
                    </a:cubicBezTo>
                    <a:cubicBezTo>
                      <a:pt x="19" y="170"/>
                      <a:pt x="19" y="170"/>
                      <a:pt x="19" y="170"/>
                    </a:cubicBezTo>
                    <a:cubicBezTo>
                      <a:pt x="16" y="162"/>
                      <a:pt x="16" y="162"/>
                      <a:pt x="16" y="162"/>
                    </a:cubicBezTo>
                    <a:cubicBezTo>
                      <a:pt x="32" y="162"/>
                      <a:pt x="32" y="162"/>
                      <a:pt x="32" y="162"/>
                    </a:cubicBezTo>
                    <a:cubicBezTo>
                      <a:pt x="60" y="149"/>
                      <a:pt x="60" y="149"/>
                      <a:pt x="60" y="149"/>
                    </a:cubicBezTo>
                    <a:cubicBezTo>
                      <a:pt x="63" y="143"/>
                      <a:pt x="63" y="143"/>
                      <a:pt x="63" y="143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70" y="144"/>
                      <a:pt x="70" y="144"/>
                      <a:pt x="70" y="144"/>
                    </a:cubicBezTo>
                    <a:cubicBezTo>
                      <a:pt x="70" y="144"/>
                      <a:pt x="70" y="144"/>
                      <a:pt x="70" y="144"/>
                    </a:cubicBezTo>
                    <a:cubicBezTo>
                      <a:pt x="70" y="145"/>
                      <a:pt x="70" y="145"/>
                      <a:pt x="70" y="145"/>
                    </a:cubicBezTo>
                    <a:cubicBezTo>
                      <a:pt x="73" y="148"/>
                      <a:pt x="73" y="148"/>
                      <a:pt x="73" y="148"/>
                    </a:cubicBezTo>
                    <a:cubicBezTo>
                      <a:pt x="76" y="147"/>
                      <a:pt x="76" y="147"/>
                      <a:pt x="76" y="147"/>
                    </a:cubicBezTo>
                    <a:cubicBezTo>
                      <a:pt x="75" y="141"/>
                      <a:pt x="75" y="141"/>
                      <a:pt x="75" y="141"/>
                    </a:cubicBezTo>
                    <a:cubicBezTo>
                      <a:pt x="84" y="141"/>
                      <a:pt x="84" y="141"/>
                      <a:pt x="84" y="141"/>
                    </a:cubicBezTo>
                    <a:cubicBezTo>
                      <a:pt x="93" y="143"/>
                      <a:pt x="93" y="143"/>
                      <a:pt x="93" y="143"/>
                    </a:cubicBezTo>
                    <a:cubicBezTo>
                      <a:pt x="96" y="137"/>
                      <a:pt x="96" y="137"/>
                      <a:pt x="96" y="137"/>
                    </a:cubicBezTo>
                    <a:cubicBezTo>
                      <a:pt x="97" y="136"/>
                      <a:pt x="97" y="136"/>
                      <a:pt x="97" y="136"/>
                    </a:cubicBezTo>
                    <a:cubicBezTo>
                      <a:pt x="97" y="136"/>
                      <a:pt x="97" y="136"/>
                      <a:pt x="97" y="136"/>
                    </a:cubicBezTo>
                    <a:cubicBezTo>
                      <a:pt x="98" y="136"/>
                      <a:pt x="98" y="136"/>
                      <a:pt x="98" y="136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09" y="119"/>
                      <a:pt x="109" y="119"/>
                      <a:pt x="109" y="119"/>
                    </a:cubicBezTo>
                    <a:cubicBezTo>
                      <a:pt x="119" y="128"/>
                      <a:pt x="119" y="128"/>
                      <a:pt x="119" y="128"/>
                    </a:cubicBezTo>
                    <a:cubicBezTo>
                      <a:pt x="123" y="128"/>
                      <a:pt x="123" y="128"/>
                      <a:pt x="123" y="128"/>
                    </a:cubicBezTo>
                    <a:cubicBezTo>
                      <a:pt x="125" y="126"/>
                      <a:pt x="125" y="126"/>
                      <a:pt x="125" y="126"/>
                    </a:cubicBezTo>
                    <a:cubicBezTo>
                      <a:pt x="124" y="96"/>
                      <a:pt x="124" y="96"/>
                      <a:pt x="124" y="96"/>
                    </a:cubicBezTo>
                    <a:cubicBezTo>
                      <a:pt x="124" y="95"/>
                      <a:pt x="124" y="95"/>
                      <a:pt x="124" y="95"/>
                    </a:cubicBezTo>
                    <a:cubicBezTo>
                      <a:pt x="124" y="93"/>
                      <a:pt x="124" y="93"/>
                      <a:pt x="124" y="93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31" y="94"/>
                      <a:pt x="131" y="94"/>
                      <a:pt x="131" y="94"/>
                    </a:cubicBezTo>
                    <a:cubicBezTo>
                      <a:pt x="132" y="95"/>
                      <a:pt x="132" y="95"/>
                      <a:pt x="132" y="95"/>
                    </a:cubicBezTo>
                    <a:cubicBezTo>
                      <a:pt x="132" y="95"/>
                      <a:pt x="132" y="95"/>
                      <a:pt x="132" y="95"/>
                    </a:cubicBezTo>
                    <a:cubicBezTo>
                      <a:pt x="143" y="115"/>
                      <a:pt x="143" y="115"/>
                      <a:pt x="143" y="115"/>
                    </a:cubicBezTo>
                    <a:cubicBezTo>
                      <a:pt x="156" y="113"/>
                      <a:pt x="156" y="113"/>
                      <a:pt x="156" y="113"/>
                    </a:cubicBezTo>
                    <a:cubicBezTo>
                      <a:pt x="159" y="112"/>
                      <a:pt x="159" y="112"/>
                      <a:pt x="159" y="112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57" y="104"/>
                      <a:pt x="157" y="104"/>
                      <a:pt x="157" y="104"/>
                    </a:cubicBezTo>
                    <a:cubicBezTo>
                      <a:pt x="156" y="103"/>
                      <a:pt x="156" y="103"/>
                      <a:pt x="156" y="103"/>
                    </a:cubicBezTo>
                    <a:cubicBezTo>
                      <a:pt x="165" y="100"/>
                      <a:pt x="165" y="100"/>
                      <a:pt x="165" y="100"/>
                    </a:cubicBezTo>
                    <a:cubicBezTo>
                      <a:pt x="166" y="99"/>
                      <a:pt x="166" y="99"/>
                      <a:pt x="166" y="99"/>
                    </a:cubicBezTo>
                    <a:cubicBezTo>
                      <a:pt x="166" y="99"/>
                      <a:pt x="166" y="99"/>
                      <a:pt x="166" y="99"/>
                    </a:cubicBezTo>
                    <a:cubicBezTo>
                      <a:pt x="170" y="103"/>
                      <a:pt x="170" y="103"/>
                      <a:pt x="170" y="103"/>
                    </a:cubicBezTo>
                    <a:cubicBezTo>
                      <a:pt x="173" y="101"/>
                      <a:pt x="173" y="101"/>
                      <a:pt x="173" y="101"/>
                    </a:cubicBezTo>
                    <a:cubicBezTo>
                      <a:pt x="173" y="95"/>
                      <a:pt x="173" y="95"/>
                      <a:pt x="173" y="95"/>
                    </a:cubicBezTo>
                    <a:cubicBezTo>
                      <a:pt x="175" y="95"/>
                      <a:pt x="175" y="95"/>
                      <a:pt x="175" y="95"/>
                    </a:cubicBezTo>
                    <a:cubicBezTo>
                      <a:pt x="182" y="95"/>
                      <a:pt x="182" y="95"/>
                      <a:pt x="182" y="95"/>
                    </a:cubicBezTo>
                    <a:cubicBezTo>
                      <a:pt x="186" y="95"/>
                      <a:pt x="190" y="98"/>
                      <a:pt x="193" y="101"/>
                    </a:cubicBezTo>
                    <a:cubicBezTo>
                      <a:pt x="194" y="103"/>
                      <a:pt x="194" y="103"/>
                      <a:pt x="194" y="103"/>
                    </a:cubicBezTo>
                    <a:cubicBezTo>
                      <a:pt x="196" y="93"/>
                      <a:pt x="196" y="93"/>
                      <a:pt x="196" y="93"/>
                    </a:cubicBezTo>
                    <a:cubicBezTo>
                      <a:pt x="198" y="91"/>
                      <a:pt x="201" y="90"/>
                      <a:pt x="206" y="92"/>
                    </a:cubicBezTo>
                    <a:cubicBezTo>
                      <a:pt x="207" y="93"/>
                      <a:pt x="207" y="93"/>
                      <a:pt x="207" y="93"/>
                    </a:cubicBezTo>
                    <a:cubicBezTo>
                      <a:pt x="207" y="93"/>
                      <a:pt x="207" y="93"/>
                      <a:pt x="207" y="93"/>
                    </a:cubicBezTo>
                    <a:cubicBezTo>
                      <a:pt x="207" y="94"/>
                      <a:pt x="207" y="94"/>
                      <a:pt x="207" y="94"/>
                    </a:cubicBezTo>
                    <a:cubicBezTo>
                      <a:pt x="208" y="94"/>
                      <a:pt x="208" y="94"/>
                      <a:pt x="209" y="94"/>
                    </a:cubicBezTo>
                    <a:cubicBezTo>
                      <a:pt x="211" y="94"/>
                      <a:pt x="218" y="89"/>
                      <a:pt x="230" y="80"/>
                    </a:cubicBezTo>
                    <a:cubicBezTo>
                      <a:pt x="230" y="74"/>
                      <a:pt x="233" y="70"/>
                      <a:pt x="23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8" name="ïṣ1ïḍé"/>
              <p:cNvSpPr/>
              <p:nvPr/>
            </p:nvSpPr>
            <p:spPr bwMode="auto">
              <a:xfrm>
                <a:off x="3745" y="2687"/>
                <a:ext cx="360" cy="490"/>
              </a:xfrm>
              <a:custGeom>
                <a:avLst/>
                <a:gdLst>
                  <a:gd name="T0" fmla="*/ 119 w 152"/>
                  <a:gd name="T1" fmla="*/ 8 h 207"/>
                  <a:gd name="T2" fmla="*/ 106 w 152"/>
                  <a:gd name="T3" fmla="*/ 3 h 207"/>
                  <a:gd name="T4" fmla="*/ 88 w 152"/>
                  <a:gd name="T5" fmla="*/ 16 h 207"/>
                  <a:gd name="T6" fmla="*/ 76 w 152"/>
                  <a:gd name="T7" fmla="*/ 11 h 207"/>
                  <a:gd name="T8" fmla="*/ 76 w 152"/>
                  <a:gd name="T9" fmla="*/ 12 h 207"/>
                  <a:gd name="T10" fmla="*/ 54 w 152"/>
                  <a:gd name="T11" fmla="*/ 17 h 207"/>
                  <a:gd name="T12" fmla="*/ 42 w 152"/>
                  <a:gd name="T13" fmla="*/ 18 h 207"/>
                  <a:gd name="T14" fmla="*/ 34 w 152"/>
                  <a:gd name="T15" fmla="*/ 27 h 207"/>
                  <a:gd name="T16" fmla="*/ 20 w 152"/>
                  <a:gd name="T17" fmla="*/ 28 h 207"/>
                  <a:gd name="T18" fmla="*/ 10 w 152"/>
                  <a:gd name="T19" fmla="*/ 44 h 207"/>
                  <a:gd name="T20" fmla="*/ 11 w 152"/>
                  <a:gd name="T21" fmla="*/ 46 h 207"/>
                  <a:gd name="T22" fmla="*/ 17 w 152"/>
                  <a:gd name="T23" fmla="*/ 69 h 207"/>
                  <a:gd name="T24" fmla="*/ 17 w 152"/>
                  <a:gd name="T25" fmla="*/ 72 h 207"/>
                  <a:gd name="T26" fmla="*/ 16 w 152"/>
                  <a:gd name="T27" fmla="*/ 72 h 207"/>
                  <a:gd name="T28" fmla="*/ 0 w 152"/>
                  <a:gd name="T29" fmla="*/ 94 h 207"/>
                  <a:gd name="T30" fmla="*/ 6 w 152"/>
                  <a:gd name="T31" fmla="*/ 98 h 207"/>
                  <a:gd name="T32" fmla="*/ 12 w 152"/>
                  <a:gd name="T33" fmla="*/ 131 h 207"/>
                  <a:gd name="T34" fmla="*/ 20 w 152"/>
                  <a:gd name="T35" fmla="*/ 143 h 207"/>
                  <a:gd name="T36" fmla="*/ 21 w 152"/>
                  <a:gd name="T37" fmla="*/ 152 h 207"/>
                  <a:gd name="T38" fmla="*/ 22 w 152"/>
                  <a:gd name="T39" fmla="*/ 181 h 207"/>
                  <a:gd name="T40" fmla="*/ 26 w 152"/>
                  <a:gd name="T41" fmla="*/ 181 h 207"/>
                  <a:gd name="T42" fmla="*/ 43 w 152"/>
                  <a:gd name="T43" fmla="*/ 181 h 207"/>
                  <a:gd name="T44" fmla="*/ 28 w 152"/>
                  <a:gd name="T45" fmla="*/ 203 h 207"/>
                  <a:gd name="T46" fmla="*/ 40 w 152"/>
                  <a:gd name="T47" fmla="*/ 203 h 207"/>
                  <a:gd name="T48" fmla="*/ 75 w 152"/>
                  <a:gd name="T49" fmla="*/ 201 h 207"/>
                  <a:gd name="T50" fmla="*/ 77 w 152"/>
                  <a:gd name="T51" fmla="*/ 195 h 207"/>
                  <a:gd name="T52" fmla="*/ 77 w 152"/>
                  <a:gd name="T53" fmla="*/ 190 h 207"/>
                  <a:gd name="T54" fmla="*/ 75 w 152"/>
                  <a:gd name="T55" fmla="*/ 179 h 207"/>
                  <a:gd name="T56" fmla="*/ 83 w 152"/>
                  <a:gd name="T57" fmla="*/ 173 h 207"/>
                  <a:gd name="T58" fmla="*/ 81 w 152"/>
                  <a:gd name="T59" fmla="*/ 168 h 207"/>
                  <a:gd name="T60" fmla="*/ 81 w 152"/>
                  <a:gd name="T61" fmla="*/ 167 h 207"/>
                  <a:gd name="T62" fmla="*/ 85 w 152"/>
                  <a:gd name="T63" fmla="*/ 154 h 207"/>
                  <a:gd name="T64" fmla="*/ 89 w 152"/>
                  <a:gd name="T65" fmla="*/ 149 h 207"/>
                  <a:gd name="T66" fmla="*/ 93 w 152"/>
                  <a:gd name="T67" fmla="*/ 146 h 207"/>
                  <a:gd name="T68" fmla="*/ 100 w 152"/>
                  <a:gd name="T69" fmla="*/ 130 h 207"/>
                  <a:gd name="T70" fmla="*/ 103 w 152"/>
                  <a:gd name="T71" fmla="*/ 128 h 207"/>
                  <a:gd name="T72" fmla="*/ 99 w 152"/>
                  <a:gd name="T73" fmla="*/ 111 h 207"/>
                  <a:gd name="T74" fmla="*/ 112 w 152"/>
                  <a:gd name="T75" fmla="*/ 100 h 207"/>
                  <a:gd name="T76" fmla="*/ 110 w 152"/>
                  <a:gd name="T77" fmla="*/ 85 h 207"/>
                  <a:gd name="T78" fmla="*/ 125 w 152"/>
                  <a:gd name="T79" fmla="*/ 68 h 207"/>
                  <a:gd name="T80" fmla="*/ 131 w 152"/>
                  <a:gd name="T81" fmla="*/ 70 h 207"/>
                  <a:gd name="T82" fmla="*/ 142 w 152"/>
                  <a:gd name="T83" fmla="*/ 64 h 207"/>
                  <a:gd name="T84" fmla="*/ 142 w 152"/>
                  <a:gd name="T85" fmla="*/ 64 h 207"/>
                  <a:gd name="T86" fmla="*/ 148 w 152"/>
                  <a:gd name="T87" fmla="*/ 60 h 207"/>
                  <a:gd name="T88" fmla="*/ 148 w 152"/>
                  <a:gd name="T89" fmla="*/ 53 h 207"/>
                  <a:gd name="T90" fmla="*/ 150 w 152"/>
                  <a:gd name="T91" fmla="*/ 51 h 207"/>
                  <a:gd name="T92" fmla="*/ 152 w 152"/>
                  <a:gd name="T93" fmla="*/ 48 h 207"/>
                  <a:gd name="T94" fmla="*/ 138 w 152"/>
                  <a:gd name="T95" fmla="*/ 26 h 207"/>
                  <a:gd name="T96" fmla="*/ 132 w 152"/>
                  <a:gd name="T97" fmla="*/ 1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52" h="207">
                    <a:moveTo>
                      <a:pt x="120" y="8"/>
                    </a:moveTo>
                    <a:cubicBezTo>
                      <a:pt x="119" y="8"/>
                      <a:pt x="119" y="8"/>
                      <a:pt x="119" y="8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06" y="3"/>
                      <a:pt x="106" y="3"/>
                      <a:pt x="106" y="3"/>
                    </a:cubicBezTo>
                    <a:cubicBezTo>
                      <a:pt x="102" y="10"/>
                      <a:pt x="98" y="14"/>
                      <a:pt x="92" y="16"/>
                    </a:cubicBezTo>
                    <a:cubicBezTo>
                      <a:pt x="91" y="17"/>
                      <a:pt x="89" y="17"/>
                      <a:pt x="88" y="16"/>
                    </a:cubicBezTo>
                    <a:cubicBezTo>
                      <a:pt x="86" y="14"/>
                      <a:pt x="87" y="9"/>
                      <a:pt x="90" y="2"/>
                    </a:cubicBezTo>
                    <a:cubicBezTo>
                      <a:pt x="76" y="11"/>
                      <a:pt x="76" y="11"/>
                      <a:pt x="76" y="11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64" y="12"/>
                      <a:pt x="64" y="12"/>
                      <a:pt x="64" y="12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54" y="18"/>
                      <a:pt x="54" y="18"/>
                      <a:pt x="54" y="18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4" y="27"/>
                      <a:pt x="34" y="27"/>
                      <a:pt x="34" y="27"/>
                    </a:cubicBezTo>
                    <a:cubicBezTo>
                      <a:pt x="33" y="28"/>
                      <a:pt x="33" y="28"/>
                      <a:pt x="33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17" y="28"/>
                      <a:pt x="12" y="32"/>
                      <a:pt x="4" y="40"/>
                    </a:cubicBezTo>
                    <a:cubicBezTo>
                      <a:pt x="8" y="42"/>
                      <a:pt x="10" y="43"/>
                      <a:pt x="10" y="44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7" y="69"/>
                      <a:pt x="17" y="69"/>
                      <a:pt x="17" y="69"/>
                    </a:cubicBezTo>
                    <a:cubicBezTo>
                      <a:pt x="17" y="69"/>
                      <a:pt x="17" y="69"/>
                      <a:pt x="17" y="69"/>
                    </a:cubicBezTo>
                    <a:cubicBezTo>
                      <a:pt x="17" y="70"/>
                      <a:pt x="17" y="70"/>
                      <a:pt x="17" y="70"/>
                    </a:cubicBezTo>
                    <a:cubicBezTo>
                      <a:pt x="17" y="72"/>
                      <a:pt x="17" y="72"/>
                      <a:pt x="17" y="72"/>
                    </a:cubicBezTo>
                    <a:cubicBezTo>
                      <a:pt x="17" y="72"/>
                      <a:pt x="17" y="72"/>
                      <a:pt x="17" y="72"/>
                    </a:cubicBezTo>
                    <a:cubicBezTo>
                      <a:pt x="16" y="72"/>
                      <a:pt x="16" y="72"/>
                      <a:pt x="16" y="72"/>
                    </a:cubicBezTo>
                    <a:cubicBezTo>
                      <a:pt x="16" y="72"/>
                      <a:pt x="16" y="72"/>
                      <a:pt x="16" y="72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3" y="98"/>
                      <a:pt x="5" y="97"/>
                      <a:pt x="6" y="98"/>
                    </a:cubicBezTo>
                    <a:cubicBezTo>
                      <a:pt x="8" y="99"/>
                      <a:pt x="9" y="102"/>
                      <a:pt x="8" y="107"/>
                    </a:cubicBezTo>
                    <a:cubicBezTo>
                      <a:pt x="8" y="114"/>
                      <a:pt x="9" y="123"/>
                      <a:pt x="12" y="131"/>
                    </a:cubicBezTo>
                    <a:cubicBezTo>
                      <a:pt x="18" y="137"/>
                      <a:pt x="18" y="137"/>
                      <a:pt x="18" y="137"/>
                    </a:cubicBezTo>
                    <a:cubicBezTo>
                      <a:pt x="20" y="139"/>
                      <a:pt x="21" y="141"/>
                      <a:pt x="20" y="143"/>
                    </a:cubicBezTo>
                    <a:cubicBezTo>
                      <a:pt x="18" y="147"/>
                      <a:pt x="18" y="147"/>
                      <a:pt x="18" y="147"/>
                    </a:cubicBezTo>
                    <a:cubicBezTo>
                      <a:pt x="21" y="152"/>
                      <a:pt x="21" y="152"/>
                      <a:pt x="21" y="152"/>
                    </a:cubicBezTo>
                    <a:cubicBezTo>
                      <a:pt x="23" y="156"/>
                      <a:pt x="22" y="162"/>
                      <a:pt x="17" y="172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3" y="183"/>
                      <a:pt x="23" y="183"/>
                      <a:pt x="23" y="183"/>
                    </a:cubicBezTo>
                    <a:cubicBezTo>
                      <a:pt x="26" y="181"/>
                      <a:pt x="26" y="181"/>
                      <a:pt x="26" y="181"/>
                    </a:cubicBezTo>
                    <a:cubicBezTo>
                      <a:pt x="31" y="176"/>
                      <a:pt x="36" y="175"/>
                      <a:pt x="39" y="176"/>
                    </a:cubicBezTo>
                    <a:cubicBezTo>
                      <a:pt x="42" y="177"/>
                      <a:pt x="43" y="179"/>
                      <a:pt x="43" y="181"/>
                    </a:cubicBezTo>
                    <a:cubicBezTo>
                      <a:pt x="44" y="184"/>
                      <a:pt x="40" y="188"/>
                      <a:pt x="33" y="196"/>
                    </a:cubicBezTo>
                    <a:cubicBezTo>
                      <a:pt x="28" y="203"/>
                      <a:pt x="28" y="203"/>
                      <a:pt x="28" y="203"/>
                    </a:cubicBezTo>
                    <a:cubicBezTo>
                      <a:pt x="30" y="207"/>
                      <a:pt x="30" y="207"/>
                      <a:pt x="30" y="207"/>
                    </a:cubicBezTo>
                    <a:cubicBezTo>
                      <a:pt x="34" y="204"/>
                      <a:pt x="38" y="202"/>
                      <a:pt x="40" y="203"/>
                    </a:cubicBezTo>
                    <a:cubicBezTo>
                      <a:pt x="42" y="203"/>
                      <a:pt x="49" y="201"/>
                      <a:pt x="60" y="195"/>
                    </a:cubicBezTo>
                    <a:cubicBezTo>
                      <a:pt x="64" y="193"/>
                      <a:pt x="69" y="195"/>
                      <a:pt x="75" y="201"/>
                    </a:cubicBezTo>
                    <a:cubicBezTo>
                      <a:pt x="77" y="200"/>
                      <a:pt x="77" y="200"/>
                      <a:pt x="77" y="200"/>
                    </a:cubicBezTo>
                    <a:cubicBezTo>
                      <a:pt x="77" y="195"/>
                      <a:pt x="77" y="195"/>
                      <a:pt x="77" y="195"/>
                    </a:cubicBezTo>
                    <a:cubicBezTo>
                      <a:pt x="76" y="194"/>
                      <a:pt x="76" y="194"/>
                      <a:pt x="76" y="194"/>
                    </a:cubicBezTo>
                    <a:cubicBezTo>
                      <a:pt x="75" y="193"/>
                      <a:pt x="76" y="192"/>
                      <a:pt x="77" y="190"/>
                    </a:cubicBezTo>
                    <a:cubicBezTo>
                      <a:pt x="75" y="183"/>
                      <a:pt x="75" y="183"/>
                      <a:pt x="75" y="183"/>
                    </a:cubicBezTo>
                    <a:cubicBezTo>
                      <a:pt x="74" y="182"/>
                      <a:pt x="74" y="180"/>
                      <a:pt x="75" y="179"/>
                    </a:cubicBezTo>
                    <a:cubicBezTo>
                      <a:pt x="76" y="178"/>
                      <a:pt x="78" y="177"/>
                      <a:pt x="79" y="176"/>
                    </a:cubicBezTo>
                    <a:cubicBezTo>
                      <a:pt x="83" y="173"/>
                      <a:pt x="83" y="173"/>
                      <a:pt x="83" y="173"/>
                    </a:cubicBezTo>
                    <a:cubicBezTo>
                      <a:pt x="81" y="168"/>
                      <a:pt x="81" y="168"/>
                      <a:pt x="81" y="168"/>
                    </a:cubicBezTo>
                    <a:cubicBezTo>
                      <a:pt x="81" y="168"/>
                      <a:pt x="81" y="168"/>
                      <a:pt x="81" y="168"/>
                    </a:cubicBezTo>
                    <a:cubicBezTo>
                      <a:pt x="81" y="168"/>
                      <a:pt x="81" y="168"/>
                      <a:pt x="81" y="168"/>
                    </a:cubicBezTo>
                    <a:cubicBezTo>
                      <a:pt x="81" y="167"/>
                      <a:pt x="81" y="167"/>
                      <a:pt x="81" y="167"/>
                    </a:cubicBezTo>
                    <a:cubicBezTo>
                      <a:pt x="83" y="165"/>
                      <a:pt x="83" y="163"/>
                      <a:pt x="82" y="162"/>
                    </a:cubicBezTo>
                    <a:cubicBezTo>
                      <a:pt x="81" y="159"/>
                      <a:pt x="82" y="157"/>
                      <a:pt x="85" y="154"/>
                    </a:cubicBezTo>
                    <a:cubicBezTo>
                      <a:pt x="90" y="150"/>
                      <a:pt x="90" y="150"/>
                      <a:pt x="90" y="150"/>
                    </a:cubicBezTo>
                    <a:cubicBezTo>
                      <a:pt x="89" y="149"/>
                      <a:pt x="89" y="149"/>
                      <a:pt x="89" y="149"/>
                    </a:cubicBezTo>
                    <a:cubicBezTo>
                      <a:pt x="88" y="148"/>
                      <a:pt x="88" y="148"/>
                      <a:pt x="88" y="148"/>
                    </a:cubicBezTo>
                    <a:cubicBezTo>
                      <a:pt x="93" y="146"/>
                      <a:pt x="93" y="146"/>
                      <a:pt x="93" y="146"/>
                    </a:cubicBezTo>
                    <a:cubicBezTo>
                      <a:pt x="93" y="139"/>
                      <a:pt x="93" y="139"/>
                      <a:pt x="93" y="139"/>
                    </a:cubicBezTo>
                    <a:cubicBezTo>
                      <a:pt x="93" y="137"/>
                      <a:pt x="95" y="134"/>
                      <a:pt x="100" y="130"/>
                    </a:cubicBezTo>
                    <a:cubicBezTo>
                      <a:pt x="103" y="128"/>
                      <a:pt x="103" y="128"/>
                      <a:pt x="103" y="128"/>
                    </a:cubicBezTo>
                    <a:cubicBezTo>
                      <a:pt x="103" y="128"/>
                      <a:pt x="103" y="128"/>
                      <a:pt x="103" y="128"/>
                    </a:cubicBezTo>
                    <a:cubicBezTo>
                      <a:pt x="97" y="121"/>
                      <a:pt x="97" y="121"/>
                      <a:pt x="97" y="121"/>
                    </a:cubicBezTo>
                    <a:cubicBezTo>
                      <a:pt x="95" y="118"/>
                      <a:pt x="96" y="114"/>
                      <a:pt x="99" y="111"/>
                    </a:cubicBezTo>
                    <a:cubicBezTo>
                      <a:pt x="99" y="110"/>
                      <a:pt x="99" y="110"/>
                      <a:pt x="99" y="110"/>
                    </a:cubicBezTo>
                    <a:cubicBezTo>
                      <a:pt x="112" y="100"/>
                      <a:pt x="112" y="100"/>
                      <a:pt x="112" y="100"/>
                    </a:cubicBezTo>
                    <a:cubicBezTo>
                      <a:pt x="112" y="97"/>
                      <a:pt x="112" y="97"/>
                      <a:pt x="112" y="97"/>
                    </a:cubicBezTo>
                    <a:cubicBezTo>
                      <a:pt x="110" y="96"/>
                      <a:pt x="109" y="92"/>
                      <a:pt x="110" y="85"/>
                    </a:cubicBezTo>
                    <a:cubicBezTo>
                      <a:pt x="112" y="74"/>
                      <a:pt x="116" y="69"/>
                      <a:pt x="125" y="68"/>
                    </a:cubicBezTo>
                    <a:cubicBezTo>
                      <a:pt x="125" y="68"/>
                      <a:pt x="125" y="68"/>
                      <a:pt x="125" y="68"/>
                    </a:cubicBezTo>
                    <a:cubicBezTo>
                      <a:pt x="126" y="68"/>
                      <a:pt x="126" y="68"/>
                      <a:pt x="126" y="68"/>
                    </a:cubicBezTo>
                    <a:cubicBezTo>
                      <a:pt x="131" y="70"/>
                      <a:pt x="131" y="70"/>
                      <a:pt x="131" y="70"/>
                    </a:cubicBezTo>
                    <a:cubicBezTo>
                      <a:pt x="136" y="70"/>
                      <a:pt x="136" y="70"/>
                      <a:pt x="136" y="70"/>
                    </a:cubicBezTo>
                    <a:cubicBezTo>
                      <a:pt x="142" y="64"/>
                      <a:pt x="142" y="64"/>
                      <a:pt x="142" y="64"/>
                    </a:cubicBezTo>
                    <a:cubicBezTo>
                      <a:pt x="142" y="64"/>
                      <a:pt x="142" y="64"/>
                      <a:pt x="142" y="64"/>
                    </a:cubicBezTo>
                    <a:cubicBezTo>
                      <a:pt x="142" y="64"/>
                      <a:pt x="142" y="64"/>
                      <a:pt x="142" y="64"/>
                    </a:cubicBezTo>
                    <a:cubicBezTo>
                      <a:pt x="142" y="64"/>
                      <a:pt x="142" y="64"/>
                      <a:pt x="142" y="64"/>
                    </a:cubicBezTo>
                    <a:cubicBezTo>
                      <a:pt x="148" y="60"/>
                      <a:pt x="148" y="60"/>
                      <a:pt x="148" y="60"/>
                    </a:cubicBezTo>
                    <a:cubicBezTo>
                      <a:pt x="148" y="54"/>
                      <a:pt x="148" y="54"/>
                      <a:pt x="148" y="54"/>
                    </a:cubicBezTo>
                    <a:cubicBezTo>
                      <a:pt x="148" y="53"/>
                      <a:pt x="148" y="53"/>
                      <a:pt x="148" y="53"/>
                    </a:cubicBezTo>
                    <a:cubicBezTo>
                      <a:pt x="148" y="52"/>
                      <a:pt x="148" y="52"/>
                      <a:pt x="148" y="52"/>
                    </a:cubicBezTo>
                    <a:cubicBezTo>
                      <a:pt x="150" y="51"/>
                      <a:pt x="150" y="51"/>
                      <a:pt x="150" y="51"/>
                    </a:cubicBezTo>
                    <a:cubicBezTo>
                      <a:pt x="152" y="49"/>
                      <a:pt x="152" y="49"/>
                      <a:pt x="152" y="49"/>
                    </a:cubicBezTo>
                    <a:cubicBezTo>
                      <a:pt x="152" y="48"/>
                      <a:pt x="152" y="48"/>
                      <a:pt x="152" y="48"/>
                    </a:cubicBezTo>
                    <a:cubicBezTo>
                      <a:pt x="148" y="42"/>
                      <a:pt x="148" y="42"/>
                      <a:pt x="148" y="42"/>
                    </a:cubicBezTo>
                    <a:cubicBezTo>
                      <a:pt x="144" y="36"/>
                      <a:pt x="141" y="32"/>
                      <a:pt x="138" y="26"/>
                    </a:cubicBezTo>
                    <a:cubicBezTo>
                      <a:pt x="136" y="22"/>
                      <a:pt x="137" y="18"/>
                      <a:pt x="140" y="14"/>
                    </a:cubicBezTo>
                    <a:cubicBezTo>
                      <a:pt x="132" y="10"/>
                      <a:pt x="132" y="10"/>
                      <a:pt x="132" y="10"/>
                    </a:cubicBezTo>
                    <a:lnTo>
                      <a:pt x="12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9" name="îŝľiḍè"/>
              <p:cNvSpPr/>
              <p:nvPr/>
            </p:nvSpPr>
            <p:spPr bwMode="auto">
              <a:xfrm>
                <a:off x="3932" y="2814"/>
                <a:ext cx="334" cy="410"/>
              </a:xfrm>
              <a:custGeom>
                <a:avLst/>
                <a:gdLst>
                  <a:gd name="T0" fmla="*/ 73 w 141"/>
                  <a:gd name="T1" fmla="*/ 8 h 173"/>
                  <a:gd name="T2" fmla="*/ 60 w 141"/>
                  <a:gd name="T3" fmla="*/ 20 h 173"/>
                  <a:gd name="T4" fmla="*/ 59 w 141"/>
                  <a:gd name="T5" fmla="*/ 21 h 173"/>
                  <a:gd name="T6" fmla="*/ 51 w 141"/>
                  <a:gd name="T7" fmla="*/ 21 h 173"/>
                  <a:gd name="T8" fmla="*/ 35 w 141"/>
                  <a:gd name="T9" fmla="*/ 31 h 173"/>
                  <a:gd name="T10" fmla="*/ 40 w 141"/>
                  <a:gd name="T11" fmla="*/ 34 h 173"/>
                  <a:gd name="T12" fmla="*/ 37 w 141"/>
                  <a:gd name="T13" fmla="*/ 47 h 173"/>
                  <a:gd name="T14" fmla="*/ 23 w 141"/>
                  <a:gd name="T15" fmla="*/ 59 h 173"/>
                  <a:gd name="T16" fmla="*/ 24 w 141"/>
                  <a:gd name="T17" fmla="*/ 68 h 173"/>
                  <a:gd name="T18" fmla="*/ 27 w 141"/>
                  <a:gd name="T19" fmla="*/ 77 h 173"/>
                  <a:gd name="T20" fmla="*/ 18 w 141"/>
                  <a:gd name="T21" fmla="*/ 93 h 173"/>
                  <a:gd name="T22" fmla="*/ 18 w 141"/>
                  <a:gd name="T23" fmla="*/ 94 h 173"/>
                  <a:gd name="T24" fmla="*/ 12 w 141"/>
                  <a:gd name="T25" fmla="*/ 101 h 173"/>
                  <a:gd name="T26" fmla="*/ 7 w 141"/>
                  <a:gd name="T27" fmla="*/ 106 h 173"/>
                  <a:gd name="T28" fmla="*/ 7 w 141"/>
                  <a:gd name="T29" fmla="*/ 122 h 173"/>
                  <a:gd name="T30" fmla="*/ 2 w 141"/>
                  <a:gd name="T31" fmla="*/ 126 h 173"/>
                  <a:gd name="T32" fmla="*/ 0 w 141"/>
                  <a:gd name="T33" fmla="*/ 128 h 173"/>
                  <a:gd name="T34" fmla="*/ 3 w 141"/>
                  <a:gd name="T35" fmla="*/ 137 h 173"/>
                  <a:gd name="T36" fmla="*/ 26 w 141"/>
                  <a:gd name="T37" fmla="*/ 137 h 173"/>
                  <a:gd name="T38" fmla="*/ 35 w 141"/>
                  <a:gd name="T39" fmla="*/ 146 h 173"/>
                  <a:gd name="T40" fmla="*/ 35 w 141"/>
                  <a:gd name="T41" fmla="*/ 147 h 173"/>
                  <a:gd name="T42" fmla="*/ 51 w 141"/>
                  <a:gd name="T43" fmla="*/ 172 h 173"/>
                  <a:gd name="T44" fmla="*/ 56 w 141"/>
                  <a:gd name="T45" fmla="*/ 161 h 173"/>
                  <a:gd name="T46" fmla="*/ 68 w 141"/>
                  <a:gd name="T47" fmla="*/ 169 h 173"/>
                  <a:gd name="T48" fmla="*/ 76 w 141"/>
                  <a:gd name="T49" fmla="*/ 146 h 173"/>
                  <a:gd name="T50" fmla="*/ 78 w 141"/>
                  <a:gd name="T51" fmla="*/ 146 h 173"/>
                  <a:gd name="T52" fmla="*/ 85 w 141"/>
                  <a:gd name="T53" fmla="*/ 141 h 173"/>
                  <a:gd name="T54" fmla="*/ 85 w 141"/>
                  <a:gd name="T55" fmla="*/ 139 h 173"/>
                  <a:gd name="T56" fmla="*/ 97 w 141"/>
                  <a:gd name="T57" fmla="*/ 139 h 173"/>
                  <a:gd name="T58" fmla="*/ 103 w 141"/>
                  <a:gd name="T59" fmla="*/ 112 h 173"/>
                  <a:gd name="T60" fmla="*/ 114 w 141"/>
                  <a:gd name="T61" fmla="*/ 110 h 173"/>
                  <a:gd name="T62" fmla="*/ 109 w 141"/>
                  <a:gd name="T63" fmla="*/ 105 h 173"/>
                  <a:gd name="T64" fmla="*/ 117 w 141"/>
                  <a:gd name="T65" fmla="*/ 98 h 173"/>
                  <a:gd name="T66" fmla="*/ 123 w 141"/>
                  <a:gd name="T67" fmla="*/ 100 h 173"/>
                  <a:gd name="T68" fmla="*/ 119 w 141"/>
                  <a:gd name="T69" fmla="*/ 92 h 173"/>
                  <a:gd name="T70" fmla="*/ 123 w 141"/>
                  <a:gd name="T71" fmla="*/ 90 h 173"/>
                  <a:gd name="T72" fmla="*/ 118 w 141"/>
                  <a:gd name="T73" fmla="*/ 79 h 173"/>
                  <a:gd name="T74" fmla="*/ 119 w 141"/>
                  <a:gd name="T75" fmla="*/ 78 h 173"/>
                  <a:gd name="T76" fmla="*/ 131 w 141"/>
                  <a:gd name="T77" fmla="*/ 68 h 173"/>
                  <a:gd name="T78" fmla="*/ 121 w 141"/>
                  <a:gd name="T79" fmla="*/ 55 h 173"/>
                  <a:gd name="T80" fmla="*/ 133 w 141"/>
                  <a:gd name="T81" fmla="*/ 50 h 173"/>
                  <a:gd name="T82" fmla="*/ 139 w 141"/>
                  <a:gd name="T83" fmla="*/ 43 h 173"/>
                  <a:gd name="T84" fmla="*/ 135 w 141"/>
                  <a:gd name="T85" fmla="*/ 34 h 173"/>
                  <a:gd name="T86" fmla="*/ 135 w 141"/>
                  <a:gd name="T87" fmla="*/ 33 h 173"/>
                  <a:gd name="T88" fmla="*/ 135 w 141"/>
                  <a:gd name="T89" fmla="*/ 30 h 173"/>
                  <a:gd name="T90" fmla="*/ 133 w 141"/>
                  <a:gd name="T91" fmla="*/ 30 h 173"/>
                  <a:gd name="T92" fmla="*/ 117 w 141"/>
                  <a:gd name="T93" fmla="*/ 28 h 173"/>
                  <a:gd name="T94" fmla="*/ 117 w 141"/>
                  <a:gd name="T95" fmla="*/ 28 h 173"/>
                  <a:gd name="T96" fmla="*/ 113 w 141"/>
                  <a:gd name="T97" fmla="*/ 23 h 173"/>
                  <a:gd name="T98" fmla="*/ 93 w 141"/>
                  <a:gd name="T99" fmla="*/ 31 h 173"/>
                  <a:gd name="T100" fmla="*/ 85 w 141"/>
                  <a:gd name="T101" fmla="*/ 16 h 173"/>
                  <a:gd name="T102" fmla="*/ 73 w 141"/>
                  <a:gd name="T103" fmla="*/ 1 h 173"/>
                  <a:gd name="T104" fmla="*/ 73 w 141"/>
                  <a:gd name="T105" fmla="*/ 8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1" h="173">
                    <a:moveTo>
                      <a:pt x="73" y="8"/>
                    </a:moveTo>
                    <a:cubicBezTo>
                      <a:pt x="73" y="8"/>
                      <a:pt x="73" y="8"/>
                      <a:pt x="73" y="8"/>
                    </a:cubicBezTo>
                    <a:cubicBezTo>
                      <a:pt x="66" y="13"/>
                      <a:pt x="66" y="13"/>
                      <a:pt x="66" y="13"/>
                    </a:cubicBezTo>
                    <a:cubicBezTo>
                      <a:pt x="60" y="20"/>
                      <a:pt x="60" y="20"/>
                      <a:pt x="60" y="20"/>
                    </a:cubicBezTo>
                    <a:cubicBezTo>
                      <a:pt x="59" y="20"/>
                      <a:pt x="59" y="20"/>
                      <a:pt x="59" y="20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1" y="21"/>
                      <a:pt x="51" y="21"/>
                      <a:pt x="51" y="21"/>
                    </a:cubicBezTo>
                    <a:cubicBezTo>
                      <a:pt x="51" y="21"/>
                      <a:pt x="51" y="21"/>
                      <a:pt x="51" y="21"/>
                    </a:cubicBezTo>
                    <a:cubicBezTo>
                      <a:pt x="46" y="18"/>
                      <a:pt x="46" y="18"/>
                      <a:pt x="46" y="18"/>
                    </a:cubicBezTo>
                    <a:cubicBezTo>
                      <a:pt x="40" y="20"/>
                      <a:pt x="37" y="24"/>
                      <a:pt x="35" y="31"/>
                    </a:cubicBezTo>
                    <a:cubicBezTo>
                      <a:pt x="35" y="38"/>
                      <a:pt x="35" y="38"/>
                      <a:pt x="35" y="38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7" y="48"/>
                      <a:pt x="37" y="48"/>
                      <a:pt x="37" y="48"/>
                    </a:cubicBezTo>
                    <a:cubicBezTo>
                      <a:pt x="23" y="59"/>
                      <a:pt x="23" y="59"/>
                      <a:pt x="23" y="59"/>
                    </a:cubicBezTo>
                    <a:cubicBezTo>
                      <a:pt x="21" y="62"/>
                      <a:pt x="21" y="64"/>
                      <a:pt x="21" y="65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27" y="70"/>
                      <a:pt x="28" y="72"/>
                      <a:pt x="28" y="74"/>
                    </a:cubicBezTo>
                    <a:cubicBezTo>
                      <a:pt x="28" y="75"/>
                      <a:pt x="27" y="76"/>
                      <a:pt x="27" y="77"/>
                    </a:cubicBezTo>
                    <a:cubicBezTo>
                      <a:pt x="18" y="84"/>
                      <a:pt x="18" y="84"/>
                      <a:pt x="18" y="84"/>
                    </a:cubicBezTo>
                    <a:cubicBezTo>
                      <a:pt x="19" y="86"/>
                      <a:pt x="19" y="89"/>
                      <a:pt x="18" y="93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8"/>
                      <a:pt x="14" y="99"/>
                      <a:pt x="12" y="101"/>
                    </a:cubicBezTo>
                    <a:cubicBezTo>
                      <a:pt x="7" y="105"/>
                      <a:pt x="7" y="105"/>
                      <a:pt x="7" y="105"/>
                    </a:cubicBezTo>
                    <a:cubicBezTo>
                      <a:pt x="7" y="106"/>
                      <a:pt x="7" y="106"/>
                      <a:pt x="7" y="106"/>
                    </a:cubicBezTo>
                    <a:cubicBezTo>
                      <a:pt x="8" y="108"/>
                      <a:pt x="8" y="110"/>
                      <a:pt x="7" y="114"/>
                    </a:cubicBezTo>
                    <a:cubicBezTo>
                      <a:pt x="9" y="118"/>
                      <a:pt x="9" y="120"/>
                      <a:pt x="7" y="122"/>
                    </a:cubicBezTo>
                    <a:cubicBezTo>
                      <a:pt x="3" y="126"/>
                      <a:pt x="3" y="126"/>
                      <a:pt x="3" y="126"/>
                    </a:cubicBezTo>
                    <a:cubicBezTo>
                      <a:pt x="2" y="126"/>
                      <a:pt x="2" y="126"/>
                      <a:pt x="2" y="126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3" y="137"/>
                      <a:pt x="3" y="137"/>
                      <a:pt x="3" y="137"/>
                    </a:cubicBezTo>
                    <a:cubicBezTo>
                      <a:pt x="3" y="137"/>
                      <a:pt x="3" y="137"/>
                      <a:pt x="3" y="137"/>
                    </a:cubicBezTo>
                    <a:cubicBezTo>
                      <a:pt x="10" y="136"/>
                      <a:pt x="17" y="136"/>
                      <a:pt x="25" y="137"/>
                    </a:cubicBezTo>
                    <a:cubicBezTo>
                      <a:pt x="26" y="137"/>
                      <a:pt x="26" y="137"/>
                      <a:pt x="26" y="137"/>
                    </a:cubicBezTo>
                    <a:cubicBezTo>
                      <a:pt x="26" y="138"/>
                      <a:pt x="26" y="138"/>
                      <a:pt x="26" y="138"/>
                    </a:cubicBezTo>
                    <a:cubicBezTo>
                      <a:pt x="35" y="146"/>
                      <a:pt x="35" y="146"/>
                      <a:pt x="35" y="146"/>
                    </a:cubicBezTo>
                    <a:cubicBezTo>
                      <a:pt x="35" y="147"/>
                      <a:pt x="35" y="147"/>
                      <a:pt x="35" y="147"/>
                    </a:cubicBezTo>
                    <a:cubicBezTo>
                      <a:pt x="35" y="147"/>
                      <a:pt x="35" y="147"/>
                      <a:pt x="35" y="147"/>
                    </a:cubicBezTo>
                    <a:cubicBezTo>
                      <a:pt x="41" y="162"/>
                      <a:pt x="41" y="162"/>
                      <a:pt x="41" y="162"/>
                    </a:cubicBezTo>
                    <a:cubicBezTo>
                      <a:pt x="51" y="172"/>
                      <a:pt x="51" y="172"/>
                      <a:pt x="51" y="172"/>
                    </a:cubicBezTo>
                    <a:cubicBezTo>
                      <a:pt x="56" y="173"/>
                      <a:pt x="56" y="173"/>
                      <a:pt x="56" y="173"/>
                    </a:cubicBezTo>
                    <a:cubicBezTo>
                      <a:pt x="56" y="161"/>
                      <a:pt x="56" y="161"/>
                      <a:pt x="56" y="161"/>
                    </a:cubicBezTo>
                    <a:cubicBezTo>
                      <a:pt x="66" y="171"/>
                      <a:pt x="66" y="171"/>
                      <a:pt x="66" y="171"/>
                    </a:cubicBezTo>
                    <a:cubicBezTo>
                      <a:pt x="68" y="169"/>
                      <a:pt x="68" y="169"/>
                      <a:pt x="68" y="169"/>
                    </a:cubicBezTo>
                    <a:cubicBezTo>
                      <a:pt x="75" y="154"/>
                      <a:pt x="75" y="154"/>
                      <a:pt x="75" y="154"/>
                    </a:cubicBezTo>
                    <a:cubicBezTo>
                      <a:pt x="76" y="146"/>
                      <a:pt x="76" y="146"/>
                      <a:pt x="76" y="146"/>
                    </a:cubicBezTo>
                    <a:cubicBezTo>
                      <a:pt x="77" y="146"/>
                      <a:pt x="77" y="146"/>
                      <a:pt x="77" y="146"/>
                    </a:cubicBezTo>
                    <a:cubicBezTo>
                      <a:pt x="78" y="146"/>
                      <a:pt x="78" y="146"/>
                      <a:pt x="78" y="146"/>
                    </a:cubicBezTo>
                    <a:cubicBezTo>
                      <a:pt x="86" y="147"/>
                      <a:pt x="86" y="147"/>
                      <a:pt x="86" y="147"/>
                    </a:cubicBezTo>
                    <a:cubicBezTo>
                      <a:pt x="85" y="141"/>
                      <a:pt x="85" y="141"/>
                      <a:pt x="85" y="141"/>
                    </a:cubicBezTo>
                    <a:cubicBezTo>
                      <a:pt x="85" y="140"/>
                      <a:pt x="85" y="140"/>
                      <a:pt x="85" y="140"/>
                    </a:cubicBezTo>
                    <a:cubicBezTo>
                      <a:pt x="85" y="139"/>
                      <a:pt x="85" y="139"/>
                      <a:pt x="85" y="139"/>
                    </a:cubicBezTo>
                    <a:cubicBezTo>
                      <a:pt x="87" y="139"/>
                      <a:pt x="87" y="139"/>
                      <a:pt x="87" y="139"/>
                    </a:cubicBezTo>
                    <a:cubicBezTo>
                      <a:pt x="97" y="139"/>
                      <a:pt x="97" y="139"/>
                      <a:pt x="97" y="139"/>
                    </a:cubicBezTo>
                    <a:cubicBezTo>
                      <a:pt x="102" y="134"/>
                      <a:pt x="104" y="130"/>
                      <a:pt x="104" y="126"/>
                    </a:cubicBezTo>
                    <a:cubicBezTo>
                      <a:pt x="103" y="112"/>
                      <a:pt x="103" y="112"/>
                      <a:pt x="103" y="112"/>
                    </a:cubicBezTo>
                    <a:cubicBezTo>
                      <a:pt x="111" y="114"/>
                      <a:pt x="111" y="114"/>
                      <a:pt x="111" y="114"/>
                    </a:cubicBezTo>
                    <a:cubicBezTo>
                      <a:pt x="114" y="110"/>
                      <a:pt x="114" y="110"/>
                      <a:pt x="114" y="110"/>
                    </a:cubicBezTo>
                    <a:cubicBezTo>
                      <a:pt x="110" y="106"/>
                      <a:pt x="110" y="106"/>
                      <a:pt x="110" y="106"/>
                    </a:cubicBezTo>
                    <a:cubicBezTo>
                      <a:pt x="109" y="105"/>
                      <a:pt x="109" y="105"/>
                      <a:pt x="109" y="105"/>
                    </a:cubicBezTo>
                    <a:cubicBezTo>
                      <a:pt x="117" y="97"/>
                      <a:pt x="117" y="97"/>
                      <a:pt x="117" y="97"/>
                    </a:cubicBezTo>
                    <a:cubicBezTo>
                      <a:pt x="117" y="98"/>
                      <a:pt x="117" y="98"/>
                      <a:pt x="117" y="98"/>
                    </a:cubicBezTo>
                    <a:cubicBezTo>
                      <a:pt x="118" y="98"/>
                      <a:pt x="118" y="98"/>
                      <a:pt x="118" y="98"/>
                    </a:cubicBezTo>
                    <a:cubicBezTo>
                      <a:pt x="123" y="100"/>
                      <a:pt x="123" y="100"/>
                      <a:pt x="123" y="100"/>
                    </a:cubicBezTo>
                    <a:cubicBezTo>
                      <a:pt x="123" y="99"/>
                      <a:pt x="123" y="99"/>
                      <a:pt x="123" y="99"/>
                    </a:cubicBezTo>
                    <a:cubicBezTo>
                      <a:pt x="119" y="92"/>
                      <a:pt x="119" y="92"/>
                      <a:pt x="119" y="92"/>
                    </a:cubicBezTo>
                    <a:cubicBezTo>
                      <a:pt x="121" y="91"/>
                      <a:pt x="121" y="91"/>
                      <a:pt x="121" y="91"/>
                    </a:cubicBezTo>
                    <a:cubicBezTo>
                      <a:pt x="123" y="90"/>
                      <a:pt x="123" y="90"/>
                      <a:pt x="123" y="90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18" y="79"/>
                      <a:pt x="118" y="79"/>
                      <a:pt x="118" y="79"/>
                    </a:cubicBezTo>
                    <a:cubicBezTo>
                      <a:pt x="119" y="79"/>
                      <a:pt x="119" y="79"/>
                      <a:pt x="119" y="79"/>
                    </a:cubicBezTo>
                    <a:cubicBezTo>
                      <a:pt x="119" y="78"/>
                      <a:pt x="119" y="78"/>
                      <a:pt x="119" y="78"/>
                    </a:cubicBezTo>
                    <a:cubicBezTo>
                      <a:pt x="130" y="72"/>
                      <a:pt x="130" y="72"/>
                      <a:pt x="130" y="72"/>
                    </a:cubicBezTo>
                    <a:cubicBezTo>
                      <a:pt x="131" y="68"/>
                      <a:pt x="131" y="68"/>
                      <a:pt x="131" y="68"/>
                    </a:cubicBezTo>
                    <a:cubicBezTo>
                      <a:pt x="121" y="63"/>
                      <a:pt x="117" y="59"/>
                      <a:pt x="117" y="57"/>
                    </a:cubicBezTo>
                    <a:cubicBezTo>
                      <a:pt x="118" y="55"/>
                      <a:pt x="119" y="55"/>
                      <a:pt x="121" y="55"/>
                    </a:cubicBezTo>
                    <a:cubicBezTo>
                      <a:pt x="133" y="57"/>
                      <a:pt x="133" y="57"/>
                      <a:pt x="133" y="57"/>
                    </a:cubicBezTo>
                    <a:cubicBezTo>
                      <a:pt x="133" y="50"/>
                      <a:pt x="133" y="50"/>
                      <a:pt x="133" y="50"/>
                    </a:cubicBezTo>
                    <a:cubicBezTo>
                      <a:pt x="133" y="49"/>
                      <a:pt x="133" y="49"/>
                      <a:pt x="133" y="49"/>
                    </a:cubicBezTo>
                    <a:cubicBezTo>
                      <a:pt x="139" y="43"/>
                      <a:pt x="139" y="43"/>
                      <a:pt x="139" y="43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38" y="38"/>
                      <a:pt x="137" y="36"/>
                      <a:pt x="135" y="34"/>
                    </a:cubicBezTo>
                    <a:cubicBezTo>
                      <a:pt x="135" y="34"/>
                      <a:pt x="135" y="34"/>
                      <a:pt x="135" y="34"/>
                    </a:cubicBezTo>
                    <a:cubicBezTo>
                      <a:pt x="135" y="33"/>
                      <a:pt x="135" y="33"/>
                      <a:pt x="135" y="33"/>
                    </a:cubicBezTo>
                    <a:cubicBezTo>
                      <a:pt x="135" y="31"/>
                      <a:pt x="135" y="31"/>
                      <a:pt x="135" y="31"/>
                    </a:cubicBezTo>
                    <a:cubicBezTo>
                      <a:pt x="135" y="30"/>
                      <a:pt x="135" y="30"/>
                      <a:pt x="135" y="30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2"/>
                      <a:pt x="131" y="33"/>
                      <a:pt x="128" y="33"/>
                    </a:cubicBezTo>
                    <a:cubicBezTo>
                      <a:pt x="123" y="33"/>
                      <a:pt x="120" y="31"/>
                      <a:pt x="117" y="28"/>
                    </a:cubicBezTo>
                    <a:cubicBezTo>
                      <a:pt x="117" y="28"/>
                      <a:pt x="117" y="28"/>
                      <a:pt x="117" y="28"/>
                    </a:cubicBezTo>
                    <a:cubicBezTo>
                      <a:pt x="117" y="28"/>
                      <a:pt x="117" y="28"/>
                      <a:pt x="117" y="28"/>
                    </a:cubicBezTo>
                    <a:cubicBezTo>
                      <a:pt x="113" y="22"/>
                      <a:pt x="113" y="22"/>
                      <a:pt x="113" y="22"/>
                    </a:cubicBezTo>
                    <a:cubicBezTo>
                      <a:pt x="113" y="23"/>
                      <a:pt x="113" y="23"/>
                      <a:pt x="113" y="23"/>
                    </a:cubicBezTo>
                    <a:cubicBezTo>
                      <a:pt x="112" y="25"/>
                      <a:pt x="111" y="28"/>
                      <a:pt x="108" y="30"/>
                    </a:cubicBezTo>
                    <a:cubicBezTo>
                      <a:pt x="103" y="32"/>
                      <a:pt x="98" y="33"/>
                      <a:pt x="93" y="31"/>
                    </a:cubicBezTo>
                    <a:cubicBezTo>
                      <a:pt x="90" y="30"/>
                      <a:pt x="88" y="27"/>
                      <a:pt x="87" y="24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84" y="8"/>
                      <a:pt x="83" y="4"/>
                      <a:pt x="80" y="2"/>
                    </a:cubicBezTo>
                    <a:cubicBezTo>
                      <a:pt x="78" y="1"/>
                      <a:pt x="75" y="0"/>
                      <a:pt x="73" y="1"/>
                    </a:cubicBezTo>
                    <a:cubicBezTo>
                      <a:pt x="74" y="8"/>
                      <a:pt x="74" y="8"/>
                      <a:pt x="74" y="8"/>
                    </a:cubicBezTo>
                    <a:lnTo>
                      <a:pt x="73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0" name="işľïḑê"/>
              <p:cNvSpPr/>
              <p:nvPr/>
            </p:nvSpPr>
            <p:spPr bwMode="auto">
              <a:xfrm>
                <a:off x="4079" y="2559"/>
                <a:ext cx="289" cy="331"/>
              </a:xfrm>
              <a:custGeom>
                <a:avLst/>
                <a:gdLst>
                  <a:gd name="T0" fmla="*/ 64 w 122"/>
                  <a:gd name="T1" fmla="*/ 6 h 140"/>
                  <a:gd name="T2" fmla="*/ 43 w 122"/>
                  <a:gd name="T3" fmla="*/ 2 h 140"/>
                  <a:gd name="T4" fmla="*/ 38 w 122"/>
                  <a:gd name="T5" fmla="*/ 26 h 140"/>
                  <a:gd name="T6" fmla="*/ 28 w 122"/>
                  <a:gd name="T7" fmla="*/ 32 h 140"/>
                  <a:gd name="T8" fmla="*/ 23 w 122"/>
                  <a:gd name="T9" fmla="*/ 41 h 140"/>
                  <a:gd name="T10" fmla="*/ 17 w 122"/>
                  <a:gd name="T11" fmla="*/ 53 h 140"/>
                  <a:gd name="T12" fmla="*/ 6 w 122"/>
                  <a:gd name="T13" fmla="*/ 68 h 140"/>
                  <a:gd name="T14" fmla="*/ 1 w 122"/>
                  <a:gd name="T15" fmla="*/ 78 h 140"/>
                  <a:gd name="T16" fmla="*/ 11 w 122"/>
                  <a:gd name="T17" fmla="*/ 93 h 140"/>
                  <a:gd name="T18" fmla="*/ 16 w 122"/>
                  <a:gd name="T19" fmla="*/ 101 h 140"/>
                  <a:gd name="T20" fmla="*/ 16 w 122"/>
                  <a:gd name="T21" fmla="*/ 102 h 140"/>
                  <a:gd name="T22" fmla="*/ 16 w 122"/>
                  <a:gd name="T23" fmla="*/ 104 h 140"/>
                  <a:gd name="T24" fmla="*/ 15 w 122"/>
                  <a:gd name="T25" fmla="*/ 105 h 140"/>
                  <a:gd name="T26" fmla="*/ 27 w 122"/>
                  <a:gd name="T27" fmla="*/ 123 h 140"/>
                  <a:gd name="T28" fmla="*/ 33 w 122"/>
                  <a:gd name="T29" fmla="*/ 135 h 140"/>
                  <a:gd name="T30" fmla="*/ 46 w 122"/>
                  <a:gd name="T31" fmla="*/ 130 h 140"/>
                  <a:gd name="T32" fmla="*/ 46 w 122"/>
                  <a:gd name="T33" fmla="*/ 129 h 140"/>
                  <a:gd name="T34" fmla="*/ 53 w 122"/>
                  <a:gd name="T35" fmla="*/ 125 h 140"/>
                  <a:gd name="T36" fmla="*/ 66 w 122"/>
                  <a:gd name="T37" fmla="*/ 136 h 140"/>
                  <a:gd name="T38" fmla="*/ 68 w 122"/>
                  <a:gd name="T39" fmla="*/ 136 h 140"/>
                  <a:gd name="T40" fmla="*/ 74 w 122"/>
                  <a:gd name="T41" fmla="*/ 134 h 140"/>
                  <a:gd name="T42" fmla="*/ 76 w 122"/>
                  <a:gd name="T43" fmla="*/ 134 h 140"/>
                  <a:gd name="T44" fmla="*/ 84 w 122"/>
                  <a:gd name="T45" fmla="*/ 140 h 140"/>
                  <a:gd name="T46" fmla="*/ 85 w 122"/>
                  <a:gd name="T47" fmla="*/ 124 h 140"/>
                  <a:gd name="T48" fmla="*/ 86 w 122"/>
                  <a:gd name="T49" fmla="*/ 123 h 140"/>
                  <a:gd name="T50" fmla="*/ 89 w 122"/>
                  <a:gd name="T51" fmla="*/ 113 h 140"/>
                  <a:gd name="T52" fmla="*/ 88 w 122"/>
                  <a:gd name="T53" fmla="*/ 111 h 140"/>
                  <a:gd name="T54" fmla="*/ 90 w 122"/>
                  <a:gd name="T55" fmla="*/ 110 h 140"/>
                  <a:gd name="T56" fmla="*/ 101 w 122"/>
                  <a:gd name="T57" fmla="*/ 94 h 140"/>
                  <a:gd name="T58" fmla="*/ 103 w 122"/>
                  <a:gd name="T59" fmla="*/ 94 h 140"/>
                  <a:gd name="T60" fmla="*/ 103 w 122"/>
                  <a:gd name="T61" fmla="*/ 102 h 140"/>
                  <a:gd name="T62" fmla="*/ 115 w 122"/>
                  <a:gd name="T63" fmla="*/ 92 h 140"/>
                  <a:gd name="T64" fmla="*/ 112 w 122"/>
                  <a:gd name="T65" fmla="*/ 86 h 140"/>
                  <a:gd name="T66" fmla="*/ 115 w 122"/>
                  <a:gd name="T67" fmla="*/ 68 h 140"/>
                  <a:gd name="T68" fmla="*/ 109 w 122"/>
                  <a:gd name="T69" fmla="*/ 68 h 140"/>
                  <a:gd name="T70" fmla="*/ 108 w 122"/>
                  <a:gd name="T71" fmla="*/ 67 h 140"/>
                  <a:gd name="T72" fmla="*/ 106 w 122"/>
                  <a:gd name="T73" fmla="*/ 58 h 140"/>
                  <a:gd name="T74" fmla="*/ 122 w 122"/>
                  <a:gd name="T75" fmla="*/ 58 h 140"/>
                  <a:gd name="T76" fmla="*/ 109 w 122"/>
                  <a:gd name="T77" fmla="*/ 43 h 140"/>
                  <a:gd name="T78" fmla="*/ 117 w 122"/>
                  <a:gd name="T79" fmla="*/ 33 h 140"/>
                  <a:gd name="T80" fmla="*/ 111 w 122"/>
                  <a:gd name="T81" fmla="*/ 34 h 140"/>
                  <a:gd name="T82" fmla="*/ 111 w 122"/>
                  <a:gd name="T83" fmla="*/ 33 h 140"/>
                  <a:gd name="T84" fmla="*/ 103 w 122"/>
                  <a:gd name="T85" fmla="*/ 24 h 140"/>
                  <a:gd name="T86" fmla="*/ 81 w 122"/>
                  <a:gd name="T87" fmla="*/ 32 h 140"/>
                  <a:gd name="T88" fmla="*/ 79 w 122"/>
                  <a:gd name="T89" fmla="*/ 32 h 140"/>
                  <a:gd name="T90" fmla="*/ 78 w 122"/>
                  <a:gd name="T91" fmla="*/ 18 h 140"/>
                  <a:gd name="T92" fmla="*/ 82 w 122"/>
                  <a:gd name="T93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2" h="140">
                    <a:moveTo>
                      <a:pt x="75" y="2"/>
                    </a:moveTo>
                    <a:cubicBezTo>
                      <a:pt x="70" y="4"/>
                      <a:pt x="67" y="5"/>
                      <a:pt x="64" y="6"/>
                    </a:cubicBezTo>
                    <a:cubicBezTo>
                      <a:pt x="61" y="6"/>
                      <a:pt x="57" y="5"/>
                      <a:pt x="52" y="3"/>
                    </a:cubicBezTo>
                    <a:cubicBezTo>
                      <a:pt x="43" y="2"/>
                      <a:pt x="43" y="2"/>
                      <a:pt x="43" y="2"/>
                    </a:cubicBezTo>
                    <a:cubicBezTo>
                      <a:pt x="40" y="3"/>
                      <a:pt x="37" y="7"/>
                      <a:pt x="32" y="14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20" y="30"/>
                      <a:pt x="20" y="30"/>
                      <a:pt x="20" y="30"/>
                    </a:cubicBezTo>
                    <a:cubicBezTo>
                      <a:pt x="23" y="36"/>
                      <a:pt x="24" y="39"/>
                      <a:pt x="23" y="41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20" y="49"/>
                      <a:pt x="18" y="52"/>
                      <a:pt x="17" y="53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4" y="70"/>
                      <a:pt x="4" y="70"/>
                      <a:pt x="4" y="70"/>
                    </a:cubicBezTo>
                    <a:cubicBezTo>
                      <a:pt x="1" y="72"/>
                      <a:pt x="0" y="76"/>
                      <a:pt x="1" y="78"/>
                    </a:cubicBezTo>
                    <a:cubicBezTo>
                      <a:pt x="11" y="93"/>
                      <a:pt x="11" y="93"/>
                      <a:pt x="11" y="93"/>
                    </a:cubicBezTo>
                    <a:cubicBezTo>
                      <a:pt x="11" y="93"/>
                      <a:pt x="11" y="93"/>
                      <a:pt x="11" y="93"/>
                    </a:cubicBezTo>
                    <a:cubicBezTo>
                      <a:pt x="11" y="93"/>
                      <a:pt x="11" y="93"/>
                      <a:pt x="11" y="93"/>
                    </a:cubicBezTo>
                    <a:cubicBezTo>
                      <a:pt x="16" y="101"/>
                      <a:pt x="16" y="101"/>
                      <a:pt x="16" y="101"/>
                    </a:cubicBezTo>
                    <a:cubicBezTo>
                      <a:pt x="16" y="102"/>
                      <a:pt x="16" y="102"/>
                      <a:pt x="16" y="102"/>
                    </a:cubicBezTo>
                    <a:cubicBezTo>
                      <a:pt x="16" y="102"/>
                      <a:pt x="16" y="102"/>
                      <a:pt x="16" y="102"/>
                    </a:cubicBezTo>
                    <a:cubicBezTo>
                      <a:pt x="16" y="103"/>
                      <a:pt x="16" y="103"/>
                      <a:pt x="16" y="103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6" y="104"/>
                      <a:pt x="16" y="104"/>
                      <a:pt x="16" y="104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7" y="105"/>
                      <a:pt x="19" y="106"/>
                      <a:pt x="21" y="107"/>
                    </a:cubicBezTo>
                    <a:cubicBezTo>
                      <a:pt x="24" y="109"/>
                      <a:pt x="26" y="114"/>
                      <a:pt x="27" y="123"/>
                    </a:cubicBezTo>
                    <a:cubicBezTo>
                      <a:pt x="29" y="131"/>
                      <a:pt x="29" y="131"/>
                      <a:pt x="29" y="131"/>
                    </a:cubicBezTo>
                    <a:cubicBezTo>
                      <a:pt x="30" y="133"/>
                      <a:pt x="31" y="134"/>
                      <a:pt x="33" y="135"/>
                    </a:cubicBezTo>
                    <a:cubicBezTo>
                      <a:pt x="36" y="136"/>
                      <a:pt x="40" y="136"/>
                      <a:pt x="43" y="134"/>
                    </a:cubicBezTo>
                    <a:cubicBezTo>
                      <a:pt x="45" y="132"/>
                      <a:pt x="47" y="131"/>
                      <a:pt x="46" y="130"/>
                    </a:cubicBezTo>
                    <a:cubicBezTo>
                      <a:pt x="46" y="130"/>
                      <a:pt x="46" y="130"/>
                      <a:pt x="46" y="130"/>
                    </a:cubicBezTo>
                    <a:cubicBezTo>
                      <a:pt x="46" y="129"/>
                      <a:pt x="46" y="129"/>
                      <a:pt x="46" y="129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3" y="125"/>
                      <a:pt x="53" y="125"/>
                      <a:pt x="53" y="125"/>
                    </a:cubicBezTo>
                    <a:cubicBezTo>
                      <a:pt x="59" y="134"/>
                      <a:pt x="59" y="134"/>
                      <a:pt x="59" y="134"/>
                    </a:cubicBezTo>
                    <a:cubicBezTo>
                      <a:pt x="61" y="135"/>
                      <a:pt x="63" y="136"/>
                      <a:pt x="66" y="136"/>
                    </a:cubicBezTo>
                    <a:cubicBezTo>
                      <a:pt x="68" y="136"/>
                      <a:pt x="68" y="136"/>
                      <a:pt x="68" y="136"/>
                    </a:cubicBezTo>
                    <a:cubicBezTo>
                      <a:pt x="68" y="136"/>
                      <a:pt x="68" y="136"/>
                      <a:pt x="68" y="136"/>
                    </a:cubicBezTo>
                    <a:cubicBezTo>
                      <a:pt x="66" y="131"/>
                      <a:pt x="66" y="131"/>
                      <a:pt x="66" y="131"/>
                    </a:cubicBezTo>
                    <a:cubicBezTo>
                      <a:pt x="74" y="134"/>
                      <a:pt x="74" y="134"/>
                      <a:pt x="74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7" y="135"/>
                      <a:pt x="77" y="135"/>
                      <a:pt x="77" y="135"/>
                    </a:cubicBezTo>
                    <a:cubicBezTo>
                      <a:pt x="84" y="140"/>
                      <a:pt x="84" y="140"/>
                      <a:pt x="84" y="140"/>
                    </a:cubicBezTo>
                    <a:cubicBezTo>
                      <a:pt x="86" y="137"/>
                      <a:pt x="86" y="137"/>
                      <a:pt x="86" y="137"/>
                    </a:cubicBezTo>
                    <a:cubicBezTo>
                      <a:pt x="85" y="124"/>
                      <a:pt x="85" y="124"/>
                      <a:pt x="85" y="124"/>
                    </a:cubicBezTo>
                    <a:cubicBezTo>
                      <a:pt x="86" y="123"/>
                      <a:pt x="86" y="123"/>
                      <a:pt x="86" y="123"/>
                    </a:cubicBezTo>
                    <a:cubicBezTo>
                      <a:pt x="86" y="123"/>
                      <a:pt x="86" y="123"/>
                      <a:pt x="86" y="123"/>
                    </a:cubicBezTo>
                    <a:cubicBezTo>
                      <a:pt x="91" y="117"/>
                      <a:pt x="91" y="117"/>
                      <a:pt x="91" y="117"/>
                    </a:cubicBezTo>
                    <a:cubicBezTo>
                      <a:pt x="91" y="116"/>
                      <a:pt x="91" y="115"/>
                      <a:pt x="89" y="113"/>
                    </a:cubicBezTo>
                    <a:cubicBezTo>
                      <a:pt x="87" y="112"/>
                      <a:pt x="87" y="112"/>
                      <a:pt x="87" y="112"/>
                    </a:cubicBezTo>
                    <a:cubicBezTo>
                      <a:pt x="88" y="111"/>
                      <a:pt x="88" y="111"/>
                      <a:pt x="88" y="111"/>
                    </a:cubicBezTo>
                    <a:cubicBezTo>
                      <a:pt x="89" y="110"/>
                      <a:pt x="89" y="110"/>
                      <a:pt x="89" y="110"/>
                    </a:cubicBezTo>
                    <a:cubicBezTo>
                      <a:pt x="90" y="110"/>
                      <a:pt x="90" y="110"/>
                      <a:pt x="90" y="110"/>
                    </a:cubicBezTo>
                    <a:cubicBezTo>
                      <a:pt x="100" y="93"/>
                      <a:pt x="100" y="93"/>
                      <a:pt x="100" y="93"/>
                    </a:cubicBezTo>
                    <a:cubicBezTo>
                      <a:pt x="101" y="94"/>
                      <a:pt x="101" y="94"/>
                      <a:pt x="101" y="94"/>
                    </a:cubicBezTo>
                    <a:cubicBezTo>
                      <a:pt x="103" y="94"/>
                      <a:pt x="103" y="94"/>
                      <a:pt x="103" y="94"/>
                    </a:cubicBezTo>
                    <a:cubicBezTo>
                      <a:pt x="103" y="94"/>
                      <a:pt x="103" y="94"/>
                      <a:pt x="103" y="94"/>
                    </a:cubicBezTo>
                    <a:cubicBezTo>
                      <a:pt x="103" y="95"/>
                      <a:pt x="103" y="95"/>
                      <a:pt x="103" y="95"/>
                    </a:cubicBez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5" y="92"/>
                      <a:pt x="115" y="92"/>
                      <a:pt x="115" y="92"/>
                    </a:cubicBezTo>
                    <a:cubicBezTo>
                      <a:pt x="114" y="86"/>
                      <a:pt x="114" y="86"/>
                      <a:pt x="114" y="86"/>
                    </a:cubicBezTo>
                    <a:cubicBezTo>
                      <a:pt x="112" y="86"/>
                      <a:pt x="112" y="86"/>
                      <a:pt x="112" y="86"/>
                    </a:cubicBezTo>
                    <a:cubicBezTo>
                      <a:pt x="108" y="87"/>
                      <a:pt x="108" y="87"/>
                      <a:pt x="108" y="87"/>
                    </a:cubicBezTo>
                    <a:cubicBezTo>
                      <a:pt x="115" y="68"/>
                      <a:pt x="115" y="68"/>
                      <a:pt x="115" y="68"/>
                    </a:cubicBezTo>
                    <a:cubicBezTo>
                      <a:pt x="109" y="68"/>
                      <a:pt x="109" y="68"/>
                      <a:pt x="109" y="68"/>
                    </a:cubicBezTo>
                    <a:cubicBezTo>
                      <a:pt x="109" y="68"/>
                      <a:pt x="109" y="68"/>
                      <a:pt x="109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67"/>
                      <a:pt x="108" y="67"/>
                      <a:pt x="108" y="67"/>
                    </a:cubicBezTo>
                    <a:cubicBezTo>
                      <a:pt x="106" y="64"/>
                      <a:pt x="106" y="64"/>
                      <a:pt x="106" y="64"/>
                    </a:cubicBezTo>
                    <a:cubicBezTo>
                      <a:pt x="105" y="62"/>
                      <a:pt x="105" y="60"/>
                      <a:pt x="106" y="58"/>
                    </a:cubicBezTo>
                    <a:cubicBezTo>
                      <a:pt x="116" y="58"/>
                      <a:pt x="116" y="58"/>
                      <a:pt x="116" y="58"/>
                    </a:cubicBezTo>
                    <a:cubicBezTo>
                      <a:pt x="122" y="58"/>
                      <a:pt x="122" y="58"/>
                      <a:pt x="122" y="58"/>
                    </a:cubicBezTo>
                    <a:cubicBezTo>
                      <a:pt x="122" y="56"/>
                      <a:pt x="121" y="52"/>
                      <a:pt x="117" y="46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117" y="35"/>
                      <a:pt x="117" y="35"/>
                      <a:pt x="117" y="35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13" y="34"/>
                      <a:pt x="113" y="34"/>
                      <a:pt x="113" y="34"/>
                    </a:cubicBezTo>
                    <a:cubicBezTo>
                      <a:pt x="111" y="34"/>
                      <a:pt x="111" y="34"/>
                      <a:pt x="111" y="34"/>
                    </a:cubicBezTo>
                    <a:cubicBezTo>
                      <a:pt x="111" y="33"/>
                      <a:pt x="111" y="33"/>
                      <a:pt x="111" y="33"/>
                    </a:cubicBezTo>
                    <a:cubicBezTo>
                      <a:pt x="111" y="33"/>
                      <a:pt x="111" y="33"/>
                      <a:pt x="111" y="33"/>
                    </a:cubicBezTo>
                    <a:cubicBezTo>
                      <a:pt x="111" y="32"/>
                      <a:pt x="111" y="32"/>
                      <a:pt x="111" y="32"/>
                    </a:cubicBezTo>
                    <a:cubicBezTo>
                      <a:pt x="109" y="28"/>
                      <a:pt x="107" y="25"/>
                      <a:pt x="103" y="24"/>
                    </a:cubicBezTo>
                    <a:cubicBezTo>
                      <a:pt x="87" y="24"/>
                      <a:pt x="87" y="24"/>
                      <a:pt x="87" y="24"/>
                    </a:cubicBezTo>
                    <a:cubicBezTo>
                      <a:pt x="81" y="32"/>
                      <a:pt x="81" y="32"/>
                      <a:pt x="81" y="32"/>
                    </a:cubicBezTo>
                    <a:cubicBezTo>
                      <a:pt x="81" y="32"/>
                      <a:pt x="81" y="32"/>
                      <a:pt x="81" y="32"/>
                    </a:cubicBezTo>
                    <a:cubicBezTo>
                      <a:pt x="79" y="32"/>
                      <a:pt x="79" y="32"/>
                      <a:pt x="79" y="32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78" y="18"/>
                      <a:pt x="78" y="18"/>
                      <a:pt x="78" y="18"/>
                    </a:cubicBezTo>
                    <a:cubicBezTo>
                      <a:pt x="79" y="18"/>
                      <a:pt x="83" y="14"/>
                      <a:pt x="90" y="6"/>
                    </a:cubicBezTo>
                    <a:cubicBezTo>
                      <a:pt x="82" y="0"/>
                      <a:pt x="82" y="0"/>
                      <a:pt x="82" y="0"/>
                    </a:cubicBezTo>
                    <a:lnTo>
                      <a:pt x="7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1" name="îSľïḑè"/>
              <p:cNvSpPr/>
              <p:nvPr/>
            </p:nvSpPr>
            <p:spPr bwMode="auto">
              <a:xfrm>
                <a:off x="3802" y="2273"/>
                <a:ext cx="362" cy="442"/>
              </a:xfrm>
              <a:custGeom>
                <a:avLst/>
                <a:gdLst>
                  <a:gd name="T0" fmla="*/ 96 w 153"/>
                  <a:gd name="T1" fmla="*/ 53 h 187"/>
                  <a:gd name="T2" fmla="*/ 85 w 153"/>
                  <a:gd name="T3" fmla="*/ 28 h 187"/>
                  <a:gd name="T4" fmla="*/ 55 w 153"/>
                  <a:gd name="T5" fmla="*/ 17 h 187"/>
                  <a:gd name="T6" fmla="*/ 37 w 153"/>
                  <a:gd name="T7" fmla="*/ 0 h 187"/>
                  <a:gd name="T8" fmla="*/ 48 w 153"/>
                  <a:gd name="T9" fmla="*/ 17 h 187"/>
                  <a:gd name="T10" fmla="*/ 49 w 153"/>
                  <a:gd name="T11" fmla="*/ 19 h 187"/>
                  <a:gd name="T12" fmla="*/ 36 w 153"/>
                  <a:gd name="T13" fmla="*/ 36 h 187"/>
                  <a:gd name="T14" fmla="*/ 19 w 153"/>
                  <a:gd name="T15" fmla="*/ 23 h 187"/>
                  <a:gd name="T16" fmla="*/ 23 w 153"/>
                  <a:gd name="T17" fmla="*/ 35 h 187"/>
                  <a:gd name="T18" fmla="*/ 23 w 153"/>
                  <a:gd name="T19" fmla="*/ 36 h 187"/>
                  <a:gd name="T20" fmla="*/ 22 w 153"/>
                  <a:gd name="T21" fmla="*/ 41 h 187"/>
                  <a:gd name="T22" fmla="*/ 14 w 153"/>
                  <a:gd name="T23" fmla="*/ 44 h 187"/>
                  <a:gd name="T24" fmla="*/ 11 w 153"/>
                  <a:gd name="T25" fmla="*/ 51 h 187"/>
                  <a:gd name="T26" fmla="*/ 8 w 153"/>
                  <a:gd name="T27" fmla="*/ 63 h 187"/>
                  <a:gd name="T28" fmla="*/ 8 w 153"/>
                  <a:gd name="T29" fmla="*/ 63 h 187"/>
                  <a:gd name="T30" fmla="*/ 4 w 153"/>
                  <a:gd name="T31" fmla="*/ 65 h 187"/>
                  <a:gd name="T32" fmla="*/ 14 w 153"/>
                  <a:gd name="T33" fmla="*/ 81 h 187"/>
                  <a:gd name="T34" fmla="*/ 18 w 153"/>
                  <a:gd name="T35" fmla="*/ 81 h 187"/>
                  <a:gd name="T36" fmla="*/ 35 w 153"/>
                  <a:gd name="T37" fmla="*/ 89 h 187"/>
                  <a:gd name="T38" fmla="*/ 35 w 153"/>
                  <a:gd name="T39" fmla="*/ 89 h 187"/>
                  <a:gd name="T40" fmla="*/ 34 w 153"/>
                  <a:gd name="T41" fmla="*/ 100 h 187"/>
                  <a:gd name="T42" fmla="*/ 30 w 153"/>
                  <a:gd name="T43" fmla="*/ 109 h 187"/>
                  <a:gd name="T44" fmla="*/ 25 w 153"/>
                  <a:gd name="T45" fmla="*/ 115 h 187"/>
                  <a:gd name="T46" fmla="*/ 25 w 153"/>
                  <a:gd name="T47" fmla="*/ 115 h 187"/>
                  <a:gd name="T48" fmla="*/ 26 w 153"/>
                  <a:gd name="T49" fmla="*/ 127 h 187"/>
                  <a:gd name="T50" fmla="*/ 38 w 153"/>
                  <a:gd name="T51" fmla="*/ 129 h 187"/>
                  <a:gd name="T52" fmla="*/ 43 w 153"/>
                  <a:gd name="T53" fmla="*/ 134 h 187"/>
                  <a:gd name="T54" fmla="*/ 51 w 153"/>
                  <a:gd name="T55" fmla="*/ 176 h 187"/>
                  <a:gd name="T56" fmla="*/ 49 w 153"/>
                  <a:gd name="T57" fmla="*/ 179 h 187"/>
                  <a:gd name="T58" fmla="*/ 50 w 153"/>
                  <a:gd name="T59" fmla="*/ 182 h 187"/>
                  <a:gd name="T60" fmla="*/ 73 w 153"/>
                  <a:gd name="T61" fmla="*/ 173 h 187"/>
                  <a:gd name="T62" fmla="*/ 78 w 153"/>
                  <a:gd name="T63" fmla="*/ 175 h 187"/>
                  <a:gd name="T64" fmla="*/ 79 w 153"/>
                  <a:gd name="T65" fmla="*/ 175 h 187"/>
                  <a:gd name="T66" fmla="*/ 87 w 153"/>
                  <a:gd name="T67" fmla="*/ 170 h 187"/>
                  <a:gd name="T68" fmla="*/ 110 w 153"/>
                  <a:gd name="T69" fmla="*/ 180 h 187"/>
                  <a:gd name="T70" fmla="*/ 116 w 153"/>
                  <a:gd name="T71" fmla="*/ 184 h 187"/>
                  <a:gd name="T72" fmla="*/ 134 w 153"/>
                  <a:gd name="T73" fmla="*/ 163 h 187"/>
                  <a:gd name="T74" fmla="*/ 130 w 153"/>
                  <a:gd name="T75" fmla="*/ 148 h 187"/>
                  <a:gd name="T76" fmla="*/ 144 w 153"/>
                  <a:gd name="T77" fmla="*/ 149 h 187"/>
                  <a:gd name="T78" fmla="*/ 144 w 153"/>
                  <a:gd name="T79" fmla="*/ 135 h 187"/>
                  <a:gd name="T80" fmla="*/ 153 w 153"/>
                  <a:gd name="T81" fmla="*/ 123 h 187"/>
                  <a:gd name="T82" fmla="*/ 142 w 153"/>
                  <a:gd name="T83" fmla="*/ 111 h 187"/>
                  <a:gd name="T84" fmla="*/ 136 w 153"/>
                  <a:gd name="T85" fmla="*/ 116 h 187"/>
                  <a:gd name="T86" fmla="*/ 135 w 153"/>
                  <a:gd name="T87" fmla="*/ 115 h 187"/>
                  <a:gd name="T88" fmla="*/ 126 w 153"/>
                  <a:gd name="T89" fmla="*/ 107 h 187"/>
                  <a:gd name="T90" fmla="*/ 113 w 153"/>
                  <a:gd name="T91" fmla="*/ 99 h 187"/>
                  <a:gd name="T92" fmla="*/ 110 w 153"/>
                  <a:gd name="T93" fmla="*/ 85 h 187"/>
                  <a:gd name="T94" fmla="*/ 117 w 153"/>
                  <a:gd name="T95" fmla="*/ 64 h 187"/>
                  <a:gd name="T96" fmla="*/ 129 w 153"/>
                  <a:gd name="T97" fmla="*/ 65 h 187"/>
                  <a:gd name="T98" fmla="*/ 130 w 153"/>
                  <a:gd name="T99" fmla="*/ 52 h 187"/>
                  <a:gd name="T100" fmla="*/ 97 w 153"/>
                  <a:gd name="T101" fmla="*/ 54 h 187"/>
                  <a:gd name="T102" fmla="*/ 96 w 153"/>
                  <a:gd name="T103" fmla="*/ 53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3" h="187">
                    <a:moveTo>
                      <a:pt x="96" y="53"/>
                    </a:moveTo>
                    <a:cubicBezTo>
                      <a:pt x="96" y="53"/>
                      <a:pt x="96" y="53"/>
                      <a:pt x="96" y="53"/>
                    </a:cubicBezTo>
                    <a:cubicBezTo>
                      <a:pt x="96" y="53"/>
                      <a:pt x="96" y="53"/>
                      <a:pt x="96" y="53"/>
                    </a:cubicBezTo>
                    <a:cubicBezTo>
                      <a:pt x="92" y="37"/>
                      <a:pt x="88" y="29"/>
                      <a:pt x="85" y="28"/>
                    </a:cubicBezTo>
                    <a:cubicBezTo>
                      <a:pt x="71" y="23"/>
                      <a:pt x="71" y="23"/>
                      <a:pt x="71" y="23"/>
                    </a:cubicBezTo>
                    <a:cubicBezTo>
                      <a:pt x="63" y="21"/>
                      <a:pt x="57" y="19"/>
                      <a:pt x="55" y="17"/>
                    </a:cubicBezTo>
                    <a:cubicBezTo>
                      <a:pt x="51" y="15"/>
                      <a:pt x="46" y="9"/>
                      <a:pt x="40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8" y="4"/>
                      <a:pt x="42" y="9"/>
                      <a:pt x="48" y="17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49" y="19"/>
                      <a:pt x="49" y="19"/>
                      <a:pt x="49" y="19"/>
                    </a:cubicBezTo>
                    <a:cubicBezTo>
                      <a:pt x="43" y="30"/>
                      <a:pt x="43" y="30"/>
                      <a:pt x="43" y="30"/>
                    </a:cubicBezTo>
                    <a:cubicBezTo>
                      <a:pt x="40" y="35"/>
                      <a:pt x="38" y="37"/>
                      <a:pt x="36" y="36"/>
                    </a:cubicBezTo>
                    <a:cubicBezTo>
                      <a:pt x="34" y="35"/>
                      <a:pt x="31" y="31"/>
                      <a:pt x="26" y="25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9" y="25"/>
                      <a:pt x="20" y="29"/>
                      <a:pt x="23" y="35"/>
                    </a:cubicBezTo>
                    <a:cubicBezTo>
                      <a:pt x="23" y="35"/>
                      <a:pt x="23" y="35"/>
                      <a:pt x="23" y="35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3" y="37"/>
                      <a:pt x="23" y="37"/>
                      <a:pt x="23" y="37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1" y="46"/>
                      <a:pt x="11" y="48"/>
                      <a:pt x="11" y="51"/>
                    </a:cubicBezTo>
                    <a:cubicBezTo>
                      <a:pt x="12" y="57"/>
                      <a:pt x="12" y="60"/>
                      <a:pt x="10" y="62"/>
                    </a:cubicBezTo>
                    <a:cubicBezTo>
                      <a:pt x="10" y="63"/>
                      <a:pt x="9" y="63"/>
                      <a:pt x="8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3"/>
                      <a:pt x="2" y="64"/>
                      <a:pt x="4" y="65"/>
                    </a:cubicBezTo>
                    <a:cubicBezTo>
                      <a:pt x="8" y="69"/>
                      <a:pt x="11" y="74"/>
                      <a:pt x="14" y="80"/>
                    </a:cubicBezTo>
                    <a:cubicBezTo>
                      <a:pt x="14" y="81"/>
                      <a:pt x="14" y="81"/>
                      <a:pt x="14" y="81"/>
                    </a:cubicBezTo>
                    <a:cubicBezTo>
                      <a:pt x="14" y="81"/>
                      <a:pt x="14" y="81"/>
                      <a:pt x="14" y="81"/>
                    </a:cubicBezTo>
                    <a:cubicBezTo>
                      <a:pt x="18" y="81"/>
                      <a:pt x="18" y="81"/>
                      <a:pt x="18" y="81"/>
                    </a:cubicBezTo>
                    <a:cubicBezTo>
                      <a:pt x="22" y="80"/>
                      <a:pt x="26" y="81"/>
                      <a:pt x="30" y="83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1"/>
                      <a:pt x="36" y="103"/>
                      <a:pt x="36" y="105"/>
                    </a:cubicBezTo>
                    <a:cubicBezTo>
                      <a:pt x="35" y="107"/>
                      <a:pt x="33" y="108"/>
                      <a:pt x="30" y="109"/>
                    </a:cubicBezTo>
                    <a:cubicBezTo>
                      <a:pt x="27" y="109"/>
                      <a:pt x="26" y="111"/>
                      <a:pt x="25" y="115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22" y="122"/>
                      <a:pt x="22" y="122"/>
                      <a:pt x="22" y="122"/>
                    </a:cubicBezTo>
                    <a:cubicBezTo>
                      <a:pt x="26" y="127"/>
                      <a:pt x="26" y="127"/>
                      <a:pt x="26" y="127"/>
                    </a:cubicBezTo>
                    <a:cubicBezTo>
                      <a:pt x="37" y="129"/>
                      <a:pt x="37" y="129"/>
                      <a:pt x="37" y="129"/>
                    </a:cubicBezTo>
                    <a:cubicBezTo>
                      <a:pt x="38" y="129"/>
                      <a:pt x="38" y="129"/>
                      <a:pt x="38" y="129"/>
                    </a:cubicBezTo>
                    <a:cubicBezTo>
                      <a:pt x="38" y="129"/>
                      <a:pt x="38" y="129"/>
                      <a:pt x="38" y="129"/>
                    </a:cubicBezTo>
                    <a:cubicBezTo>
                      <a:pt x="43" y="134"/>
                      <a:pt x="43" y="134"/>
                      <a:pt x="43" y="134"/>
                    </a:cubicBezTo>
                    <a:cubicBezTo>
                      <a:pt x="36" y="144"/>
                      <a:pt x="36" y="144"/>
                      <a:pt x="36" y="144"/>
                    </a:cubicBezTo>
                    <a:cubicBezTo>
                      <a:pt x="51" y="176"/>
                      <a:pt x="51" y="176"/>
                      <a:pt x="51" y="176"/>
                    </a:cubicBezTo>
                    <a:cubicBezTo>
                      <a:pt x="52" y="177"/>
                      <a:pt x="52" y="177"/>
                      <a:pt x="52" y="177"/>
                    </a:cubicBezTo>
                    <a:cubicBezTo>
                      <a:pt x="49" y="179"/>
                      <a:pt x="49" y="179"/>
                      <a:pt x="49" y="179"/>
                    </a:cubicBezTo>
                    <a:cubicBezTo>
                      <a:pt x="50" y="182"/>
                      <a:pt x="50" y="182"/>
                      <a:pt x="50" y="182"/>
                    </a:cubicBezTo>
                    <a:cubicBezTo>
                      <a:pt x="50" y="182"/>
                      <a:pt x="50" y="182"/>
                      <a:pt x="50" y="182"/>
                    </a:cubicBezTo>
                    <a:cubicBezTo>
                      <a:pt x="78" y="165"/>
                      <a:pt x="78" y="165"/>
                      <a:pt x="78" y="165"/>
                    </a:cubicBezTo>
                    <a:cubicBezTo>
                      <a:pt x="73" y="173"/>
                      <a:pt x="73" y="173"/>
                      <a:pt x="73" y="173"/>
                    </a:cubicBezTo>
                    <a:cubicBezTo>
                      <a:pt x="70" y="179"/>
                      <a:pt x="68" y="184"/>
                      <a:pt x="67" y="187"/>
                    </a:cubicBezTo>
                    <a:cubicBezTo>
                      <a:pt x="72" y="185"/>
                      <a:pt x="76" y="182"/>
                      <a:pt x="78" y="175"/>
                    </a:cubicBezTo>
                    <a:cubicBezTo>
                      <a:pt x="78" y="175"/>
                      <a:pt x="78" y="175"/>
                      <a:pt x="78" y="175"/>
                    </a:cubicBezTo>
                    <a:cubicBezTo>
                      <a:pt x="79" y="175"/>
                      <a:pt x="79" y="175"/>
                      <a:pt x="79" y="175"/>
                    </a:cubicBezTo>
                    <a:cubicBezTo>
                      <a:pt x="86" y="171"/>
                      <a:pt x="86" y="171"/>
                      <a:pt x="86" y="171"/>
                    </a:cubicBezTo>
                    <a:cubicBezTo>
                      <a:pt x="87" y="170"/>
                      <a:pt x="87" y="170"/>
                      <a:pt x="87" y="170"/>
                    </a:cubicBezTo>
                    <a:cubicBezTo>
                      <a:pt x="98" y="179"/>
                      <a:pt x="98" y="179"/>
                      <a:pt x="98" y="179"/>
                    </a:cubicBezTo>
                    <a:cubicBezTo>
                      <a:pt x="110" y="180"/>
                      <a:pt x="110" y="180"/>
                      <a:pt x="110" y="180"/>
                    </a:cubicBezTo>
                    <a:cubicBezTo>
                      <a:pt x="110" y="180"/>
                      <a:pt x="110" y="180"/>
                      <a:pt x="110" y="180"/>
                    </a:cubicBezTo>
                    <a:cubicBezTo>
                      <a:pt x="116" y="184"/>
                      <a:pt x="116" y="184"/>
                      <a:pt x="116" y="184"/>
                    </a:cubicBezTo>
                    <a:cubicBezTo>
                      <a:pt x="130" y="171"/>
                      <a:pt x="130" y="171"/>
                      <a:pt x="130" y="171"/>
                    </a:cubicBezTo>
                    <a:cubicBezTo>
                      <a:pt x="132" y="170"/>
                      <a:pt x="133" y="167"/>
                      <a:pt x="134" y="163"/>
                    </a:cubicBezTo>
                    <a:cubicBezTo>
                      <a:pt x="136" y="160"/>
                      <a:pt x="136" y="160"/>
                      <a:pt x="136" y="160"/>
                    </a:cubicBezTo>
                    <a:cubicBezTo>
                      <a:pt x="136" y="159"/>
                      <a:pt x="134" y="155"/>
                      <a:pt x="130" y="148"/>
                    </a:cubicBezTo>
                    <a:cubicBezTo>
                      <a:pt x="127" y="143"/>
                      <a:pt x="127" y="143"/>
                      <a:pt x="127" y="143"/>
                    </a:cubicBezTo>
                    <a:cubicBezTo>
                      <a:pt x="144" y="149"/>
                      <a:pt x="144" y="149"/>
                      <a:pt x="144" y="149"/>
                    </a:cubicBezTo>
                    <a:cubicBezTo>
                      <a:pt x="150" y="146"/>
                      <a:pt x="150" y="146"/>
                      <a:pt x="150" y="146"/>
                    </a:cubicBezTo>
                    <a:cubicBezTo>
                      <a:pt x="144" y="135"/>
                      <a:pt x="144" y="135"/>
                      <a:pt x="144" y="135"/>
                    </a:cubicBezTo>
                    <a:cubicBezTo>
                      <a:pt x="144" y="134"/>
                      <a:pt x="144" y="134"/>
                      <a:pt x="144" y="134"/>
                    </a:cubicBezTo>
                    <a:cubicBezTo>
                      <a:pt x="153" y="123"/>
                      <a:pt x="153" y="123"/>
                      <a:pt x="153" y="123"/>
                    </a:cubicBezTo>
                    <a:cubicBezTo>
                      <a:pt x="149" y="117"/>
                      <a:pt x="149" y="117"/>
                      <a:pt x="149" y="117"/>
                    </a:cubicBezTo>
                    <a:cubicBezTo>
                      <a:pt x="146" y="113"/>
                      <a:pt x="143" y="111"/>
                      <a:pt x="142" y="111"/>
                    </a:cubicBezTo>
                    <a:cubicBezTo>
                      <a:pt x="141" y="111"/>
                      <a:pt x="141" y="111"/>
                      <a:pt x="141" y="111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36" y="115"/>
                      <a:pt x="136" y="115"/>
                      <a:pt x="136" y="115"/>
                    </a:cubicBezTo>
                    <a:cubicBezTo>
                      <a:pt x="135" y="115"/>
                      <a:pt x="135" y="115"/>
                      <a:pt x="135" y="115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26" y="107"/>
                      <a:pt x="126" y="107"/>
                      <a:pt x="126" y="107"/>
                    </a:cubicBezTo>
                    <a:cubicBezTo>
                      <a:pt x="123" y="106"/>
                      <a:pt x="120" y="105"/>
                      <a:pt x="118" y="102"/>
                    </a:cubicBezTo>
                    <a:cubicBezTo>
                      <a:pt x="113" y="99"/>
                      <a:pt x="113" y="99"/>
                      <a:pt x="113" y="99"/>
                    </a:cubicBezTo>
                    <a:cubicBezTo>
                      <a:pt x="110" y="97"/>
                      <a:pt x="108" y="95"/>
                      <a:pt x="108" y="93"/>
                    </a:cubicBezTo>
                    <a:cubicBezTo>
                      <a:pt x="107" y="91"/>
                      <a:pt x="108" y="88"/>
                      <a:pt x="110" y="85"/>
                    </a:cubicBezTo>
                    <a:cubicBezTo>
                      <a:pt x="114" y="78"/>
                      <a:pt x="117" y="73"/>
                      <a:pt x="117" y="69"/>
                    </a:cubicBezTo>
                    <a:cubicBezTo>
                      <a:pt x="117" y="64"/>
                      <a:pt x="117" y="64"/>
                      <a:pt x="117" y="64"/>
                    </a:cubicBezTo>
                    <a:cubicBezTo>
                      <a:pt x="120" y="64"/>
                      <a:pt x="120" y="64"/>
                      <a:pt x="120" y="64"/>
                    </a:cubicBezTo>
                    <a:cubicBezTo>
                      <a:pt x="129" y="65"/>
                      <a:pt x="129" y="65"/>
                      <a:pt x="129" y="65"/>
                    </a:cubicBezTo>
                    <a:cubicBezTo>
                      <a:pt x="130" y="64"/>
                      <a:pt x="131" y="60"/>
                      <a:pt x="132" y="53"/>
                    </a:cubicBezTo>
                    <a:cubicBezTo>
                      <a:pt x="130" y="52"/>
                      <a:pt x="130" y="52"/>
                      <a:pt x="130" y="52"/>
                    </a:cubicBezTo>
                    <a:cubicBezTo>
                      <a:pt x="123" y="57"/>
                      <a:pt x="118" y="59"/>
                      <a:pt x="115" y="61"/>
                    </a:cubicBezTo>
                    <a:cubicBezTo>
                      <a:pt x="110" y="62"/>
                      <a:pt x="105" y="59"/>
                      <a:pt x="97" y="54"/>
                    </a:cubicBezTo>
                    <a:cubicBezTo>
                      <a:pt x="97" y="53"/>
                      <a:pt x="97" y="53"/>
                      <a:pt x="97" y="53"/>
                    </a:cubicBezTo>
                    <a:lnTo>
                      <a:pt x="96" y="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2" name="íşľîďè"/>
              <p:cNvSpPr/>
              <p:nvPr/>
            </p:nvSpPr>
            <p:spPr bwMode="auto">
              <a:xfrm>
                <a:off x="3871" y="1761"/>
                <a:ext cx="97" cy="138"/>
              </a:xfrm>
              <a:custGeom>
                <a:avLst/>
                <a:gdLst>
                  <a:gd name="T0" fmla="*/ 24 w 41"/>
                  <a:gd name="T1" fmla="*/ 1 h 58"/>
                  <a:gd name="T2" fmla="*/ 23 w 41"/>
                  <a:gd name="T3" fmla="*/ 0 h 58"/>
                  <a:gd name="T4" fmla="*/ 17 w 41"/>
                  <a:gd name="T5" fmla="*/ 7 h 58"/>
                  <a:gd name="T6" fmla="*/ 15 w 41"/>
                  <a:gd name="T7" fmla="*/ 6 h 58"/>
                  <a:gd name="T8" fmla="*/ 15 w 41"/>
                  <a:gd name="T9" fmla="*/ 6 h 58"/>
                  <a:gd name="T10" fmla="*/ 15 w 41"/>
                  <a:gd name="T11" fmla="*/ 7 h 58"/>
                  <a:gd name="T12" fmla="*/ 12 w 41"/>
                  <a:gd name="T13" fmla="*/ 10 h 58"/>
                  <a:gd name="T14" fmla="*/ 10 w 41"/>
                  <a:gd name="T15" fmla="*/ 11 h 58"/>
                  <a:gd name="T16" fmla="*/ 6 w 41"/>
                  <a:gd name="T17" fmla="*/ 13 h 58"/>
                  <a:gd name="T18" fmla="*/ 5 w 41"/>
                  <a:gd name="T19" fmla="*/ 16 h 58"/>
                  <a:gd name="T20" fmla="*/ 3 w 41"/>
                  <a:gd name="T21" fmla="*/ 25 h 58"/>
                  <a:gd name="T22" fmla="*/ 1 w 41"/>
                  <a:gd name="T23" fmla="*/ 30 h 58"/>
                  <a:gd name="T24" fmla="*/ 1 w 41"/>
                  <a:gd name="T25" fmla="*/ 39 h 58"/>
                  <a:gd name="T26" fmla="*/ 3 w 41"/>
                  <a:gd name="T27" fmla="*/ 51 h 58"/>
                  <a:gd name="T28" fmla="*/ 10 w 41"/>
                  <a:gd name="T29" fmla="*/ 56 h 58"/>
                  <a:gd name="T30" fmla="*/ 19 w 41"/>
                  <a:gd name="T31" fmla="*/ 58 h 58"/>
                  <a:gd name="T32" fmla="*/ 28 w 41"/>
                  <a:gd name="T33" fmla="*/ 55 h 58"/>
                  <a:gd name="T34" fmla="*/ 26 w 41"/>
                  <a:gd name="T35" fmla="*/ 50 h 58"/>
                  <a:gd name="T36" fmla="*/ 26 w 41"/>
                  <a:gd name="T37" fmla="*/ 49 h 58"/>
                  <a:gd name="T38" fmla="*/ 26 w 41"/>
                  <a:gd name="T39" fmla="*/ 49 h 58"/>
                  <a:gd name="T40" fmla="*/ 27 w 41"/>
                  <a:gd name="T41" fmla="*/ 45 h 58"/>
                  <a:gd name="T42" fmla="*/ 27 w 41"/>
                  <a:gd name="T43" fmla="*/ 45 h 58"/>
                  <a:gd name="T44" fmla="*/ 31 w 41"/>
                  <a:gd name="T45" fmla="*/ 37 h 58"/>
                  <a:gd name="T46" fmla="*/ 39 w 41"/>
                  <a:gd name="T47" fmla="*/ 37 h 58"/>
                  <a:gd name="T48" fmla="*/ 41 w 41"/>
                  <a:gd name="T49" fmla="*/ 37 h 58"/>
                  <a:gd name="T50" fmla="*/ 33 w 41"/>
                  <a:gd name="T51" fmla="*/ 24 h 58"/>
                  <a:gd name="T52" fmla="*/ 30 w 41"/>
                  <a:gd name="T53" fmla="*/ 20 h 58"/>
                  <a:gd name="T54" fmla="*/ 27 w 41"/>
                  <a:gd name="T55" fmla="*/ 9 h 58"/>
                  <a:gd name="T56" fmla="*/ 24 w 41"/>
                  <a:gd name="T57" fmla="*/ 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1" h="58">
                    <a:moveTo>
                      <a:pt x="24" y="1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21" y="0"/>
                      <a:pt x="19" y="2"/>
                      <a:pt x="17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21"/>
                      <a:pt x="5" y="24"/>
                      <a:pt x="3" y="25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1"/>
                      <a:pt x="0" y="34"/>
                      <a:pt x="1" y="39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4" y="52"/>
                      <a:pt x="6" y="54"/>
                      <a:pt x="10" y="56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21" y="58"/>
                      <a:pt x="25" y="57"/>
                      <a:pt x="28" y="55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26" y="49"/>
                      <a:pt x="26" y="49"/>
                      <a:pt x="26" y="49"/>
                    </a:cubicBezTo>
                    <a:cubicBezTo>
                      <a:pt x="26" y="49"/>
                      <a:pt x="26" y="49"/>
                      <a:pt x="26" y="49"/>
                    </a:cubicBezTo>
                    <a:cubicBezTo>
                      <a:pt x="27" y="45"/>
                      <a:pt x="27" y="45"/>
                      <a:pt x="27" y="45"/>
                    </a:cubicBezTo>
                    <a:cubicBezTo>
                      <a:pt x="27" y="45"/>
                      <a:pt x="27" y="45"/>
                      <a:pt x="27" y="45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9" y="37"/>
                      <a:pt x="39" y="37"/>
                      <a:pt x="39" y="37"/>
                    </a:cubicBezTo>
                    <a:cubicBezTo>
                      <a:pt x="41" y="37"/>
                      <a:pt x="41" y="37"/>
                      <a:pt x="41" y="37"/>
                    </a:cubicBezTo>
                    <a:cubicBezTo>
                      <a:pt x="40" y="34"/>
                      <a:pt x="37" y="30"/>
                      <a:pt x="33" y="24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29" y="17"/>
                      <a:pt x="27" y="13"/>
                      <a:pt x="27" y="9"/>
                    </a:cubicBezTo>
                    <a:cubicBezTo>
                      <a:pt x="26" y="5"/>
                      <a:pt x="25" y="3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3" name="îŝlídê"/>
              <p:cNvSpPr/>
              <p:nvPr/>
            </p:nvSpPr>
            <p:spPr bwMode="auto">
              <a:xfrm>
                <a:off x="3778" y="1700"/>
                <a:ext cx="126" cy="135"/>
              </a:xfrm>
              <a:custGeom>
                <a:avLst/>
                <a:gdLst>
                  <a:gd name="T0" fmla="*/ 26 w 53"/>
                  <a:gd name="T1" fmla="*/ 12 h 57"/>
                  <a:gd name="T2" fmla="*/ 26 w 53"/>
                  <a:gd name="T3" fmla="*/ 13 h 57"/>
                  <a:gd name="T4" fmla="*/ 24 w 53"/>
                  <a:gd name="T5" fmla="*/ 13 h 57"/>
                  <a:gd name="T6" fmla="*/ 19 w 53"/>
                  <a:gd name="T7" fmla="*/ 12 h 57"/>
                  <a:gd name="T8" fmla="*/ 19 w 53"/>
                  <a:gd name="T9" fmla="*/ 14 h 57"/>
                  <a:gd name="T10" fmla="*/ 19 w 53"/>
                  <a:gd name="T11" fmla="*/ 15 h 57"/>
                  <a:gd name="T12" fmla="*/ 18 w 53"/>
                  <a:gd name="T13" fmla="*/ 15 h 57"/>
                  <a:gd name="T14" fmla="*/ 9 w 53"/>
                  <a:gd name="T15" fmla="*/ 19 h 57"/>
                  <a:gd name="T16" fmla="*/ 9 w 53"/>
                  <a:gd name="T17" fmla="*/ 20 h 57"/>
                  <a:gd name="T18" fmla="*/ 12 w 53"/>
                  <a:gd name="T19" fmla="*/ 28 h 57"/>
                  <a:gd name="T20" fmla="*/ 12 w 53"/>
                  <a:gd name="T21" fmla="*/ 29 h 57"/>
                  <a:gd name="T22" fmla="*/ 12 w 53"/>
                  <a:gd name="T23" fmla="*/ 30 h 57"/>
                  <a:gd name="T24" fmla="*/ 2 w 53"/>
                  <a:gd name="T25" fmla="*/ 41 h 57"/>
                  <a:gd name="T26" fmla="*/ 0 w 53"/>
                  <a:gd name="T27" fmla="*/ 45 h 57"/>
                  <a:gd name="T28" fmla="*/ 2 w 53"/>
                  <a:gd name="T29" fmla="*/ 48 h 57"/>
                  <a:gd name="T30" fmla="*/ 7 w 53"/>
                  <a:gd name="T31" fmla="*/ 50 h 57"/>
                  <a:gd name="T32" fmla="*/ 10 w 53"/>
                  <a:gd name="T33" fmla="*/ 50 h 57"/>
                  <a:gd name="T34" fmla="*/ 20 w 53"/>
                  <a:gd name="T35" fmla="*/ 53 h 57"/>
                  <a:gd name="T36" fmla="*/ 24 w 53"/>
                  <a:gd name="T37" fmla="*/ 55 h 57"/>
                  <a:gd name="T38" fmla="*/ 31 w 53"/>
                  <a:gd name="T39" fmla="*/ 57 h 57"/>
                  <a:gd name="T40" fmla="*/ 36 w 53"/>
                  <a:gd name="T41" fmla="*/ 53 h 57"/>
                  <a:gd name="T42" fmla="*/ 39 w 53"/>
                  <a:gd name="T43" fmla="*/ 49 h 57"/>
                  <a:gd name="T44" fmla="*/ 42 w 53"/>
                  <a:gd name="T45" fmla="*/ 42 h 57"/>
                  <a:gd name="T46" fmla="*/ 40 w 53"/>
                  <a:gd name="T47" fmla="*/ 33 h 57"/>
                  <a:gd name="T48" fmla="*/ 43 w 53"/>
                  <a:gd name="T49" fmla="*/ 34 h 57"/>
                  <a:gd name="T50" fmla="*/ 48 w 53"/>
                  <a:gd name="T51" fmla="*/ 34 h 57"/>
                  <a:gd name="T52" fmla="*/ 50 w 53"/>
                  <a:gd name="T53" fmla="*/ 33 h 57"/>
                  <a:gd name="T54" fmla="*/ 51 w 53"/>
                  <a:gd name="T55" fmla="*/ 31 h 57"/>
                  <a:gd name="T56" fmla="*/ 47 w 53"/>
                  <a:gd name="T57" fmla="*/ 19 h 57"/>
                  <a:gd name="T58" fmla="*/ 48 w 53"/>
                  <a:gd name="T59" fmla="*/ 15 h 57"/>
                  <a:gd name="T60" fmla="*/ 53 w 53"/>
                  <a:gd name="T61" fmla="*/ 11 h 57"/>
                  <a:gd name="T62" fmla="*/ 53 w 53"/>
                  <a:gd name="T63" fmla="*/ 11 h 57"/>
                  <a:gd name="T64" fmla="*/ 52 w 53"/>
                  <a:gd name="T65" fmla="*/ 9 h 57"/>
                  <a:gd name="T66" fmla="*/ 43 w 53"/>
                  <a:gd name="T67" fmla="*/ 9 h 57"/>
                  <a:gd name="T68" fmla="*/ 43 w 53"/>
                  <a:gd name="T69" fmla="*/ 9 h 57"/>
                  <a:gd name="T70" fmla="*/ 34 w 53"/>
                  <a:gd name="T71" fmla="*/ 3 h 57"/>
                  <a:gd name="T72" fmla="*/ 24 w 53"/>
                  <a:gd name="T73" fmla="*/ 1 h 57"/>
                  <a:gd name="T74" fmla="*/ 22 w 53"/>
                  <a:gd name="T75" fmla="*/ 1 h 57"/>
                  <a:gd name="T76" fmla="*/ 25 w 53"/>
                  <a:gd name="T77" fmla="*/ 5 h 57"/>
                  <a:gd name="T78" fmla="*/ 26 w 53"/>
                  <a:gd name="T79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3" h="57">
                    <a:moveTo>
                      <a:pt x="26" y="12"/>
                    </a:moveTo>
                    <a:cubicBezTo>
                      <a:pt x="26" y="13"/>
                      <a:pt x="26" y="13"/>
                      <a:pt x="26" y="13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8" y="23"/>
                      <a:pt x="9" y="25"/>
                      <a:pt x="12" y="28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9" y="34"/>
                      <a:pt x="6" y="38"/>
                      <a:pt x="2" y="41"/>
                    </a:cubicBezTo>
                    <a:cubicBezTo>
                      <a:pt x="0" y="42"/>
                      <a:pt x="0" y="43"/>
                      <a:pt x="0" y="45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10" y="50"/>
                      <a:pt x="10" y="50"/>
                      <a:pt x="10" y="50"/>
                    </a:cubicBezTo>
                    <a:cubicBezTo>
                      <a:pt x="15" y="50"/>
                      <a:pt x="18" y="51"/>
                      <a:pt x="20" y="53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6" y="57"/>
                      <a:pt x="29" y="57"/>
                      <a:pt x="31" y="57"/>
                    </a:cubicBezTo>
                    <a:cubicBezTo>
                      <a:pt x="32" y="57"/>
                      <a:pt x="34" y="56"/>
                      <a:pt x="36" y="53"/>
                    </a:cubicBezTo>
                    <a:cubicBezTo>
                      <a:pt x="39" y="49"/>
                      <a:pt x="39" y="49"/>
                      <a:pt x="39" y="49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0" y="33"/>
                      <a:pt x="40" y="33"/>
                      <a:pt x="40" y="33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48" y="34"/>
                      <a:pt x="48" y="34"/>
                      <a:pt x="48" y="34"/>
                    </a:cubicBezTo>
                    <a:cubicBezTo>
                      <a:pt x="50" y="33"/>
                      <a:pt x="50" y="33"/>
                      <a:pt x="50" y="33"/>
                    </a:cubicBezTo>
                    <a:cubicBezTo>
                      <a:pt x="51" y="31"/>
                      <a:pt x="51" y="31"/>
                      <a:pt x="51" y="3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8" y="15"/>
                      <a:pt x="48" y="15"/>
                      <a:pt x="48" y="15"/>
                    </a:cubicBezTo>
                    <a:cubicBezTo>
                      <a:pt x="50" y="13"/>
                      <a:pt x="51" y="12"/>
                      <a:pt x="53" y="11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0" y="0"/>
                      <a:pt x="27" y="0"/>
                      <a:pt x="24" y="1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3"/>
                      <a:pt x="22" y="5"/>
                      <a:pt x="25" y="5"/>
                    </a:cubicBezTo>
                    <a:cubicBezTo>
                      <a:pt x="27" y="7"/>
                      <a:pt x="28" y="9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4" name="íṩļïḋè"/>
              <p:cNvSpPr/>
              <p:nvPr/>
            </p:nvSpPr>
            <p:spPr bwMode="auto">
              <a:xfrm>
                <a:off x="3991" y="1432"/>
                <a:ext cx="445" cy="424"/>
              </a:xfrm>
              <a:custGeom>
                <a:avLst/>
                <a:gdLst>
                  <a:gd name="T0" fmla="*/ 80 w 188"/>
                  <a:gd name="T1" fmla="*/ 37 h 179"/>
                  <a:gd name="T2" fmla="*/ 70 w 188"/>
                  <a:gd name="T3" fmla="*/ 40 h 179"/>
                  <a:gd name="T4" fmla="*/ 58 w 188"/>
                  <a:gd name="T5" fmla="*/ 46 h 179"/>
                  <a:gd name="T6" fmla="*/ 46 w 188"/>
                  <a:gd name="T7" fmla="*/ 56 h 179"/>
                  <a:gd name="T8" fmla="*/ 45 w 188"/>
                  <a:gd name="T9" fmla="*/ 58 h 179"/>
                  <a:gd name="T10" fmla="*/ 34 w 188"/>
                  <a:gd name="T11" fmla="*/ 70 h 179"/>
                  <a:gd name="T12" fmla="*/ 21 w 188"/>
                  <a:gd name="T13" fmla="*/ 69 h 179"/>
                  <a:gd name="T14" fmla="*/ 15 w 188"/>
                  <a:gd name="T15" fmla="*/ 63 h 179"/>
                  <a:gd name="T16" fmla="*/ 17 w 188"/>
                  <a:gd name="T17" fmla="*/ 86 h 179"/>
                  <a:gd name="T18" fmla="*/ 2 w 188"/>
                  <a:gd name="T19" fmla="*/ 110 h 179"/>
                  <a:gd name="T20" fmla="*/ 0 w 188"/>
                  <a:gd name="T21" fmla="*/ 113 h 179"/>
                  <a:gd name="T22" fmla="*/ 16 w 188"/>
                  <a:gd name="T23" fmla="*/ 119 h 179"/>
                  <a:gd name="T24" fmla="*/ 17 w 188"/>
                  <a:gd name="T25" fmla="*/ 120 h 179"/>
                  <a:gd name="T26" fmla="*/ 23 w 188"/>
                  <a:gd name="T27" fmla="*/ 124 h 179"/>
                  <a:gd name="T28" fmla="*/ 24 w 188"/>
                  <a:gd name="T29" fmla="*/ 124 h 179"/>
                  <a:gd name="T30" fmla="*/ 39 w 188"/>
                  <a:gd name="T31" fmla="*/ 136 h 179"/>
                  <a:gd name="T32" fmla="*/ 56 w 188"/>
                  <a:gd name="T33" fmla="*/ 112 h 179"/>
                  <a:gd name="T34" fmla="*/ 61 w 188"/>
                  <a:gd name="T35" fmla="*/ 106 h 179"/>
                  <a:gd name="T36" fmla="*/ 74 w 188"/>
                  <a:gd name="T37" fmla="*/ 101 h 179"/>
                  <a:gd name="T38" fmla="*/ 87 w 188"/>
                  <a:gd name="T39" fmla="*/ 99 h 179"/>
                  <a:gd name="T40" fmla="*/ 94 w 188"/>
                  <a:gd name="T41" fmla="*/ 110 h 179"/>
                  <a:gd name="T42" fmla="*/ 95 w 188"/>
                  <a:gd name="T43" fmla="*/ 119 h 179"/>
                  <a:gd name="T44" fmla="*/ 92 w 188"/>
                  <a:gd name="T45" fmla="*/ 134 h 179"/>
                  <a:gd name="T46" fmla="*/ 92 w 188"/>
                  <a:gd name="T47" fmla="*/ 135 h 179"/>
                  <a:gd name="T48" fmla="*/ 85 w 188"/>
                  <a:gd name="T49" fmla="*/ 156 h 179"/>
                  <a:gd name="T50" fmla="*/ 92 w 188"/>
                  <a:gd name="T51" fmla="*/ 152 h 179"/>
                  <a:gd name="T52" fmla="*/ 97 w 188"/>
                  <a:gd name="T53" fmla="*/ 154 h 179"/>
                  <a:gd name="T54" fmla="*/ 96 w 188"/>
                  <a:gd name="T55" fmla="*/ 160 h 179"/>
                  <a:gd name="T56" fmla="*/ 92 w 188"/>
                  <a:gd name="T57" fmla="*/ 167 h 179"/>
                  <a:gd name="T58" fmla="*/ 89 w 188"/>
                  <a:gd name="T59" fmla="*/ 172 h 179"/>
                  <a:gd name="T60" fmla="*/ 84 w 188"/>
                  <a:gd name="T61" fmla="*/ 173 h 179"/>
                  <a:gd name="T62" fmla="*/ 79 w 188"/>
                  <a:gd name="T63" fmla="*/ 179 h 179"/>
                  <a:gd name="T64" fmla="*/ 99 w 188"/>
                  <a:gd name="T65" fmla="*/ 164 h 179"/>
                  <a:gd name="T66" fmla="*/ 130 w 188"/>
                  <a:gd name="T67" fmla="*/ 133 h 179"/>
                  <a:gd name="T68" fmla="*/ 136 w 188"/>
                  <a:gd name="T69" fmla="*/ 130 h 179"/>
                  <a:gd name="T70" fmla="*/ 152 w 188"/>
                  <a:gd name="T71" fmla="*/ 126 h 179"/>
                  <a:gd name="T72" fmla="*/ 163 w 188"/>
                  <a:gd name="T73" fmla="*/ 104 h 179"/>
                  <a:gd name="T74" fmla="*/ 188 w 188"/>
                  <a:gd name="T75" fmla="*/ 78 h 179"/>
                  <a:gd name="T76" fmla="*/ 182 w 188"/>
                  <a:gd name="T77" fmla="*/ 60 h 179"/>
                  <a:gd name="T78" fmla="*/ 173 w 188"/>
                  <a:gd name="T79" fmla="*/ 58 h 179"/>
                  <a:gd name="T80" fmla="*/ 171 w 188"/>
                  <a:gd name="T81" fmla="*/ 54 h 179"/>
                  <a:gd name="T82" fmla="*/ 158 w 188"/>
                  <a:gd name="T83" fmla="*/ 22 h 179"/>
                  <a:gd name="T84" fmla="*/ 154 w 188"/>
                  <a:gd name="T85" fmla="*/ 6 h 179"/>
                  <a:gd name="T86" fmla="*/ 147 w 188"/>
                  <a:gd name="T87" fmla="*/ 12 h 179"/>
                  <a:gd name="T88" fmla="*/ 134 w 188"/>
                  <a:gd name="T89" fmla="*/ 5 h 179"/>
                  <a:gd name="T90" fmla="*/ 124 w 188"/>
                  <a:gd name="T91" fmla="*/ 6 h 179"/>
                  <a:gd name="T92" fmla="*/ 114 w 188"/>
                  <a:gd name="T93" fmla="*/ 2 h 179"/>
                  <a:gd name="T94" fmla="*/ 114 w 188"/>
                  <a:gd name="T95" fmla="*/ 15 h 179"/>
                  <a:gd name="T96" fmla="*/ 113 w 188"/>
                  <a:gd name="T97" fmla="*/ 16 h 179"/>
                  <a:gd name="T98" fmla="*/ 104 w 188"/>
                  <a:gd name="T99" fmla="*/ 24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8" h="179">
                    <a:moveTo>
                      <a:pt x="86" y="23"/>
                    </a:moveTo>
                    <a:cubicBezTo>
                      <a:pt x="81" y="30"/>
                      <a:pt x="81" y="30"/>
                      <a:pt x="81" y="30"/>
                    </a:cubicBezTo>
                    <a:cubicBezTo>
                      <a:pt x="80" y="31"/>
                      <a:pt x="80" y="33"/>
                      <a:pt x="80" y="37"/>
                    </a:cubicBezTo>
                    <a:cubicBezTo>
                      <a:pt x="80" y="40"/>
                      <a:pt x="80" y="40"/>
                      <a:pt x="80" y="40"/>
                    </a:cubicBezTo>
                    <a:cubicBezTo>
                      <a:pt x="71" y="40"/>
                      <a:pt x="71" y="40"/>
                      <a:pt x="71" y="40"/>
                    </a:cubicBez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40"/>
                      <a:pt x="70" y="40"/>
                      <a:pt x="70" y="40"/>
                    </a:cubicBezTo>
                    <a:cubicBezTo>
                      <a:pt x="64" y="38"/>
                      <a:pt x="64" y="38"/>
                      <a:pt x="64" y="38"/>
                    </a:cubicBezTo>
                    <a:cubicBezTo>
                      <a:pt x="58" y="46"/>
                      <a:pt x="58" y="46"/>
                      <a:pt x="58" y="46"/>
                    </a:cubicBezTo>
                    <a:cubicBezTo>
                      <a:pt x="58" y="46"/>
                      <a:pt x="58" y="46"/>
                      <a:pt x="58" y="46"/>
                    </a:cubicBezTo>
                    <a:cubicBezTo>
                      <a:pt x="51" y="50"/>
                      <a:pt x="51" y="50"/>
                      <a:pt x="51" y="50"/>
                    </a:cubicBezTo>
                    <a:cubicBezTo>
                      <a:pt x="46" y="56"/>
                      <a:pt x="46" y="56"/>
                      <a:pt x="46" y="56"/>
                    </a:cubicBezTo>
                    <a:cubicBezTo>
                      <a:pt x="46" y="56"/>
                      <a:pt x="46" y="56"/>
                      <a:pt x="46" y="56"/>
                    </a:cubicBezTo>
                    <a:cubicBezTo>
                      <a:pt x="45" y="58"/>
                      <a:pt x="45" y="58"/>
                      <a:pt x="45" y="58"/>
                    </a:cubicBezTo>
                    <a:cubicBezTo>
                      <a:pt x="45" y="58"/>
                      <a:pt x="45" y="58"/>
                      <a:pt x="45" y="58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5" y="70"/>
                      <a:pt x="35" y="70"/>
                      <a:pt x="35" y="70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27" y="74"/>
                      <a:pt x="27" y="74"/>
                      <a:pt x="27" y="74"/>
                    </a:cubicBezTo>
                    <a:cubicBezTo>
                      <a:pt x="21" y="70"/>
                      <a:pt x="21" y="70"/>
                      <a:pt x="21" y="70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15" y="63"/>
                      <a:pt x="15" y="63"/>
                      <a:pt x="15" y="63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4" y="78"/>
                      <a:pt x="14" y="78"/>
                      <a:pt x="14" y="78"/>
                    </a:cubicBezTo>
                    <a:cubicBezTo>
                      <a:pt x="17" y="86"/>
                      <a:pt x="17" y="86"/>
                      <a:pt x="17" y="86"/>
                    </a:cubicBezTo>
                    <a:cubicBezTo>
                      <a:pt x="11" y="92"/>
                      <a:pt x="11" y="92"/>
                      <a:pt x="11" y="92"/>
                    </a:cubicBezTo>
                    <a:cubicBezTo>
                      <a:pt x="2" y="104"/>
                      <a:pt x="2" y="104"/>
                      <a:pt x="2" y="104"/>
                    </a:cubicBezTo>
                    <a:cubicBezTo>
                      <a:pt x="2" y="110"/>
                      <a:pt x="2" y="110"/>
                      <a:pt x="2" y="110"/>
                    </a:cubicBezTo>
                    <a:cubicBezTo>
                      <a:pt x="2" y="110"/>
                      <a:pt x="2" y="110"/>
                      <a:pt x="2" y="110"/>
                    </a:cubicBezTo>
                    <a:cubicBezTo>
                      <a:pt x="2" y="110"/>
                      <a:pt x="2" y="110"/>
                      <a:pt x="2" y="110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1" y="116"/>
                      <a:pt x="1" y="116"/>
                      <a:pt x="1" y="116"/>
                    </a:cubicBezTo>
                    <a:cubicBezTo>
                      <a:pt x="4" y="116"/>
                      <a:pt x="4" y="116"/>
                      <a:pt x="4" y="116"/>
                    </a:cubicBezTo>
                    <a:cubicBezTo>
                      <a:pt x="16" y="119"/>
                      <a:pt x="16" y="119"/>
                      <a:pt x="16" y="119"/>
                    </a:cubicBezTo>
                    <a:cubicBezTo>
                      <a:pt x="16" y="119"/>
                      <a:pt x="16" y="119"/>
                      <a:pt x="16" y="119"/>
                    </a:cubicBezTo>
                    <a:cubicBezTo>
                      <a:pt x="17" y="119"/>
                      <a:pt x="17" y="119"/>
                      <a:pt x="17" y="119"/>
                    </a:cubicBezTo>
                    <a:cubicBezTo>
                      <a:pt x="17" y="120"/>
                      <a:pt x="17" y="120"/>
                      <a:pt x="17" y="120"/>
                    </a:cubicBezTo>
                    <a:cubicBezTo>
                      <a:pt x="17" y="120"/>
                      <a:pt x="17" y="120"/>
                      <a:pt x="17" y="120"/>
                    </a:cubicBezTo>
                    <a:cubicBezTo>
                      <a:pt x="20" y="122"/>
                      <a:pt x="20" y="122"/>
                      <a:pt x="20" y="122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4"/>
                      <a:pt x="24" y="124"/>
                      <a:pt x="24" y="124"/>
                    </a:cubicBezTo>
                    <a:cubicBezTo>
                      <a:pt x="24" y="124"/>
                      <a:pt x="24" y="124"/>
                      <a:pt x="24" y="124"/>
                    </a:cubicBezTo>
                    <a:cubicBezTo>
                      <a:pt x="25" y="126"/>
                      <a:pt x="26" y="127"/>
                      <a:pt x="26" y="129"/>
                    </a:cubicBezTo>
                    <a:cubicBezTo>
                      <a:pt x="27" y="132"/>
                      <a:pt x="27" y="132"/>
                      <a:pt x="27" y="132"/>
                    </a:cubicBezTo>
                    <a:cubicBezTo>
                      <a:pt x="39" y="136"/>
                      <a:pt x="39" y="136"/>
                      <a:pt x="39" y="136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46" y="130"/>
                      <a:pt x="46" y="130"/>
                      <a:pt x="46" y="130"/>
                    </a:cubicBezTo>
                    <a:cubicBezTo>
                      <a:pt x="56" y="112"/>
                      <a:pt x="56" y="112"/>
                      <a:pt x="56" y="112"/>
                    </a:cubicBezTo>
                    <a:cubicBezTo>
                      <a:pt x="56" y="112"/>
                      <a:pt x="56" y="112"/>
                      <a:pt x="56" y="112"/>
                    </a:cubicBezTo>
                    <a:cubicBezTo>
                      <a:pt x="56" y="112"/>
                      <a:pt x="56" y="112"/>
                      <a:pt x="56" y="112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5"/>
                      <a:pt x="61" y="105"/>
                      <a:pt x="61" y="105"/>
                    </a:cubicBezTo>
                    <a:cubicBezTo>
                      <a:pt x="69" y="102"/>
                      <a:pt x="69" y="102"/>
                      <a:pt x="69" y="102"/>
                    </a:cubicBezTo>
                    <a:cubicBezTo>
                      <a:pt x="74" y="101"/>
                      <a:pt x="74" y="101"/>
                      <a:pt x="74" y="101"/>
                    </a:cubicBezTo>
                    <a:cubicBezTo>
                      <a:pt x="76" y="98"/>
                      <a:pt x="78" y="96"/>
                      <a:pt x="80" y="96"/>
                    </a:cubicBezTo>
                    <a:cubicBezTo>
                      <a:pt x="81" y="96"/>
                      <a:pt x="83" y="97"/>
                      <a:pt x="86" y="99"/>
                    </a:cubicBezTo>
                    <a:cubicBezTo>
                      <a:pt x="87" y="99"/>
                      <a:pt x="87" y="99"/>
                      <a:pt x="87" y="99"/>
                    </a:cubicBezTo>
                    <a:cubicBezTo>
                      <a:pt x="87" y="100"/>
                      <a:pt x="87" y="100"/>
                      <a:pt x="87" y="100"/>
                    </a:cubicBezTo>
                    <a:cubicBezTo>
                      <a:pt x="94" y="110"/>
                      <a:pt x="94" y="110"/>
                      <a:pt x="94" y="110"/>
                    </a:cubicBezTo>
                    <a:cubicBezTo>
                      <a:pt x="94" y="110"/>
                      <a:pt x="94" y="110"/>
                      <a:pt x="94" y="110"/>
                    </a:cubicBezTo>
                    <a:cubicBezTo>
                      <a:pt x="94" y="110"/>
                      <a:pt x="94" y="110"/>
                      <a:pt x="94" y="110"/>
                    </a:cubicBezTo>
                    <a:cubicBezTo>
                      <a:pt x="94" y="111"/>
                      <a:pt x="94" y="111"/>
                      <a:pt x="94" y="111"/>
                    </a:cubicBezTo>
                    <a:cubicBezTo>
                      <a:pt x="95" y="119"/>
                      <a:pt x="95" y="119"/>
                      <a:pt x="95" y="119"/>
                    </a:cubicBezTo>
                    <a:cubicBezTo>
                      <a:pt x="94" y="127"/>
                      <a:pt x="94" y="127"/>
                      <a:pt x="94" y="127"/>
                    </a:cubicBezTo>
                    <a:cubicBezTo>
                      <a:pt x="94" y="127"/>
                      <a:pt x="94" y="127"/>
                      <a:pt x="94" y="127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2" y="135"/>
                      <a:pt x="92" y="135"/>
                      <a:pt x="92" y="135"/>
                    </a:cubicBezTo>
                    <a:cubicBezTo>
                      <a:pt x="92" y="135"/>
                      <a:pt x="92" y="135"/>
                      <a:pt x="92" y="135"/>
                    </a:cubicBezTo>
                    <a:cubicBezTo>
                      <a:pt x="87" y="142"/>
                      <a:pt x="87" y="142"/>
                      <a:pt x="87" y="142"/>
                    </a:cubicBezTo>
                    <a:cubicBezTo>
                      <a:pt x="84" y="147"/>
                      <a:pt x="84" y="147"/>
                      <a:pt x="84" y="147"/>
                    </a:cubicBezTo>
                    <a:cubicBezTo>
                      <a:pt x="85" y="156"/>
                      <a:pt x="85" y="156"/>
                      <a:pt x="85" y="156"/>
                    </a:cubicBezTo>
                    <a:cubicBezTo>
                      <a:pt x="86" y="156"/>
                      <a:pt x="86" y="156"/>
                      <a:pt x="86" y="156"/>
                    </a:cubicBezTo>
                    <a:cubicBezTo>
                      <a:pt x="88" y="154"/>
                      <a:pt x="88" y="154"/>
                      <a:pt x="88" y="154"/>
                    </a:cubicBezTo>
                    <a:cubicBezTo>
                      <a:pt x="92" y="152"/>
                      <a:pt x="92" y="152"/>
                      <a:pt x="92" y="152"/>
                    </a:cubicBezTo>
                    <a:cubicBezTo>
                      <a:pt x="92" y="151"/>
                      <a:pt x="92" y="151"/>
                      <a:pt x="92" y="151"/>
                    </a:cubicBezTo>
                    <a:cubicBezTo>
                      <a:pt x="93" y="150"/>
                      <a:pt x="93" y="150"/>
                      <a:pt x="93" y="150"/>
                    </a:cubicBezTo>
                    <a:cubicBezTo>
                      <a:pt x="97" y="154"/>
                      <a:pt x="97" y="154"/>
                      <a:pt x="97" y="154"/>
                    </a:cubicBezTo>
                    <a:cubicBezTo>
                      <a:pt x="97" y="154"/>
                      <a:pt x="97" y="154"/>
                      <a:pt x="97" y="154"/>
                    </a:cubicBezTo>
                    <a:cubicBezTo>
                      <a:pt x="97" y="160"/>
                      <a:pt x="97" y="160"/>
                      <a:pt x="97" y="160"/>
                    </a:cubicBezTo>
                    <a:cubicBezTo>
                      <a:pt x="96" y="160"/>
                      <a:pt x="96" y="160"/>
                      <a:pt x="96" y="160"/>
                    </a:cubicBezTo>
                    <a:cubicBezTo>
                      <a:pt x="93" y="162"/>
                      <a:pt x="93" y="162"/>
                      <a:pt x="93" y="162"/>
                    </a:cubicBezTo>
                    <a:cubicBezTo>
                      <a:pt x="92" y="164"/>
                      <a:pt x="92" y="164"/>
                      <a:pt x="92" y="164"/>
                    </a:cubicBezTo>
                    <a:cubicBezTo>
                      <a:pt x="92" y="167"/>
                      <a:pt x="92" y="167"/>
                      <a:pt x="92" y="167"/>
                    </a:cubicBezTo>
                    <a:cubicBezTo>
                      <a:pt x="91" y="168"/>
                      <a:pt x="91" y="168"/>
                      <a:pt x="91" y="168"/>
                    </a:cubicBezTo>
                    <a:cubicBezTo>
                      <a:pt x="91" y="168"/>
                      <a:pt x="91" y="168"/>
                      <a:pt x="91" y="168"/>
                    </a:cubicBezTo>
                    <a:cubicBezTo>
                      <a:pt x="89" y="172"/>
                      <a:pt x="89" y="172"/>
                      <a:pt x="89" y="172"/>
                    </a:cubicBezTo>
                    <a:cubicBezTo>
                      <a:pt x="88" y="172"/>
                      <a:pt x="88" y="172"/>
                      <a:pt x="88" y="172"/>
                    </a:cubicBezTo>
                    <a:cubicBezTo>
                      <a:pt x="88" y="172"/>
                      <a:pt x="88" y="172"/>
                      <a:pt x="88" y="172"/>
                    </a:cubicBezTo>
                    <a:cubicBezTo>
                      <a:pt x="84" y="173"/>
                      <a:pt x="84" y="173"/>
                      <a:pt x="84" y="173"/>
                    </a:cubicBezTo>
                    <a:cubicBezTo>
                      <a:pt x="81" y="174"/>
                      <a:pt x="81" y="174"/>
                      <a:pt x="81" y="174"/>
                    </a:cubicBezTo>
                    <a:cubicBezTo>
                      <a:pt x="79" y="178"/>
                      <a:pt x="79" y="178"/>
                      <a:pt x="79" y="178"/>
                    </a:cubicBezTo>
                    <a:cubicBezTo>
                      <a:pt x="79" y="179"/>
                      <a:pt x="79" y="179"/>
                      <a:pt x="79" y="179"/>
                    </a:cubicBezTo>
                    <a:cubicBezTo>
                      <a:pt x="92" y="177"/>
                      <a:pt x="92" y="177"/>
                      <a:pt x="92" y="177"/>
                    </a:cubicBezTo>
                    <a:cubicBezTo>
                      <a:pt x="95" y="175"/>
                      <a:pt x="95" y="175"/>
                      <a:pt x="95" y="175"/>
                    </a:cubicBezTo>
                    <a:cubicBezTo>
                      <a:pt x="99" y="164"/>
                      <a:pt x="99" y="164"/>
                      <a:pt x="99" y="164"/>
                    </a:cubicBezTo>
                    <a:cubicBezTo>
                      <a:pt x="99" y="164"/>
                      <a:pt x="99" y="164"/>
                      <a:pt x="99" y="164"/>
                    </a:cubicBezTo>
                    <a:cubicBezTo>
                      <a:pt x="129" y="133"/>
                      <a:pt x="129" y="133"/>
                      <a:pt x="129" y="133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36" y="130"/>
                      <a:pt x="136" y="130"/>
                      <a:pt x="136" y="130"/>
                    </a:cubicBezTo>
                    <a:cubicBezTo>
                      <a:pt x="136" y="130"/>
                      <a:pt x="136" y="130"/>
                      <a:pt x="136" y="130"/>
                    </a:cubicBezTo>
                    <a:cubicBezTo>
                      <a:pt x="136" y="130"/>
                      <a:pt x="136" y="130"/>
                      <a:pt x="136" y="130"/>
                    </a:cubicBezTo>
                    <a:cubicBezTo>
                      <a:pt x="142" y="130"/>
                      <a:pt x="142" y="130"/>
                      <a:pt x="142" y="130"/>
                    </a:cubicBezTo>
                    <a:cubicBezTo>
                      <a:pt x="147" y="129"/>
                      <a:pt x="147" y="129"/>
                      <a:pt x="147" y="129"/>
                    </a:cubicBezTo>
                    <a:cubicBezTo>
                      <a:pt x="152" y="126"/>
                      <a:pt x="152" y="126"/>
                      <a:pt x="152" y="126"/>
                    </a:cubicBezTo>
                    <a:cubicBezTo>
                      <a:pt x="156" y="122"/>
                      <a:pt x="156" y="122"/>
                      <a:pt x="156" y="122"/>
                    </a:cubicBezTo>
                    <a:cubicBezTo>
                      <a:pt x="163" y="104"/>
                      <a:pt x="163" y="104"/>
                      <a:pt x="163" y="104"/>
                    </a:cubicBezTo>
                    <a:cubicBezTo>
                      <a:pt x="163" y="104"/>
                      <a:pt x="163" y="104"/>
                      <a:pt x="163" y="104"/>
                    </a:cubicBezTo>
                    <a:cubicBezTo>
                      <a:pt x="163" y="104"/>
                      <a:pt x="163" y="104"/>
                      <a:pt x="163" y="104"/>
                    </a:cubicBezTo>
                    <a:cubicBezTo>
                      <a:pt x="188" y="78"/>
                      <a:pt x="188" y="78"/>
                      <a:pt x="188" y="78"/>
                    </a:cubicBezTo>
                    <a:cubicBezTo>
                      <a:pt x="188" y="78"/>
                      <a:pt x="188" y="78"/>
                      <a:pt x="188" y="78"/>
                    </a:cubicBezTo>
                    <a:cubicBezTo>
                      <a:pt x="186" y="64"/>
                      <a:pt x="186" y="64"/>
                      <a:pt x="186" y="64"/>
                    </a:cubicBezTo>
                    <a:cubicBezTo>
                      <a:pt x="185" y="63"/>
                      <a:pt x="183" y="62"/>
                      <a:pt x="182" y="61"/>
                    </a:cubicBezTo>
                    <a:cubicBezTo>
                      <a:pt x="182" y="60"/>
                      <a:pt x="182" y="60"/>
                      <a:pt x="182" y="60"/>
                    </a:cubicBezTo>
                    <a:cubicBezTo>
                      <a:pt x="182" y="61"/>
                      <a:pt x="182" y="61"/>
                      <a:pt x="182" y="61"/>
                    </a:cubicBezTo>
                    <a:cubicBezTo>
                      <a:pt x="178" y="61"/>
                      <a:pt x="178" y="61"/>
                      <a:pt x="178" y="61"/>
                    </a:cubicBezTo>
                    <a:cubicBezTo>
                      <a:pt x="176" y="60"/>
                      <a:pt x="174" y="60"/>
                      <a:pt x="173" y="58"/>
                    </a:cubicBezTo>
                    <a:cubicBezTo>
                      <a:pt x="172" y="55"/>
                      <a:pt x="172" y="55"/>
                      <a:pt x="172" y="55"/>
                    </a:cubicBezTo>
                    <a:cubicBezTo>
                      <a:pt x="172" y="55"/>
                      <a:pt x="172" y="55"/>
                      <a:pt x="172" y="55"/>
                    </a:cubicBezTo>
                    <a:cubicBezTo>
                      <a:pt x="171" y="54"/>
                      <a:pt x="171" y="54"/>
                      <a:pt x="171" y="54"/>
                    </a:cubicBezTo>
                    <a:cubicBezTo>
                      <a:pt x="171" y="33"/>
                      <a:pt x="171" y="33"/>
                      <a:pt x="171" y="33"/>
                    </a:cubicBezTo>
                    <a:cubicBezTo>
                      <a:pt x="169" y="32"/>
                      <a:pt x="166" y="30"/>
                      <a:pt x="164" y="28"/>
                    </a:cubicBezTo>
                    <a:cubicBezTo>
                      <a:pt x="158" y="22"/>
                      <a:pt x="158" y="22"/>
                      <a:pt x="158" y="22"/>
                    </a:cubicBezTo>
                    <a:cubicBezTo>
                      <a:pt x="154" y="15"/>
                      <a:pt x="154" y="15"/>
                      <a:pt x="154" y="15"/>
                    </a:cubicBezTo>
                    <a:cubicBezTo>
                      <a:pt x="153" y="14"/>
                      <a:pt x="153" y="11"/>
                      <a:pt x="153" y="8"/>
                    </a:cubicBezTo>
                    <a:cubicBezTo>
                      <a:pt x="154" y="6"/>
                      <a:pt x="154" y="6"/>
                      <a:pt x="154" y="6"/>
                    </a:cubicBezTo>
                    <a:cubicBezTo>
                      <a:pt x="151" y="2"/>
                      <a:pt x="151" y="2"/>
                      <a:pt x="151" y="2"/>
                    </a:cubicBezTo>
                    <a:cubicBezTo>
                      <a:pt x="150" y="5"/>
                      <a:pt x="150" y="5"/>
                      <a:pt x="150" y="5"/>
                    </a:cubicBezTo>
                    <a:cubicBezTo>
                      <a:pt x="147" y="12"/>
                      <a:pt x="147" y="12"/>
                      <a:pt x="147" y="12"/>
                    </a:cubicBezTo>
                    <a:cubicBezTo>
                      <a:pt x="146" y="12"/>
                      <a:pt x="146" y="12"/>
                      <a:pt x="146" y="12"/>
                    </a:cubicBezTo>
                    <a:cubicBezTo>
                      <a:pt x="143" y="12"/>
                      <a:pt x="140" y="12"/>
                      <a:pt x="137" y="10"/>
                    </a:cubicBezTo>
                    <a:cubicBezTo>
                      <a:pt x="135" y="10"/>
                      <a:pt x="134" y="8"/>
                      <a:pt x="134" y="5"/>
                    </a:cubicBezTo>
                    <a:cubicBezTo>
                      <a:pt x="134" y="4"/>
                      <a:pt x="134" y="4"/>
                      <a:pt x="134" y="4"/>
                    </a:cubicBezTo>
                    <a:cubicBezTo>
                      <a:pt x="132" y="4"/>
                      <a:pt x="132" y="4"/>
                      <a:pt x="132" y="4"/>
                    </a:cubicBezTo>
                    <a:cubicBezTo>
                      <a:pt x="124" y="6"/>
                      <a:pt x="124" y="6"/>
                      <a:pt x="124" y="6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16" y="0"/>
                      <a:pt x="116" y="0"/>
                      <a:pt x="116" y="0"/>
                    </a:cubicBezTo>
                    <a:cubicBezTo>
                      <a:pt x="114" y="2"/>
                      <a:pt x="114" y="2"/>
                      <a:pt x="114" y="2"/>
                    </a:cubicBezTo>
                    <a:cubicBezTo>
                      <a:pt x="117" y="6"/>
                      <a:pt x="117" y="6"/>
                      <a:pt x="117" y="6"/>
                    </a:cubicBezTo>
                    <a:cubicBezTo>
                      <a:pt x="118" y="7"/>
                      <a:pt x="118" y="7"/>
                      <a:pt x="118" y="7"/>
                    </a:cubicBezTo>
                    <a:cubicBezTo>
                      <a:pt x="114" y="15"/>
                      <a:pt x="114" y="15"/>
                      <a:pt x="114" y="15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06" y="24"/>
                      <a:pt x="106" y="24"/>
                      <a:pt x="106" y="24"/>
                    </a:cubicBezTo>
                    <a:cubicBezTo>
                      <a:pt x="105" y="24"/>
                      <a:pt x="105" y="24"/>
                      <a:pt x="105" y="24"/>
                    </a:cubicBezTo>
                    <a:cubicBezTo>
                      <a:pt x="104" y="24"/>
                      <a:pt x="104" y="24"/>
                      <a:pt x="104" y="24"/>
                    </a:cubicBezTo>
                    <a:cubicBezTo>
                      <a:pt x="93" y="25"/>
                      <a:pt x="93" y="25"/>
                      <a:pt x="93" y="25"/>
                    </a:cubicBezTo>
                    <a:lnTo>
                      <a:pt x="86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5" name="iṡ1îḋe"/>
              <p:cNvSpPr/>
              <p:nvPr/>
            </p:nvSpPr>
            <p:spPr bwMode="auto">
              <a:xfrm>
                <a:off x="4091" y="1177"/>
                <a:ext cx="634" cy="430"/>
              </a:xfrm>
              <a:custGeom>
                <a:avLst/>
                <a:gdLst>
                  <a:gd name="T0" fmla="*/ 47 w 268"/>
                  <a:gd name="T1" fmla="*/ 3 h 182"/>
                  <a:gd name="T2" fmla="*/ 36 w 268"/>
                  <a:gd name="T3" fmla="*/ 6 h 182"/>
                  <a:gd name="T4" fmla="*/ 34 w 268"/>
                  <a:gd name="T5" fmla="*/ 10 h 182"/>
                  <a:gd name="T6" fmla="*/ 29 w 268"/>
                  <a:gd name="T7" fmla="*/ 18 h 182"/>
                  <a:gd name="T8" fmla="*/ 21 w 268"/>
                  <a:gd name="T9" fmla="*/ 24 h 182"/>
                  <a:gd name="T10" fmla="*/ 11 w 268"/>
                  <a:gd name="T11" fmla="*/ 17 h 182"/>
                  <a:gd name="T12" fmla="*/ 0 w 268"/>
                  <a:gd name="T13" fmla="*/ 20 h 182"/>
                  <a:gd name="T14" fmla="*/ 16 w 268"/>
                  <a:gd name="T15" fmla="*/ 30 h 182"/>
                  <a:gd name="T16" fmla="*/ 17 w 268"/>
                  <a:gd name="T17" fmla="*/ 32 h 182"/>
                  <a:gd name="T18" fmla="*/ 18 w 268"/>
                  <a:gd name="T19" fmla="*/ 52 h 182"/>
                  <a:gd name="T20" fmla="*/ 30 w 268"/>
                  <a:gd name="T21" fmla="*/ 76 h 182"/>
                  <a:gd name="T22" fmla="*/ 38 w 268"/>
                  <a:gd name="T23" fmla="*/ 68 h 182"/>
                  <a:gd name="T24" fmla="*/ 49 w 268"/>
                  <a:gd name="T25" fmla="*/ 66 h 182"/>
                  <a:gd name="T26" fmla="*/ 49 w 268"/>
                  <a:gd name="T27" fmla="*/ 66 h 182"/>
                  <a:gd name="T28" fmla="*/ 60 w 268"/>
                  <a:gd name="T29" fmla="*/ 78 h 182"/>
                  <a:gd name="T30" fmla="*/ 63 w 268"/>
                  <a:gd name="T31" fmla="*/ 88 h 182"/>
                  <a:gd name="T32" fmla="*/ 62 w 268"/>
                  <a:gd name="T33" fmla="*/ 98 h 182"/>
                  <a:gd name="T34" fmla="*/ 69 w 268"/>
                  <a:gd name="T35" fmla="*/ 107 h 182"/>
                  <a:gd name="T36" fmla="*/ 79 w 268"/>
                  <a:gd name="T37" fmla="*/ 104 h 182"/>
                  <a:gd name="T38" fmla="*/ 84 w 268"/>
                  <a:gd name="T39" fmla="*/ 109 h 182"/>
                  <a:gd name="T40" fmla="*/ 96 w 268"/>
                  <a:gd name="T41" fmla="*/ 114 h 182"/>
                  <a:gd name="T42" fmla="*/ 105 w 268"/>
                  <a:gd name="T43" fmla="*/ 111 h 182"/>
                  <a:gd name="T44" fmla="*/ 110 w 268"/>
                  <a:gd name="T45" fmla="*/ 106 h 182"/>
                  <a:gd name="T46" fmla="*/ 116 w 268"/>
                  <a:gd name="T47" fmla="*/ 121 h 182"/>
                  <a:gd name="T48" fmla="*/ 131 w 268"/>
                  <a:gd name="T49" fmla="*/ 137 h 182"/>
                  <a:gd name="T50" fmla="*/ 134 w 268"/>
                  <a:gd name="T51" fmla="*/ 162 h 182"/>
                  <a:gd name="T52" fmla="*/ 144 w 268"/>
                  <a:gd name="T53" fmla="*/ 166 h 182"/>
                  <a:gd name="T54" fmla="*/ 150 w 268"/>
                  <a:gd name="T55" fmla="*/ 182 h 182"/>
                  <a:gd name="T56" fmla="*/ 186 w 268"/>
                  <a:gd name="T57" fmla="*/ 152 h 182"/>
                  <a:gd name="T58" fmla="*/ 200 w 268"/>
                  <a:gd name="T59" fmla="*/ 136 h 182"/>
                  <a:gd name="T60" fmla="*/ 226 w 268"/>
                  <a:gd name="T61" fmla="*/ 114 h 182"/>
                  <a:gd name="T62" fmla="*/ 236 w 268"/>
                  <a:gd name="T63" fmla="*/ 106 h 182"/>
                  <a:gd name="T64" fmla="*/ 238 w 268"/>
                  <a:gd name="T65" fmla="*/ 85 h 182"/>
                  <a:gd name="T66" fmla="*/ 247 w 268"/>
                  <a:gd name="T67" fmla="*/ 84 h 182"/>
                  <a:gd name="T68" fmla="*/ 262 w 268"/>
                  <a:gd name="T69" fmla="*/ 99 h 182"/>
                  <a:gd name="T70" fmla="*/ 259 w 268"/>
                  <a:gd name="T71" fmla="*/ 88 h 182"/>
                  <a:gd name="T72" fmla="*/ 268 w 268"/>
                  <a:gd name="T73" fmla="*/ 79 h 182"/>
                  <a:gd name="T74" fmla="*/ 263 w 268"/>
                  <a:gd name="T75" fmla="*/ 63 h 182"/>
                  <a:gd name="T76" fmla="*/ 246 w 268"/>
                  <a:gd name="T77" fmla="*/ 55 h 182"/>
                  <a:gd name="T78" fmla="*/ 240 w 268"/>
                  <a:gd name="T79" fmla="*/ 54 h 182"/>
                  <a:gd name="T80" fmla="*/ 234 w 268"/>
                  <a:gd name="T81" fmla="*/ 55 h 182"/>
                  <a:gd name="T82" fmla="*/ 223 w 268"/>
                  <a:gd name="T83" fmla="*/ 55 h 182"/>
                  <a:gd name="T84" fmla="*/ 222 w 268"/>
                  <a:gd name="T85" fmla="*/ 69 h 182"/>
                  <a:gd name="T86" fmla="*/ 208 w 268"/>
                  <a:gd name="T87" fmla="*/ 72 h 182"/>
                  <a:gd name="T88" fmla="*/ 188 w 268"/>
                  <a:gd name="T89" fmla="*/ 54 h 182"/>
                  <a:gd name="T90" fmla="*/ 183 w 268"/>
                  <a:gd name="T91" fmla="*/ 44 h 182"/>
                  <a:gd name="T92" fmla="*/ 184 w 268"/>
                  <a:gd name="T93" fmla="*/ 50 h 182"/>
                  <a:gd name="T94" fmla="*/ 179 w 268"/>
                  <a:gd name="T95" fmla="*/ 60 h 182"/>
                  <a:gd name="T96" fmla="*/ 168 w 268"/>
                  <a:gd name="T97" fmla="*/ 57 h 182"/>
                  <a:gd name="T98" fmla="*/ 166 w 268"/>
                  <a:gd name="T99" fmla="*/ 47 h 182"/>
                  <a:gd name="T100" fmla="*/ 156 w 268"/>
                  <a:gd name="T101" fmla="*/ 43 h 182"/>
                  <a:gd name="T102" fmla="*/ 144 w 268"/>
                  <a:gd name="T103" fmla="*/ 35 h 182"/>
                  <a:gd name="T104" fmla="*/ 128 w 268"/>
                  <a:gd name="T105" fmla="*/ 29 h 182"/>
                  <a:gd name="T106" fmla="*/ 117 w 268"/>
                  <a:gd name="T107" fmla="*/ 34 h 182"/>
                  <a:gd name="T108" fmla="*/ 112 w 268"/>
                  <a:gd name="T109" fmla="*/ 24 h 182"/>
                  <a:gd name="T110" fmla="*/ 98 w 268"/>
                  <a:gd name="T111" fmla="*/ 24 h 182"/>
                  <a:gd name="T112" fmla="*/ 82 w 268"/>
                  <a:gd name="T113" fmla="*/ 27 h 182"/>
                  <a:gd name="T114" fmla="*/ 67 w 268"/>
                  <a:gd name="T115" fmla="*/ 2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68" h="182">
                    <a:moveTo>
                      <a:pt x="52" y="9"/>
                    </a:moveTo>
                    <a:cubicBezTo>
                      <a:pt x="51" y="0"/>
                      <a:pt x="51" y="0"/>
                      <a:pt x="51" y="0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6" y="3"/>
                      <a:pt x="46" y="3"/>
                      <a:pt x="46" y="3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15" y="22"/>
                      <a:pt x="12" y="19"/>
                      <a:pt x="11" y="17"/>
                    </a:cubicBezTo>
                    <a:cubicBezTo>
                      <a:pt x="10" y="16"/>
                      <a:pt x="10" y="16"/>
                      <a:pt x="9" y="16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8" y="40"/>
                      <a:pt x="18" y="40"/>
                      <a:pt x="18" y="40"/>
                    </a:cubicBezTo>
                    <a:cubicBezTo>
                      <a:pt x="18" y="40"/>
                      <a:pt x="18" y="40"/>
                      <a:pt x="18" y="40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30" y="76"/>
                      <a:pt x="30" y="76"/>
                      <a:pt x="30" y="76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60" y="78"/>
                      <a:pt x="60" y="78"/>
                      <a:pt x="60" y="78"/>
                    </a:cubicBezTo>
                    <a:cubicBezTo>
                      <a:pt x="63" y="88"/>
                      <a:pt x="63" y="88"/>
                      <a:pt x="63" y="88"/>
                    </a:cubicBezTo>
                    <a:cubicBezTo>
                      <a:pt x="63" y="88"/>
                      <a:pt x="63" y="88"/>
                      <a:pt x="63" y="88"/>
                    </a:cubicBezTo>
                    <a:cubicBezTo>
                      <a:pt x="63" y="88"/>
                      <a:pt x="63" y="88"/>
                      <a:pt x="63" y="88"/>
                    </a:cubicBezTo>
                    <a:cubicBezTo>
                      <a:pt x="62" y="97"/>
                      <a:pt x="62" y="97"/>
                      <a:pt x="62" y="97"/>
                    </a:cubicBezTo>
                    <a:cubicBezTo>
                      <a:pt x="62" y="98"/>
                      <a:pt x="62" y="98"/>
                      <a:pt x="62" y="98"/>
                    </a:cubicBezTo>
                    <a:cubicBezTo>
                      <a:pt x="62" y="98"/>
                      <a:pt x="62" y="98"/>
                      <a:pt x="62" y="98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4" y="110"/>
                      <a:pt x="64" y="110"/>
                      <a:pt x="64" y="110"/>
                    </a:cubicBezTo>
                    <a:cubicBezTo>
                      <a:pt x="69" y="107"/>
                      <a:pt x="69" y="107"/>
                      <a:pt x="69" y="107"/>
                    </a:cubicBezTo>
                    <a:cubicBezTo>
                      <a:pt x="74" y="102"/>
                      <a:pt x="74" y="102"/>
                      <a:pt x="74" y="102"/>
                    </a:cubicBezTo>
                    <a:cubicBezTo>
                      <a:pt x="75" y="103"/>
                      <a:pt x="75" y="103"/>
                      <a:pt x="75" y="103"/>
                    </a:cubicBezTo>
                    <a:cubicBezTo>
                      <a:pt x="79" y="104"/>
                      <a:pt x="79" y="104"/>
                      <a:pt x="79" y="104"/>
                    </a:cubicBezTo>
                    <a:cubicBezTo>
                      <a:pt x="79" y="104"/>
                      <a:pt x="79" y="104"/>
                      <a:pt x="79" y="104"/>
                    </a:cubicBezTo>
                    <a:cubicBezTo>
                      <a:pt x="79" y="104"/>
                      <a:pt x="79" y="104"/>
                      <a:pt x="79" y="104"/>
                    </a:cubicBezTo>
                    <a:cubicBezTo>
                      <a:pt x="84" y="109"/>
                      <a:pt x="84" y="109"/>
                      <a:pt x="84" y="109"/>
                    </a:cubicBezTo>
                    <a:cubicBezTo>
                      <a:pt x="89" y="108"/>
                      <a:pt x="89" y="108"/>
                      <a:pt x="89" y="108"/>
                    </a:cubicBezTo>
                    <a:cubicBezTo>
                      <a:pt x="93" y="106"/>
                      <a:pt x="95" y="108"/>
                      <a:pt x="96" y="110"/>
                    </a:cubicBezTo>
                    <a:cubicBezTo>
                      <a:pt x="96" y="114"/>
                      <a:pt x="96" y="114"/>
                      <a:pt x="96" y="114"/>
                    </a:cubicBezTo>
                    <a:cubicBezTo>
                      <a:pt x="97" y="114"/>
                      <a:pt x="97" y="114"/>
                      <a:pt x="97" y="114"/>
                    </a:cubicBezTo>
                    <a:cubicBezTo>
                      <a:pt x="102" y="116"/>
                      <a:pt x="102" y="116"/>
                      <a:pt x="102" y="116"/>
                    </a:cubicBezTo>
                    <a:cubicBezTo>
                      <a:pt x="105" y="111"/>
                      <a:pt x="105" y="111"/>
                      <a:pt x="105" y="111"/>
                    </a:cubicBezTo>
                    <a:cubicBezTo>
                      <a:pt x="105" y="109"/>
                      <a:pt x="105" y="109"/>
                      <a:pt x="105" y="109"/>
                    </a:cubicBezTo>
                    <a:cubicBezTo>
                      <a:pt x="105" y="107"/>
                      <a:pt x="105" y="106"/>
                      <a:pt x="106" y="105"/>
                    </a:cubicBezTo>
                    <a:cubicBezTo>
                      <a:pt x="110" y="106"/>
                      <a:pt x="110" y="106"/>
                      <a:pt x="110" y="106"/>
                    </a:cubicBezTo>
                    <a:cubicBezTo>
                      <a:pt x="114" y="108"/>
                      <a:pt x="116" y="110"/>
                      <a:pt x="116" y="114"/>
                    </a:cubicBezTo>
                    <a:cubicBezTo>
                      <a:pt x="116" y="116"/>
                      <a:pt x="116" y="116"/>
                      <a:pt x="116" y="116"/>
                    </a:cubicBezTo>
                    <a:cubicBezTo>
                      <a:pt x="116" y="121"/>
                      <a:pt x="116" y="121"/>
                      <a:pt x="116" y="121"/>
                    </a:cubicBezTo>
                    <a:cubicBezTo>
                      <a:pt x="120" y="128"/>
                      <a:pt x="120" y="128"/>
                      <a:pt x="120" y="128"/>
                    </a:cubicBezTo>
                    <a:cubicBezTo>
                      <a:pt x="125" y="133"/>
                      <a:pt x="125" y="133"/>
                      <a:pt x="125" y="133"/>
                    </a:cubicBezTo>
                    <a:cubicBezTo>
                      <a:pt x="127" y="135"/>
                      <a:pt x="129" y="136"/>
                      <a:pt x="131" y="137"/>
                    </a:cubicBezTo>
                    <a:cubicBezTo>
                      <a:pt x="132" y="137"/>
                      <a:pt x="132" y="137"/>
                      <a:pt x="132" y="137"/>
                    </a:cubicBezTo>
                    <a:cubicBezTo>
                      <a:pt x="133" y="138"/>
                      <a:pt x="134" y="140"/>
                      <a:pt x="134" y="144"/>
                    </a:cubicBezTo>
                    <a:cubicBezTo>
                      <a:pt x="134" y="162"/>
                      <a:pt x="134" y="162"/>
                      <a:pt x="134" y="162"/>
                    </a:cubicBezTo>
                    <a:cubicBezTo>
                      <a:pt x="134" y="164"/>
                      <a:pt x="136" y="165"/>
                      <a:pt x="137" y="165"/>
                    </a:cubicBezTo>
                    <a:cubicBezTo>
                      <a:pt x="138" y="165"/>
                      <a:pt x="138" y="165"/>
                      <a:pt x="138" y="165"/>
                    </a:cubicBezTo>
                    <a:cubicBezTo>
                      <a:pt x="140" y="164"/>
                      <a:pt x="142" y="164"/>
                      <a:pt x="144" y="166"/>
                    </a:cubicBezTo>
                    <a:cubicBezTo>
                      <a:pt x="145" y="167"/>
                      <a:pt x="145" y="167"/>
                      <a:pt x="145" y="167"/>
                    </a:cubicBezTo>
                    <a:cubicBezTo>
                      <a:pt x="147" y="168"/>
                      <a:pt x="148" y="169"/>
                      <a:pt x="149" y="172"/>
                    </a:cubicBezTo>
                    <a:cubicBezTo>
                      <a:pt x="150" y="182"/>
                      <a:pt x="150" y="182"/>
                      <a:pt x="150" y="182"/>
                    </a:cubicBezTo>
                    <a:cubicBezTo>
                      <a:pt x="159" y="164"/>
                      <a:pt x="159" y="164"/>
                      <a:pt x="159" y="164"/>
                    </a:cubicBezTo>
                    <a:cubicBezTo>
                      <a:pt x="162" y="154"/>
                      <a:pt x="165" y="148"/>
                      <a:pt x="169" y="147"/>
                    </a:cubicBezTo>
                    <a:cubicBezTo>
                      <a:pt x="173" y="146"/>
                      <a:pt x="178" y="148"/>
                      <a:pt x="186" y="152"/>
                    </a:cubicBezTo>
                    <a:cubicBezTo>
                      <a:pt x="212" y="154"/>
                      <a:pt x="212" y="154"/>
                      <a:pt x="212" y="154"/>
                    </a:cubicBezTo>
                    <a:cubicBezTo>
                      <a:pt x="212" y="148"/>
                      <a:pt x="212" y="148"/>
                      <a:pt x="212" y="148"/>
                    </a:cubicBezTo>
                    <a:cubicBezTo>
                      <a:pt x="200" y="136"/>
                      <a:pt x="200" y="136"/>
                      <a:pt x="200" y="136"/>
                    </a:cubicBezTo>
                    <a:cubicBezTo>
                      <a:pt x="195" y="133"/>
                      <a:pt x="192" y="131"/>
                      <a:pt x="193" y="129"/>
                    </a:cubicBezTo>
                    <a:cubicBezTo>
                      <a:pt x="202" y="130"/>
                      <a:pt x="202" y="130"/>
                      <a:pt x="202" y="130"/>
                    </a:cubicBezTo>
                    <a:cubicBezTo>
                      <a:pt x="211" y="132"/>
                      <a:pt x="219" y="128"/>
                      <a:pt x="226" y="114"/>
                    </a:cubicBezTo>
                    <a:cubicBezTo>
                      <a:pt x="226" y="114"/>
                      <a:pt x="226" y="114"/>
                      <a:pt x="226" y="114"/>
                    </a:cubicBezTo>
                    <a:cubicBezTo>
                      <a:pt x="227" y="114"/>
                      <a:pt x="227" y="114"/>
                      <a:pt x="227" y="114"/>
                    </a:cubicBezTo>
                    <a:cubicBezTo>
                      <a:pt x="236" y="106"/>
                      <a:pt x="236" y="106"/>
                      <a:pt x="236" y="106"/>
                    </a:cubicBezTo>
                    <a:cubicBezTo>
                      <a:pt x="237" y="87"/>
                      <a:pt x="237" y="87"/>
                      <a:pt x="237" y="87"/>
                    </a:cubicBezTo>
                    <a:cubicBezTo>
                      <a:pt x="237" y="85"/>
                      <a:pt x="237" y="85"/>
                      <a:pt x="237" y="85"/>
                    </a:cubicBezTo>
                    <a:cubicBezTo>
                      <a:pt x="238" y="85"/>
                      <a:pt x="238" y="85"/>
                      <a:pt x="238" y="85"/>
                    </a:cubicBezTo>
                    <a:cubicBezTo>
                      <a:pt x="239" y="85"/>
                      <a:pt x="239" y="85"/>
                      <a:pt x="239" y="85"/>
                    </a:cubicBezTo>
                    <a:cubicBezTo>
                      <a:pt x="246" y="84"/>
                      <a:pt x="246" y="84"/>
                      <a:pt x="246" y="84"/>
                    </a:cubicBezTo>
                    <a:cubicBezTo>
                      <a:pt x="247" y="84"/>
                      <a:pt x="247" y="84"/>
                      <a:pt x="247" y="84"/>
                    </a:cubicBezTo>
                    <a:cubicBezTo>
                      <a:pt x="248" y="84"/>
                      <a:pt x="248" y="84"/>
                      <a:pt x="248" y="84"/>
                    </a:cubicBezTo>
                    <a:cubicBezTo>
                      <a:pt x="248" y="84"/>
                      <a:pt x="248" y="84"/>
                      <a:pt x="248" y="84"/>
                    </a:cubicBezTo>
                    <a:cubicBezTo>
                      <a:pt x="262" y="99"/>
                      <a:pt x="262" y="99"/>
                      <a:pt x="262" y="99"/>
                    </a:cubicBezTo>
                    <a:cubicBezTo>
                      <a:pt x="266" y="98"/>
                      <a:pt x="266" y="98"/>
                      <a:pt x="266" y="98"/>
                    </a:cubicBezTo>
                    <a:cubicBezTo>
                      <a:pt x="266" y="95"/>
                      <a:pt x="266" y="95"/>
                      <a:pt x="266" y="95"/>
                    </a:cubicBezTo>
                    <a:cubicBezTo>
                      <a:pt x="259" y="88"/>
                      <a:pt x="259" y="88"/>
                      <a:pt x="259" y="88"/>
                    </a:cubicBezTo>
                    <a:cubicBezTo>
                      <a:pt x="258" y="87"/>
                      <a:pt x="258" y="87"/>
                      <a:pt x="258" y="87"/>
                    </a:cubicBezTo>
                    <a:cubicBezTo>
                      <a:pt x="257" y="86"/>
                      <a:pt x="257" y="86"/>
                      <a:pt x="257" y="86"/>
                    </a:cubicBezTo>
                    <a:cubicBezTo>
                      <a:pt x="268" y="79"/>
                      <a:pt x="268" y="79"/>
                      <a:pt x="268" y="79"/>
                    </a:cubicBezTo>
                    <a:cubicBezTo>
                      <a:pt x="268" y="62"/>
                      <a:pt x="268" y="62"/>
                      <a:pt x="268" y="62"/>
                    </a:cubicBezTo>
                    <a:cubicBezTo>
                      <a:pt x="263" y="63"/>
                      <a:pt x="263" y="63"/>
                      <a:pt x="263" y="63"/>
                    </a:cubicBezTo>
                    <a:cubicBezTo>
                      <a:pt x="263" y="63"/>
                      <a:pt x="263" y="63"/>
                      <a:pt x="263" y="63"/>
                    </a:cubicBezTo>
                    <a:cubicBezTo>
                      <a:pt x="262" y="63"/>
                      <a:pt x="262" y="63"/>
                      <a:pt x="262" y="63"/>
                    </a:cubicBezTo>
                    <a:cubicBezTo>
                      <a:pt x="256" y="60"/>
                      <a:pt x="256" y="60"/>
                      <a:pt x="256" y="60"/>
                    </a:cubicBezTo>
                    <a:cubicBezTo>
                      <a:pt x="254" y="60"/>
                      <a:pt x="250" y="58"/>
                      <a:pt x="246" y="55"/>
                    </a:cubicBezTo>
                    <a:cubicBezTo>
                      <a:pt x="243" y="54"/>
                      <a:pt x="242" y="53"/>
                      <a:pt x="242" y="51"/>
                    </a:cubicBezTo>
                    <a:cubicBezTo>
                      <a:pt x="242" y="52"/>
                      <a:pt x="242" y="52"/>
                      <a:pt x="242" y="52"/>
                    </a:cubicBezTo>
                    <a:cubicBezTo>
                      <a:pt x="242" y="53"/>
                      <a:pt x="241" y="54"/>
                      <a:pt x="240" y="54"/>
                    </a:cubicBezTo>
                    <a:cubicBezTo>
                      <a:pt x="239" y="55"/>
                      <a:pt x="238" y="56"/>
                      <a:pt x="235" y="56"/>
                    </a:cubicBezTo>
                    <a:cubicBezTo>
                      <a:pt x="234" y="56"/>
                      <a:pt x="234" y="56"/>
                      <a:pt x="234" y="56"/>
                    </a:cubicBezTo>
                    <a:cubicBezTo>
                      <a:pt x="234" y="55"/>
                      <a:pt x="234" y="55"/>
                      <a:pt x="234" y="55"/>
                    </a:cubicBezTo>
                    <a:cubicBezTo>
                      <a:pt x="234" y="55"/>
                      <a:pt x="234" y="55"/>
                      <a:pt x="234" y="55"/>
                    </a:cubicBezTo>
                    <a:cubicBezTo>
                      <a:pt x="228" y="51"/>
                      <a:pt x="228" y="51"/>
                      <a:pt x="228" y="51"/>
                    </a:cubicBezTo>
                    <a:cubicBezTo>
                      <a:pt x="223" y="55"/>
                      <a:pt x="223" y="55"/>
                      <a:pt x="223" y="55"/>
                    </a:cubicBezTo>
                    <a:cubicBezTo>
                      <a:pt x="221" y="57"/>
                      <a:pt x="219" y="59"/>
                      <a:pt x="219" y="60"/>
                    </a:cubicBezTo>
                    <a:cubicBezTo>
                      <a:pt x="222" y="66"/>
                      <a:pt x="222" y="66"/>
                      <a:pt x="222" y="66"/>
                    </a:cubicBezTo>
                    <a:cubicBezTo>
                      <a:pt x="223" y="67"/>
                      <a:pt x="223" y="68"/>
                      <a:pt x="222" y="69"/>
                    </a:cubicBezTo>
                    <a:cubicBezTo>
                      <a:pt x="222" y="70"/>
                      <a:pt x="220" y="72"/>
                      <a:pt x="217" y="72"/>
                    </a:cubicBezTo>
                    <a:cubicBezTo>
                      <a:pt x="214" y="73"/>
                      <a:pt x="214" y="73"/>
                      <a:pt x="214" y="73"/>
                    </a:cubicBezTo>
                    <a:cubicBezTo>
                      <a:pt x="212" y="74"/>
                      <a:pt x="209" y="74"/>
                      <a:pt x="208" y="72"/>
                    </a:cubicBezTo>
                    <a:cubicBezTo>
                      <a:pt x="207" y="70"/>
                      <a:pt x="207" y="70"/>
                      <a:pt x="207" y="70"/>
                    </a:cubicBezTo>
                    <a:cubicBezTo>
                      <a:pt x="196" y="60"/>
                      <a:pt x="196" y="60"/>
                      <a:pt x="196" y="60"/>
                    </a:cubicBezTo>
                    <a:cubicBezTo>
                      <a:pt x="192" y="58"/>
                      <a:pt x="189" y="56"/>
                      <a:pt x="188" y="54"/>
                    </a:cubicBezTo>
                    <a:cubicBezTo>
                      <a:pt x="187" y="52"/>
                      <a:pt x="186" y="51"/>
                      <a:pt x="187" y="50"/>
                    </a:cubicBezTo>
                    <a:cubicBezTo>
                      <a:pt x="186" y="47"/>
                      <a:pt x="186" y="44"/>
                      <a:pt x="185" y="43"/>
                    </a:cubicBezTo>
                    <a:cubicBezTo>
                      <a:pt x="183" y="44"/>
                      <a:pt x="183" y="44"/>
                      <a:pt x="183" y="44"/>
                    </a:cubicBezTo>
                    <a:cubicBezTo>
                      <a:pt x="182" y="45"/>
                      <a:pt x="182" y="45"/>
                      <a:pt x="182" y="45"/>
                    </a:cubicBezTo>
                    <a:cubicBezTo>
                      <a:pt x="182" y="46"/>
                      <a:pt x="183" y="48"/>
                      <a:pt x="184" y="49"/>
                    </a:cubicBezTo>
                    <a:cubicBezTo>
                      <a:pt x="184" y="50"/>
                      <a:pt x="184" y="50"/>
                      <a:pt x="184" y="50"/>
                    </a:cubicBezTo>
                    <a:cubicBezTo>
                      <a:pt x="185" y="50"/>
                      <a:pt x="185" y="50"/>
                      <a:pt x="185" y="50"/>
                    </a:cubicBezTo>
                    <a:cubicBezTo>
                      <a:pt x="184" y="51"/>
                      <a:pt x="184" y="51"/>
                      <a:pt x="184" y="51"/>
                    </a:cubicBezTo>
                    <a:cubicBezTo>
                      <a:pt x="179" y="60"/>
                      <a:pt x="179" y="60"/>
                      <a:pt x="179" y="60"/>
                    </a:cubicBezTo>
                    <a:cubicBezTo>
                      <a:pt x="170" y="58"/>
                      <a:pt x="170" y="58"/>
                      <a:pt x="170" y="58"/>
                    </a:cubicBezTo>
                    <a:cubicBezTo>
                      <a:pt x="168" y="57"/>
                      <a:pt x="168" y="57"/>
                      <a:pt x="168" y="57"/>
                    </a:cubicBezTo>
                    <a:cubicBezTo>
                      <a:pt x="168" y="57"/>
                      <a:pt x="168" y="57"/>
                      <a:pt x="168" y="57"/>
                    </a:cubicBezTo>
                    <a:cubicBezTo>
                      <a:pt x="168" y="56"/>
                      <a:pt x="168" y="56"/>
                      <a:pt x="168" y="56"/>
                    </a:cubicBezTo>
                    <a:cubicBezTo>
                      <a:pt x="168" y="54"/>
                      <a:pt x="168" y="52"/>
                      <a:pt x="168" y="50"/>
                    </a:cubicBezTo>
                    <a:cubicBezTo>
                      <a:pt x="166" y="47"/>
                      <a:pt x="166" y="47"/>
                      <a:pt x="166" y="47"/>
                    </a:cubicBezTo>
                    <a:cubicBezTo>
                      <a:pt x="159" y="42"/>
                      <a:pt x="159" y="42"/>
                      <a:pt x="159" y="42"/>
                    </a:cubicBezTo>
                    <a:cubicBezTo>
                      <a:pt x="158" y="41"/>
                      <a:pt x="158" y="41"/>
                      <a:pt x="158" y="41"/>
                    </a:cubicBezTo>
                    <a:cubicBezTo>
                      <a:pt x="158" y="42"/>
                      <a:pt x="157" y="42"/>
                      <a:pt x="156" y="43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46" y="42"/>
                      <a:pt x="145" y="41"/>
                      <a:pt x="144" y="40"/>
                    </a:cubicBezTo>
                    <a:cubicBezTo>
                      <a:pt x="144" y="39"/>
                      <a:pt x="144" y="37"/>
                      <a:pt x="144" y="35"/>
                    </a:cubicBezTo>
                    <a:cubicBezTo>
                      <a:pt x="145" y="34"/>
                      <a:pt x="145" y="34"/>
                      <a:pt x="145" y="34"/>
                    </a:cubicBezTo>
                    <a:cubicBezTo>
                      <a:pt x="142" y="28"/>
                      <a:pt x="142" y="28"/>
                      <a:pt x="142" y="28"/>
                    </a:cubicBezTo>
                    <a:cubicBezTo>
                      <a:pt x="128" y="29"/>
                      <a:pt x="128" y="29"/>
                      <a:pt x="128" y="29"/>
                    </a:cubicBezTo>
                    <a:cubicBezTo>
                      <a:pt x="128" y="31"/>
                      <a:pt x="128" y="32"/>
                      <a:pt x="127" y="34"/>
                    </a:cubicBezTo>
                    <a:cubicBezTo>
                      <a:pt x="126" y="35"/>
                      <a:pt x="125" y="36"/>
                      <a:pt x="124" y="36"/>
                    </a:cubicBezTo>
                    <a:cubicBezTo>
                      <a:pt x="122" y="36"/>
                      <a:pt x="119" y="36"/>
                      <a:pt x="117" y="34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17" y="33"/>
                      <a:pt x="117" y="33"/>
                      <a:pt x="117" y="33"/>
                    </a:cubicBezTo>
                    <a:cubicBezTo>
                      <a:pt x="114" y="30"/>
                      <a:pt x="112" y="27"/>
                      <a:pt x="112" y="24"/>
                    </a:cubicBezTo>
                    <a:cubicBezTo>
                      <a:pt x="110" y="20"/>
                      <a:pt x="110" y="20"/>
                      <a:pt x="110" y="20"/>
                    </a:cubicBezTo>
                    <a:cubicBezTo>
                      <a:pt x="106" y="23"/>
                      <a:pt x="106" y="23"/>
                      <a:pt x="106" y="23"/>
                    </a:cubicBezTo>
                    <a:cubicBezTo>
                      <a:pt x="102" y="25"/>
                      <a:pt x="100" y="25"/>
                      <a:pt x="98" y="24"/>
                    </a:cubicBezTo>
                    <a:cubicBezTo>
                      <a:pt x="97" y="23"/>
                      <a:pt x="97" y="23"/>
                      <a:pt x="97" y="23"/>
                    </a:cubicBezTo>
                    <a:cubicBezTo>
                      <a:pt x="93" y="24"/>
                      <a:pt x="93" y="24"/>
                      <a:pt x="93" y="24"/>
                    </a:cubicBezTo>
                    <a:cubicBezTo>
                      <a:pt x="82" y="27"/>
                      <a:pt x="82" y="27"/>
                      <a:pt x="82" y="27"/>
                    </a:cubicBezTo>
                    <a:cubicBezTo>
                      <a:pt x="80" y="29"/>
                      <a:pt x="78" y="29"/>
                      <a:pt x="76" y="29"/>
                    </a:cubicBezTo>
                    <a:cubicBezTo>
                      <a:pt x="75" y="29"/>
                      <a:pt x="75" y="29"/>
                      <a:pt x="75" y="29"/>
                    </a:cubicBezTo>
                    <a:cubicBezTo>
                      <a:pt x="71" y="29"/>
                      <a:pt x="68" y="28"/>
                      <a:pt x="67" y="26"/>
                    </a:cubicBezTo>
                    <a:cubicBezTo>
                      <a:pt x="60" y="21"/>
                      <a:pt x="60" y="21"/>
                      <a:pt x="60" y="21"/>
                    </a:cubicBez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6" name="iṩḷïḋê"/>
              <p:cNvSpPr/>
              <p:nvPr/>
            </p:nvSpPr>
            <p:spPr bwMode="auto">
              <a:xfrm>
                <a:off x="3956" y="564"/>
                <a:ext cx="852" cy="776"/>
              </a:xfrm>
              <a:custGeom>
                <a:avLst/>
                <a:gdLst>
                  <a:gd name="T0" fmla="*/ 353 w 360"/>
                  <a:gd name="T1" fmla="*/ 153 h 328"/>
                  <a:gd name="T2" fmla="*/ 346 w 360"/>
                  <a:gd name="T3" fmla="*/ 119 h 328"/>
                  <a:gd name="T4" fmla="*/ 314 w 360"/>
                  <a:gd name="T5" fmla="*/ 153 h 328"/>
                  <a:gd name="T6" fmla="*/ 309 w 360"/>
                  <a:gd name="T7" fmla="*/ 162 h 328"/>
                  <a:gd name="T8" fmla="*/ 268 w 360"/>
                  <a:gd name="T9" fmla="*/ 169 h 328"/>
                  <a:gd name="T10" fmla="*/ 259 w 360"/>
                  <a:gd name="T11" fmla="*/ 153 h 328"/>
                  <a:gd name="T12" fmla="*/ 248 w 360"/>
                  <a:gd name="T13" fmla="*/ 142 h 328"/>
                  <a:gd name="T14" fmla="*/ 235 w 360"/>
                  <a:gd name="T15" fmla="*/ 131 h 328"/>
                  <a:gd name="T16" fmla="*/ 168 w 360"/>
                  <a:gd name="T17" fmla="*/ 119 h 328"/>
                  <a:gd name="T18" fmla="*/ 129 w 360"/>
                  <a:gd name="T19" fmla="*/ 57 h 328"/>
                  <a:gd name="T20" fmla="*/ 54 w 360"/>
                  <a:gd name="T21" fmla="*/ 8 h 328"/>
                  <a:gd name="T22" fmla="*/ 4 w 360"/>
                  <a:gd name="T23" fmla="*/ 14 h 328"/>
                  <a:gd name="T24" fmla="*/ 4 w 360"/>
                  <a:gd name="T25" fmla="*/ 21 h 328"/>
                  <a:gd name="T26" fmla="*/ 1 w 360"/>
                  <a:gd name="T27" fmla="*/ 28 h 328"/>
                  <a:gd name="T28" fmla="*/ 5 w 360"/>
                  <a:gd name="T29" fmla="*/ 45 h 328"/>
                  <a:gd name="T30" fmla="*/ 21 w 360"/>
                  <a:gd name="T31" fmla="*/ 37 h 328"/>
                  <a:gd name="T32" fmla="*/ 37 w 360"/>
                  <a:gd name="T33" fmla="*/ 49 h 328"/>
                  <a:gd name="T34" fmla="*/ 60 w 360"/>
                  <a:gd name="T35" fmla="*/ 77 h 328"/>
                  <a:gd name="T36" fmla="*/ 74 w 360"/>
                  <a:gd name="T37" fmla="*/ 66 h 328"/>
                  <a:gd name="T38" fmla="*/ 97 w 360"/>
                  <a:gd name="T39" fmla="*/ 52 h 328"/>
                  <a:gd name="T40" fmla="*/ 115 w 360"/>
                  <a:gd name="T41" fmla="*/ 71 h 328"/>
                  <a:gd name="T42" fmla="*/ 119 w 360"/>
                  <a:gd name="T43" fmla="*/ 100 h 328"/>
                  <a:gd name="T44" fmla="*/ 121 w 360"/>
                  <a:gd name="T45" fmla="*/ 131 h 328"/>
                  <a:gd name="T46" fmla="*/ 116 w 360"/>
                  <a:gd name="T47" fmla="*/ 144 h 328"/>
                  <a:gd name="T48" fmla="*/ 112 w 360"/>
                  <a:gd name="T49" fmla="*/ 149 h 328"/>
                  <a:gd name="T50" fmla="*/ 114 w 360"/>
                  <a:gd name="T51" fmla="*/ 168 h 328"/>
                  <a:gd name="T52" fmla="*/ 109 w 360"/>
                  <a:gd name="T53" fmla="*/ 184 h 328"/>
                  <a:gd name="T54" fmla="*/ 95 w 360"/>
                  <a:gd name="T55" fmla="*/ 181 h 328"/>
                  <a:gd name="T56" fmla="*/ 84 w 360"/>
                  <a:gd name="T57" fmla="*/ 204 h 328"/>
                  <a:gd name="T58" fmla="*/ 68 w 360"/>
                  <a:gd name="T59" fmla="*/ 219 h 328"/>
                  <a:gd name="T60" fmla="*/ 80 w 360"/>
                  <a:gd name="T61" fmla="*/ 236 h 328"/>
                  <a:gd name="T62" fmla="*/ 90 w 360"/>
                  <a:gd name="T63" fmla="*/ 249 h 328"/>
                  <a:gd name="T64" fmla="*/ 109 w 360"/>
                  <a:gd name="T65" fmla="*/ 253 h 328"/>
                  <a:gd name="T66" fmla="*/ 118 w 360"/>
                  <a:gd name="T67" fmla="*/ 272 h 328"/>
                  <a:gd name="T68" fmla="*/ 133 w 360"/>
                  <a:gd name="T69" fmla="*/ 284 h 328"/>
                  <a:gd name="T70" fmla="*/ 154 w 360"/>
                  <a:gd name="T71" fmla="*/ 278 h 328"/>
                  <a:gd name="T72" fmla="*/ 167 w 360"/>
                  <a:gd name="T73" fmla="*/ 275 h 328"/>
                  <a:gd name="T74" fmla="*/ 177 w 360"/>
                  <a:gd name="T75" fmla="*/ 289 h 328"/>
                  <a:gd name="T76" fmla="*/ 180 w 360"/>
                  <a:gd name="T77" fmla="*/ 289 h 328"/>
                  <a:gd name="T78" fmla="*/ 200 w 360"/>
                  <a:gd name="T79" fmla="*/ 283 h 328"/>
                  <a:gd name="T80" fmla="*/ 206 w 360"/>
                  <a:gd name="T81" fmla="*/ 292 h 328"/>
                  <a:gd name="T82" fmla="*/ 211 w 360"/>
                  <a:gd name="T83" fmla="*/ 297 h 328"/>
                  <a:gd name="T84" fmla="*/ 229 w 360"/>
                  <a:gd name="T85" fmla="*/ 308 h 328"/>
                  <a:gd name="T86" fmla="*/ 235 w 360"/>
                  <a:gd name="T87" fmla="*/ 303 h 328"/>
                  <a:gd name="T88" fmla="*/ 243 w 360"/>
                  <a:gd name="T89" fmla="*/ 297 h 328"/>
                  <a:gd name="T90" fmla="*/ 255 w 360"/>
                  <a:gd name="T91" fmla="*/ 315 h 328"/>
                  <a:gd name="T92" fmla="*/ 269 w 360"/>
                  <a:gd name="T93" fmla="*/ 328 h 328"/>
                  <a:gd name="T94" fmla="*/ 278 w 360"/>
                  <a:gd name="T95" fmla="*/ 311 h 328"/>
                  <a:gd name="T96" fmla="*/ 296 w 360"/>
                  <a:gd name="T97" fmla="*/ 301 h 328"/>
                  <a:gd name="T98" fmla="*/ 306 w 360"/>
                  <a:gd name="T99" fmla="*/ 305 h 328"/>
                  <a:gd name="T100" fmla="*/ 315 w 360"/>
                  <a:gd name="T101" fmla="*/ 315 h 328"/>
                  <a:gd name="T102" fmla="*/ 318 w 360"/>
                  <a:gd name="T103" fmla="*/ 288 h 328"/>
                  <a:gd name="T104" fmla="*/ 325 w 360"/>
                  <a:gd name="T105" fmla="*/ 243 h 328"/>
                  <a:gd name="T106" fmla="*/ 336 w 360"/>
                  <a:gd name="T107" fmla="*/ 245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0" h="328">
                    <a:moveTo>
                      <a:pt x="358" y="193"/>
                    </a:moveTo>
                    <a:cubicBezTo>
                      <a:pt x="352" y="153"/>
                      <a:pt x="352" y="153"/>
                      <a:pt x="352" y="153"/>
                    </a:cubicBezTo>
                    <a:cubicBezTo>
                      <a:pt x="353" y="153"/>
                      <a:pt x="353" y="153"/>
                      <a:pt x="353" y="153"/>
                    </a:cubicBezTo>
                    <a:cubicBezTo>
                      <a:pt x="353" y="153"/>
                      <a:pt x="353" y="153"/>
                      <a:pt x="353" y="153"/>
                    </a:cubicBezTo>
                    <a:cubicBezTo>
                      <a:pt x="356" y="148"/>
                      <a:pt x="357" y="145"/>
                      <a:pt x="357" y="142"/>
                    </a:cubicBezTo>
                    <a:cubicBezTo>
                      <a:pt x="355" y="139"/>
                      <a:pt x="355" y="139"/>
                      <a:pt x="355" y="139"/>
                    </a:cubicBezTo>
                    <a:cubicBezTo>
                      <a:pt x="351" y="137"/>
                      <a:pt x="349" y="130"/>
                      <a:pt x="350" y="119"/>
                    </a:cubicBezTo>
                    <a:cubicBezTo>
                      <a:pt x="346" y="119"/>
                      <a:pt x="346" y="119"/>
                      <a:pt x="346" y="119"/>
                    </a:cubicBezTo>
                    <a:cubicBezTo>
                      <a:pt x="343" y="119"/>
                      <a:pt x="340" y="120"/>
                      <a:pt x="337" y="122"/>
                    </a:cubicBezTo>
                    <a:cubicBezTo>
                      <a:pt x="334" y="125"/>
                      <a:pt x="332" y="127"/>
                      <a:pt x="331" y="129"/>
                    </a:cubicBezTo>
                    <a:cubicBezTo>
                      <a:pt x="330" y="134"/>
                      <a:pt x="325" y="137"/>
                      <a:pt x="316" y="140"/>
                    </a:cubicBezTo>
                    <a:cubicBezTo>
                      <a:pt x="314" y="153"/>
                      <a:pt x="314" y="153"/>
                      <a:pt x="314" y="153"/>
                    </a:cubicBezTo>
                    <a:cubicBezTo>
                      <a:pt x="314" y="153"/>
                      <a:pt x="314" y="153"/>
                      <a:pt x="314" y="153"/>
                    </a:cubicBezTo>
                    <a:cubicBezTo>
                      <a:pt x="313" y="153"/>
                      <a:pt x="313" y="153"/>
                      <a:pt x="313" y="153"/>
                    </a:cubicBezTo>
                    <a:cubicBezTo>
                      <a:pt x="309" y="161"/>
                      <a:pt x="309" y="161"/>
                      <a:pt x="309" y="161"/>
                    </a:cubicBezTo>
                    <a:cubicBezTo>
                      <a:pt x="309" y="162"/>
                      <a:pt x="309" y="162"/>
                      <a:pt x="309" y="162"/>
                    </a:cubicBezTo>
                    <a:cubicBezTo>
                      <a:pt x="308" y="162"/>
                      <a:pt x="308" y="162"/>
                      <a:pt x="308" y="162"/>
                    </a:cubicBezTo>
                    <a:cubicBezTo>
                      <a:pt x="308" y="162"/>
                      <a:pt x="308" y="162"/>
                      <a:pt x="308" y="162"/>
                    </a:cubicBezTo>
                    <a:cubicBezTo>
                      <a:pt x="268" y="169"/>
                      <a:pt x="268" y="169"/>
                      <a:pt x="268" y="169"/>
                    </a:cubicBezTo>
                    <a:cubicBezTo>
                      <a:pt x="268" y="169"/>
                      <a:pt x="268" y="169"/>
                      <a:pt x="268" y="169"/>
                    </a:cubicBezTo>
                    <a:cubicBezTo>
                      <a:pt x="267" y="169"/>
                      <a:pt x="267" y="169"/>
                      <a:pt x="267" y="169"/>
                    </a:cubicBezTo>
                    <a:cubicBezTo>
                      <a:pt x="267" y="169"/>
                      <a:pt x="267" y="169"/>
                      <a:pt x="267" y="169"/>
                    </a:cubicBezTo>
                    <a:cubicBezTo>
                      <a:pt x="255" y="156"/>
                      <a:pt x="255" y="156"/>
                      <a:pt x="255" y="156"/>
                    </a:cubicBezTo>
                    <a:cubicBezTo>
                      <a:pt x="259" y="153"/>
                      <a:pt x="259" y="153"/>
                      <a:pt x="259" y="153"/>
                    </a:cubicBezTo>
                    <a:cubicBezTo>
                      <a:pt x="254" y="147"/>
                      <a:pt x="254" y="147"/>
                      <a:pt x="254" y="147"/>
                    </a:cubicBezTo>
                    <a:cubicBezTo>
                      <a:pt x="249" y="143"/>
                      <a:pt x="249" y="143"/>
                      <a:pt x="249" y="143"/>
                    </a:cubicBezTo>
                    <a:cubicBezTo>
                      <a:pt x="248" y="142"/>
                      <a:pt x="248" y="142"/>
                      <a:pt x="248" y="142"/>
                    </a:cubicBezTo>
                    <a:cubicBezTo>
                      <a:pt x="248" y="142"/>
                      <a:pt x="248" y="142"/>
                      <a:pt x="248" y="142"/>
                    </a:cubicBezTo>
                    <a:cubicBezTo>
                      <a:pt x="248" y="142"/>
                      <a:pt x="248" y="142"/>
                      <a:pt x="248" y="142"/>
                    </a:cubicBezTo>
                    <a:cubicBezTo>
                      <a:pt x="248" y="141"/>
                      <a:pt x="248" y="141"/>
                      <a:pt x="248" y="141"/>
                    </a:cubicBezTo>
                    <a:cubicBezTo>
                      <a:pt x="246" y="131"/>
                      <a:pt x="246" y="131"/>
                      <a:pt x="246" y="131"/>
                    </a:cubicBezTo>
                    <a:cubicBezTo>
                      <a:pt x="235" y="131"/>
                      <a:pt x="235" y="131"/>
                      <a:pt x="235" y="131"/>
                    </a:cubicBezTo>
                    <a:cubicBezTo>
                      <a:pt x="235" y="131"/>
                      <a:pt x="235" y="131"/>
                      <a:pt x="235" y="131"/>
                    </a:cubicBezTo>
                    <a:cubicBezTo>
                      <a:pt x="226" y="125"/>
                      <a:pt x="226" y="125"/>
                      <a:pt x="226" y="125"/>
                    </a:cubicBezTo>
                    <a:cubicBezTo>
                      <a:pt x="194" y="120"/>
                      <a:pt x="194" y="120"/>
                      <a:pt x="194" y="120"/>
                    </a:cubicBezTo>
                    <a:cubicBezTo>
                      <a:pt x="168" y="119"/>
                      <a:pt x="168" y="119"/>
                      <a:pt x="168" y="119"/>
                    </a:cubicBezTo>
                    <a:cubicBezTo>
                      <a:pt x="167" y="119"/>
                      <a:pt x="167" y="119"/>
                      <a:pt x="167" y="119"/>
                    </a:cubicBezTo>
                    <a:cubicBezTo>
                      <a:pt x="166" y="119"/>
                      <a:pt x="165" y="119"/>
                      <a:pt x="165" y="118"/>
                    </a:cubicBezTo>
                    <a:cubicBezTo>
                      <a:pt x="149" y="84"/>
                      <a:pt x="149" y="84"/>
                      <a:pt x="149" y="84"/>
                    </a:cubicBezTo>
                    <a:cubicBezTo>
                      <a:pt x="148" y="81"/>
                      <a:pt x="141" y="72"/>
                      <a:pt x="129" y="57"/>
                    </a:cubicBezTo>
                    <a:cubicBezTo>
                      <a:pt x="117" y="42"/>
                      <a:pt x="110" y="34"/>
                      <a:pt x="108" y="33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2" y="9"/>
                      <a:pt x="82" y="9"/>
                      <a:pt x="82" y="9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0" y="5"/>
                      <a:pt x="46" y="3"/>
                      <a:pt x="40" y="2"/>
                    </a:cubicBezTo>
                    <a:cubicBezTo>
                      <a:pt x="35" y="0"/>
                      <a:pt x="23" y="4"/>
                      <a:pt x="4" y="14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6"/>
                      <a:pt x="1" y="40"/>
                      <a:pt x="2" y="43"/>
                    </a:cubicBezTo>
                    <a:cubicBezTo>
                      <a:pt x="5" y="45"/>
                      <a:pt x="5" y="45"/>
                      <a:pt x="5" y="45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6" y="46"/>
                      <a:pt x="16" y="46"/>
                      <a:pt x="16" y="46"/>
                    </a:cubicBezTo>
                    <a:cubicBezTo>
                      <a:pt x="18" y="45"/>
                      <a:pt x="18" y="45"/>
                      <a:pt x="18" y="45"/>
                    </a:cubicBezTo>
                    <a:cubicBezTo>
                      <a:pt x="18" y="41"/>
                      <a:pt x="19" y="38"/>
                      <a:pt x="21" y="37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39" y="41"/>
                      <a:pt x="39" y="41"/>
                      <a:pt x="39" y="41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37" y="59"/>
                      <a:pt x="37" y="59"/>
                      <a:pt x="37" y="59"/>
                    </a:cubicBezTo>
                    <a:cubicBezTo>
                      <a:pt x="37" y="61"/>
                      <a:pt x="41" y="65"/>
                      <a:pt x="48" y="72"/>
                    </a:cubicBezTo>
                    <a:cubicBezTo>
                      <a:pt x="53" y="75"/>
                      <a:pt x="55" y="77"/>
                      <a:pt x="58" y="77"/>
                    </a:cubicBezTo>
                    <a:cubicBezTo>
                      <a:pt x="60" y="77"/>
                      <a:pt x="60" y="77"/>
                      <a:pt x="60" y="77"/>
                    </a:cubicBezTo>
                    <a:cubicBezTo>
                      <a:pt x="62" y="76"/>
                      <a:pt x="62" y="76"/>
                      <a:pt x="62" y="76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4" y="66"/>
                      <a:pt x="74" y="66"/>
                      <a:pt x="74" y="66"/>
                    </a:cubicBezTo>
                    <a:cubicBezTo>
                      <a:pt x="74" y="66"/>
                      <a:pt x="74" y="66"/>
                      <a:pt x="74" y="66"/>
                    </a:cubicBezTo>
                    <a:cubicBezTo>
                      <a:pt x="74" y="66"/>
                      <a:pt x="74" y="66"/>
                      <a:pt x="74" y="66"/>
                    </a:cubicBezTo>
                    <a:cubicBezTo>
                      <a:pt x="85" y="64"/>
                      <a:pt x="85" y="64"/>
                      <a:pt x="85" y="64"/>
                    </a:cubicBezTo>
                    <a:cubicBezTo>
                      <a:pt x="88" y="57"/>
                      <a:pt x="88" y="57"/>
                      <a:pt x="88" y="57"/>
                    </a:cubicBezTo>
                    <a:cubicBezTo>
                      <a:pt x="97" y="52"/>
                      <a:pt x="97" y="52"/>
                      <a:pt x="97" y="52"/>
                    </a:cubicBezTo>
                    <a:cubicBezTo>
                      <a:pt x="106" y="57"/>
                      <a:pt x="106" y="57"/>
                      <a:pt x="106" y="57"/>
                    </a:cubicBezTo>
                    <a:cubicBezTo>
                      <a:pt x="106" y="57"/>
                      <a:pt x="106" y="57"/>
                      <a:pt x="106" y="57"/>
                    </a:cubicBezTo>
                    <a:cubicBezTo>
                      <a:pt x="107" y="57"/>
                      <a:pt x="107" y="57"/>
                      <a:pt x="107" y="57"/>
                    </a:cubicBezTo>
                    <a:cubicBezTo>
                      <a:pt x="115" y="71"/>
                      <a:pt x="115" y="71"/>
                      <a:pt x="115" y="71"/>
                    </a:cubicBezTo>
                    <a:cubicBezTo>
                      <a:pt x="118" y="80"/>
                      <a:pt x="118" y="80"/>
                      <a:pt x="118" y="80"/>
                    </a:cubicBezTo>
                    <a:cubicBezTo>
                      <a:pt x="118" y="81"/>
                      <a:pt x="118" y="81"/>
                      <a:pt x="118" y="81"/>
                    </a:cubicBezTo>
                    <a:cubicBezTo>
                      <a:pt x="116" y="93"/>
                      <a:pt x="116" y="93"/>
                      <a:pt x="116" y="93"/>
                    </a:cubicBezTo>
                    <a:cubicBezTo>
                      <a:pt x="119" y="100"/>
                      <a:pt x="119" y="100"/>
                      <a:pt x="119" y="100"/>
                    </a:cubicBezTo>
                    <a:cubicBezTo>
                      <a:pt x="119" y="101"/>
                      <a:pt x="119" y="101"/>
                      <a:pt x="119" y="101"/>
                    </a:cubicBezTo>
                    <a:cubicBezTo>
                      <a:pt x="117" y="110"/>
                      <a:pt x="117" y="110"/>
                      <a:pt x="117" y="110"/>
                    </a:cubicBezTo>
                    <a:cubicBezTo>
                      <a:pt x="117" y="118"/>
                      <a:pt x="117" y="118"/>
                      <a:pt x="117" y="118"/>
                    </a:cubicBezTo>
                    <a:cubicBezTo>
                      <a:pt x="119" y="125"/>
                      <a:pt x="121" y="130"/>
                      <a:pt x="121" y="131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120" y="139"/>
                      <a:pt x="120" y="139"/>
                      <a:pt x="120" y="139"/>
                    </a:cubicBezTo>
                    <a:cubicBezTo>
                      <a:pt x="116" y="144"/>
                      <a:pt x="116" y="144"/>
                      <a:pt x="116" y="144"/>
                    </a:cubicBezTo>
                    <a:cubicBezTo>
                      <a:pt x="116" y="145"/>
                      <a:pt x="116" y="145"/>
                      <a:pt x="116" y="145"/>
                    </a:cubicBezTo>
                    <a:cubicBezTo>
                      <a:pt x="116" y="145"/>
                      <a:pt x="116" y="145"/>
                      <a:pt x="116" y="145"/>
                    </a:cubicBezTo>
                    <a:cubicBezTo>
                      <a:pt x="116" y="145"/>
                      <a:pt x="116" y="145"/>
                      <a:pt x="116" y="145"/>
                    </a:cubicBezTo>
                    <a:cubicBezTo>
                      <a:pt x="112" y="149"/>
                      <a:pt x="112" y="149"/>
                      <a:pt x="112" y="149"/>
                    </a:cubicBezTo>
                    <a:cubicBezTo>
                      <a:pt x="111" y="158"/>
                      <a:pt x="111" y="158"/>
                      <a:pt x="111" y="158"/>
                    </a:cubicBezTo>
                    <a:cubicBezTo>
                      <a:pt x="114" y="167"/>
                      <a:pt x="114" y="167"/>
                      <a:pt x="114" y="167"/>
                    </a:cubicBezTo>
                    <a:cubicBezTo>
                      <a:pt x="114" y="167"/>
                      <a:pt x="114" y="167"/>
                      <a:pt x="114" y="167"/>
                    </a:cubicBezTo>
                    <a:cubicBezTo>
                      <a:pt x="114" y="168"/>
                      <a:pt x="114" y="168"/>
                      <a:pt x="114" y="168"/>
                    </a:cubicBezTo>
                    <a:cubicBezTo>
                      <a:pt x="114" y="168"/>
                      <a:pt x="114" y="168"/>
                      <a:pt x="114" y="168"/>
                    </a:cubicBezTo>
                    <a:cubicBezTo>
                      <a:pt x="114" y="168"/>
                      <a:pt x="114" y="168"/>
                      <a:pt x="114" y="168"/>
                    </a:cubicBezTo>
                    <a:cubicBezTo>
                      <a:pt x="111" y="182"/>
                      <a:pt x="111" y="182"/>
                      <a:pt x="111" y="182"/>
                    </a:cubicBezTo>
                    <a:cubicBezTo>
                      <a:pt x="109" y="184"/>
                      <a:pt x="109" y="184"/>
                      <a:pt x="109" y="184"/>
                    </a:cubicBezTo>
                    <a:cubicBezTo>
                      <a:pt x="108" y="185"/>
                      <a:pt x="106" y="185"/>
                      <a:pt x="103" y="184"/>
                    </a:cubicBezTo>
                    <a:cubicBezTo>
                      <a:pt x="103" y="184"/>
                      <a:pt x="103" y="184"/>
                      <a:pt x="103" y="184"/>
                    </a:cubicBezTo>
                    <a:cubicBezTo>
                      <a:pt x="99" y="180"/>
                      <a:pt x="99" y="180"/>
                      <a:pt x="99" y="180"/>
                    </a:cubicBezTo>
                    <a:cubicBezTo>
                      <a:pt x="95" y="181"/>
                      <a:pt x="95" y="181"/>
                      <a:pt x="95" y="181"/>
                    </a:cubicBezTo>
                    <a:cubicBezTo>
                      <a:pt x="90" y="187"/>
                      <a:pt x="90" y="187"/>
                      <a:pt x="90" y="187"/>
                    </a:cubicBezTo>
                    <a:cubicBezTo>
                      <a:pt x="84" y="203"/>
                      <a:pt x="84" y="203"/>
                      <a:pt x="84" y="203"/>
                    </a:cubicBezTo>
                    <a:cubicBezTo>
                      <a:pt x="84" y="204"/>
                      <a:pt x="84" y="204"/>
                      <a:pt x="84" y="204"/>
                    </a:cubicBezTo>
                    <a:cubicBezTo>
                      <a:pt x="84" y="204"/>
                      <a:pt x="84" y="204"/>
                      <a:pt x="84" y="204"/>
                    </a:cubicBezTo>
                    <a:cubicBezTo>
                      <a:pt x="78" y="209"/>
                      <a:pt x="78" y="209"/>
                      <a:pt x="78" y="209"/>
                    </a:cubicBezTo>
                    <a:cubicBezTo>
                      <a:pt x="77" y="209"/>
                      <a:pt x="77" y="209"/>
                      <a:pt x="77" y="209"/>
                    </a:cubicBezTo>
                    <a:cubicBezTo>
                      <a:pt x="74" y="209"/>
                      <a:pt x="74" y="209"/>
                      <a:pt x="74" y="209"/>
                    </a:cubicBezTo>
                    <a:cubicBezTo>
                      <a:pt x="68" y="219"/>
                      <a:pt x="68" y="219"/>
                      <a:pt x="68" y="219"/>
                    </a:cubicBezTo>
                    <a:cubicBezTo>
                      <a:pt x="71" y="225"/>
                      <a:pt x="71" y="225"/>
                      <a:pt x="71" y="225"/>
                    </a:cubicBezTo>
                    <a:cubicBezTo>
                      <a:pt x="72" y="225"/>
                      <a:pt x="72" y="225"/>
                      <a:pt x="72" y="225"/>
                    </a:cubicBezTo>
                    <a:cubicBezTo>
                      <a:pt x="80" y="235"/>
                      <a:pt x="80" y="235"/>
                      <a:pt x="80" y="235"/>
                    </a:cubicBezTo>
                    <a:cubicBezTo>
                      <a:pt x="80" y="236"/>
                      <a:pt x="80" y="236"/>
                      <a:pt x="80" y="236"/>
                    </a:cubicBezTo>
                    <a:cubicBezTo>
                      <a:pt x="80" y="239"/>
                      <a:pt x="80" y="239"/>
                      <a:pt x="80" y="239"/>
                    </a:cubicBezTo>
                    <a:cubicBezTo>
                      <a:pt x="89" y="240"/>
                      <a:pt x="89" y="240"/>
                      <a:pt x="89" y="240"/>
                    </a:cubicBezTo>
                    <a:cubicBezTo>
                      <a:pt x="90" y="248"/>
                      <a:pt x="90" y="248"/>
                      <a:pt x="90" y="248"/>
                    </a:cubicBezTo>
                    <a:cubicBezTo>
                      <a:pt x="90" y="249"/>
                      <a:pt x="90" y="249"/>
                      <a:pt x="90" y="249"/>
                    </a:cubicBezTo>
                    <a:cubicBezTo>
                      <a:pt x="91" y="258"/>
                      <a:pt x="91" y="258"/>
                      <a:pt x="91" y="258"/>
                    </a:cubicBezTo>
                    <a:cubicBezTo>
                      <a:pt x="94" y="260"/>
                      <a:pt x="94" y="260"/>
                      <a:pt x="94" y="260"/>
                    </a:cubicBezTo>
                    <a:cubicBezTo>
                      <a:pt x="102" y="258"/>
                      <a:pt x="102" y="258"/>
                      <a:pt x="102" y="258"/>
                    </a:cubicBezTo>
                    <a:cubicBezTo>
                      <a:pt x="109" y="253"/>
                      <a:pt x="109" y="253"/>
                      <a:pt x="109" y="253"/>
                    </a:cubicBezTo>
                    <a:cubicBezTo>
                      <a:pt x="111" y="253"/>
                      <a:pt x="111" y="253"/>
                      <a:pt x="111" y="253"/>
                    </a:cubicBezTo>
                    <a:cubicBezTo>
                      <a:pt x="113" y="266"/>
                      <a:pt x="113" y="266"/>
                      <a:pt x="113" y="266"/>
                    </a:cubicBezTo>
                    <a:cubicBezTo>
                      <a:pt x="117" y="271"/>
                      <a:pt x="117" y="271"/>
                      <a:pt x="117" y="271"/>
                    </a:cubicBezTo>
                    <a:cubicBezTo>
                      <a:pt x="118" y="272"/>
                      <a:pt x="118" y="272"/>
                      <a:pt x="118" y="272"/>
                    </a:cubicBezTo>
                    <a:cubicBezTo>
                      <a:pt x="121" y="277"/>
                      <a:pt x="121" y="277"/>
                      <a:pt x="121" y="277"/>
                    </a:cubicBezTo>
                    <a:cubicBezTo>
                      <a:pt x="127" y="282"/>
                      <a:pt x="127" y="282"/>
                      <a:pt x="127" y="282"/>
                    </a:cubicBezTo>
                    <a:cubicBezTo>
                      <a:pt x="127" y="283"/>
                      <a:pt x="129" y="283"/>
                      <a:pt x="131" y="283"/>
                    </a:cubicBezTo>
                    <a:cubicBezTo>
                      <a:pt x="133" y="284"/>
                      <a:pt x="133" y="284"/>
                      <a:pt x="133" y="284"/>
                    </a:cubicBezTo>
                    <a:cubicBezTo>
                      <a:pt x="137" y="282"/>
                      <a:pt x="137" y="282"/>
                      <a:pt x="137" y="282"/>
                    </a:cubicBezTo>
                    <a:cubicBezTo>
                      <a:pt x="140" y="281"/>
                      <a:pt x="143" y="280"/>
                      <a:pt x="146" y="279"/>
                    </a:cubicBezTo>
                    <a:cubicBezTo>
                      <a:pt x="148" y="278"/>
                      <a:pt x="148" y="278"/>
                      <a:pt x="148" y="278"/>
                    </a:cubicBezTo>
                    <a:cubicBezTo>
                      <a:pt x="154" y="278"/>
                      <a:pt x="154" y="278"/>
                      <a:pt x="154" y="278"/>
                    </a:cubicBezTo>
                    <a:cubicBezTo>
                      <a:pt x="156" y="278"/>
                      <a:pt x="157" y="278"/>
                      <a:pt x="158" y="279"/>
                    </a:cubicBezTo>
                    <a:cubicBezTo>
                      <a:pt x="166" y="274"/>
                      <a:pt x="166" y="274"/>
                      <a:pt x="166" y="274"/>
                    </a:cubicBezTo>
                    <a:cubicBezTo>
                      <a:pt x="167" y="274"/>
                      <a:pt x="167" y="274"/>
                      <a:pt x="167" y="274"/>
                    </a:cubicBezTo>
                    <a:cubicBezTo>
                      <a:pt x="167" y="275"/>
                      <a:pt x="167" y="275"/>
                      <a:pt x="167" y="275"/>
                    </a:cubicBezTo>
                    <a:cubicBezTo>
                      <a:pt x="168" y="274"/>
                      <a:pt x="168" y="274"/>
                      <a:pt x="168" y="274"/>
                    </a:cubicBezTo>
                    <a:cubicBezTo>
                      <a:pt x="169" y="275"/>
                      <a:pt x="169" y="275"/>
                      <a:pt x="169" y="275"/>
                    </a:cubicBezTo>
                    <a:cubicBezTo>
                      <a:pt x="172" y="279"/>
                      <a:pt x="173" y="282"/>
                      <a:pt x="173" y="283"/>
                    </a:cubicBezTo>
                    <a:cubicBezTo>
                      <a:pt x="177" y="289"/>
                      <a:pt x="177" y="289"/>
                      <a:pt x="177" y="289"/>
                    </a:cubicBezTo>
                    <a:cubicBezTo>
                      <a:pt x="180" y="290"/>
                      <a:pt x="180" y="290"/>
                      <a:pt x="180" y="290"/>
                    </a:cubicBezTo>
                    <a:cubicBezTo>
                      <a:pt x="180" y="290"/>
                      <a:pt x="180" y="290"/>
                      <a:pt x="180" y="290"/>
                    </a:cubicBezTo>
                    <a:cubicBezTo>
                      <a:pt x="181" y="290"/>
                      <a:pt x="181" y="290"/>
                      <a:pt x="181" y="290"/>
                    </a:cubicBezTo>
                    <a:cubicBezTo>
                      <a:pt x="180" y="289"/>
                      <a:pt x="180" y="289"/>
                      <a:pt x="180" y="289"/>
                    </a:cubicBezTo>
                    <a:cubicBezTo>
                      <a:pt x="179" y="287"/>
                      <a:pt x="179" y="286"/>
                      <a:pt x="180" y="285"/>
                    </a:cubicBezTo>
                    <a:cubicBezTo>
                      <a:pt x="181" y="284"/>
                      <a:pt x="182" y="283"/>
                      <a:pt x="185" y="283"/>
                    </a:cubicBezTo>
                    <a:cubicBezTo>
                      <a:pt x="199" y="283"/>
                      <a:pt x="199" y="283"/>
                      <a:pt x="199" y="283"/>
                    </a:cubicBezTo>
                    <a:cubicBezTo>
                      <a:pt x="200" y="283"/>
                      <a:pt x="200" y="283"/>
                      <a:pt x="200" y="283"/>
                    </a:cubicBezTo>
                    <a:cubicBezTo>
                      <a:pt x="201" y="283"/>
                      <a:pt x="201" y="283"/>
                      <a:pt x="201" y="283"/>
                    </a:cubicBezTo>
                    <a:cubicBezTo>
                      <a:pt x="201" y="283"/>
                      <a:pt x="201" y="283"/>
                      <a:pt x="201" y="283"/>
                    </a:cubicBezTo>
                    <a:cubicBezTo>
                      <a:pt x="201" y="283"/>
                      <a:pt x="201" y="283"/>
                      <a:pt x="201" y="283"/>
                    </a:cubicBezTo>
                    <a:cubicBezTo>
                      <a:pt x="206" y="292"/>
                      <a:pt x="206" y="292"/>
                      <a:pt x="206" y="292"/>
                    </a:cubicBezTo>
                    <a:cubicBezTo>
                      <a:pt x="205" y="296"/>
                      <a:pt x="205" y="296"/>
                      <a:pt x="205" y="296"/>
                    </a:cubicBezTo>
                    <a:cubicBezTo>
                      <a:pt x="205" y="296"/>
                      <a:pt x="205" y="296"/>
                      <a:pt x="205" y="296"/>
                    </a:cubicBezTo>
                    <a:cubicBezTo>
                      <a:pt x="211" y="297"/>
                      <a:pt x="211" y="297"/>
                      <a:pt x="211" y="297"/>
                    </a:cubicBezTo>
                    <a:cubicBezTo>
                      <a:pt x="211" y="297"/>
                      <a:pt x="211" y="297"/>
                      <a:pt x="211" y="297"/>
                    </a:cubicBezTo>
                    <a:cubicBezTo>
                      <a:pt x="211" y="296"/>
                      <a:pt x="211" y="295"/>
                      <a:pt x="211" y="295"/>
                    </a:cubicBezTo>
                    <a:cubicBezTo>
                      <a:pt x="213" y="294"/>
                      <a:pt x="213" y="294"/>
                      <a:pt x="213" y="294"/>
                    </a:cubicBezTo>
                    <a:cubicBezTo>
                      <a:pt x="227" y="303"/>
                      <a:pt x="227" y="303"/>
                      <a:pt x="227" y="303"/>
                    </a:cubicBezTo>
                    <a:cubicBezTo>
                      <a:pt x="228" y="305"/>
                      <a:pt x="229" y="306"/>
                      <a:pt x="229" y="308"/>
                    </a:cubicBezTo>
                    <a:cubicBezTo>
                      <a:pt x="229" y="314"/>
                      <a:pt x="229" y="314"/>
                      <a:pt x="229" y="314"/>
                    </a:cubicBezTo>
                    <a:cubicBezTo>
                      <a:pt x="234" y="315"/>
                      <a:pt x="234" y="315"/>
                      <a:pt x="234" y="315"/>
                    </a:cubicBezTo>
                    <a:cubicBezTo>
                      <a:pt x="237" y="310"/>
                      <a:pt x="237" y="310"/>
                      <a:pt x="237" y="310"/>
                    </a:cubicBezTo>
                    <a:cubicBezTo>
                      <a:pt x="235" y="307"/>
                      <a:pt x="235" y="305"/>
                      <a:pt x="235" y="303"/>
                    </a:cubicBezTo>
                    <a:cubicBezTo>
                      <a:pt x="235" y="302"/>
                      <a:pt x="236" y="301"/>
                      <a:pt x="237" y="300"/>
                    </a:cubicBezTo>
                    <a:cubicBezTo>
                      <a:pt x="239" y="299"/>
                      <a:pt x="239" y="299"/>
                      <a:pt x="239" y="299"/>
                    </a:cubicBezTo>
                    <a:cubicBezTo>
                      <a:pt x="239" y="298"/>
                      <a:pt x="239" y="297"/>
                      <a:pt x="240" y="297"/>
                    </a:cubicBezTo>
                    <a:cubicBezTo>
                      <a:pt x="243" y="297"/>
                      <a:pt x="243" y="297"/>
                      <a:pt x="243" y="297"/>
                    </a:cubicBezTo>
                    <a:cubicBezTo>
                      <a:pt x="245" y="299"/>
                      <a:pt x="247" y="303"/>
                      <a:pt x="248" y="309"/>
                    </a:cubicBezTo>
                    <a:cubicBezTo>
                      <a:pt x="248" y="310"/>
                      <a:pt x="248" y="310"/>
                      <a:pt x="248" y="310"/>
                    </a:cubicBezTo>
                    <a:cubicBezTo>
                      <a:pt x="249" y="311"/>
                      <a:pt x="249" y="311"/>
                      <a:pt x="249" y="311"/>
                    </a:cubicBezTo>
                    <a:cubicBezTo>
                      <a:pt x="249" y="312"/>
                      <a:pt x="251" y="313"/>
                      <a:pt x="255" y="315"/>
                    </a:cubicBezTo>
                    <a:cubicBezTo>
                      <a:pt x="255" y="315"/>
                      <a:pt x="255" y="315"/>
                      <a:pt x="255" y="315"/>
                    </a:cubicBezTo>
                    <a:cubicBezTo>
                      <a:pt x="256" y="315"/>
                      <a:pt x="256" y="315"/>
                      <a:pt x="256" y="315"/>
                    </a:cubicBezTo>
                    <a:cubicBezTo>
                      <a:pt x="269" y="328"/>
                      <a:pt x="269" y="328"/>
                      <a:pt x="269" y="328"/>
                    </a:cubicBezTo>
                    <a:cubicBezTo>
                      <a:pt x="269" y="328"/>
                      <a:pt x="269" y="328"/>
                      <a:pt x="269" y="328"/>
                    </a:cubicBezTo>
                    <a:cubicBezTo>
                      <a:pt x="275" y="326"/>
                      <a:pt x="275" y="326"/>
                      <a:pt x="275" y="326"/>
                    </a:cubicBezTo>
                    <a:cubicBezTo>
                      <a:pt x="274" y="324"/>
                      <a:pt x="274" y="324"/>
                      <a:pt x="274" y="324"/>
                    </a:cubicBezTo>
                    <a:cubicBezTo>
                      <a:pt x="272" y="322"/>
                      <a:pt x="272" y="320"/>
                      <a:pt x="272" y="319"/>
                    </a:cubicBezTo>
                    <a:cubicBezTo>
                      <a:pt x="272" y="316"/>
                      <a:pt x="274" y="313"/>
                      <a:pt x="278" y="311"/>
                    </a:cubicBezTo>
                    <a:cubicBezTo>
                      <a:pt x="285" y="305"/>
                      <a:pt x="285" y="305"/>
                      <a:pt x="285" y="305"/>
                    </a:cubicBezTo>
                    <a:cubicBezTo>
                      <a:pt x="293" y="310"/>
                      <a:pt x="293" y="310"/>
                      <a:pt x="293" y="310"/>
                    </a:cubicBezTo>
                    <a:cubicBezTo>
                      <a:pt x="294" y="310"/>
                      <a:pt x="294" y="310"/>
                      <a:pt x="294" y="310"/>
                    </a:cubicBezTo>
                    <a:cubicBezTo>
                      <a:pt x="296" y="301"/>
                      <a:pt x="296" y="301"/>
                      <a:pt x="296" y="301"/>
                    </a:cubicBezTo>
                    <a:cubicBezTo>
                      <a:pt x="296" y="300"/>
                      <a:pt x="296" y="300"/>
                      <a:pt x="296" y="300"/>
                    </a:cubicBezTo>
                    <a:cubicBezTo>
                      <a:pt x="297" y="299"/>
                      <a:pt x="297" y="299"/>
                      <a:pt x="297" y="299"/>
                    </a:cubicBezTo>
                    <a:cubicBezTo>
                      <a:pt x="304" y="300"/>
                      <a:pt x="304" y="300"/>
                      <a:pt x="304" y="300"/>
                    </a:cubicBezTo>
                    <a:cubicBezTo>
                      <a:pt x="305" y="301"/>
                      <a:pt x="306" y="303"/>
                      <a:pt x="306" y="305"/>
                    </a:cubicBezTo>
                    <a:cubicBezTo>
                      <a:pt x="306" y="306"/>
                      <a:pt x="305" y="308"/>
                      <a:pt x="303" y="310"/>
                    </a:cubicBezTo>
                    <a:cubicBezTo>
                      <a:pt x="305" y="311"/>
                      <a:pt x="305" y="311"/>
                      <a:pt x="305" y="311"/>
                    </a:cubicBezTo>
                    <a:cubicBezTo>
                      <a:pt x="309" y="313"/>
                      <a:pt x="312" y="314"/>
                      <a:pt x="314" y="315"/>
                    </a:cubicBezTo>
                    <a:cubicBezTo>
                      <a:pt x="315" y="315"/>
                      <a:pt x="315" y="315"/>
                      <a:pt x="315" y="315"/>
                    </a:cubicBezTo>
                    <a:cubicBezTo>
                      <a:pt x="315" y="315"/>
                      <a:pt x="315" y="315"/>
                      <a:pt x="315" y="315"/>
                    </a:cubicBezTo>
                    <a:cubicBezTo>
                      <a:pt x="320" y="317"/>
                      <a:pt x="320" y="317"/>
                      <a:pt x="320" y="317"/>
                    </a:cubicBezTo>
                    <a:cubicBezTo>
                      <a:pt x="324" y="317"/>
                      <a:pt x="324" y="317"/>
                      <a:pt x="324" y="317"/>
                    </a:cubicBezTo>
                    <a:cubicBezTo>
                      <a:pt x="318" y="288"/>
                      <a:pt x="318" y="288"/>
                      <a:pt x="318" y="288"/>
                    </a:cubicBezTo>
                    <a:cubicBezTo>
                      <a:pt x="314" y="285"/>
                      <a:pt x="310" y="281"/>
                      <a:pt x="307" y="275"/>
                    </a:cubicBezTo>
                    <a:cubicBezTo>
                      <a:pt x="304" y="270"/>
                      <a:pt x="305" y="263"/>
                      <a:pt x="312" y="255"/>
                    </a:cubicBezTo>
                    <a:cubicBezTo>
                      <a:pt x="315" y="251"/>
                      <a:pt x="320" y="247"/>
                      <a:pt x="325" y="243"/>
                    </a:cubicBezTo>
                    <a:cubicBezTo>
                      <a:pt x="325" y="243"/>
                      <a:pt x="325" y="243"/>
                      <a:pt x="325" y="243"/>
                    </a:cubicBezTo>
                    <a:cubicBezTo>
                      <a:pt x="325" y="243"/>
                      <a:pt x="325" y="243"/>
                      <a:pt x="325" y="243"/>
                    </a:cubicBezTo>
                    <a:cubicBezTo>
                      <a:pt x="331" y="243"/>
                      <a:pt x="331" y="243"/>
                      <a:pt x="331" y="243"/>
                    </a:cubicBezTo>
                    <a:cubicBezTo>
                      <a:pt x="331" y="243"/>
                      <a:pt x="331" y="243"/>
                      <a:pt x="331" y="243"/>
                    </a:cubicBezTo>
                    <a:cubicBezTo>
                      <a:pt x="336" y="245"/>
                      <a:pt x="336" y="245"/>
                      <a:pt x="336" y="245"/>
                    </a:cubicBezTo>
                    <a:cubicBezTo>
                      <a:pt x="346" y="245"/>
                      <a:pt x="346" y="245"/>
                      <a:pt x="346" y="245"/>
                    </a:cubicBezTo>
                    <a:cubicBezTo>
                      <a:pt x="350" y="243"/>
                      <a:pt x="353" y="237"/>
                      <a:pt x="357" y="228"/>
                    </a:cubicBezTo>
                    <a:cubicBezTo>
                      <a:pt x="360" y="222"/>
                      <a:pt x="360" y="211"/>
                      <a:pt x="358" y="1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7" name="iş1ïḓè"/>
              <p:cNvSpPr/>
              <p:nvPr/>
            </p:nvSpPr>
            <p:spPr bwMode="auto">
              <a:xfrm>
                <a:off x="3788" y="1953"/>
                <a:ext cx="513" cy="322"/>
              </a:xfrm>
              <a:custGeom>
                <a:avLst/>
                <a:gdLst>
                  <a:gd name="T0" fmla="*/ 198 w 217"/>
                  <a:gd name="T1" fmla="*/ 4 h 136"/>
                  <a:gd name="T2" fmla="*/ 179 w 217"/>
                  <a:gd name="T3" fmla="*/ 6 h 136"/>
                  <a:gd name="T4" fmla="*/ 135 w 217"/>
                  <a:gd name="T5" fmla="*/ 21 h 136"/>
                  <a:gd name="T6" fmla="*/ 136 w 217"/>
                  <a:gd name="T7" fmla="*/ 30 h 136"/>
                  <a:gd name="T8" fmla="*/ 106 w 217"/>
                  <a:gd name="T9" fmla="*/ 26 h 136"/>
                  <a:gd name="T10" fmla="*/ 84 w 217"/>
                  <a:gd name="T11" fmla="*/ 0 h 136"/>
                  <a:gd name="T12" fmla="*/ 75 w 217"/>
                  <a:gd name="T13" fmla="*/ 10 h 136"/>
                  <a:gd name="T14" fmla="*/ 64 w 217"/>
                  <a:gd name="T15" fmla="*/ 4 h 136"/>
                  <a:gd name="T16" fmla="*/ 59 w 217"/>
                  <a:gd name="T17" fmla="*/ 10 h 136"/>
                  <a:gd name="T18" fmla="*/ 51 w 217"/>
                  <a:gd name="T19" fmla="*/ 12 h 136"/>
                  <a:gd name="T20" fmla="*/ 6 w 217"/>
                  <a:gd name="T21" fmla="*/ 64 h 136"/>
                  <a:gd name="T22" fmla="*/ 11 w 217"/>
                  <a:gd name="T23" fmla="*/ 76 h 136"/>
                  <a:gd name="T24" fmla="*/ 10 w 217"/>
                  <a:gd name="T25" fmla="*/ 76 h 136"/>
                  <a:gd name="T26" fmla="*/ 17 w 217"/>
                  <a:gd name="T27" fmla="*/ 103 h 136"/>
                  <a:gd name="T28" fmla="*/ 0 w 217"/>
                  <a:gd name="T29" fmla="*/ 114 h 136"/>
                  <a:gd name="T30" fmla="*/ 8 w 217"/>
                  <a:gd name="T31" fmla="*/ 122 h 136"/>
                  <a:gd name="T32" fmla="*/ 9 w 217"/>
                  <a:gd name="T33" fmla="*/ 124 h 136"/>
                  <a:gd name="T34" fmla="*/ 32 w 217"/>
                  <a:gd name="T35" fmla="*/ 136 h 136"/>
                  <a:gd name="T36" fmla="*/ 42 w 217"/>
                  <a:gd name="T37" fmla="*/ 126 h 136"/>
                  <a:gd name="T38" fmla="*/ 57 w 217"/>
                  <a:gd name="T39" fmla="*/ 119 h 136"/>
                  <a:gd name="T40" fmla="*/ 59 w 217"/>
                  <a:gd name="T41" fmla="*/ 121 h 136"/>
                  <a:gd name="T42" fmla="*/ 59 w 217"/>
                  <a:gd name="T43" fmla="*/ 122 h 136"/>
                  <a:gd name="T44" fmla="*/ 74 w 217"/>
                  <a:gd name="T45" fmla="*/ 132 h 136"/>
                  <a:gd name="T46" fmla="*/ 92 w 217"/>
                  <a:gd name="T47" fmla="*/ 126 h 136"/>
                  <a:gd name="T48" fmla="*/ 106 w 217"/>
                  <a:gd name="T49" fmla="*/ 125 h 136"/>
                  <a:gd name="T50" fmla="*/ 108 w 217"/>
                  <a:gd name="T51" fmla="*/ 124 h 136"/>
                  <a:gd name="T52" fmla="*/ 119 w 217"/>
                  <a:gd name="T53" fmla="*/ 110 h 136"/>
                  <a:gd name="T54" fmla="*/ 125 w 217"/>
                  <a:gd name="T55" fmla="*/ 106 h 136"/>
                  <a:gd name="T56" fmla="*/ 126 w 217"/>
                  <a:gd name="T57" fmla="*/ 107 h 136"/>
                  <a:gd name="T58" fmla="*/ 129 w 217"/>
                  <a:gd name="T59" fmla="*/ 108 h 136"/>
                  <a:gd name="T60" fmla="*/ 134 w 217"/>
                  <a:gd name="T61" fmla="*/ 88 h 136"/>
                  <a:gd name="T62" fmla="*/ 140 w 217"/>
                  <a:gd name="T63" fmla="*/ 86 h 136"/>
                  <a:gd name="T64" fmla="*/ 148 w 217"/>
                  <a:gd name="T65" fmla="*/ 69 h 136"/>
                  <a:gd name="T66" fmla="*/ 151 w 217"/>
                  <a:gd name="T67" fmla="*/ 60 h 136"/>
                  <a:gd name="T68" fmla="*/ 161 w 217"/>
                  <a:gd name="T69" fmla="*/ 56 h 136"/>
                  <a:gd name="T70" fmla="*/ 161 w 217"/>
                  <a:gd name="T71" fmla="*/ 54 h 136"/>
                  <a:gd name="T72" fmla="*/ 169 w 217"/>
                  <a:gd name="T73" fmla="*/ 48 h 136"/>
                  <a:gd name="T74" fmla="*/ 164 w 217"/>
                  <a:gd name="T75" fmla="*/ 47 h 136"/>
                  <a:gd name="T76" fmla="*/ 164 w 217"/>
                  <a:gd name="T77" fmla="*/ 44 h 136"/>
                  <a:gd name="T78" fmla="*/ 166 w 217"/>
                  <a:gd name="T79" fmla="*/ 43 h 136"/>
                  <a:gd name="T80" fmla="*/ 176 w 217"/>
                  <a:gd name="T81" fmla="*/ 38 h 136"/>
                  <a:gd name="T82" fmla="*/ 202 w 217"/>
                  <a:gd name="T83" fmla="*/ 20 h 136"/>
                  <a:gd name="T84" fmla="*/ 214 w 217"/>
                  <a:gd name="T85" fmla="*/ 24 h 136"/>
                  <a:gd name="T86" fmla="*/ 212 w 217"/>
                  <a:gd name="T87" fmla="*/ 14 h 136"/>
                  <a:gd name="T88" fmla="*/ 212 w 217"/>
                  <a:gd name="T89" fmla="*/ 14 h 136"/>
                  <a:gd name="T90" fmla="*/ 216 w 217"/>
                  <a:gd name="T91" fmla="*/ 6 h 136"/>
                  <a:gd name="T92" fmla="*/ 213 w 217"/>
                  <a:gd name="T93" fmla="*/ 7 h 136"/>
                  <a:gd name="T94" fmla="*/ 204 w 217"/>
                  <a:gd name="T95" fmla="*/ 8 h 136"/>
                  <a:gd name="T96" fmla="*/ 202 w 217"/>
                  <a:gd name="T97" fmla="*/ 8 h 136"/>
                  <a:gd name="T98" fmla="*/ 202 w 217"/>
                  <a:gd name="T99" fmla="*/ 6 h 136"/>
                  <a:gd name="T100" fmla="*/ 198 w 217"/>
                  <a:gd name="T101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7" h="136">
                    <a:moveTo>
                      <a:pt x="198" y="4"/>
                    </a:moveTo>
                    <a:cubicBezTo>
                      <a:pt x="198" y="4"/>
                      <a:pt x="198" y="4"/>
                      <a:pt x="198" y="4"/>
                    </a:cubicBezTo>
                    <a:cubicBezTo>
                      <a:pt x="198" y="6"/>
                      <a:pt x="196" y="7"/>
                      <a:pt x="194" y="7"/>
                    </a:cubicBezTo>
                    <a:cubicBezTo>
                      <a:pt x="179" y="6"/>
                      <a:pt x="179" y="6"/>
                      <a:pt x="179" y="6"/>
                    </a:cubicBezTo>
                    <a:cubicBezTo>
                      <a:pt x="168" y="4"/>
                      <a:pt x="161" y="2"/>
                      <a:pt x="157" y="0"/>
                    </a:cubicBezTo>
                    <a:cubicBezTo>
                      <a:pt x="135" y="21"/>
                      <a:pt x="135" y="21"/>
                      <a:pt x="135" y="21"/>
                    </a:cubicBezTo>
                    <a:cubicBezTo>
                      <a:pt x="136" y="30"/>
                      <a:pt x="136" y="30"/>
                      <a:pt x="136" y="30"/>
                    </a:cubicBezTo>
                    <a:cubicBezTo>
                      <a:pt x="136" y="30"/>
                      <a:pt x="136" y="30"/>
                      <a:pt x="136" y="30"/>
                    </a:cubicBezTo>
                    <a:cubicBezTo>
                      <a:pt x="134" y="31"/>
                      <a:pt x="134" y="31"/>
                      <a:pt x="134" y="31"/>
                    </a:cubicBezTo>
                    <a:cubicBezTo>
                      <a:pt x="117" y="33"/>
                      <a:pt x="108" y="32"/>
                      <a:pt x="106" y="26"/>
                    </a:cubicBezTo>
                    <a:cubicBezTo>
                      <a:pt x="104" y="1"/>
                      <a:pt x="104" y="1"/>
                      <a:pt x="104" y="1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76" y="18"/>
                      <a:pt x="76" y="18"/>
                      <a:pt x="76" y="18"/>
                    </a:cubicBezTo>
                    <a:cubicBezTo>
                      <a:pt x="75" y="10"/>
                      <a:pt x="75" y="10"/>
                      <a:pt x="75" y="10"/>
                    </a:cubicBezTo>
                    <a:cubicBezTo>
                      <a:pt x="75" y="4"/>
                      <a:pt x="74" y="0"/>
                      <a:pt x="72" y="0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42" y="20"/>
                      <a:pt x="34" y="27"/>
                      <a:pt x="28" y="35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11" y="74"/>
                      <a:pt x="11" y="74"/>
                      <a:pt x="11" y="74"/>
                    </a:cubicBezTo>
                    <a:cubicBezTo>
                      <a:pt x="11" y="76"/>
                      <a:pt x="11" y="76"/>
                      <a:pt x="11" y="76"/>
                    </a:cubicBezTo>
                    <a:cubicBezTo>
                      <a:pt x="11" y="76"/>
                      <a:pt x="11" y="76"/>
                      <a:pt x="11" y="76"/>
                    </a:cubicBezTo>
                    <a:cubicBezTo>
                      <a:pt x="10" y="76"/>
                      <a:pt x="10" y="76"/>
                      <a:pt x="10" y="76"/>
                    </a:cubicBezTo>
                    <a:cubicBezTo>
                      <a:pt x="9" y="78"/>
                      <a:pt x="10" y="82"/>
                      <a:pt x="12" y="86"/>
                    </a:cubicBezTo>
                    <a:cubicBezTo>
                      <a:pt x="15" y="91"/>
                      <a:pt x="17" y="97"/>
                      <a:pt x="17" y="103"/>
                    </a:cubicBezTo>
                    <a:cubicBezTo>
                      <a:pt x="17" y="104"/>
                      <a:pt x="17" y="104"/>
                      <a:pt x="17" y="104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8" y="122"/>
                      <a:pt x="8" y="122"/>
                      <a:pt x="8" y="122"/>
                    </a:cubicBezTo>
                    <a:cubicBezTo>
                      <a:pt x="8" y="122"/>
                      <a:pt x="9" y="123"/>
                      <a:pt x="9" y="124"/>
                    </a:cubicBezTo>
                    <a:cubicBezTo>
                      <a:pt x="9" y="124"/>
                      <a:pt x="9" y="124"/>
                      <a:pt x="9" y="124"/>
                    </a:cubicBezTo>
                    <a:cubicBezTo>
                      <a:pt x="8" y="126"/>
                      <a:pt x="12" y="129"/>
                      <a:pt x="18" y="132"/>
                    </a:cubicBezTo>
                    <a:cubicBezTo>
                      <a:pt x="32" y="136"/>
                      <a:pt x="32" y="136"/>
                      <a:pt x="32" y="136"/>
                    </a:cubicBezTo>
                    <a:cubicBezTo>
                      <a:pt x="37" y="133"/>
                      <a:pt x="37" y="133"/>
                      <a:pt x="37" y="133"/>
                    </a:cubicBezTo>
                    <a:cubicBezTo>
                      <a:pt x="42" y="126"/>
                      <a:pt x="42" y="126"/>
                      <a:pt x="42" y="126"/>
                    </a:cubicBezTo>
                    <a:cubicBezTo>
                      <a:pt x="46" y="115"/>
                      <a:pt x="46" y="115"/>
                      <a:pt x="46" y="115"/>
                    </a:cubicBezTo>
                    <a:cubicBezTo>
                      <a:pt x="57" y="119"/>
                      <a:pt x="57" y="119"/>
                      <a:pt x="57" y="119"/>
                    </a:cubicBezTo>
                    <a:cubicBezTo>
                      <a:pt x="59" y="120"/>
                      <a:pt x="59" y="120"/>
                      <a:pt x="59" y="120"/>
                    </a:cubicBezTo>
                    <a:cubicBezTo>
                      <a:pt x="59" y="121"/>
                      <a:pt x="59" y="121"/>
                      <a:pt x="59" y="121"/>
                    </a:cubicBezTo>
                    <a:cubicBezTo>
                      <a:pt x="59" y="121"/>
                      <a:pt x="59" y="121"/>
                      <a:pt x="59" y="121"/>
                    </a:cubicBezTo>
                    <a:cubicBezTo>
                      <a:pt x="59" y="122"/>
                      <a:pt x="59" y="122"/>
                      <a:pt x="59" y="122"/>
                    </a:cubicBezTo>
                    <a:cubicBezTo>
                      <a:pt x="57" y="126"/>
                      <a:pt x="58" y="130"/>
                      <a:pt x="62" y="132"/>
                    </a:cubicBezTo>
                    <a:cubicBezTo>
                      <a:pt x="74" y="132"/>
                      <a:pt x="74" y="132"/>
                      <a:pt x="74" y="132"/>
                    </a:cubicBezTo>
                    <a:cubicBezTo>
                      <a:pt x="79" y="131"/>
                      <a:pt x="82" y="130"/>
                      <a:pt x="85" y="128"/>
                    </a:cubicBezTo>
                    <a:cubicBezTo>
                      <a:pt x="86" y="126"/>
                      <a:pt x="89" y="125"/>
                      <a:pt x="92" y="126"/>
                    </a:cubicBezTo>
                    <a:cubicBezTo>
                      <a:pt x="97" y="126"/>
                      <a:pt x="101" y="128"/>
                      <a:pt x="104" y="132"/>
                    </a:cubicBezTo>
                    <a:cubicBezTo>
                      <a:pt x="106" y="125"/>
                      <a:pt x="106" y="125"/>
                      <a:pt x="106" y="125"/>
                    </a:cubicBezTo>
                    <a:cubicBezTo>
                      <a:pt x="107" y="124"/>
                      <a:pt x="107" y="124"/>
                      <a:pt x="107" y="124"/>
                    </a:cubicBezTo>
                    <a:cubicBezTo>
                      <a:pt x="108" y="124"/>
                      <a:pt x="108" y="124"/>
                      <a:pt x="108" y="124"/>
                    </a:cubicBezTo>
                    <a:cubicBezTo>
                      <a:pt x="110" y="122"/>
                      <a:pt x="111" y="120"/>
                      <a:pt x="112" y="118"/>
                    </a:cubicBezTo>
                    <a:cubicBezTo>
                      <a:pt x="114" y="115"/>
                      <a:pt x="116" y="112"/>
                      <a:pt x="119" y="110"/>
                    </a:cubicBezTo>
                    <a:cubicBezTo>
                      <a:pt x="124" y="107"/>
                      <a:pt x="124" y="107"/>
                      <a:pt x="124" y="107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126" y="107"/>
                      <a:pt x="126" y="107"/>
                      <a:pt x="126" y="107"/>
                    </a:cubicBezTo>
                    <a:cubicBezTo>
                      <a:pt x="129" y="108"/>
                      <a:pt x="129" y="108"/>
                      <a:pt x="129" y="108"/>
                    </a:cubicBezTo>
                    <a:cubicBezTo>
                      <a:pt x="129" y="108"/>
                      <a:pt x="129" y="108"/>
                      <a:pt x="129" y="108"/>
                    </a:cubicBezTo>
                    <a:cubicBezTo>
                      <a:pt x="130" y="108"/>
                      <a:pt x="130" y="108"/>
                      <a:pt x="130" y="108"/>
                    </a:cubicBezTo>
                    <a:cubicBezTo>
                      <a:pt x="134" y="88"/>
                      <a:pt x="134" y="88"/>
                      <a:pt x="134" y="88"/>
                    </a:cubicBezTo>
                    <a:cubicBezTo>
                      <a:pt x="134" y="88"/>
                      <a:pt x="134" y="88"/>
                      <a:pt x="134" y="88"/>
                    </a:cubicBezTo>
                    <a:cubicBezTo>
                      <a:pt x="140" y="86"/>
                      <a:pt x="140" y="86"/>
                      <a:pt x="140" y="86"/>
                    </a:cubicBezTo>
                    <a:cubicBezTo>
                      <a:pt x="147" y="82"/>
                      <a:pt x="150" y="78"/>
                      <a:pt x="150" y="75"/>
                    </a:cubicBezTo>
                    <a:cubicBezTo>
                      <a:pt x="148" y="69"/>
                      <a:pt x="148" y="69"/>
                      <a:pt x="148" y="69"/>
                    </a:cubicBezTo>
                    <a:cubicBezTo>
                      <a:pt x="147" y="65"/>
                      <a:pt x="147" y="62"/>
                      <a:pt x="148" y="61"/>
                    </a:cubicBezTo>
                    <a:cubicBezTo>
                      <a:pt x="149" y="60"/>
                      <a:pt x="150" y="60"/>
                      <a:pt x="151" y="60"/>
                    </a:cubicBezTo>
                    <a:cubicBezTo>
                      <a:pt x="154" y="60"/>
                      <a:pt x="157" y="60"/>
                      <a:pt x="160" y="62"/>
                    </a:cubicBezTo>
                    <a:cubicBezTo>
                      <a:pt x="161" y="56"/>
                      <a:pt x="161" y="56"/>
                      <a:pt x="161" y="56"/>
                    </a:cubicBezTo>
                    <a:cubicBezTo>
                      <a:pt x="161" y="55"/>
                      <a:pt x="161" y="55"/>
                      <a:pt x="161" y="55"/>
                    </a:cubicBezTo>
                    <a:cubicBezTo>
                      <a:pt x="161" y="54"/>
                      <a:pt x="161" y="54"/>
                      <a:pt x="161" y="54"/>
                    </a:cubicBezTo>
                    <a:cubicBezTo>
                      <a:pt x="168" y="51"/>
                      <a:pt x="168" y="51"/>
                      <a:pt x="168" y="51"/>
                    </a:cubicBezTo>
                    <a:cubicBezTo>
                      <a:pt x="169" y="48"/>
                      <a:pt x="169" y="48"/>
                      <a:pt x="169" y="48"/>
                    </a:cubicBezTo>
                    <a:cubicBezTo>
                      <a:pt x="165" y="48"/>
                      <a:pt x="165" y="48"/>
                      <a:pt x="165" y="48"/>
                    </a:cubicBezTo>
                    <a:cubicBezTo>
                      <a:pt x="164" y="47"/>
                      <a:pt x="164" y="47"/>
                      <a:pt x="164" y="47"/>
                    </a:cubicBezTo>
                    <a:cubicBezTo>
                      <a:pt x="164" y="45"/>
                      <a:pt x="164" y="45"/>
                      <a:pt x="164" y="45"/>
                    </a:cubicBezTo>
                    <a:cubicBezTo>
                      <a:pt x="164" y="44"/>
                      <a:pt x="164" y="44"/>
                      <a:pt x="164" y="44"/>
                    </a:cubicBezTo>
                    <a:cubicBezTo>
                      <a:pt x="165" y="43"/>
                      <a:pt x="165" y="43"/>
                      <a:pt x="165" y="43"/>
                    </a:cubicBezTo>
                    <a:cubicBezTo>
                      <a:pt x="166" y="43"/>
                      <a:pt x="166" y="43"/>
                      <a:pt x="166" y="43"/>
                    </a:cubicBezTo>
                    <a:cubicBezTo>
                      <a:pt x="167" y="43"/>
                      <a:pt x="167" y="43"/>
                      <a:pt x="167" y="43"/>
                    </a:cubicBezTo>
                    <a:cubicBezTo>
                      <a:pt x="170" y="43"/>
                      <a:pt x="173" y="42"/>
                      <a:pt x="176" y="38"/>
                    </a:cubicBezTo>
                    <a:cubicBezTo>
                      <a:pt x="202" y="20"/>
                      <a:pt x="202" y="20"/>
                      <a:pt x="202" y="20"/>
                    </a:cubicBezTo>
                    <a:cubicBezTo>
                      <a:pt x="202" y="20"/>
                      <a:pt x="202" y="20"/>
                      <a:pt x="202" y="20"/>
                    </a:cubicBezTo>
                    <a:cubicBezTo>
                      <a:pt x="210" y="24"/>
                      <a:pt x="210" y="24"/>
                      <a:pt x="210" y="24"/>
                    </a:cubicBezTo>
                    <a:cubicBezTo>
                      <a:pt x="214" y="24"/>
                      <a:pt x="214" y="24"/>
                      <a:pt x="214" y="24"/>
                    </a:cubicBezTo>
                    <a:cubicBezTo>
                      <a:pt x="212" y="15"/>
                      <a:pt x="212" y="15"/>
                      <a:pt x="212" y="15"/>
                    </a:cubicBezTo>
                    <a:cubicBezTo>
                      <a:pt x="212" y="14"/>
                      <a:pt x="212" y="14"/>
                      <a:pt x="212" y="14"/>
                    </a:cubicBezTo>
                    <a:cubicBezTo>
                      <a:pt x="212" y="14"/>
                      <a:pt x="212" y="14"/>
                      <a:pt x="212" y="14"/>
                    </a:cubicBezTo>
                    <a:cubicBezTo>
                      <a:pt x="212" y="14"/>
                      <a:pt x="212" y="14"/>
                      <a:pt x="212" y="14"/>
                    </a:cubicBezTo>
                    <a:cubicBezTo>
                      <a:pt x="217" y="6"/>
                      <a:pt x="217" y="6"/>
                      <a:pt x="217" y="6"/>
                    </a:cubicBezTo>
                    <a:cubicBezTo>
                      <a:pt x="216" y="6"/>
                      <a:pt x="216" y="6"/>
                      <a:pt x="216" y="6"/>
                    </a:cubicBezTo>
                    <a:cubicBezTo>
                      <a:pt x="213" y="6"/>
                      <a:pt x="213" y="6"/>
                      <a:pt x="213" y="6"/>
                    </a:cubicBezTo>
                    <a:cubicBezTo>
                      <a:pt x="213" y="7"/>
                      <a:pt x="213" y="7"/>
                      <a:pt x="213" y="7"/>
                    </a:cubicBezTo>
                    <a:cubicBezTo>
                      <a:pt x="212" y="7"/>
                      <a:pt x="212" y="7"/>
                      <a:pt x="212" y="7"/>
                    </a:cubicBezTo>
                    <a:cubicBezTo>
                      <a:pt x="204" y="8"/>
                      <a:pt x="204" y="8"/>
                      <a:pt x="204" y="8"/>
                    </a:cubicBezTo>
                    <a:cubicBezTo>
                      <a:pt x="202" y="8"/>
                      <a:pt x="202" y="8"/>
                      <a:pt x="202" y="8"/>
                    </a:cubicBezTo>
                    <a:cubicBezTo>
                      <a:pt x="202" y="8"/>
                      <a:pt x="202" y="8"/>
                      <a:pt x="202" y="8"/>
                    </a:cubicBezTo>
                    <a:cubicBezTo>
                      <a:pt x="202" y="8"/>
                      <a:pt x="202" y="8"/>
                      <a:pt x="202" y="8"/>
                    </a:cubicBezTo>
                    <a:cubicBezTo>
                      <a:pt x="202" y="6"/>
                      <a:pt x="202" y="6"/>
                      <a:pt x="202" y="6"/>
                    </a:cubicBezTo>
                    <a:cubicBezTo>
                      <a:pt x="200" y="4"/>
                      <a:pt x="200" y="4"/>
                      <a:pt x="200" y="4"/>
                    </a:cubicBezTo>
                    <a:lnTo>
                      <a:pt x="198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8" name="iSḷïḍé"/>
              <p:cNvSpPr/>
              <p:nvPr/>
            </p:nvSpPr>
            <p:spPr bwMode="auto">
              <a:xfrm>
                <a:off x="4268" y="2486"/>
                <a:ext cx="81" cy="73"/>
              </a:xfrm>
              <a:custGeom>
                <a:avLst/>
                <a:gdLst>
                  <a:gd name="T0" fmla="*/ 31 w 34"/>
                  <a:gd name="T1" fmla="*/ 17 h 31"/>
                  <a:gd name="T2" fmla="*/ 34 w 34"/>
                  <a:gd name="T3" fmla="*/ 13 h 31"/>
                  <a:gd name="T4" fmla="*/ 34 w 34"/>
                  <a:gd name="T5" fmla="*/ 13 h 31"/>
                  <a:gd name="T6" fmla="*/ 34 w 34"/>
                  <a:gd name="T7" fmla="*/ 13 h 31"/>
                  <a:gd name="T8" fmla="*/ 34 w 34"/>
                  <a:gd name="T9" fmla="*/ 13 h 31"/>
                  <a:gd name="T10" fmla="*/ 24 w 34"/>
                  <a:gd name="T11" fmla="*/ 5 h 31"/>
                  <a:gd name="T12" fmla="*/ 11 w 34"/>
                  <a:gd name="T13" fmla="*/ 1 h 31"/>
                  <a:gd name="T14" fmla="*/ 7 w 34"/>
                  <a:gd name="T15" fmla="*/ 2 h 31"/>
                  <a:gd name="T16" fmla="*/ 7 w 34"/>
                  <a:gd name="T17" fmla="*/ 11 h 31"/>
                  <a:gd name="T18" fmla="*/ 2 w 34"/>
                  <a:gd name="T19" fmla="*/ 19 h 31"/>
                  <a:gd name="T20" fmla="*/ 0 w 34"/>
                  <a:gd name="T21" fmla="*/ 21 h 31"/>
                  <a:gd name="T22" fmla="*/ 4 w 34"/>
                  <a:gd name="T23" fmla="*/ 25 h 31"/>
                  <a:gd name="T24" fmla="*/ 5 w 34"/>
                  <a:gd name="T25" fmla="*/ 25 h 31"/>
                  <a:gd name="T26" fmla="*/ 6 w 34"/>
                  <a:gd name="T27" fmla="*/ 29 h 31"/>
                  <a:gd name="T28" fmla="*/ 11 w 34"/>
                  <a:gd name="T29" fmla="*/ 31 h 31"/>
                  <a:gd name="T30" fmla="*/ 17 w 34"/>
                  <a:gd name="T31" fmla="*/ 28 h 31"/>
                  <a:gd name="T32" fmla="*/ 26 w 34"/>
                  <a:gd name="T33" fmla="*/ 30 h 31"/>
                  <a:gd name="T34" fmla="*/ 26 w 34"/>
                  <a:gd name="T35" fmla="*/ 27 h 31"/>
                  <a:gd name="T36" fmla="*/ 31 w 34"/>
                  <a:gd name="T37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31">
                    <a:moveTo>
                      <a:pt x="31" y="17"/>
                    </a:move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19" y="1"/>
                      <a:pt x="14" y="0"/>
                      <a:pt x="11" y="1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6" y="13"/>
                      <a:pt x="5" y="17"/>
                      <a:pt x="2" y="19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3" y="29"/>
                      <a:pt x="15" y="28"/>
                      <a:pt x="17" y="28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7" y="21"/>
                      <a:pt x="29" y="18"/>
                      <a:pt x="3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9" name="išḷîḑe"/>
              <p:cNvSpPr/>
              <p:nvPr/>
            </p:nvSpPr>
            <p:spPr bwMode="auto">
              <a:xfrm>
                <a:off x="3892" y="2216"/>
                <a:ext cx="447" cy="345"/>
              </a:xfrm>
              <a:custGeom>
                <a:avLst/>
                <a:gdLst>
                  <a:gd name="T0" fmla="*/ 120 w 189"/>
                  <a:gd name="T1" fmla="*/ 23 h 146"/>
                  <a:gd name="T2" fmla="*/ 85 w 189"/>
                  <a:gd name="T3" fmla="*/ 9 h 146"/>
                  <a:gd name="T4" fmla="*/ 85 w 189"/>
                  <a:gd name="T5" fmla="*/ 1 h 146"/>
                  <a:gd name="T6" fmla="*/ 82 w 189"/>
                  <a:gd name="T7" fmla="*/ 0 h 146"/>
                  <a:gd name="T8" fmla="*/ 66 w 189"/>
                  <a:gd name="T9" fmla="*/ 16 h 146"/>
                  <a:gd name="T10" fmla="*/ 58 w 189"/>
                  <a:gd name="T11" fmla="*/ 24 h 146"/>
                  <a:gd name="T12" fmla="*/ 48 w 189"/>
                  <a:gd name="T13" fmla="*/ 19 h 146"/>
                  <a:gd name="T14" fmla="*/ 31 w 189"/>
                  <a:gd name="T15" fmla="*/ 25 h 146"/>
                  <a:gd name="T16" fmla="*/ 10 w 189"/>
                  <a:gd name="T17" fmla="*/ 11 h 146"/>
                  <a:gd name="T18" fmla="*/ 2 w 189"/>
                  <a:gd name="T19" fmla="*/ 17 h 146"/>
                  <a:gd name="T20" fmla="*/ 2 w 189"/>
                  <a:gd name="T21" fmla="*/ 18 h 146"/>
                  <a:gd name="T22" fmla="*/ 0 w 189"/>
                  <a:gd name="T23" fmla="*/ 20 h 146"/>
                  <a:gd name="T24" fmla="*/ 4 w 189"/>
                  <a:gd name="T25" fmla="*/ 21 h 146"/>
                  <a:gd name="T26" fmla="*/ 5 w 189"/>
                  <a:gd name="T27" fmla="*/ 21 h 146"/>
                  <a:gd name="T28" fmla="*/ 34 w 189"/>
                  <a:gd name="T29" fmla="*/ 43 h 146"/>
                  <a:gd name="T30" fmla="*/ 62 w 189"/>
                  <a:gd name="T31" fmla="*/ 75 h 146"/>
                  <a:gd name="T32" fmla="*/ 90 w 189"/>
                  <a:gd name="T33" fmla="*/ 72 h 146"/>
                  <a:gd name="T34" fmla="*/ 91 w 189"/>
                  <a:gd name="T35" fmla="*/ 71 h 146"/>
                  <a:gd name="T36" fmla="*/ 99 w 189"/>
                  <a:gd name="T37" fmla="*/ 73 h 146"/>
                  <a:gd name="T38" fmla="*/ 100 w 189"/>
                  <a:gd name="T39" fmla="*/ 75 h 146"/>
                  <a:gd name="T40" fmla="*/ 93 w 189"/>
                  <a:gd name="T41" fmla="*/ 93 h 146"/>
                  <a:gd name="T42" fmla="*/ 84 w 189"/>
                  <a:gd name="T43" fmla="*/ 93 h 146"/>
                  <a:gd name="T44" fmla="*/ 74 w 189"/>
                  <a:gd name="T45" fmla="*/ 117 h 146"/>
                  <a:gd name="T46" fmla="*/ 89 w 189"/>
                  <a:gd name="T47" fmla="*/ 127 h 146"/>
                  <a:gd name="T48" fmla="*/ 93 w 189"/>
                  <a:gd name="T49" fmla="*/ 133 h 146"/>
                  <a:gd name="T50" fmla="*/ 100 w 189"/>
                  <a:gd name="T51" fmla="*/ 133 h 146"/>
                  <a:gd name="T52" fmla="*/ 115 w 189"/>
                  <a:gd name="T53" fmla="*/ 139 h 146"/>
                  <a:gd name="T54" fmla="*/ 118 w 189"/>
                  <a:gd name="T55" fmla="*/ 143 h 146"/>
                  <a:gd name="T56" fmla="*/ 132 w 189"/>
                  <a:gd name="T57" fmla="*/ 144 h 146"/>
                  <a:gd name="T58" fmla="*/ 152 w 189"/>
                  <a:gd name="T59" fmla="*/ 143 h 146"/>
                  <a:gd name="T60" fmla="*/ 159 w 189"/>
                  <a:gd name="T61" fmla="*/ 139 h 146"/>
                  <a:gd name="T62" fmla="*/ 158 w 189"/>
                  <a:gd name="T63" fmla="*/ 131 h 146"/>
                  <a:gd name="T64" fmla="*/ 162 w 189"/>
                  <a:gd name="T65" fmla="*/ 119 h 146"/>
                  <a:gd name="T66" fmla="*/ 170 w 189"/>
                  <a:gd name="T67" fmla="*/ 111 h 146"/>
                  <a:gd name="T68" fmla="*/ 186 w 189"/>
                  <a:gd name="T69" fmla="*/ 111 h 146"/>
                  <a:gd name="T70" fmla="*/ 181 w 189"/>
                  <a:gd name="T71" fmla="*/ 98 h 146"/>
                  <a:gd name="T72" fmla="*/ 174 w 189"/>
                  <a:gd name="T73" fmla="*/ 97 h 146"/>
                  <a:gd name="T74" fmla="*/ 174 w 189"/>
                  <a:gd name="T75" fmla="*/ 97 h 146"/>
                  <a:gd name="T76" fmla="*/ 156 w 189"/>
                  <a:gd name="T77" fmla="*/ 86 h 146"/>
                  <a:gd name="T78" fmla="*/ 147 w 189"/>
                  <a:gd name="T79" fmla="*/ 83 h 146"/>
                  <a:gd name="T80" fmla="*/ 132 w 189"/>
                  <a:gd name="T81" fmla="*/ 4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9" h="146">
                    <a:moveTo>
                      <a:pt x="132" y="43"/>
                    </a:moveTo>
                    <a:cubicBezTo>
                      <a:pt x="128" y="39"/>
                      <a:pt x="124" y="33"/>
                      <a:pt x="120" y="23"/>
                    </a:cubicBezTo>
                    <a:cubicBezTo>
                      <a:pt x="109" y="23"/>
                      <a:pt x="102" y="21"/>
                      <a:pt x="99" y="17"/>
                    </a:cubicBezTo>
                    <a:cubicBezTo>
                      <a:pt x="96" y="13"/>
                      <a:pt x="92" y="11"/>
                      <a:pt x="85" y="9"/>
                    </a:cubicBezTo>
                    <a:cubicBezTo>
                      <a:pt x="83" y="8"/>
                      <a:pt x="83" y="8"/>
                      <a:pt x="83" y="8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7" y="3"/>
                      <a:pt x="74" y="5"/>
                      <a:pt x="72" y="8"/>
                    </a:cubicBezTo>
                    <a:cubicBezTo>
                      <a:pt x="71" y="11"/>
                      <a:pt x="69" y="14"/>
                      <a:pt x="66" y="16"/>
                    </a:cubicBezTo>
                    <a:cubicBezTo>
                      <a:pt x="64" y="23"/>
                      <a:pt x="62" y="26"/>
                      <a:pt x="60" y="26"/>
                    </a:cubicBezTo>
                    <a:cubicBezTo>
                      <a:pt x="59" y="26"/>
                      <a:pt x="58" y="25"/>
                      <a:pt x="58" y="24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52" y="20"/>
                      <a:pt x="50" y="19"/>
                      <a:pt x="48" y="19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41" y="23"/>
                      <a:pt x="37" y="25"/>
                      <a:pt x="31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11" y="22"/>
                      <a:pt x="9" y="17"/>
                      <a:pt x="10" y="11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12" y="31"/>
                      <a:pt x="17" y="37"/>
                      <a:pt x="20" y="38"/>
                    </a:cubicBezTo>
                    <a:cubicBezTo>
                      <a:pt x="21" y="39"/>
                      <a:pt x="26" y="41"/>
                      <a:pt x="34" y="43"/>
                    </a:cubicBezTo>
                    <a:cubicBezTo>
                      <a:pt x="49" y="48"/>
                      <a:pt x="49" y="48"/>
                      <a:pt x="49" y="48"/>
                    </a:cubicBezTo>
                    <a:cubicBezTo>
                      <a:pt x="53" y="50"/>
                      <a:pt x="58" y="59"/>
                      <a:pt x="62" y="75"/>
                    </a:cubicBezTo>
                    <a:cubicBezTo>
                      <a:pt x="69" y="79"/>
                      <a:pt x="73" y="81"/>
                      <a:pt x="76" y="81"/>
                    </a:cubicBezTo>
                    <a:cubicBezTo>
                      <a:pt x="78" y="79"/>
                      <a:pt x="83" y="77"/>
                      <a:pt x="90" y="72"/>
                    </a:cubicBezTo>
                    <a:cubicBezTo>
                      <a:pt x="90" y="72"/>
                      <a:pt x="90" y="72"/>
                      <a:pt x="90" y="72"/>
                    </a:cubicBezTo>
                    <a:cubicBezTo>
                      <a:pt x="91" y="71"/>
                      <a:pt x="91" y="71"/>
                      <a:pt x="91" y="71"/>
                    </a:cubicBezTo>
                    <a:cubicBezTo>
                      <a:pt x="92" y="72"/>
                      <a:pt x="92" y="72"/>
                      <a:pt x="92" y="72"/>
                    </a:cubicBezTo>
                    <a:cubicBezTo>
                      <a:pt x="99" y="73"/>
                      <a:pt x="99" y="73"/>
                      <a:pt x="99" y="73"/>
                    </a:cubicBezTo>
                    <a:cubicBezTo>
                      <a:pt x="100" y="73"/>
                      <a:pt x="100" y="73"/>
                      <a:pt x="100" y="73"/>
                    </a:cubicBezTo>
                    <a:cubicBezTo>
                      <a:pt x="100" y="75"/>
                      <a:pt x="100" y="75"/>
                      <a:pt x="100" y="75"/>
                    </a:cubicBezTo>
                    <a:cubicBezTo>
                      <a:pt x="99" y="76"/>
                      <a:pt x="99" y="76"/>
                      <a:pt x="99" y="76"/>
                    </a:cubicBezTo>
                    <a:cubicBezTo>
                      <a:pt x="97" y="85"/>
                      <a:pt x="95" y="91"/>
                      <a:pt x="93" y="93"/>
                    </a:cubicBezTo>
                    <a:cubicBezTo>
                      <a:pt x="84" y="93"/>
                      <a:pt x="84" y="93"/>
                      <a:pt x="84" y="93"/>
                    </a:cubicBezTo>
                    <a:cubicBezTo>
                      <a:pt x="84" y="93"/>
                      <a:pt x="84" y="93"/>
                      <a:pt x="84" y="93"/>
                    </a:cubicBezTo>
                    <a:cubicBezTo>
                      <a:pt x="84" y="97"/>
                      <a:pt x="81" y="103"/>
                      <a:pt x="76" y="111"/>
                    </a:cubicBezTo>
                    <a:cubicBezTo>
                      <a:pt x="74" y="113"/>
                      <a:pt x="74" y="115"/>
                      <a:pt x="74" y="117"/>
                    </a:cubicBezTo>
                    <a:cubicBezTo>
                      <a:pt x="83" y="123"/>
                      <a:pt x="83" y="123"/>
                      <a:pt x="83" y="123"/>
                    </a:cubicBezTo>
                    <a:cubicBezTo>
                      <a:pt x="85" y="126"/>
                      <a:pt x="87" y="127"/>
                      <a:pt x="89" y="127"/>
                    </a:cubicBezTo>
                    <a:cubicBezTo>
                      <a:pt x="91" y="127"/>
                      <a:pt x="91" y="127"/>
                      <a:pt x="91" y="127"/>
                    </a:cubicBezTo>
                    <a:cubicBezTo>
                      <a:pt x="93" y="133"/>
                      <a:pt x="93" y="133"/>
                      <a:pt x="93" y="133"/>
                    </a:cubicBezTo>
                    <a:cubicBezTo>
                      <a:pt x="97" y="135"/>
                      <a:pt x="97" y="135"/>
                      <a:pt x="97" y="135"/>
                    </a:cubicBezTo>
                    <a:cubicBezTo>
                      <a:pt x="100" y="133"/>
                      <a:pt x="100" y="133"/>
                      <a:pt x="100" y="133"/>
                    </a:cubicBezTo>
                    <a:cubicBezTo>
                      <a:pt x="101" y="131"/>
                      <a:pt x="102" y="131"/>
                      <a:pt x="104" y="131"/>
                    </a:cubicBezTo>
                    <a:cubicBezTo>
                      <a:pt x="108" y="131"/>
                      <a:pt x="111" y="133"/>
                      <a:pt x="115" y="139"/>
                    </a:cubicBezTo>
                    <a:cubicBezTo>
                      <a:pt x="115" y="139"/>
                      <a:pt x="115" y="139"/>
                      <a:pt x="115" y="139"/>
                    </a:cubicBezTo>
                    <a:cubicBezTo>
                      <a:pt x="118" y="143"/>
                      <a:pt x="118" y="143"/>
                      <a:pt x="118" y="143"/>
                    </a:cubicBezTo>
                    <a:cubicBezTo>
                      <a:pt x="119" y="143"/>
                      <a:pt x="119" y="143"/>
                      <a:pt x="119" y="143"/>
                    </a:cubicBezTo>
                    <a:cubicBezTo>
                      <a:pt x="121" y="141"/>
                      <a:pt x="126" y="142"/>
                      <a:pt x="132" y="144"/>
                    </a:cubicBezTo>
                    <a:cubicBezTo>
                      <a:pt x="142" y="146"/>
                      <a:pt x="142" y="146"/>
                      <a:pt x="142" y="146"/>
                    </a:cubicBezTo>
                    <a:cubicBezTo>
                      <a:pt x="152" y="143"/>
                      <a:pt x="152" y="143"/>
                      <a:pt x="152" y="143"/>
                    </a:cubicBezTo>
                    <a:cubicBezTo>
                      <a:pt x="156" y="141"/>
                      <a:pt x="156" y="141"/>
                      <a:pt x="156" y="141"/>
                    </a:cubicBezTo>
                    <a:cubicBezTo>
                      <a:pt x="159" y="139"/>
                      <a:pt x="159" y="139"/>
                      <a:pt x="159" y="139"/>
                    </a:cubicBezTo>
                    <a:cubicBezTo>
                      <a:pt x="156" y="136"/>
                      <a:pt x="156" y="136"/>
                      <a:pt x="156" y="136"/>
                    </a:cubicBezTo>
                    <a:cubicBezTo>
                      <a:pt x="156" y="135"/>
                      <a:pt x="156" y="133"/>
                      <a:pt x="158" y="131"/>
                    </a:cubicBezTo>
                    <a:cubicBezTo>
                      <a:pt x="161" y="129"/>
                      <a:pt x="162" y="127"/>
                      <a:pt x="162" y="124"/>
                    </a:cubicBezTo>
                    <a:cubicBezTo>
                      <a:pt x="162" y="119"/>
                      <a:pt x="162" y="119"/>
                      <a:pt x="162" y="119"/>
                    </a:cubicBezTo>
                    <a:cubicBezTo>
                      <a:pt x="162" y="117"/>
                      <a:pt x="162" y="115"/>
                      <a:pt x="163" y="115"/>
                    </a:cubicBezTo>
                    <a:cubicBezTo>
                      <a:pt x="164" y="113"/>
                      <a:pt x="166" y="112"/>
                      <a:pt x="170" y="111"/>
                    </a:cubicBezTo>
                    <a:cubicBezTo>
                      <a:pt x="175" y="111"/>
                      <a:pt x="181" y="113"/>
                      <a:pt x="189" y="119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2" y="105"/>
                      <a:pt x="182" y="105"/>
                      <a:pt x="182" y="105"/>
                    </a:cubicBezTo>
                    <a:cubicBezTo>
                      <a:pt x="181" y="98"/>
                      <a:pt x="181" y="98"/>
                      <a:pt x="181" y="98"/>
                    </a:cubicBezTo>
                    <a:cubicBezTo>
                      <a:pt x="174" y="97"/>
                      <a:pt x="174" y="97"/>
                      <a:pt x="174" y="97"/>
                    </a:cubicBezTo>
                    <a:cubicBezTo>
                      <a:pt x="174" y="97"/>
                      <a:pt x="174" y="97"/>
                      <a:pt x="174" y="97"/>
                    </a:cubicBezTo>
                    <a:cubicBezTo>
                      <a:pt x="174" y="97"/>
                      <a:pt x="174" y="97"/>
                      <a:pt x="174" y="97"/>
                    </a:cubicBezTo>
                    <a:cubicBezTo>
                      <a:pt x="174" y="97"/>
                      <a:pt x="174" y="97"/>
                      <a:pt x="174" y="97"/>
                    </a:cubicBezTo>
                    <a:cubicBezTo>
                      <a:pt x="174" y="97"/>
                      <a:pt x="174" y="97"/>
                      <a:pt x="174" y="97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47" y="85"/>
                      <a:pt x="147" y="85"/>
                      <a:pt x="147" y="85"/>
                    </a:cubicBezTo>
                    <a:cubicBezTo>
                      <a:pt x="147" y="83"/>
                      <a:pt x="147" y="83"/>
                      <a:pt x="147" y="83"/>
                    </a:cubicBezTo>
                    <a:cubicBezTo>
                      <a:pt x="146" y="73"/>
                      <a:pt x="146" y="73"/>
                      <a:pt x="146" y="73"/>
                    </a:cubicBezTo>
                    <a:cubicBezTo>
                      <a:pt x="140" y="57"/>
                      <a:pt x="136" y="46"/>
                      <a:pt x="132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0" name="íṥḷïḓe"/>
              <p:cNvSpPr/>
              <p:nvPr/>
            </p:nvSpPr>
            <p:spPr bwMode="auto">
              <a:xfrm>
                <a:off x="3658" y="1555"/>
                <a:ext cx="416" cy="594"/>
              </a:xfrm>
              <a:custGeom>
                <a:avLst/>
                <a:gdLst>
                  <a:gd name="T0" fmla="*/ 158 w 176"/>
                  <a:gd name="T1" fmla="*/ 74 h 251"/>
                  <a:gd name="T2" fmla="*/ 140 w 176"/>
                  <a:gd name="T3" fmla="*/ 69 h 251"/>
                  <a:gd name="T4" fmla="*/ 139 w 176"/>
                  <a:gd name="T5" fmla="*/ 52 h 251"/>
                  <a:gd name="T6" fmla="*/ 134 w 176"/>
                  <a:gd name="T7" fmla="*/ 46 h 251"/>
                  <a:gd name="T8" fmla="*/ 117 w 176"/>
                  <a:gd name="T9" fmla="*/ 38 h 251"/>
                  <a:gd name="T10" fmla="*/ 117 w 176"/>
                  <a:gd name="T11" fmla="*/ 24 h 251"/>
                  <a:gd name="T12" fmla="*/ 113 w 176"/>
                  <a:gd name="T13" fmla="*/ 20 h 251"/>
                  <a:gd name="T14" fmla="*/ 105 w 176"/>
                  <a:gd name="T15" fmla="*/ 15 h 251"/>
                  <a:gd name="T16" fmla="*/ 100 w 176"/>
                  <a:gd name="T17" fmla="*/ 0 h 251"/>
                  <a:gd name="T18" fmla="*/ 89 w 176"/>
                  <a:gd name="T19" fmla="*/ 8 h 251"/>
                  <a:gd name="T20" fmla="*/ 78 w 176"/>
                  <a:gd name="T21" fmla="*/ 24 h 251"/>
                  <a:gd name="T22" fmla="*/ 71 w 176"/>
                  <a:gd name="T23" fmla="*/ 33 h 251"/>
                  <a:gd name="T24" fmla="*/ 59 w 176"/>
                  <a:gd name="T25" fmla="*/ 39 h 251"/>
                  <a:gd name="T26" fmla="*/ 45 w 176"/>
                  <a:gd name="T27" fmla="*/ 39 h 251"/>
                  <a:gd name="T28" fmla="*/ 32 w 176"/>
                  <a:gd name="T29" fmla="*/ 50 h 251"/>
                  <a:gd name="T30" fmla="*/ 24 w 176"/>
                  <a:gd name="T31" fmla="*/ 45 h 251"/>
                  <a:gd name="T32" fmla="*/ 17 w 176"/>
                  <a:gd name="T33" fmla="*/ 32 h 251"/>
                  <a:gd name="T34" fmla="*/ 8 w 176"/>
                  <a:gd name="T35" fmla="*/ 48 h 251"/>
                  <a:gd name="T36" fmla="*/ 7 w 176"/>
                  <a:gd name="T37" fmla="*/ 48 h 251"/>
                  <a:gd name="T38" fmla="*/ 15 w 176"/>
                  <a:gd name="T39" fmla="*/ 84 h 251"/>
                  <a:gd name="T40" fmla="*/ 18 w 176"/>
                  <a:gd name="T41" fmla="*/ 94 h 251"/>
                  <a:gd name="T42" fmla="*/ 6 w 176"/>
                  <a:gd name="T43" fmla="*/ 100 h 251"/>
                  <a:gd name="T44" fmla="*/ 24 w 176"/>
                  <a:gd name="T45" fmla="*/ 120 h 251"/>
                  <a:gd name="T46" fmla="*/ 24 w 176"/>
                  <a:gd name="T47" fmla="*/ 120 h 251"/>
                  <a:gd name="T48" fmla="*/ 19 w 176"/>
                  <a:gd name="T49" fmla="*/ 140 h 251"/>
                  <a:gd name="T50" fmla="*/ 8 w 176"/>
                  <a:gd name="T51" fmla="*/ 147 h 251"/>
                  <a:gd name="T52" fmla="*/ 18 w 176"/>
                  <a:gd name="T53" fmla="*/ 179 h 251"/>
                  <a:gd name="T54" fmla="*/ 24 w 176"/>
                  <a:gd name="T55" fmla="*/ 189 h 251"/>
                  <a:gd name="T56" fmla="*/ 16 w 176"/>
                  <a:gd name="T57" fmla="*/ 208 h 251"/>
                  <a:gd name="T58" fmla="*/ 10 w 176"/>
                  <a:gd name="T59" fmla="*/ 225 h 251"/>
                  <a:gd name="T60" fmla="*/ 11 w 176"/>
                  <a:gd name="T61" fmla="*/ 238 h 251"/>
                  <a:gd name="T62" fmla="*/ 13 w 176"/>
                  <a:gd name="T63" fmla="*/ 241 h 251"/>
                  <a:gd name="T64" fmla="*/ 14 w 176"/>
                  <a:gd name="T65" fmla="*/ 244 h 251"/>
                  <a:gd name="T66" fmla="*/ 14 w 176"/>
                  <a:gd name="T67" fmla="*/ 244 h 251"/>
                  <a:gd name="T68" fmla="*/ 47 w 176"/>
                  <a:gd name="T69" fmla="*/ 248 h 251"/>
                  <a:gd name="T70" fmla="*/ 56 w 176"/>
                  <a:gd name="T71" fmla="*/ 232 h 251"/>
                  <a:gd name="T72" fmla="*/ 104 w 176"/>
                  <a:gd name="T73" fmla="*/ 176 h 251"/>
                  <a:gd name="T74" fmla="*/ 125 w 176"/>
                  <a:gd name="T75" fmla="*/ 164 h 251"/>
                  <a:gd name="T76" fmla="*/ 117 w 176"/>
                  <a:gd name="T77" fmla="*/ 156 h 251"/>
                  <a:gd name="T78" fmla="*/ 115 w 176"/>
                  <a:gd name="T79" fmla="*/ 147 h 251"/>
                  <a:gd name="T80" fmla="*/ 87 w 176"/>
                  <a:gd name="T81" fmla="*/ 119 h 251"/>
                  <a:gd name="T82" fmla="*/ 61 w 176"/>
                  <a:gd name="T83" fmla="*/ 114 h 251"/>
                  <a:gd name="T84" fmla="*/ 51 w 176"/>
                  <a:gd name="T85" fmla="*/ 100 h 251"/>
                  <a:gd name="T86" fmla="*/ 67 w 176"/>
                  <a:gd name="T87" fmla="*/ 74 h 251"/>
                  <a:gd name="T88" fmla="*/ 71 w 176"/>
                  <a:gd name="T89" fmla="*/ 61 h 251"/>
                  <a:gd name="T90" fmla="*/ 104 w 176"/>
                  <a:gd name="T91" fmla="*/ 67 h 251"/>
                  <a:gd name="T92" fmla="*/ 101 w 176"/>
                  <a:gd name="T93" fmla="*/ 80 h 251"/>
                  <a:gd name="T94" fmla="*/ 120 w 176"/>
                  <a:gd name="T95" fmla="*/ 95 h 251"/>
                  <a:gd name="T96" fmla="*/ 150 w 176"/>
                  <a:gd name="T97" fmla="*/ 122 h 251"/>
                  <a:gd name="T98" fmla="*/ 166 w 176"/>
                  <a:gd name="T99" fmla="*/ 102 h 251"/>
                  <a:gd name="T100" fmla="*/ 168 w 176"/>
                  <a:gd name="T101" fmla="*/ 92 h 251"/>
                  <a:gd name="T102" fmla="*/ 175 w 176"/>
                  <a:gd name="T103" fmla="*/ 87 h 251"/>
                  <a:gd name="T104" fmla="*/ 163 w 176"/>
                  <a:gd name="T105" fmla="*/ 78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76" h="251">
                    <a:moveTo>
                      <a:pt x="162" y="76"/>
                    </a:moveTo>
                    <a:cubicBezTo>
                      <a:pt x="159" y="74"/>
                      <a:pt x="159" y="74"/>
                      <a:pt x="159" y="74"/>
                    </a:cubicBezTo>
                    <a:cubicBezTo>
                      <a:pt x="159" y="74"/>
                      <a:pt x="159" y="74"/>
                      <a:pt x="159" y="74"/>
                    </a:cubicBezTo>
                    <a:cubicBezTo>
                      <a:pt x="158" y="74"/>
                      <a:pt x="158" y="74"/>
                      <a:pt x="158" y="74"/>
                    </a:cubicBezTo>
                    <a:cubicBezTo>
                      <a:pt x="156" y="72"/>
                      <a:pt x="156" y="72"/>
                      <a:pt x="156" y="72"/>
                    </a:cubicBezTo>
                    <a:cubicBezTo>
                      <a:pt x="145" y="68"/>
                      <a:pt x="145" y="68"/>
                      <a:pt x="145" y="68"/>
                    </a:cubicBezTo>
                    <a:cubicBezTo>
                      <a:pt x="142" y="68"/>
                      <a:pt x="142" y="68"/>
                      <a:pt x="142" y="68"/>
                    </a:cubicBezTo>
                    <a:cubicBezTo>
                      <a:pt x="140" y="69"/>
                      <a:pt x="140" y="69"/>
                      <a:pt x="140" y="69"/>
                    </a:cubicBezTo>
                    <a:cubicBezTo>
                      <a:pt x="135" y="61"/>
                      <a:pt x="135" y="61"/>
                      <a:pt x="135" y="61"/>
                    </a:cubicBezTo>
                    <a:cubicBezTo>
                      <a:pt x="136" y="60"/>
                      <a:pt x="136" y="60"/>
                      <a:pt x="136" y="60"/>
                    </a:cubicBezTo>
                    <a:cubicBezTo>
                      <a:pt x="139" y="56"/>
                      <a:pt x="139" y="56"/>
                      <a:pt x="139" y="56"/>
                    </a:cubicBezTo>
                    <a:cubicBezTo>
                      <a:pt x="139" y="52"/>
                      <a:pt x="139" y="52"/>
                      <a:pt x="139" y="52"/>
                    </a:cubicBezTo>
                    <a:cubicBezTo>
                      <a:pt x="139" y="51"/>
                      <a:pt x="139" y="51"/>
                      <a:pt x="139" y="51"/>
                    </a:cubicBezTo>
                    <a:cubicBezTo>
                      <a:pt x="141" y="48"/>
                      <a:pt x="141" y="48"/>
                      <a:pt x="141" y="48"/>
                    </a:cubicBezTo>
                    <a:cubicBezTo>
                      <a:pt x="140" y="47"/>
                      <a:pt x="140" y="47"/>
                      <a:pt x="140" y="47"/>
                    </a:cubicBezTo>
                    <a:cubicBezTo>
                      <a:pt x="134" y="46"/>
                      <a:pt x="134" y="46"/>
                      <a:pt x="134" y="46"/>
                    </a:cubicBezTo>
                    <a:cubicBezTo>
                      <a:pt x="134" y="46"/>
                      <a:pt x="134" y="46"/>
                      <a:pt x="134" y="46"/>
                    </a:cubicBezTo>
                    <a:cubicBezTo>
                      <a:pt x="123" y="44"/>
                      <a:pt x="123" y="44"/>
                      <a:pt x="123" y="44"/>
                    </a:cubicBezTo>
                    <a:cubicBezTo>
                      <a:pt x="123" y="44"/>
                      <a:pt x="123" y="44"/>
                      <a:pt x="123" y="44"/>
                    </a:cubicBezTo>
                    <a:cubicBezTo>
                      <a:pt x="117" y="38"/>
                      <a:pt x="117" y="38"/>
                      <a:pt x="117" y="38"/>
                    </a:cubicBezTo>
                    <a:cubicBezTo>
                      <a:pt x="117" y="38"/>
                      <a:pt x="117" y="38"/>
                      <a:pt x="117" y="38"/>
                    </a:cubicBezTo>
                    <a:cubicBezTo>
                      <a:pt x="115" y="34"/>
                      <a:pt x="115" y="34"/>
                      <a:pt x="115" y="34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7" y="24"/>
                      <a:pt x="117" y="24"/>
                      <a:pt x="117" y="24"/>
                    </a:cubicBezTo>
                    <a:cubicBezTo>
                      <a:pt x="117" y="18"/>
                      <a:pt x="117" y="18"/>
                      <a:pt x="117" y="18"/>
                    </a:cubicBezTo>
                    <a:cubicBezTo>
                      <a:pt x="117" y="16"/>
                      <a:pt x="117" y="16"/>
                      <a:pt x="117" y="16"/>
                    </a:cubicBezTo>
                    <a:cubicBezTo>
                      <a:pt x="114" y="20"/>
                      <a:pt x="114" y="20"/>
                      <a:pt x="114" y="20"/>
                    </a:cubicBezTo>
                    <a:cubicBezTo>
                      <a:pt x="113" y="20"/>
                      <a:pt x="113" y="20"/>
                      <a:pt x="113" y="20"/>
                    </a:cubicBezTo>
                    <a:cubicBezTo>
                      <a:pt x="113" y="21"/>
                      <a:pt x="113" y="21"/>
                      <a:pt x="113" y="21"/>
                    </a:cubicBezTo>
                    <a:cubicBezTo>
                      <a:pt x="112" y="20"/>
                      <a:pt x="112" y="20"/>
                      <a:pt x="112" y="20"/>
                    </a:cubicBezTo>
                    <a:cubicBezTo>
                      <a:pt x="111" y="20"/>
                      <a:pt x="111" y="20"/>
                      <a:pt x="111" y="20"/>
                    </a:cubicBezTo>
                    <a:cubicBezTo>
                      <a:pt x="105" y="15"/>
                      <a:pt x="105" y="15"/>
                      <a:pt x="105" y="15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0" y="7"/>
                      <a:pt x="90" y="7"/>
                      <a:pt x="90" y="7"/>
                    </a:cubicBezTo>
                    <a:cubicBezTo>
                      <a:pt x="90" y="8"/>
                      <a:pt x="90" y="8"/>
                      <a:pt x="90" y="8"/>
                    </a:cubicBezTo>
                    <a:cubicBezTo>
                      <a:pt x="89" y="8"/>
                      <a:pt x="89" y="8"/>
                      <a:pt x="89" y="8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2" y="33"/>
                      <a:pt x="72" y="33"/>
                      <a:pt x="72" y="33"/>
                    </a:cubicBezTo>
                    <a:cubicBezTo>
                      <a:pt x="71" y="33"/>
                      <a:pt x="71" y="33"/>
                      <a:pt x="71" y="33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8" y="39"/>
                      <a:pt x="58" y="39"/>
                      <a:pt x="58" y="39"/>
                    </a:cubicBezTo>
                    <a:cubicBezTo>
                      <a:pt x="57" y="39"/>
                      <a:pt x="57" y="39"/>
                      <a:pt x="57" y="39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5" y="39"/>
                      <a:pt x="45" y="39"/>
                      <a:pt x="45" y="39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39" y="49"/>
                      <a:pt x="38" y="50"/>
                      <a:pt x="37" y="50"/>
                    </a:cubicBezTo>
                    <a:cubicBezTo>
                      <a:pt x="32" y="50"/>
                      <a:pt x="32" y="50"/>
                      <a:pt x="32" y="50"/>
                    </a:cubicBezTo>
                    <a:cubicBezTo>
                      <a:pt x="25" y="47"/>
                      <a:pt x="25" y="47"/>
                      <a:pt x="25" y="47"/>
                    </a:cubicBezTo>
                    <a:cubicBezTo>
                      <a:pt x="24" y="46"/>
                      <a:pt x="24" y="46"/>
                      <a:pt x="24" y="46"/>
                    </a:cubicBezTo>
                    <a:cubicBezTo>
                      <a:pt x="24" y="46"/>
                      <a:pt x="24" y="46"/>
                      <a:pt x="24" y="46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4" y="55"/>
                      <a:pt x="3" y="58"/>
                      <a:pt x="0" y="61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15" y="84"/>
                      <a:pt x="15" y="84"/>
                      <a:pt x="15" y="84"/>
                    </a:cubicBezTo>
                    <a:cubicBezTo>
                      <a:pt x="15" y="84"/>
                      <a:pt x="15" y="84"/>
                      <a:pt x="15" y="84"/>
                    </a:cubicBezTo>
                    <a:cubicBezTo>
                      <a:pt x="19" y="92"/>
                      <a:pt x="19" y="92"/>
                      <a:pt x="19" y="92"/>
                    </a:cubicBezTo>
                    <a:cubicBezTo>
                      <a:pt x="19" y="93"/>
                      <a:pt x="19" y="93"/>
                      <a:pt x="19" y="93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14" y="98"/>
                      <a:pt x="14" y="98"/>
                      <a:pt x="14" y="98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7" y="106"/>
                      <a:pt x="7" y="106"/>
                      <a:pt x="7" y="106"/>
                    </a:cubicBezTo>
                    <a:cubicBezTo>
                      <a:pt x="13" y="110"/>
                      <a:pt x="13" y="110"/>
                      <a:pt x="13" y="110"/>
                    </a:cubicBezTo>
                    <a:cubicBezTo>
                      <a:pt x="21" y="112"/>
                      <a:pt x="21" y="112"/>
                      <a:pt x="21" y="112"/>
                    </a:cubicBezTo>
                    <a:cubicBezTo>
                      <a:pt x="24" y="120"/>
                      <a:pt x="24" y="120"/>
                      <a:pt x="24" y="120"/>
                    </a:cubicBezTo>
                    <a:cubicBezTo>
                      <a:pt x="24" y="120"/>
                      <a:pt x="24" y="120"/>
                      <a:pt x="24" y="120"/>
                    </a:cubicBezTo>
                    <a:cubicBezTo>
                      <a:pt x="24" y="120"/>
                      <a:pt x="24" y="120"/>
                      <a:pt x="24" y="120"/>
                    </a:cubicBezTo>
                    <a:cubicBezTo>
                      <a:pt x="24" y="120"/>
                      <a:pt x="24" y="120"/>
                      <a:pt x="24" y="120"/>
                    </a:cubicBezTo>
                    <a:cubicBezTo>
                      <a:pt x="24" y="120"/>
                      <a:pt x="24" y="120"/>
                      <a:pt x="24" y="120"/>
                    </a:cubicBezTo>
                    <a:cubicBezTo>
                      <a:pt x="22" y="134"/>
                      <a:pt x="22" y="134"/>
                      <a:pt x="22" y="134"/>
                    </a:cubicBezTo>
                    <a:cubicBezTo>
                      <a:pt x="22" y="134"/>
                      <a:pt x="22" y="134"/>
                      <a:pt x="22" y="134"/>
                    </a:cubicBezTo>
                    <a:cubicBezTo>
                      <a:pt x="22" y="134"/>
                      <a:pt x="22" y="134"/>
                      <a:pt x="22" y="134"/>
                    </a:cubicBezTo>
                    <a:cubicBezTo>
                      <a:pt x="19" y="140"/>
                      <a:pt x="19" y="140"/>
                      <a:pt x="19" y="140"/>
                    </a:cubicBezTo>
                    <a:cubicBezTo>
                      <a:pt x="19" y="142"/>
                      <a:pt x="19" y="142"/>
                      <a:pt x="19" y="142"/>
                    </a:cubicBezTo>
                    <a:cubicBezTo>
                      <a:pt x="18" y="142"/>
                      <a:pt x="18" y="142"/>
                      <a:pt x="18" y="142"/>
                    </a:cubicBezTo>
                    <a:cubicBezTo>
                      <a:pt x="8" y="143"/>
                      <a:pt x="8" y="143"/>
                      <a:pt x="8" y="143"/>
                    </a:cubicBezTo>
                    <a:cubicBezTo>
                      <a:pt x="8" y="147"/>
                      <a:pt x="8" y="147"/>
                      <a:pt x="8" y="147"/>
                    </a:cubicBezTo>
                    <a:cubicBezTo>
                      <a:pt x="5" y="156"/>
                      <a:pt x="5" y="156"/>
                      <a:pt x="5" y="156"/>
                    </a:cubicBezTo>
                    <a:cubicBezTo>
                      <a:pt x="4" y="166"/>
                      <a:pt x="4" y="166"/>
                      <a:pt x="4" y="166"/>
                    </a:cubicBezTo>
                    <a:cubicBezTo>
                      <a:pt x="6" y="172"/>
                      <a:pt x="6" y="172"/>
                      <a:pt x="6" y="172"/>
                    </a:cubicBezTo>
                    <a:cubicBezTo>
                      <a:pt x="18" y="179"/>
                      <a:pt x="18" y="179"/>
                      <a:pt x="18" y="179"/>
                    </a:cubicBezTo>
                    <a:cubicBezTo>
                      <a:pt x="19" y="180"/>
                      <a:pt x="19" y="180"/>
                      <a:pt x="19" y="180"/>
                    </a:cubicBezTo>
                    <a:cubicBezTo>
                      <a:pt x="24" y="188"/>
                      <a:pt x="24" y="188"/>
                      <a:pt x="24" y="188"/>
                    </a:cubicBezTo>
                    <a:cubicBezTo>
                      <a:pt x="24" y="189"/>
                      <a:pt x="24" y="189"/>
                      <a:pt x="24" y="189"/>
                    </a:cubicBezTo>
                    <a:cubicBezTo>
                      <a:pt x="24" y="189"/>
                      <a:pt x="24" y="189"/>
                      <a:pt x="24" y="189"/>
                    </a:cubicBezTo>
                    <a:cubicBezTo>
                      <a:pt x="24" y="190"/>
                      <a:pt x="24" y="190"/>
                      <a:pt x="24" y="190"/>
                    </a:cubicBezTo>
                    <a:cubicBezTo>
                      <a:pt x="17" y="204"/>
                      <a:pt x="17" y="204"/>
                      <a:pt x="17" y="204"/>
                    </a:cubicBezTo>
                    <a:cubicBezTo>
                      <a:pt x="16" y="208"/>
                      <a:pt x="16" y="208"/>
                      <a:pt x="16" y="208"/>
                    </a:cubicBezTo>
                    <a:cubicBezTo>
                      <a:pt x="16" y="208"/>
                      <a:pt x="16" y="208"/>
                      <a:pt x="16" y="208"/>
                    </a:cubicBezTo>
                    <a:cubicBezTo>
                      <a:pt x="12" y="217"/>
                      <a:pt x="12" y="217"/>
                      <a:pt x="12" y="217"/>
                    </a:cubicBezTo>
                    <a:cubicBezTo>
                      <a:pt x="10" y="224"/>
                      <a:pt x="10" y="224"/>
                      <a:pt x="10" y="224"/>
                    </a:cubicBezTo>
                    <a:cubicBezTo>
                      <a:pt x="10" y="225"/>
                      <a:pt x="10" y="225"/>
                      <a:pt x="10" y="225"/>
                    </a:cubicBezTo>
                    <a:cubicBezTo>
                      <a:pt x="10" y="225"/>
                      <a:pt x="10" y="225"/>
                      <a:pt x="10" y="225"/>
                    </a:cubicBezTo>
                    <a:cubicBezTo>
                      <a:pt x="8" y="227"/>
                      <a:pt x="7" y="228"/>
                      <a:pt x="6" y="231"/>
                    </a:cubicBezTo>
                    <a:cubicBezTo>
                      <a:pt x="5" y="232"/>
                      <a:pt x="5" y="232"/>
                      <a:pt x="6" y="233"/>
                    </a:cubicBezTo>
                    <a:cubicBezTo>
                      <a:pt x="7" y="234"/>
                      <a:pt x="7" y="234"/>
                      <a:pt x="7" y="234"/>
                    </a:cubicBezTo>
                    <a:cubicBezTo>
                      <a:pt x="11" y="238"/>
                      <a:pt x="11" y="238"/>
                      <a:pt x="11" y="238"/>
                    </a:cubicBezTo>
                    <a:cubicBezTo>
                      <a:pt x="11" y="238"/>
                      <a:pt x="11" y="238"/>
                      <a:pt x="11" y="238"/>
                    </a:cubicBezTo>
                    <a:cubicBezTo>
                      <a:pt x="11" y="238"/>
                      <a:pt x="11" y="238"/>
                      <a:pt x="11" y="238"/>
                    </a:cubicBezTo>
                    <a:cubicBezTo>
                      <a:pt x="13" y="241"/>
                      <a:pt x="13" y="241"/>
                      <a:pt x="13" y="241"/>
                    </a:cubicBezTo>
                    <a:cubicBezTo>
                      <a:pt x="13" y="241"/>
                      <a:pt x="13" y="241"/>
                      <a:pt x="13" y="241"/>
                    </a:cubicBezTo>
                    <a:cubicBezTo>
                      <a:pt x="13" y="241"/>
                      <a:pt x="13" y="241"/>
                      <a:pt x="13" y="241"/>
                    </a:cubicBezTo>
                    <a:cubicBezTo>
                      <a:pt x="14" y="242"/>
                      <a:pt x="14" y="242"/>
                      <a:pt x="14" y="242"/>
                    </a:cubicBezTo>
                    <a:cubicBezTo>
                      <a:pt x="14" y="242"/>
                      <a:pt x="14" y="242"/>
                      <a:pt x="14" y="242"/>
                    </a:cubicBezTo>
                    <a:cubicBezTo>
                      <a:pt x="14" y="244"/>
                      <a:pt x="14" y="244"/>
                      <a:pt x="14" y="244"/>
                    </a:cubicBezTo>
                    <a:cubicBezTo>
                      <a:pt x="14" y="244"/>
                      <a:pt x="14" y="244"/>
                      <a:pt x="14" y="244"/>
                    </a:cubicBezTo>
                    <a:cubicBezTo>
                      <a:pt x="14" y="244"/>
                      <a:pt x="14" y="244"/>
                      <a:pt x="14" y="244"/>
                    </a:cubicBezTo>
                    <a:cubicBezTo>
                      <a:pt x="14" y="244"/>
                      <a:pt x="14" y="244"/>
                      <a:pt x="14" y="244"/>
                    </a:cubicBezTo>
                    <a:cubicBezTo>
                      <a:pt x="14" y="244"/>
                      <a:pt x="14" y="244"/>
                      <a:pt x="14" y="244"/>
                    </a:cubicBezTo>
                    <a:cubicBezTo>
                      <a:pt x="15" y="246"/>
                      <a:pt x="15" y="246"/>
                      <a:pt x="15" y="246"/>
                    </a:cubicBezTo>
                    <a:cubicBezTo>
                      <a:pt x="18" y="248"/>
                      <a:pt x="18" y="248"/>
                      <a:pt x="18" y="248"/>
                    </a:cubicBezTo>
                    <a:cubicBezTo>
                      <a:pt x="33" y="251"/>
                      <a:pt x="33" y="251"/>
                      <a:pt x="33" y="251"/>
                    </a:cubicBezTo>
                    <a:cubicBezTo>
                      <a:pt x="37" y="251"/>
                      <a:pt x="42" y="250"/>
                      <a:pt x="47" y="248"/>
                    </a:cubicBezTo>
                    <a:cubicBezTo>
                      <a:pt x="51" y="246"/>
                      <a:pt x="56" y="245"/>
                      <a:pt x="61" y="246"/>
                    </a:cubicBezTo>
                    <a:cubicBezTo>
                      <a:pt x="61" y="243"/>
                      <a:pt x="61" y="243"/>
                      <a:pt x="61" y="243"/>
                    </a:cubicBezTo>
                    <a:cubicBezTo>
                      <a:pt x="57" y="232"/>
                      <a:pt x="57" y="232"/>
                      <a:pt x="57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7" y="232"/>
                      <a:pt x="57" y="232"/>
                      <a:pt x="57" y="232"/>
                    </a:cubicBezTo>
                    <a:cubicBezTo>
                      <a:pt x="79" y="200"/>
                      <a:pt x="79" y="200"/>
                      <a:pt x="79" y="200"/>
                    </a:cubicBezTo>
                    <a:cubicBezTo>
                      <a:pt x="104" y="176"/>
                      <a:pt x="104" y="176"/>
                      <a:pt x="104" y="176"/>
                    </a:cubicBezTo>
                    <a:cubicBezTo>
                      <a:pt x="104" y="176"/>
                      <a:pt x="104" y="176"/>
                      <a:pt x="104" y="176"/>
                    </a:cubicBezTo>
                    <a:cubicBezTo>
                      <a:pt x="112" y="174"/>
                      <a:pt x="112" y="174"/>
                      <a:pt x="112" y="174"/>
                    </a:cubicBezTo>
                    <a:cubicBezTo>
                      <a:pt x="116" y="169"/>
                      <a:pt x="116" y="169"/>
                      <a:pt x="116" y="169"/>
                    </a:cubicBezTo>
                    <a:cubicBezTo>
                      <a:pt x="116" y="169"/>
                      <a:pt x="116" y="169"/>
                      <a:pt x="116" y="169"/>
                    </a:cubicBezTo>
                    <a:cubicBezTo>
                      <a:pt x="119" y="166"/>
                      <a:pt x="122" y="165"/>
                      <a:pt x="125" y="164"/>
                    </a:cubicBezTo>
                    <a:cubicBezTo>
                      <a:pt x="123" y="162"/>
                      <a:pt x="123" y="162"/>
                      <a:pt x="123" y="162"/>
                    </a:cubicBezTo>
                    <a:cubicBezTo>
                      <a:pt x="117" y="156"/>
                      <a:pt x="117" y="156"/>
                      <a:pt x="117" y="156"/>
                    </a:cubicBezTo>
                    <a:cubicBezTo>
                      <a:pt x="117" y="156"/>
                      <a:pt x="117" y="156"/>
                      <a:pt x="117" y="156"/>
                    </a:cubicBezTo>
                    <a:cubicBezTo>
                      <a:pt x="117" y="156"/>
                      <a:pt x="117" y="156"/>
                      <a:pt x="117" y="156"/>
                    </a:cubicBezTo>
                    <a:cubicBezTo>
                      <a:pt x="113" y="151"/>
                      <a:pt x="113" y="151"/>
                      <a:pt x="113" y="151"/>
                    </a:cubicBezTo>
                    <a:cubicBezTo>
                      <a:pt x="113" y="150"/>
                      <a:pt x="113" y="150"/>
                      <a:pt x="113" y="150"/>
                    </a:cubicBezTo>
                    <a:cubicBezTo>
                      <a:pt x="113" y="150"/>
                      <a:pt x="113" y="150"/>
                      <a:pt x="113" y="150"/>
                    </a:cubicBezTo>
                    <a:cubicBezTo>
                      <a:pt x="115" y="147"/>
                      <a:pt x="115" y="147"/>
                      <a:pt x="115" y="147"/>
                    </a:cubicBezTo>
                    <a:cubicBezTo>
                      <a:pt x="109" y="148"/>
                      <a:pt x="109" y="148"/>
                      <a:pt x="109" y="148"/>
                    </a:cubicBezTo>
                    <a:cubicBezTo>
                      <a:pt x="98" y="146"/>
                      <a:pt x="98" y="146"/>
                      <a:pt x="98" y="146"/>
                    </a:cubicBezTo>
                    <a:cubicBezTo>
                      <a:pt x="94" y="144"/>
                      <a:pt x="91" y="141"/>
                      <a:pt x="90" y="138"/>
                    </a:cubicBezTo>
                    <a:cubicBezTo>
                      <a:pt x="88" y="131"/>
                      <a:pt x="87" y="125"/>
                      <a:pt x="87" y="119"/>
                    </a:cubicBezTo>
                    <a:cubicBezTo>
                      <a:pt x="86" y="121"/>
                      <a:pt x="84" y="122"/>
                      <a:pt x="82" y="122"/>
                    </a:cubicBezTo>
                    <a:cubicBezTo>
                      <a:pt x="73" y="120"/>
                      <a:pt x="73" y="120"/>
                      <a:pt x="73" y="120"/>
                    </a:cubicBezTo>
                    <a:cubicBezTo>
                      <a:pt x="68" y="116"/>
                      <a:pt x="68" y="116"/>
                      <a:pt x="68" y="116"/>
                    </a:cubicBezTo>
                    <a:cubicBezTo>
                      <a:pt x="61" y="114"/>
                      <a:pt x="61" y="114"/>
                      <a:pt x="61" y="114"/>
                    </a:cubicBezTo>
                    <a:cubicBezTo>
                      <a:pt x="58" y="114"/>
                      <a:pt x="58" y="114"/>
                      <a:pt x="58" y="114"/>
                    </a:cubicBezTo>
                    <a:cubicBezTo>
                      <a:pt x="56" y="114"/>
                      <a:pt x="53" y="113"/>
                      <a:pt x="52" y="112"/>
                    </a:cubicBezTo>
                    <a:cubicBezTo>
                      <a:pt x="49" y="110"/>
                      <a:pt x="48" y="108"/>
                      <a:pt x="48" y="107"/>
                    </a:cubicBezTo>
                    <a:cubicBezTo>
                      <a:pt x="47" y="104"/>
                      <a:pt x="48" y="102"/>
                      <a:pt x="51" y="100"/>
                    </a:cubicBezTo>
                    <a:cubicBezTo>
                      <a:pt x="53" y="98"/>
                      <a:pt x="57" y="94"/>
                      <a:pt x="59" y="90"/>
                    </a:cubicBezTo>
                    <a:cubicBezTo>
                      <a:pt x="57" y="87"/>
                      <a:pt x="55" y="83"/>
                      <a:pt x="57" y="80"/>
                    </a:cubicBezTo>
                    <a:cubicBezTo>
                      <a:pt x="57" y="79"/>
                      <a:pt x="57" y="79"/>
                      <a:pt x="57" y="79"/>
                    </a:cubicBezTo>
                    <a:cubicBezTo>
                      <a:pt x="57" y="77"/>
                      <a:pt x="61" y="76"/>
                      <a:pt x="67" y="74"/>
                    </a:cubicBezTo>
                    <a:cubicBezTo>
                      <a:pt x="67" y="72"/>
                      <a:pt x="68" y="70"/>
                      <a:pt x="69" y="70"/>
                    </a:cubicBezTo>
                    <a:cubicBezTo>
                      <a:pt x="75" y="70"/>
                      <a:pt x="75" y="70"/>
                      <a:pt x="75" y="70"/>
                    </a:cubicBezTo>
                    <a:cubicBezTo>
                      <a:pt x="74" y="70"/>
                      <a:pt x="74" y="70"/>
                      <a:pt x="74" y="70"/>
                    </a:cubicBezTo>
                    <a:cubicBezTo>
                      <a:pt x="70" y="67"/>
                      <a:pt x="69" y="64"/>
                      <a:pt x="71" y="61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7" y="58"/>
                      <a:pt x="82" y="58"/>
                      <a:pt x="86" y="60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104" y="67"/>
                      <a:pt x="104" y="67"/>
                      <a:pt x="104" y="67"/>
                    </a:cubicBezTo>
                    <a:cubicBezTo>
                      <a:pt x="107" y="69"/>
                      <a:pt x="107" y="69"/>
                      <a:pt x="107" y="69"/>
                    </a:cubicBezTo>
                    <a:cubicBezTo>
                      <a:pt x="107" y="72"/>
                      <a:pt x="107" y="72"/>
                      <a:pt x="107" y="72"/>
                    </a:cubicBezTo>
                    <a:cubicBezTo>
                      <a:pt x="107" y="74"/>
                      <a:pt x="106" y="76"/>
                      <a:pt x="105" y="76"/>
                    </a:cubicBezTo>
                    <a:cubicBezTo>
                      <a:pt x="103" y="76"/>
                      <a:pt x="102" y="78"/>
                      <a:pt x="101" y="80"/>
                    </a:cubicBezTo>
                    <a:cubicBezTo>
                      <a:pt x="105" y="90"/>
                      <a:pt x="105" y="90"/>
                      <a:pt x="105" y="90"/>
                    </a:cubicBezTo>
                    <a:cubicBezTo>
                      <a:pt x="108" y="86"/>
                      <a:pt x="110" y="84"/>
                      <a:pt x="113" y="84"/>
                    </a:cubicBezTo>
                    <a:cubicBezTo>
                      <a:pt x="114" y="84"/>
                      <a:pt x="115" y="84"/>
                      <a:pt x="117" y="86"/>
                    </a:cubicBezTo>
                    <a:cubicBezTo>
                      <a:pt x="118" y="88"/>
                      <a:pt x="119" y="92"/>
                      <a:pt x="120" y="95"/>
                    </a:cubicBezTo>
                    <a:cubicBezTo>
                      <a:pt x="120" y="100"/>
                      <a:pt x="121" y="103"/>
                      <a:pt x="123" y="105"/>
                    </a:cubicBezTo>
                    <a:cubicBezTo>
                      <a:pt x="126" y="110"/>
                      <a:pt x="126" y="110"/>
                      <a:pt x="126" y="110"/>
                    </a:cubicBezTo>
                    <a:cubicBezTo>
                      <a:pt x="131" y="116"/>
                      <a:pt x="133" y="120"/>
                      <a:pt x="134" y="124"/>
                    </a:cubicBezTo>
                    <a:cubicBezTo>
                      <a:pt x="150" y="122"/>
                      <a:pt x="150" y="122"/>
                      <a:pt x="150" y="122"/>
                    </a:cubicBezTo>
                    <a:cubicBezTo>
                      <a:pt x="157" y="118"/>
                      <a:pt x="157" y="118"/>
                      <a:pt x="157" y="118"/>
                    </a:cubicBezTo>
                    <a:cubicBezTo>
                      <a:pt x="163" y="110"/>
                      <a:pt x="163" y="110"/>
                      <a:pt x="163" y="110"/>
                    </a:cubicBezTo>
                    <a:cubicBezTo>
                      <a:pt x="166" y="102"/>
                      <a:pt x="166" y="102"/>
                      <a:pt x="166" y="102"/>
                    </a:cubicBezTo>
                    <a:cubicBezTo>
                      <a:pt x="166" y="102"/>
                      <a:pt x="166" y="102"/>
                      <a:pt x="166" y="102"/>
                    </a:cubicBezTo>
                    <a:cubicBezTo>
                      <a:pt x="166" y="102"/>
                      <a:pt x="166" y="102"/>
                      <a:pt x="166" y="102"/>
                    </a:cubicBezTo>
                    <a:cubicBezTo>
                      <a:pt x="168" y="94"/>
                      <a:pt x="168" y="94"/>
                      <a:pt x="168" y="94"/>
                    </a:cubicBezTo>
                    <a:cubicBezTo>
                      <a:pt x="168" y="93"/>
                      <a:pt x="168" y="93"/>
                      <a:pt x="168" y="93"/>
                    </a:cubicBezTo>
                    <a:cubicBezTo>
                      <a:pt x="168" y="92"/>
                      <a:pt x="168" y="92"/>
                      <a:pt x="168" y="92"/>
                    </a:cubicBezTo>
                    <a:cubicBezTo>
                      <a:pt x="169" y="92"/>
                      <a:pt x="169" y="92"/>
                      <a:pt x="169" y="92"/>
                    </a:cubicBezTo>
                    <a:cubicBezTo>
                      <a:pt x="175" y="88"/>
                      <a:pt x="175" y="88"/>
                      <a:pt x="175" y="88"/>
                    </a:cubicBezTo>
                    <a:cubicBezTo>
                      <a:pt x="176" y="88"/>
                      <a:pt x="176" y="88"/>
                      <a:pt x="176" y="88"/>
                    </a:cubicBezTo>
                    <a:cubicBezTo>
                      <a:pt x="175" y="87"/>
                      <a:pt x="175" y="87"/>
                      <a:pt x="175" y="87"/>
                    </a:cubicBezTo>
                    <a:cubicBezTo>
                      <a:pt x="165" y="84"/>
                      <a:pt x="165" y="84"/>
                      <a:pt x="165" y="84"/>
                    </a:cubicBezTo>
                    <a:cubicBezTo>
                      <a:pt x="165" y="84"/>
                      <a:pt x="165" y="84"/>
                      <a:pt x="165" y="84"/>
                    </a:cubicBezTo>
                    <a:cubicBezTo>
                      <a:pt x="165" y="84"/>
                      <a:pt x="165" y="84"/>
                      <a:pt x="165" y="84"/>
                    </a:cubicBezTo>
                    <a:cubicBezTo>
                      <a:pt x="163" y="78"/>
                      <a:pt x="163" y="78"/>
                      <a:pt x="163" y="78"/>
                    </a:cubicBezTo>
                    <a:lnTo>
                      <a:pt x="162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1" name="iŝḷiḍè"/>
              <p:cNvSpPr/>
              <p:nvPr/>
            </p:nvSpPr>
            <p:spPr bwMode="auto">
              <a:xfrm>
                <a:off x="3466" y="2126"/>
                <a:ext cx="440" cy="433"/>
              </a:xfrm>
              <a:custGeom>
                <a:avLst/>
                <a:gdLst>
                  <a:gd name="T0" fmla="*/ 41 w 186"/>
                  <a:gd name="T1" fmla="*/ 60 h 183"/>
                  <a:gd name="T2" fmla="*/ 2 w 186"/>
                  <a:gd name="T3" fmla="*/ 81 h 183"/>
                  <a:gd name="T4" fmla="*/ 15 w 186"/>
                  <a:gd name="T5" fmla="*/ 111 h 183"/>
                  <a:gd name="T6" fmla="*/ 16 w 186"/>
                  <a:gd name="T7" fmla="*/ 111 h 183"/>
                  <a:gd name="T8" fmla="*/ 34 w 186"/>
                  <a:gd name="T9" fmla="*/ 143 h 183"/>
                  <a:gd name="T10" fmla="*/ 44 w 186"/>
                  <a:gd name="T11" fmla="*/ 145 h 183"/>
                  <a:gd name="T12" fmla="*/ 53 w 186"/>
                  <a:gd name="T13" fmla="*/ 150 h 183"/>
                  <a:gd name="T14" fmla="*/ 106 w 186"/>
                  <a:gd name="T15" fmla="*/ 155 h 183"/>
                  <a:gd name="T16" fmla="*/ 109 w 186"/>
                  <a:gd name="T17" fmla="*/ 173 h 183"/>
                  <a:gd name="T18" fmla="*/ 130 w 186"/>
                  <a:gd name="T19" fmla="*/ 171 h 183"/>
                  <a:gd name="T20" fmla="*/ 142 w 186"/>
                  <a:gd name="T21" fmla="*/ 183 h 183"/>
                  <a:gd name="T22" fmla="*/ 151 w 186"/>
                  <a:gd name="T23" fmla="*/ 174 h 183"/>
                  <a:gd name="T24" fmla="*/ 163 w 186"/>
                  <a:gd name="T25" fmla="*/ 175 h 183"/>
                  <a:gd name="T26" fmla="*/ 174 w 186"/>
                  <a:gd name="T27" fmla="*/ 165 h 183"/>
                  <a:gd name="T28" fmla="*/ 172 w 186"/>
                  <a:gd name="T29" fmla="*/ 163 h 183"/>
                  <a:gd name="T30" fmla="*/ 173 w 186"/>
                  <a:gd name="T31" fmla="*/ 153 h 183"/>
                  <a:gd name="T32" fmla="*/ 152 w 186"/>
                  <a:gd name="T33" fmla="*/ 147 h 183"/>
                  <a:gd name="T34" fmla="*/ 142 w 186"/>
                  <a:gd name="T35" fmla="*/ 131 h 183"/>
                  <a:gd name="T36" fmla="*/ 138 w 186"/>
                  <a:gd name="T37" fmla="*/ 118 h 183"/>
                  <a:gd name="T38" fmla="*/ 149 w 186"/>
                  <a:gd name="T39" fmla="*/ 113 h 183"/>
                  <a:gd name="T40" fmla="*/ 156 w 186"/>
                  <a:gd name="T41" fmla="*/ 102 h 183"/>
                  <a:gd name="T42" fmla="*/ 160 w 186"/>
                  <a:gd name="T43" fmla="*/ 98 h 183"/>
                  <a:gd name="T44" fmla="*/ 160 w 186"/>
                  <a:gd name="T45" fmla="*/ 81 h 183"/>
                  <a:gd name="T46" fmla="*/ 170 w 186"/>
                  <a:gd name="T47" fmla="*/ 83 h 183"/>
                  <a:gd name="T48" fmla="*/ 171 w 186"/>
                  <a:gd name="T49" fmla="*/ 84 h 183"/>
                  <a:gd name="T50" fmla="*/ 186 w 186"/>
                  <a:gd name="T51" fmla="*/ 81 h 183"/>
                  <a:gd name="T52" fmla="*/ 169 w 186"/>
                  <a:gd name="T53" fmla="*/ 68 h 183"/>
                  <a:gd name="T54" fmla="*/ 152 w 186"/>
                  <a:gd name="T55" fmla="*/ 63 h 183"/>
                  <a:gd name="T56" fmla="*/ 152 w 186"/>
                  <a:gd name="T57" fmla="*/ 63 h 183"/>
                  <a:gd name="T58" fmla="*/ 131 w 186"/>
                  <a:gd name="T59" fmla="*/ 48 h 183"/>
                  <a:gd name="T60" fmla="*/ 148 w 186"/>
                  <a:gd name="T61" fmla="*/ 29 h 183"/>
                  <a:gd name="T62" fmla="*/ 142 w 186"/>
                  <a:gd name="T63" fmla="*/ 9 h 183"/>
                  <a:gd name="T64" fmla="*/ 114 w 186"/>
                  <a:gd name="T65" fmla="*/ 14 h 183"/>
                  <a:gd name="T66" fmla="*/ 101 w 186"/>
                  <a:gd name="T67" fmla="*/ 7 h 183"/>
                  <a:gd name="T68" fmla="*/ 96 w 186"/>
                  <a:gd name="T69" fmla="*/ 5 h 183"/>
                  <a:gd name="T70" fmla="*/ 95 w 186"/>
                  <a:gd name="T71" fmla="*/ 3 h 183"/>
                  <a:gd name="T72" fmla="*/ 95 w 186"/>
                  <a:gd name="T73" fmla="*/ 3 h 183"/>
                  <a:gd name="T74" fmla="*/ 94 w 186"/>
                  <a:gd name="T75" fmla="*/ 1 h 183"/>
                  <a:gd name="T76" fmla="*/ 94 w 186"/>
                  <a:gd name="T77" fmla="*/ 0 h 183"/>
                  <a:gd name="T78" fmla="*/ 93 w 186"/>
                  <a:gd name="T79" fmla="*/ 11 h 183"/>
                  <a:gd name="T80" fmla="*/ 92 w 186"/>
                  <a:gd name="T81" fmla="*/ 18 h 183"/>
                  <a:gd name="T82" fmla="*/ 93 w 186"/>
                  <a:gd name="T83" fmla="*/ 34 h 183"/>
                  <a:gd name="T84" fmla="*/ 92 w 186"/>
                  <a:gd name="T85" fmla="*/ 35 h 183"/>
                  <a:gd name="T86" fmla="*/ 87 w 186"/>
                  <a:gd name="T87" fmla="*/ 48 h 183"/>
                  <a:gd name="T88" fmla="*/ 67 w 186"/>
                  <a:gd name="T89" fmla="*/ 55 h 183"/>
                  <a:gd name="T90" fmla="*/ 42 w 186"/>
                  <a:gd name="T91" fmla="*/ 6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6" h="183">
                    <a:moveTo>
                      <a:pt x="42" y="60"/>
                    </a:moveTo>
                    <a:cubicBezTo>
                      <a:pt x="41" y="60"/>
                      <a:pt x="41" y="60"/>
                      <a:pt x="41" y="60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0" y="95"/>
                      <a:pt x="2" y="103"/>
                      <a:pt x="6" y="105"/>
                    </a:cubicBezTo>
                    <a:cubicBezTo>
                      <a:pt x="15" y="111"/>
                      <a:pt x="15" y="111"/>
                      <a:pt x="15" y="111"/>
                    </a:cubicBezTo>
                    <a:cubicBezTo>
                      <a:pt x="16" y="111"/>
                      <a:pt x="16" y="111"/>
                      <a:pt x="16" y="111"/>
                    </a:cubicBezTo>
                    <a:cubicBezTo>
                      <a:pt x="16" y="111"/>
                      <a:pt x="16" y="111"/>
                      <a:pt x="16" y="111"/>
                    </a:cubicBezTo>
                    <a:cubicBezTo>
                      <a:pt x="18" y="126"/>
                      <a:pt x="18" y="126"/>
                      <a:pt x="18" y="126"/>
                    </a:cubicBezTo>
                    <a:cubicBezTo>
                      <a:pt x="26" y="136"/>
                      <a:pt x="31" y="141"/>
                      <a:pt x="34" y="143"/>
                    </a:cubicBezTo>
                    <a:cubicBezTo>
                      <a:pt x="42" y="145"/>
                      <a:pt x="42" y="145"/>
                      <a:pt x="42" y="145"/>
                    </a:cubicBezTo>
                    <a:cubicBezTo>
                      <a:pt x="44" y="145"/>
                      <a:pt x="44" y="145"/>
                      <a:pt x="44" y="145"/>
                    </a:cubicBezTo>
                    <a:cubicBezTo>
                      <a:pt x="44" y="145"/>
                      <a:pt x="44" y="145"/>
                      <a:pt x="44" y="145"/>
                    </a:cubicBezTo>
                    <a:cubicBezTo>
                      <a:pt x="45" y="147"/>
                      <a:pt x="48" y="149"/>
                      <a:pt x="53" y="150"/>
                    </a:cubicBezTo>
                    <a:cubicBezTo>
                      <a:pt x="77" y="151"/>
                      <a:pt x="77" y="151"/>
                      <a:pt x="77" y="151"/>
                    </a:cubicBezTo>
                    <a:cubicBezTo>
                      <a:pt x="94" y="151"/>
                      <a:pt x="104" y="153"/>
                      <a:pt x="106" y="155"/>
                    </a:cubicBezTo>
                    <a:cubicBezTo>
                      <a:pt x="108" y="156"/>
                      <a:pt x="109" y="160"/>
                      <a:pt x="108" y="166"/>
                    </a:cubicBezTo>
                    <a:cubicBezTo>
                      <a:pt x="108" y="170"/>
                      <a:pt x="108" y="173"/>
                      <a:pt x="109" y="173"/>
                    </a:cubicBezTo>
                    <a:cubicBezTo>
                      <a:pt x="118" y="171"/>
                      <a:pt x="118" y="171"/>
                      <a:pt x="118" y="171"/>
                    </a:cubicBezTo>
                    <a:cubicBezTo>
                      <a:pt x="124" y="169"/>
                      <a:pt x="128" y="169"/>
                      <a:pt x="130" y="171"/>
                    </a:cubicBezTo>
                    <a:cubicBezTo>
                      <a:pt x="134" y="175"/>
                      <a:pt x="134" y="175"/>
                      <a:pt x="134" y="175"/>
                    </a:cubicBezTo>
                    <a:cubicBezTo>
                      <a:pt x="138" y="181"/>
                      <a:pt x="142" y="183"/>
                      <a:pt x="142" y="183"/>
                    </a:cubicBezTo>
                    <a:cubicBezTo>
                      <a:pt x="145" y="182"/>
                      <a:pt x="148" y="179"/>
                      <a:pt x="150" y="175"/>
                    </a:cubicBezTo>
                    <a:cubicBezTo>
                      <a:pt x="151" y="174"/>
                      <a:pt x="151" y="174"/>
                      <a:pt x="151" y="174"/>
                    </a:cubicBezTo>
                    <a:cubicBezTo>
                      <a:pt x="158" y="179"/>
                      <a:pt x="158" y="179"/>
                      <a:pt x="158" y="179"/>
                    </a:cubicBezTo>
                    <a:cubicBezTo>
                      <a:pt x="163" y="175"/>
                      <a:pt x="163" y="175"/>
                      <a:pt x="163" y="175"/>
                    </a:cubicBezTo>
                    <a:cubicBezTo>
                      <a:pt x="164" y="169"/>
                      <a:pt x="167" y="167"/>
                      <a:pt x="172" y="166"/>
                    </a:cubicBezTo>
                    <a:cubicBezTo>
                      <a:pt x="174" y="165"/>
                      <a:pt x="174" y="165"/>
                      <a:pt x="174" y="165"/>
                    </a:cubicBezTo>
                    <a:cubicBezTo>
                      <a:pt x="173" y="164"/>
                      <a:pt x="173" y="164"/>
                      <a:pt x="173" y="164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3" y="153"/>
                      <a:pt x="173" y="153"/>
                      <a:pt x="173" y="153"/>
                    </a:cubicBezTo>
                    <a:cubicBezTo>
                      <a:pt x="170" y="148"/>
                      <a:pt x="166" y="146"/>
                      <a:pt x="161" y="147"/>
                    </a:cubicBezTo>
                    <a:cubicBezTo>
                      <a:pt x="157" y="148"/>
                      <a:pt x="154" y="148"/>
                      <a:pt x="152" y="147"/>
                    </a:cubicBezTo>
                    <a:cubicBezTo>
                      <a:pt x="152" y="145"/>
                      <a:pt x="152" y="145"/>
                      <a:pt x="152" y="143"/>
                    </a:cubicBezTo>
                    <a:cubicBezTo>
                      <a:pt x="149" y="138"/>
                      <a:pt x="146" y="134"/>
                      <a:pt x="142" y="131"/>
                    </a:cubicBezTo>
                    <a:cubicBezTo>
                      <a:pt x="138" y="127"/>
                      <a:pt x="136" y="123"/>
                      <a:pt x="138" y="119"/>
                    </a:cubicBezTo>
                    <a:cubicBezTo>
                      <a:pt x="138" y="118"/>
                      <a:pt x="138" y="118"/>
                      <a:pt x="138" y="118"/>
                    </a:cubicBezTo>
                    <a:cubicBezTo>
                      <a:pt x="150" y="120"/>
                      <a:pt x="150" y="120"/>
                      <a:pt x="150" y="120"/>
                    </a:cubicBezTo>
                    <a:cubicBezTo>
                      <a:pt x="149" y="113"/>
                      <a:pt x="149" y="113"/>
                      <a:pt x="149" y="113"/>
                    </a:cubicBezTo>
                    <a:cubicBezTo>
                      <a:pt x="148" y="109"/>
                      <a:pt x="149" y="107"/>
                      <a:pt x="151" y="105"/>
                    </a:cubicBezTo>
                    <a:cubicBezTo>
                      <a:pt x="152" y="103"/>
                      <a:pt x="154" y="102"/>
                      <a:pt x="156" y="102"/>
                    </a:cubicBezTo>
                    <a:cubicBezTo>
                      <a:pt x="160" y="100"/>
                      <a:pt x="160" y="100"/>
                      <a:pt x="160" y="100"/>
                    </a:cubicBezTo>
                    <a:cubicBezTo>
                      <a:pt x="160" y="98"/>
                      <a:pt x="160" y="98"/>
                      <a:pt x="160" y="98"/>
                    </a:cubicBezTo>
                    <a:cubicBezTo>
                      <a:pt x="157" y="91"/>
                      <a:pt x="156" y="85"/>
                      <a:pt x="157" y="83"/>
                    </a:cubicBezTo>
                    <a:cubicBezTo>
                      <a:pt x="160" y="81"/>
                      <a:pt x="160" y="81"/>
                      <a:pt x="160" y="81"/>
                    </a:cubicBezTo>
                    <a:cubicBezTo>
                      <a:pt x="161" y="80"/>
                      <a:pt x="165" y="81"/>
                      <a:pt x="170" y="83"/>
                    </a:cubicBezTo>
                    <a:cubicBezTo>
                      <a:pt x="170" y="83"/>
                      <a:pt x="170" y="83"/>
                      <a:pt x="170" y="83"/>
                    </a:cubicBezTo>
                    <a:cubicBezTo>
                      <a:pt x="171" y="83"/>
                      <a:pt x="171" y="83"/>
                      <a:pt x="171" y="83"/>
                    </a:cubicBezTo>
                    <a:cubicBezTo>
                      <a:pt x="171" y="84"/>
                      <a:pt x="171" y="84"/>
                      <a:pt x="171" y="84"/>
                    </a:cubicBezTo>
                    <a:cubicBezTo>
                      <a:pt x="175" y="89"/>
                      <a:pt x="178" y="93"/>
                      <a:pt x="179" y="93"/>
                    </a:cubicBezTo>
                    <a:cubicBezTo>
                      <a:pt x="186" y="81"/>
                      <a:pt x="186" y="81"/>
                      <a:pt x="186" y="81"/>
                    </a:cubicBezTo>
                    <a:cubicBezTo>
                      <a:pt x="180" y="73"/>
                      <a:pt x="176" y="67"/>
                      <a:pt x="175" y="64"/>
                    </a:cubicBezTo>
                    <a:cubicBezTo>
                      <a:pt x="169" y="68"/>
                      <a:pt x="169" y="68"/>
                      <a:pt x="169" y="68"/>
                    </a:cubicBezTo>
                    <a:cubicBezTo>
                      <a:pt x="168" y="67"/>
                      <a:pt x="168" y="67"/>
                      <a:pt x="168" y="67"/>
                    </a:cubicBezTo>
                    <a:cubicBezTo>
                      <a:pt x="152" y="63"/>
                      <a:pt x="152" y="63"/>
                      <a:pt x="152" y="63"/>
                    </a:cubicBezTo>
                    <a:cubicBezTo>
                      <a:pt x="152" y="63"/>
                      <a:pt x="152" y="63"/>
                      <a:pt x="152" y="63"/>
                    </a:cubicBezTo>
                    <a:cubicBezTo>
                      <a:pt x="152" y="63"/>
                      <a:pt x="152" y="63"/>
                      <a:pt x="152" y="63"/>
                    </a:cubicBezTo>
                    <a:cubicBezTo>
                      <a:pt x="145" y="60"/>
                      <a:pt x="141" y="56"/>
                      <a:pt x="140" y="53"/>
                    </a:cubicBezTo>
                    <a:cubicBezTo>
                      <a:pt x="131" y="48"/>
                      <a:pt x="131" y="48"/>
                      <a:pt x="131" y="48"/>
                    </a:cubicBezTo>
                    <a:cubicBezTo>
                      <a:pt x="131" y="39"/>
                      <a:pt x="131" y="39"/>
                      <a:pt x="131" y="39"/>
                    </a:cubicBezTo>
                    <a:cubicBezTo>
                      <a:pt x="148" y="29"/>
                      <a:pt x="148" y="29"/>
                      <a:pt x="148" y="29"/>
                    </a:cubicBezTo>
                    <a:cubicBezTo>
                      <a:pt x="148" y="24"/>
                      <a:pt x="146" y="19"/>
                      <a:pt x="144" y="15"/>
                    </a:cubicBezTo>
                    <a:cubicBezTo>
                      <a:pt x="142" y="9"/>
                      <a:pt x="142" y="9"/>
                      <a:pt x="142" y="9"/>
                    </a:cubicBezTo>
                    <a:cubicBezTo>
                      <a:pt x="130" y="11"/>
                      <a:pt x="130" y="11"/>
                      <a:pt x="130" y="11"/>
                    </a:cubicBezTo>
                    <a:cubicBezTo>
                      <a:pt x="124" y="13"/>
                      <a:pt x="119" y="14"/>
                      <a:pt x="114" y="14"/>
                    </a:cubicBezTo>
                    <a:cubicBezTo>
                      <a:pt x="101" y="11"/>
                      <a:pt x="101" y="11"/>
                      <a:pt x="101" y="11"/>
                    </a:cubicBezTo>
                    <a:cubicBezTo>
                      <a:pt x="101" y="7"/>
                      <a:pt x="101" y="7"/>
                      <a:pt x="101" y="7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96" y="5"/>
                      <a:pt x="96" y="5"/>
                      <a:pt x="96" y="5"/>
                    </a:cubicBezTo>
                    <a:cubicBezTo>
                      <a:pt x="95" y="3"/>
                      <a:pt x="95" y="3"/>
                      <a:pt x="95" y="3"/>
                    </a:cubicBezTo>
                    <a:cubicBezTo>
                      <a:pt x="95" y="3"/>
                      <a:pt x="95" y="3"/>
                      <a:pt x="95" y="3"/>
                    </a:cubicBezTo>
                    <a:cubicBezTo>
                      <a:pt x="95" y="3"/>
                      <a:pt x="95" y="3"/>
                      <a:pt x="95" y="3"/>
                    </a:cubicBezTo>
                    <a:cubicBezTo>
                      <a:pt x="95" y="3"/>
                      <a:pt x="95" y="3"/>
                      <a:pt x="95" y="3"/>
                    </a:cubicBezTo>
                    <a:cubicBezTo>
                      <a:pt x="95" y="3"/>
                      <a:pt x="95" y="3"/>
                      <a:pt x="95" y="3"/>
                    </a:cubicBezTo>
                    <a:cubicBezTo>
                      <a:pt x="94" y="1"/>
                      <a:pt x="94" y="1"/>
                      <a:pt x="94" y="1"/>
                    </a:cubicBezTo>
                    <a:cubicBezTo>
                      <a:pt x="94" y="1"/>
                      <a:pt x="94" y="1"/>
                      <a:pt x="94" y="1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3" y="11"/>
                      <a:pt x="93" y="11"/>
                      <a:pt x="93" y="11"/>
                    </a:cubicBezTo>
                    <a:cubicBezTo>
                      <a:pt x="92" y="14"/>
                      <a:pt x="92" y="14"/>
                      <a:pt x="92" y="14"/>
                    </a:cubicBezTo>
                    <a:cubicBezTo>
                      <a:pt x="92" y="16"/>
                      <a:pt x="91" y="17"/>
                      <a:pt x="92" y="18"/>
                    </a:cubicBezTo>
                    <a:cubicBezTo>
                      <a:pt x="94" y="21"/>
                      <a:pt x="93" y="24"/>
                      <a:pt x="91" y="27"/>
                    </a:cubicBezTo>
                    <a:cubicBezTo>
                      <a:pt x="93" y="34"/>
                      <a:pt x="93" y="34"/>
                      <a:pt x="93" y="34"/>
                    </a:cubicBezTo>
                    <a:cubicBezTo>
                      <a:pt x="92" y="34"/>
                      <a:pt x="92" y="34"/>
                      <a:pt x="92" y="34"/>
                    </a:cubicBezTo>
                    <a:cubicBezTo>
                      <a:pt x="92" y="35"/>
                      <a:pt x="92" y="35"/>
                      <a:pt x="92" y="35"/>
                    </a:cubicBezTo>
                    <a:cubicBezTo>
                      <a:pt x="87" y="39"/>
                      <a:pt x="87" y="39"/>
                      <a:pt x="87" y="39"/>
                    </a:cubicBezTo>
                    <a:cubicBezTo>
                      <a:pt x="87" y="48"/>
                      <a:pt x="87" y="48"/>
                      <a:pt x="87" y="48"/>
                    </a:cubicBezTo>
                    <a:cubicBezTo>
                      <a:pt x="86" y="49"/>
                      <a:pt x="86" y="49"/>
                      <a:pt x="86" y="49"/>
                    </a:cubicBezTo>
                    <a:cubicBezTo>
                      <a:pt x="77" y="53"/>
                      <a:pt x="71" y="55"/>
                      <a:pt x="67" y="55"/>
                    </a:cubicBezTo>
                    <a:cubicBezTo>
                      <a:pt x="50" y="53"/>
                      <a:pt x="50" y="53"/>
                      <a:pt x="50" y="53"/>
                    </a:cubicBezTo>
                    <a:cubicBezTo>
                      <a:pt x="42" y="60"/>
                      <a:pt x="42" y="60"/>
                      <a:pt x="42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2" name="îṧľíde"/>
              <p:cNvSpPr/>
              <p:nvPr/>
            </p:nvSpPr>
            <p:spPr bwMode="auto">
              <a:xfrm>
                <a:off x="4292" y="3051"/>
                <a:ext cx="125" cy="303"/>
              </a:xfrm>
              <a:custGeom>
                <a:avLst/>
                <a:gdLst>
                  <a:gd name="T0" fmla="*/ 40 w 53"/>
                  <a:gd name="T1" fmla="*/ 0 h 128"/>
                  <a:gd name="T2" fmla="*/ 12 w 53"/>
                  <a:gd name="T3" fmla="*/ 35 h 128"/>
                  <a:gd name="T4" fmla="*/ 0 w 53"/>
                  <a:gd name="T5" fmla="*/ 54 h 128"/>
                  <a:gd name="T6" fmla="*/ 3 w 53"/>
                  <a:gd name="T7" fmla="*/ 76 h 128"/>
                  <a:gd name="T8" fmla="*/ 3 w 53"/>
                  <a:gd name="T9" fmla="*/ 77 h 128"/>
                  <a:gd name="T10" fmla="*/ 3 w 53"/>
                  <a:gd name="T11" fmla="*/ 77 h 128"/>
                  <a:gd name="T12" fmla="*/ 1 w 53"/>
                  <a:gd name="T13" fmla="*/ 92 h 128"/>
                  <a:gd name="T14" fmla="*/ 2 w 53"/>
                  <a:gd name="T15" fmla="*/ 101 h 128"/>
                  <a:gd name="T16" fmla="*/ 18 w 53"/>
                  <a:gd name="T17" fmla="*/ 112 h 128"/>
                  <a:gd name="T18" fmla="*/ 18 w 53"/>
                  <a:gd name="T19" fmla="*/ 112 h 128"/>
                  <a:gd name="T20" fmla="*/ 19 w 53"/>
                  <a:gd name="T21" fmla="*/ 112 h 128"/>
                  <a:gd name="T22" fmla="*/ 19 w 53"/>
                  <a:gd name="T23" fmla="*/ 113 h 128"/>
                  <a:gd name="T24" fmla="*/ 19 w 53"/>
                  <a:gd name="T25" fmla="*/ 113 h 128"/>
                  <a:gd name="T26" fmla="*/ 25 w 53"/>
                  <a:gd name="T27" fmla="*/ 124 h 128"/>
                  <a:gd name="T28" fmla="*/ 31 w 53"/>
                  <a:gd name="T29" fmla="*/ 128 h 128"/>
                  <a:gd name="T30" fmla="*/ 33 w 53"/>
                  <a:gd name="T31" fmla="*/ 102 h 128"/>
                  <a:gd name="T32" fmla="*/ 33 w 53"/>
                  <a:gd name="T33" fmla="*/ 101 h 128"/>
                  <a:gd name="T34" fmla="*/ 45 w 53"/>
                  <a:gd name="T35" fmla="*/ 73 h 128"/>
                  <a:gd name="T36" fmla="*/ 49 w 53"/>
                  <a:gd name="T37" fmla="*/ 40 h 128"/>
                  <a:gd name="T38" fmla="*/ 49 w 53"/>
                  <a:gd name="T39" fmla="*/ 39 h 128"/>
                  <a:gd name="T40" fmla="*/ 49 w 53"/>
                  <a:gd name="T41" fmla="*/ 39 h 128"/>
                  <a:gd name="T42" fmla="*/ 53 w 53"/>
                  <a:gd name="T43" fmla="*/ 30 h 128"/>
                  <a:gd name="T44" fmla="*/ 50 w 53"/>
                  <a:gd name="T45" fmla="*/ 22 h 128"/>
                  <a:gd name="T46" fmla="*/ 50 w 53"/>
                  <a:gd name="T47" fmla="*/ 22 h 128"/>
                  <a:gd name="T48" fmla="*/ 49 w 53"/>
                  <a:gd name="T49" fmla="*/ 22 h 128"/>
                  <a:gd name="T50" fmla="*/ 49 w 53"/>
                  <a:gd name="T51" fmla="*/ 12 h 128"/>
                  <a:gd name="T52" fmla="*/ 49 w 53"/>
                  <a:gd name="T53" fmla="*/ 11 h 128"/>
                  <a:gd name="T54" fmla="*/ 49 w 53"/>
                  <a:gd name="T55" fmla="*/ 11 h 128"/>
                  <a:gd name="T56" fmla="*/ 51 w 53"/>
                  <a:gd name="T57" fmla="*/ 8 h 128"/>
                  <a:gd name="T58" fmla="*/ 53 w 53"/>
                  <a:gd name="T59" fmla="*/ 6 h 128"/>
                  <a:gd name="T60" fmla="*/ 40 w 53"/>
                  <a:gd name="T61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3" h="128">
                    <a:moveTo>
                      <a:pt x="40" y="0"/>
                    </a:moveTo>
                    <a:cubicBezTo>
                      <a:pt x="27" y="9"/>
                      <a:pt x="18" y="21"/>
                      <a:pt x="12" y="35"/>
                    </a:cubicBezTo>
                    <a:cubicBezTo>
                      <a:pt x="7" y="47"/>
                      <a:pt x="3" y="53"/>
                      <a:pt x="0" y="54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0" y="97"/>
                      <a:pt x="1" y="100"/>
                      <a:pt x="2" y="101"/>
                    </a:cubicBezTo>
                    <a:cubicBezTo>
                      <a:pt x="18" y="112"/>
                      <a:pt x="18" y="112"/>
                      <a:pt x="18" y="112"/>
                    </a:cubicBezTo>
                    <a:cubicBezTo>
                      <a:pt x="18" y="112"/>
                      <a:pt x="18" y="112"/>
                      <a:pt x="18" y="112"/>
                    </a:cubicBezTo>
                    <a:cubicBezTo>
                      <a:pt x="19" y="112"/>
                      <a:pt x="19" y="112"/>
                      <a:pt x="19" y="112"/>
                    </a:cubicBezTo>
                    <a:cubicBezTo>
                      <a:pt x="19" y="113"/>
                      <a:pt x="19" y="113"/>
                      <a:pt x="19" y="113"/>
                    </a:cubicBezTo>
                    <a:cubicBezTo>
                      <a:pt x="19" y="113"/>
                      <a:pt x="19" y="113"/>
                      <a:pt x="19" y="113"/>
                    </a:cubicBezTo>
                    <a:cubicBezTo>
                      <a:pt x="20" y="116"/>
                      <a:pt x="22" y="120"/>
                      <a:pt x="25" y="124"/>
                    </a:cubicBezTo>
                    <a:cubicBezTo>
                      <a:pt x="27" y="126"/>
                      <a:pt x="29" y="127"/>
                      <a:pt x="31" y="128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9" y="40"/>
                      <a:pt x="49" y="40"/>
                      <a:pt x="49" y="40"/>
                    </a:cubicBezTo>
                    <a:cubicBezTo>
                      <a:pt x="49" y="39"/>
                      <a:pt x="49" y="39"/>
                      <a:pt x="49" y="39"/>
                    </a:cubicBezTo>
                    <a:cubicBezTo>
                      <a:pt x="49" y="39"/>
                      <a:pt x="49" y="39"/>
                      <a:pt x="49" y="39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0" y="22"/>
                      <a:pt x="50" y="22"/>
                      <a:pt x="50" y="22"/>
                    </a:cubicBezTo>
                    <a:cubicBezTo>
                      <a:pt x="50" y="22"/>
                      <a:pt x="50" y="22"/>
                      <a:pt x="50" y="22"/>
                    </a:cubicBezTo>
                    <a:cubicBezTo>
                      <a:pt x="49" y="22"/>
                      <a:pt x="49" y="22"/>
                      <a:pt x="49" y="22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49" y="11"/>
                      <a:pt x="49" y="11"/>
                      <a:pt x="49" y="11"/>
                    </a:cubicBezTo>
                    <a:cubicBezTo>
                      <a:pt x="49" y="11"/>
                      <a:pt x="49" y="11"/>
                      <a:pt x="49" y="11"/>
                    </a:cubicBezTo>
                    <a:cubicBezTo>
                      <a:pt x="51" y="8"/>
                      <a:pt x="51" y="8"/>
                      <a:pt x="51" y="8"/>
                    </a:cubicBezTo>
                    <a:cubicBezTo>
                      <a:pt x="53" y="6"/>
                      <a:pt x="53" y="6"/>
                      <a:pt x="53" y="6"/>
                    </a:cubicBez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3" name="îṩḷiḓe"/>
              <p:cNvSpPr/>
              <p:nvPr/>
            </p:nvSpPr>
            <p:spPr bwMode="auto">
              <a:xfrm>
                <a:off x="3366" y="3588"/>
                <a:ext cx="195" cy="166"/>
              </a:xfrm>
              <a:custGeom>
                <a:avLst/>
                <a:gdLst>
                  <a:gd name="T0" fmla="*/ 37 w 82"/>
                  <a:gd name="T1" fmla="*/ 7 h 70"/>
                  <a:gd name="T2" fmla="*/ 36 w 82"/>
                  <a:gd name="T3" fmla="*/ 9 h 70"/>
                  <a:gd name="T4" fmla="*/ 36 w 82"/>
                  <a:gd name="T5" fmla="*/ 9 h 70"/>
                  <a:gd name="T6" fmla="*/ 35 w 82"/>
                  <a:gd name="T7" fmla="*/ 10 h 70"/>
                  <a:gd name="T8" fmla="*/ 19 w 82"/>
                  <a:gd name="T9" fmla="*/ 14 h 70"/>
                  <a:gd name="T10" fmla="*/ 20 w 82"/>
                  <a:gd name="T11" fmla="*/ 16 h 70"/>
                  <a:gd name="T12" fmla="*/ 25 w 82"/>
                  <a:gd name="T13" fmla="*/ 22 h 70"/>
                  <a:gd name="T14" fmla="*/ 23 w 82"/>
                  <a:gd name="T15" fmla="*/ 23 h 70"/>
                  <a:gd name="T16" fmla="*/ 16 w 82"/>
                  <a:gd name="T17" fmla="*/ 27 h 70"/>
                  <a:gd name="T18" fmla="*/ 4 w 82"/>
                  <a:gd name="T19" fmla="*/ 36 h 70"/>
                  <a:gd name="T20" fmla="*/ 6 w 82"/>
                  <a:gd name="T21" fmla="*/ 63 h 70"/>
                  <a:gd name="T22" fmla="*/ 18 w 82"/>
                  <a:gd name="T23" fmla="*/ 64 h 70"/>
                  <a:gd name="T24" fmla="*/ 19 w 82"/>
                  <a:gd name="T25" fmla="*/ 64 h 70"/>
                  <a:gd name="T26" fmla="*/ 19 w 82"/>
                  <a:gd name="T27" fmla="*/ 64 h 70"/>
                  <a:gd name="T28" fmla="*/ 31 w 82"/>
                  <a:gd name="T29" fmla="*/ 70 h 70"/>
                  <a:gd name="T30" fmla="*/ 44 w 82"/>
                  <a:gd name="T31" fmla="*/ 68 h 70"/>
                  <a:gd name="T32" fmla="*/ 62 w 82"/>
                  <a:gd name="T33" fmla="*/ 53 h 70"/>
                  <a:gd name="T34" fmla="*/ 63 w 82"/>
                  <a:gd name="T35" fmla="*/ 53 h 70"/>
                  <a:gd name="T36" fmla="*/ 64 w 82"/>
                  <a:gd name="T37" fmla="*/ 52 h 70"/>
                  <a:gd name="T38" fmla="*/ 69 w 82"/>
                  <a:gd name="T39" fmla="*/ 50 h 70"/>
                  <a:gd name="T40" fmla="*/ 68 w 82"/>
                  <a:gd name="T41" fmla="*/ 33 h 70"/>
                  <a:gd name="T42" fmla="*/ 68 w 82"/>
                  <a:gd name="T43" fmla="*/ 33 h 70"/>
                  <a:gd name="T44" fmla="*/ 75 w 82"/>
                  <a:gd name="T45" fmla="*/ 22 h 70"/>
                  <a:gd name="T46" fmla="*/ 75 w 82"/>
                  <a:gd name="T47" fmla="*/ 22 h 70"/>
                  <a:gd name="T48" fmla="*/ 75 w 82"/>
                  <a:gd name="T49" fmla="*/ 22 h 70"/>
                  <a:gd name="T50" fmla="*/ 81 w 82"/>
                  <a:gd name="T51" fmla="*/ 17 h 70"/>
                  <a:gd name="T52" fmla="*/ 79 w 82"/>
                  <a:gd name="T53" fmla="*/ 5 h 70"/>
                  <a:gd name="T54" fmla="*/ 74 w 82"/>
                  <a:gd name="T55" fmla="*/ 0 h 70"/>
                  <a:gd name="T56" fmla="*/ 74 w 82"/>
                  <a:gd name="T57" fmla="*/ 6 h 70"/>
                  <a:gd name="T58" fmla="*/ 64 w 82"/>
                  <a:gd name="T59" fmla="*/ 4 h 70"/>
                  <a:gd name="T60" fmla="*/ 59 w 82"/>
                  <a:gd name="T61" fmla="*/ 7 h 70"/>
                  <a:gd name="T62" fmla="*/ 58 w 82"/>
                  <a:gd name="T63" fmla="*/ 7 h 70"/>
                  <a:gd name="T64" fmla="*/ 58 w 82"/>
                  <a:gd name="T65" fmla="*/ 7 h 70"/>
                  <a:gd name="T66" fmla="*/ 37 w 82"/>
                  <a:gd name="T67" fmla="*/ 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2" h="70">
                    <a:moveTo>
                      <a:pt x="37" y="7"/>
                    </a:moveTo>
                    <a:cubicBezTo>
                      <a:pt x="36" y="9"/>
                      <a:pt x="36" y="9"/>
                      <a:pt x="36" y="9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20" y="16"/>
                      <a:pt x="20" y="16"/>
                      <a:pt x="20" y="16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4" y="22"/>
                      <a:pt x="24" y="23"/>
                      <a:pt x="23" y="23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0" y="41"/>
                      <a:pt x="0" y="49"/>
                      <a:pt x="6" y="63"/>
                    </a:cubicBezTo>
                    <a:cubicBezTo>
                      <a:pt x="18" y="64"/>
                      <a:pt x="18" y="64"/>
                      <a:pt x="18" y="64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31" y="70"/>
                      <a:pt x="31" y="70"/>
                      <a:pt x="31" y="70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49" y="67"/>
                      <a:pt x="55" y="62"/>
                      <a:pt x="62" y="53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9" y="50"/>
                      <a:pt x="69" y="50"/>
                      <a:pt x="69" y="50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75" y="22"/>
                      <a:pt x="75" y="22"/>
                      <a:pt x="75" y="22"/>
                    </a:cubicBezTo>
                    <a:cubicBezTo>
                      <a:pt x="75" y="22"/>
                      <a:pt x="75" y="22"/>
                      <a:pt x="75" y="22"/>
                    </a:cubicBezTo>
                    <a:cubicBezTo>
                      <a:pt x="75" y="22"/>
                      <a:pt x="75" y="22"/>
                      <a:pt x="75" y="22"/>
                    </a:cubicBezTo>
                    <a:cubicBezTo>
                      <a:pt x="81" y="17"/>
                      <a:pt x="81" y="17"/>
                      <a:pt x="81" y="17"/>
                    </a:cubicBezTo>
                    <a:cubicBezTo>
                      <a:pt x="82" y="13"/>
                      <a:pt x="81" y="8"/>
                      <a:pt x="79" y="5"/>
                    </a:cubicBezTo>
                    <a:cubicBezTo>
                      <a:pt x="78" y="1"/>
                      <a:pt x="76" y="0"/>
                      <a:pt x="74" y="0"/>
                    </a:cubicBezTo>
                    <a:cubicBezTo>
                      <a:pt x="74" y="6"/>
                      <a:pt x="74" y="6"/>
                      <a:pt x="74" y="6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58" y="7"/>
                      <a:pt x="58" y="7"/>
                      <a:pt x="58" y="7"/>
                    </a:cubicBezTo>
                    <a:lnTo>
                      <a:pt x="3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  <p:sp>
          <p:nvSpPr>
            <p:cNvPr id="7" name="îśḻíḍè"/>
            <p:cNvSpPr/>
            <p:nvPr/>
          </p:nvSpPr>
          <p:spPr>
            <a:xfrm>
              <a:off x="4849071" y="2393330"/>
              <a:ext cx="2506688" cy="2506688"/>
            </a:xfrm>
            <a:prstGeom prst="ellipse">
              <a:avLst/>
            </a:prstGeom>
            <a:noFill/>
            <a:ln w="571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</a:p>
          </p:txBody>
        </p:sp>
        <p:sp>
          <p:nvSpPr>
            <p:cNvPr id="8" name="íṥḻîḓé"/>
            <p:cNvSpPr/>
            <p:nvPr/>
          </p:nvSpPr>
          <p:spPr>
            <a:xfrm>
              <a:off x="5754162" y="1938401"/>
              <a:ext cx="696504" cy="696504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</a:p>
          </p:txBody>
        </p:sp>
        <p:sp>
          <p:nvSpPr>
            <p:cNvPr id="9" name="ïśliḓê"/>
            <p:cNvSpPr/>
            <p:nvPr/>
          </p:nvSpPr>
          <p:spPr>
            <a:xfrm>
              <a:off x="7039927" y="3049577"/>
              <a:ext cx="696504" cy="696504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accent3"/>
            </a:solidFill>
            <a:ln w="28575"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</a:p>
          </p:txBody>
        </p:sp>
        <p:sp>
          <p:nvSpPr>
            <p:cNvPr id="10" name="îsļíḍé"/>
            <p:cNvSpPr/>
            <p:nvPr/>
          </p:nvSpPr>
          <p:spPr>
            <a:xfrm>
              <a:off x="6659347" y="4195067"/>
              <a:ext cx="696595" cy="688975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</a:p>
          </p:txBody>
        </p:sp>
        <p:sp>
          <p:nvSpPr>
            <p:cNvPr id="12" name="ísḷîḋè"/>
            <p:cNvSpPr/>
            <p:nvPr/>
          </p:nvSpPr>
          <p:spPr>
            <a:xfrm>
              <a:off x="4935126" y="4182267"/>
              <a:ext cx="696504" cy="696504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</a:p>
          </p:txBody>
        </p:sp>
        <p:sp>
          <p:nvSpPr>
            <p:cNvPr id="13" name="iṧľíḓê"/>
            <p:cNvSpPr/>
            <p:nvPr/>
          </p:nvSpPr>
          <p:spPr>
            <a:xfrm>
              <a:off x="4571271" y="3036242"/>
              <a:ext cx="696504" cy="696504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accent3"/>
            </a:solidFill>
            <a:ln w="285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</a:p>
          </p:txBody>
        </p:sp>
        <p:sp>
          <p:nvSpPr>
            <p:cNvPr id="14" name="îṧ1ïḍê"/>
            <p:cNvSpPr/>
            <p:nvPr/>
          </p:nvSpPr>
          <p:spPr>
            <a:xfrm>
              <a:off x="5631771" y="1407639"/>
              <a:ext cx="941283" cy="307777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pPr algn="ctr"/>
              <a:r>
                <a:rPr lang="en-US" sz="1400" b="1">
                  <a:solidFill>
                    <a:srgbClr val="000000"/>
                  </a:solidFill>
                  <a:latin typeface="Arial" panose="020B0604020202090204"/>
                  <a:ea typeface="微软雅黑"/>
                  <a:sym typeface="+mn-ea"/>
                </a:rPr>
                <a:t>Pioneer 3</a:t>
              </a:r>
              <a:endParaRPr lang="en-US" sz="1400" b="1">
                <a:solidFill>
                  <a:srgbClr val="000000"/>
                </a:solidFill>
                <a:latin typeface="Arial" panose="020B0604020202090204"/>
                <a:ea typeface="微软雅黑"/>
              </a:endParaRPr>
            </a:p>
            <a:p>
              <a:pPr algn="ctr"/>
              <a:endParaRPr lang="zh-CN" altLang="en-US" sz="1400" b="1" dirty="0"/>
            </a:p>
          </p:txBody>
        </p:sp>
        <p:sp>
          <p:nvSpPr>
            <p:cNvPr id="15" name="ïŝḷïḍé"/>
            <p:cNvSpPr/>
            <p:nvPr/>
          </p:nvSpPr>
          <p:spPr>
            <a:xfrm>
              <a:off x="5358983" y="5462927"/>
              <a:ext cx="1486860" cy="307777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pPr algn="ctr"/>
              <a:endParaRPr lang="zh-CN" altLang="en-US" sz="1400" b="1" dirty="0"/>
            </a:p>
          </p:txBody>
        </p:sp>
        <p:sp>
          <p:nvSpPr>
            <p:cNvPr id="16" name="îṩḻídé"/>
            <p:cNvSpPr/>
            <p:nvPr/>
          </p:nvSpPr>
          <p:spPr>
            <a:xfrm>
              <a:off x="7858463" y="3321980"/>
              <a:ext cx="941283" cy="307777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sz="1400" b="1" dirty="0"/>
                <a:t>The speaker</a:t>
              </a:r>
              <a:endParaRPr lang="en-US" altLang="zh-CN" sz="1400" b="1" dirty="0"/>
            </a:p>
          </p:txBody>
        </p:sp>
        <p:sp>
          <p:nvSpPr>
            <p:cNvPr id="17" name="îṧļïḍé"/>
            <p:cNvSpPr/>
            <p:nvPr/>
          </p:nvSpPr>
          <p:spPr>
            <a:xfrm>
              <a:off x="3630379" y="3321980"/>
              <a:ext cx="941283" cy="307777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pPr algn="r">
                <a:tabLst>
                  <a:tab pos="359410" algn="l"/>
                </a:tabLst>
              </a:pPr>
              <a:r>
                <a:rPr lang="en-US" altLang="zh-CN" sz="1400" b="1" dirty="0"/>
                <a:t>XBox camera</a:t>
              </a:r>
              <a:endParaRPr lang="en-US" altLang="zh-CN" sz="1400" b="1" dirty="0"/>
            </a:p>
          </p:txBody>
        </p:sp>
        <p:sp>
          <p:nvSpPr>
            <p:cNvPr id="18" name="ïṡ1ïďê"/>
            <p:cNvSpPr/>
            <p:nvPr/>
          </p:nvSpPr>
          <p:spPr>
            <a:xfrm>
              <a:off x="3993991" y="4797881"/>
              <a:ext cx="941283" cy="307777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pPr algn="r" defTabSz="359410" fontAlgn="auto">
                <a:spcBef>
                  <a:spcPts val="0"/>
                </a:spcBef>
                <a:spcAft>
                  <a:spcPts val="600"/>
                </a:spcAft>
                <a:tabLst>
                  <a:tab pos="359410" algn="l"/>
                </a:tabLst>
              </a:pPr>
              <a:r>
                <a:rPr lang="en-US" altLang="zh-CN" sz="1400" b="1" dirty="0"/>
                <a:t>The box</a:t>
              </a:r>
              <a:endParaRPr lang="en-US" altLang="zh-CN" sz="1400" b="1" dirty="0"/>
            </a:p>
          </p:txBody>
        </p:sp>
        <p:sp>
          <p:nvSpPr>
            <p:cNvPr id="19" name="îśľîḓé"/>
            <p:cNvSpPr/>
            <p:nvPr/>
          </p:nvSpPr>
          <p:spPr>
            <a:xfrm>
              <a:off x="7558743" y="4666436"/>
              <a:ext cx="941283" cy="307777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sz="1400" b="1" dirty="0"/>
                <a:t>The radar</a:t>
              </a:r>
              <a:endParaRPr lang="en-US" altLang="zh-CN" sz="1400" b="1" dirty="0"/>
            </a:p>
          </p:txBody>
        </p:sp>
        <p:sp>
          <p:nvSpPr>
            <p:cNvPr id="20" name="îṡliḓè"/>
            <p:cNvSpPr/>
            <p:nvPr/>
          </p:nvSpPr>
          <p:spPr bwMode="auto">
            <a:xfrm>
              <a:off x="5917267" y="2057929"/>
              <a:ext cx="370293" cy="390105"/>
            </a:xfrm>
            <a:custGeom>
              <a:avLst/>
              <a:gdLst>
                <a:gd name="T0" fmla="*/ 126 w 466"/>
                <a:gd name="T1" fmla="*/ 153 h 491"/>
                <a:gd name="T2" fmla="*/ 233 w 466"/>
                <a:gd name="T3" fmla="*/ 61 h 491"/>
                <a:gd name="T4" fmla="*/ 258 w 466"/>
                <a:gd name="T5" fmla="*/ 122 h 491"/>
                <a:gd name="T6" fmla="*/ 233 w 466"/>
                <a:gd name="T7" fmla="*/ 101 h 491"/>
                <a:gd name="T8" fmla="*/ 402 w 466"/>
                <a:gd name="T9" fmla="*/ 399 h 491"/>
                <a:gd name="T10" fmla="*/ 433 w 466"/>
                <a:gd name="T11" fmla="*/ 215 h 491"/>
                <a:gd name="T12" fmla="*/ 452 w 466"/>
                <a:gd name="T13" fmla="*/ 160 h 491"/>
                <a:gd name="T14" fmla="*/ 233 w 466"/>
                <a:gd name="T15" fmla="*/ 0 h 491"/>
                <a:gd name="T16" fmla="*/ 15 w 466"/>
                <a:gd name="T17" fmla="*/ 160 h 491"/>
                <a:gd name="T18" fmla="*/ 34 w 466"/>
                <a:gd name="T19" fmla="*/ 215 h 491"/>
                <a:gd name="T20" fmla="*/ 64 w 466"/>
                <a:gd name="T21" fmla="*/ 399 h 491"/>
                <a:gd name="T22" fmla="*/ 3 w 466"/>
                <a:gd name="T23" fmla="*/ 445 h 491"/>
                <a:gd name="T24" fmla="*/ 418 w 466"/>
                <a:gd name="T25" fmla="*/ 491 h 491"/>
                <a:gd name="T26" fmla="*/ 418 w 466"/>
                <a:gd name="T27" fmla="*/ 399 h 491"/>
                <a:gd name="T28" fmla="*/ 221 w 466"/>
                <a:gd name="T29" fmla="*/ 33 h 491"/>
                <a:gd name="T30" fmla="*/ 246 w 466"/>
                <a:gd name="T31" fmla="*/ 33 h 491"/>
                <a:gd name="T32" fmla="*/ 34 w 466"/>
                <a:gd name="T33" fmla="*/ 183 h 491"/>
                <a:gd name="T34" fmla="*/ 371 w 466"/>
                <a:gd name="T35" fmla="*/ 399 h 491"/>
                <a:gd name="T36" fmla="*/ 341 w 466"/>
                <a:gd name="T37" fmla="*/ 215 h 491"/>
                <a:gd name="T38" fmla="*/ 310 w 466"/>
                <a:gd name="T39" fmla="*/ 215 h 491"/>
                <a:gd name="T40" fmla="*/ 279 w 466"/>
                <a:gd name="T41" fmla="*/ 399 h 491"/>
                <a:gd name="T42" fmla="*/ 310 w 466"/>
                <a:gd name="T43" fmla="*/ 215 h 491"/>
                <a:gd name="T44" fmla="*/ 249 w 466"/>
                <a:gd name="T45" fmla="*/ 399 h 491"/>
                <a:gd name="T46" fmla="*/ 218 w 466"/>
                <a:gd name="T47" fmla="*/ 215 h 491"/>
                <a:gd name="T48" fmla="*/ 187 w 466"/>
                <a:gd name="T49" fmla="*/ 215 h 491"/>
                <a:gd name="T50" fmla="*/ 156 w 466"/>
                <a:gd name="T51" fmla="*/ 399 h 491"/>
                <a:gd name="T52" fmla="*/ 187 w 466"/>
                <a:gd name="T53" fmla="*/ 215 h 491"/>
                <a:gd name="T54" fmla="*/ 126 w 466"/>
                <a:gd name="T55" fmla="*/ 399 h 491"/>
                <a:gd name="T56" fmla="*/ 95 w 466"/>
                <a:gd name="T57" fmla="*/ 215 h 491"/>
                <a:gd name="T58" fmla="*/ 418 w 466"/>
                <a:gd name="T59" fmla="*/ 460 h 491"/>
                <a:gd name="T60" fmla="*/ 34 w 466"/>
                <a:gd name="T61" fmla="*/ 445 h 491"/>
                <a:gd name="T62" fmla="*/ 418 w 466"/>
                <a:gd name="T63" fmla="*/ 430 h 491"/>
                <a:gd name="T64" fmla="*/ 418 w 466"/>
                <a:gd name="T65" fmla="*/ 46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66" h="491">
                  <a:moveTo>
                    <a:pt x="233" y="61"/>
                  </a:moveTo>
                  <a:cubicBezTo>
                    <a:pt x="126" y="153"/>
                    <a:pt x="126" y="153"/>
                    <a:pt x="126" y="153"/>
                  </a:cubicBezTo>
                  <a:cubicBezTo>
                    <a:pt x="341" y="153"/>
                    <a:pt x="341" y="153"/>
                    <a:pt x="341" y="153"/>
                  </a:cubicBezTo>
                  <a:cubicBezTo>
                    <a:pt x="233" y="61"/>
                    <a:pt x="233" y="61"/>
                    <a:pt x="233" y="61"/>
                  </a:cubicBezTo>
                  <a:close/>
                  <a:moveTo>
                    <a:pt x="233" y="101"/>
                  </a:moveTo>
                  <a:cubicBezTo>
                    <a:pt x="258" y="122"/>
                    <a:pt x="258" y="122"/>
                    <a:pt x="258" y="122"/>
                  </a:cubicBezTo>
                  <a:cubicBezTo>
                    <a:pt x="209" y="122"/>
                    <a:pt x="209" y="122"/>
                    <a:pt x="209" y="122"/>
                  </a:cubicBezTo>
                  <a:cubicBezTo>
                    <a:pt x="233" y="101"/>
                    <a:pt x="233" y="101"/>
                    <a:pt x="233" y="101"/>
                  </a:cubicBezTo>
                  <a:close/>
                  <a:moveTo>
                    <a:pt x="418" y="399"/>
                  </a:moveTo>
                  <a:cubicBezTo>
                    <a:pt x="402" y="399"/>
                    <a:pt x="402" y="399"/>
                    <a:pt x="402" y="399"/>
                  </a:cubicBezTo>
                  <a:cubicBezTo>
                    <a:pt x="402" y="215"/>
                    <a:pt x="402" y="215"/>
                    <a:pt x="402" y="215"/>
                  </a:cubicBezTo>
                  <a:cubicBezTo>
                    <a:pt x="433" y="215"/>
                    <a:pt x="433" y="215"/>
                    <a:pt x="433" y="215"/>
                  </a:cubicBezTo>
                  <a:cubicBezTo>
                    <a:pt x="446" y="215"/>
                    <a:pt x="458" y="206"/>
                    <a:pt x="462" y="194"/>
                  </a:cubicBezTo>
                  <a:cubicBezTo>
                    <a:pt x="466" y="181"/>
                    <a:pt x="462" y="168"/>
                    <a:pt x="452" y="160"/>
                  </a:cubicBezTo>
                  <a:cubicBezTo>
                    <a:pt x="263" y="7"/>
                    <a:pt x="263" y="7"/>
                    <a:pt x="263" y="7"/>
                  </a:cubicBezTo>
                  <a:cubicBezTo>
                    <a:pt x="253" y="2"/>
                    <a:pt x="243" y="0"/>
                    <a:pt x="233" y="0"/>
                  </a:cubicBezTo>
                  <a:cubicBezTo>
                    <a:pt x="223" y="0"/>
                    <a:pt x="213" y="2"/>
                    <a:pt x="204" y="7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4" y="168"/>
                    <a:pt x="0" y="181"/>
                    <a:pt x="4" y="194"/>
                  </a:cubicBezTo>
                  <a:cubicBezTo>
                    <a:pt x="9" y="206"/>
                    <a:pt x="20" y="215"/>
                    <a:pt x="34" y="215"/>
                  </a:cubicBezTo>
                  <a:cubicBezTo>
                    <a:pt x="64" y="215"/>
                    <a:pt x="64" y="215"/>
                    <a:pt x="64" y="215"/>
                  </a:cubicBezTo>
                  <a:cubicBezTo>
                    <a:pt x="64" y="399"/>
                    <a:pt x="64" y="399"/>
                    <a:pt x="64" y="399"/>
                  </a:cubicBezTo>
                  <a:cubicBezTo>
                    <a:pt x="49" y="399"/>
                    <a:pt x="49" y="399"/>
                    <a:pt x="49" y="399"/>
                  </a:cubicBezTo>
                  <a:cubicBezTo>
                    <a:pt x="23" y="399"/>
                    <a:pt x="3" y="420"/>
                    <a:pt x="3" y="445"/>
                  </a:cubicBezTo>
                  <a:cubicBezTo>
                    <a:pt x="3" y="470"/>
                    <a:pt x="23" y="491"/>
                    <a:pt x="49" y="491"/>
                  </a:cubicBezTo>
                  <a:cubicBezTo>
                    <a:pt x="418" y="491"/>
                    <a:pt x="418" y="491"/>
                    <a:pt x="418" y="491"/>
                  </a:cubicBezTo>
                  <a:cubicBezTo>
                    <a:pt x="443" y="491"/>
                    <a:pt x="464" y="470"/>
                    <a:pt x="464" y="445"/>
                  </a:cubicBezTo>
                  <a:cubicBezTo>
                    <a:pt x="464" y="420"/>
                    <a:pt x="443" y="399"/>
                    <a:pt x="418" y="399"/>
                  </a:cubicBezTo>
                  <a:close/>
                  <a:moveTo>
                    <a:pt x="34" y="183"/>
                  </a:moveTo>
                  <a:cubicBezTo>
                    <a:pt x="221" y="33"/>
                    <a:pt x="221" y="33"/>
                    <a:pt x="221" y="33"/>
                  </a:cubicBezTo>
                  <a:cubicBezTo>
                    <a:pt x="224" y="31"/>
                    <a:pt x="229" y="30"/>
                    <a:pt x="233" y="30"/>
                  </a:cubicBezTo>
                  <a:cubicBezTo>
                    <a:pt x="238" y="30"/>
                    <a:pt x="242" y="31"/>
                    <a:pt x="246" y="33"/>
                  </a:cubicBezTo>
                  <a:cubicBezTo>
                    <a:pt x="433" y="184"/>
                    <a:pt x="433" y="184"/>
                    <a:pt x="433" y="184"/>
                  </a:cubicBezTo>
                  <a:cubicBezTo>
                    <a:pt x="34" y="183"/>
                    <a:pt x="34" y="183"/>
                    <a:pt x="34" y="183"/>
                  </a:cubicBezTo>
                  <a:close/>
                  <a:moveTo>
                    <a:pt x="371" y="215"/>
                  </a:moveTo>
                  <a:cubicBezTo>
                    <a:pt x="371" y="399"/>
                    <a:pt x="371" y="399"/>
                    <a:pt x="371" y="399"/>
                  </a:cubicBezTo>
                  <a:cubicBezTo>
                    <a:pt x="341" y="399"/>
                    <a:pt x="341" y="399"/>
                    <a:pt x="341" y="399"/>
                  </a:cubicBezTo>
                  <a:cubicBezTo>
                    <a:pt x="341" y="215"/>
                    <a:pt x="341" y="215"/>
                    <a:pt x="341" y="215"/>
                  </a:cubicBezTo>
                  <a:cubicBezTo>
                    <a:pt x="371" y="215"/>
                    <a:pt x="371" y="215"/>
                    <a:pt x="371" y="215"/>
                  </a:cubicBezTo>
                  <a:close/>
                  <a:moveTo>
                    <a:pt x="310" y="215"/>
                  </a:moveTo>
                  <a:cubicBezTo>
                    <a:pt x="310" y="399"/>
                    <a:pt x="310" y="399"/>
                    <a:pt x="310" y="399"/>
                  </a:cubicBezTo>
                  <a:cubicBezTo>
                    <a:pt x="279" y="399"/>
                    <a:pt x="279" y="399"/>
                    <a:pt x="279" y="399"/>
                  </a:cubicBezTo>
                  <a:cubicBezTo>
                    <a:pt x="279" y="215"/>
                    <a:pt x="279" y="215"/>
                    <a:pt x="279" y="215"/>
                  </a:cubicBezTo>
                  <a:cubicBezTo>
                    <a:pt x="310" y="215"/>
                    <a:pt x="310" y="215"/>
                    <a:pt x="310" y="215"/>
                  </a:cubicBezTo>
                  <a:close/>
                  <a:moveTo>
                    <a:pt x="249" y="215"/>
                  </a:moveTo>
                  <a:cubicBezTo>
                    <a:pt x="249" y="399"/>
                    <a:pt x="249" y="399"/>
                    <a:pt x="249" y="399"/>
                  </a:cubicBezTo>
                  <a:cubicBezTo>
                    <a:pt x="218" y="399"/>
                    <a:pt x="218" y="399"/>
                    <a:pt x="218" y="399"/>
                  </a:cubicBezTo>
                  <a:cubicBezTo>
                    <a:pt x="218" y="215"/>
                    <a:pt x="218" y="215"/>
                    <a:pt x="218" y="215"/>
                  </a:cubicBezTo>
                  <a:cubicBezTo>
                    <a:pt x="249" y="215"/>
                    <a:pt x="249" y="215"/>
                    <a:pt x="249" y="215"/>
                  </a:cubicBezTo>
                  <a:close/>
                  <a:moveTo>
                    <a:pt x="187" y="215"/>
                  </a:moveTo>
                  <a:cubicBezTo>
                    <a:pt x="187" y="399"/>
                    <a:pt x="187" y="399"/>
                    <a:pt x="187" y="399"/>
                  </a:cubicBezTo>
                  <a:cubicBezTo>
                    <a:pt x="156" y="399"/>
                    <a:pt x="156" y="399"/>
                    <a:pt x="156" y="399"/>
                  </a:cubicBezTo>
                  <a:cubicBezTo>
                    <a:pt x="156" y="215"/>
                    <a:pt x="156" y="215"/>
                    <a:pt x="156" y="215"/>
                  </a:cubicBezTo>
                  <a:cubicBezTo>
                    <a:pt x="187" y="215"/>
                    <a:pt x="187" y="215"/>
                    <a:pt x="187" y="215"/>
                  </a:cubicBezTo>
                  <a:close/>
                  <a:moveTo>
                    <a:pt x="126" y="215"/>
                  </a:moveTo>
                  <a:cubicBezTo>
                    <a:pt x="126" y="399"/>
                    <a:pt x="126" y="399"/>
                    <a:pt x="126" y="399"/>
                  </a:cubicBezTo>
                  <a:cubicBezTo>
                    <a:pt x="95" y="399"/>
                    <a:pt x="95" y="399"/>
                    <a:pt x="95" y="399"/>
                  </a:cubicBezTo>
                  <a:cubicBezTo>
                    <a:pt x="95" y="215"/>
                    <a:pt x="95" y="215"/>
                    <a:pt x="95" y="215"/>
                  </a:cubicBezTo>
                  <a:cubicBezTo>
                    <a:pt x="126" y="215"/>
                    <a:pt x="126" y="215"/>
                    <a:pt x="126" y="215"/>
                  </a:cubicBezTo>
                  <a:close/>
                  <a:moveTo>
                    <a:pt x="418" y="460"/>
                  </a:moveTo>
                  <a:cubicBezTo>
                    <a:pt x="49" y="460"/>
                    <a:pt x="49" y="460"/>
                    <a:pt x="49" y="460"/>
                  </a:cubicBezTo>
                  <a:cubicBezTo>
                    <a:pt x="40" y="460"/>
                    <a:pt x="34" y="453"/>
                    <a:pt x="34" y="445"/>
                  </a:cubicBezTo>
                  <a:cubicBezTo>
                    <a:pt x="34" y="437"/>
                    <a:pt x="40" y="430"/>
                    <a:pt x="49" y="430"/>
                  </a:cubicBezTo>
                  <a:cubicBezTo>
                    <a:pt x="418" y="430"/>
                    <a:pt x="418" y="430"/>
                    <a:pt x="418" y="430"/>
                  </a:cubicBezTo>
                  <a:cubicBezTo>
                    <a:pt x="426" y="430"/>
                    <a:pt x="433" y="437"/>
                    <a:pt x="433" y="445"/>
                  </a:cubicBezTo>
                  <a:cubicBezTo>
                    <a:pt x="433" y="453"/>
                    <a:pt x="426" y="460"/>
                    <a:pt x="418" y="4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íṣḷiďê"/>
            <p:cNvSpPr/>
            <p:nvPr/>
          </p:nvSpPr>
          <p:spPr bwMode="auto">
            <a:xfrm>
              <a:off x="4734366" y="3189290"/>
              <a:ext cx="370293" cy="390105"/>
            </a:xfrm>
            <a:custGeom>
              <a:avLst/>
              <a:gdLst>
                <a:gd name="T0" fmla="*/ 126 w 466"/>
                <a:gd name="T1" fmla="*/ 153 h 491"/>
                <a:gd name="T2" fmla="*/ 233 w 466"/>
                <a:gd name="T3" fmla="*/ 61 h 491"/>
                <a:gd name="T4" fmla="*/ 258 w 466"/>
                <a:gd name="T5" fmla="*/ 122 h 491"/>
                <a:gd name="T6" fmla="*/ 233 w 466"/>
                <a:gd name="T7" fmla="*/ 101 h 491"/>
                <a:gd name="T8" fmla="*/ 402 w 466"/>
                <a:gd name="T9" fmla="*/ 399 h 491"/>
                <a:gd name="T10" fmla="*/ 433 w 466"/>
                <a:gd name="T11" fmla="*/ 215 h 491"/>
                <a:gd name="T12" fmla="*/ 452 w 466"/>
                <a:gd name="T13" fmla="*/ 160 h 491"/>
                <a:gd name="T14" fmla="*/ 233 w 466"/>
                <a:gd name="T15" fmla="*/ 0 h 491"/>
                <a:gd name="T16" fmla="*/ 15 w 466"/>
                <a:gd name="T17" fmla="*/ 160 h 491"/>
                <a:gd name="T18" fmla="*/ 34 w 466"/>
                <a:gd name="T19" fmla="*/ 215 h 491"/>
                <a:gd name="T20" fmla="*/ 64 w 466"/>
                <a:gd name="T21" fmla="*/ 399 h 491"/>
                <a:gd name="T22" fmla="*/ 3 w 466"/>
                <a:gd name="T23" fmla="*/ 445 h 491"/>
                <a:gd name="T24" fmla="*/ 418 w 466"/>
                <a:gd name="T25" fmla="*/ 491 h 491"/>
                <a:gd name="T26" fmla="*/ 418 w 466"/>
                <a:gd name="T27" fmla="*/ 399 h 491"/>
                <a:gd name="T28" fmla="*/ 221 w 466"/>
                <a:gd name="T29" fmla="*/ 33 h 491"/>
                <a:gd name="T30" fmla="*/ 246 w 466"/>
                <a:gd name="T31" fmla="*/ 33 h 491"/>
                <a:gd name="T32" fmla="*/ 34 w 466"/>
                <a:gd name="T33" fmla="*/ 183 h 491"/>
                <a:gd name="T34" fmla="*/ 371 w 466"/>
                <a:gd name="T35" fmla="*/ 399 h 491"/>
                <a:gd name="T36" fmla="*/ 341 w 466"/>
                <a:gd name="T37" fmla="*/ 215 h 491"/>
                <a:gd name="T38" fmla="*/ 310 w 466"/>
                <a:gd name="T39" fmla="*/ 215 h 491"/>
                <a:gd name="T40" fmla="*/ 279 w 466"/>
                <a:gd name="T41" fmla="*/ 399 h 491"/>
                <a:gd name="T42" fmla="*/ 310 w 466"/>
                <a:gd name="T43" fmla="*/ 215 h 491"/>
                <a:gd name="T44" fmla="*/ 249 w 466"/>
                <a:gd name="T45" fmla="*/ 399 h 491"/>
                <a:gd name="T46" fmla="*/ 218 w 466"/>
                <a:gd name="T47" fmla="*/ 215 h 491"/>
                <a:gd name="T48" fmla="*/ 187 w 466"/>
                <a:gd name="T49" fmla="*/ 215 h 491"/>
                <a:gd name="T50" fmla="*/ 156 w 466"/>
                <a:gd name="T51" fmla="*/ 399 h 491"/>
                <a:gd name="T52" fmla="*/ 187 w 466"/>
                <a:gd name="T53" fmla="*/ 215 h 491"/>
                <a:gd name="T54" fmla="*/ 126 w 466"/>
                <a:gd name="T55" fmla="*/ 399 h 491"/>
                <a:gd name="T56" fmla="*/ 95 w 466"/>
                <a:gd name="T57" fmla="*/ 215 h 491"/>
                <a:gd name="T58" fmla="*/ 418 w 466"/>
                <a:gd name="T59" fmla="*/ 460 h 491"/>
                <a:gd name="T60" fmla="*/ 34 w 466"/>
                <a:gd name="T61" fmla="*/ 445 h 491"/>
                <a:gd name="T62" fmla="*/ 418 w 466"/>
                <a:gd name="T63" fmla="*/ 430 h 491"/>
                <a:gd name="T64" fmla="*/ 418 w 466"/>
                <a:gd name="T65" fmla="*/ 46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66" h="491">
                  <a:moveTo>
                    <a:pt x="233" y="61"/>
                  </a:moveTo>
                  <a:cubicBezTo>
                    <a:pt x="126" y="153"/>
                    <a:pt x="126" y="153"/>
                    <a:pt x="126" y="153"/>
                  </a:cubicBezTo>
                  <a:cubicBezTo>
                    <a:pt x="341" y="153"/>
                    <a:pt x="341" y="153"/>
                    <a:pt x="341" y="153"/>
                  </a:cubicBezTo>
                  <a:cubicBezTo>
                    <a:pt x="233" y="61"/>
                    <a:pt x="233" y="61"/>
                    <a:pt x="233" y="61"/>
                  </a:cubicBezTo>
                  <a:close/>
                  <a:moveTo>
                    <a:pt x="233" y="101"/>
                  </a:moveTo>
                  <a:cubicBezTo>
                    <a:pt x="258" y="122"/>
                    <a:pt x="258" y="122"/>
                    <a:pt x="258" y="122"/>
                  </a:cubicBezTo>
                  <a:cubicBezTo>
                    <a:pt x="209" y="122"/>
                    <a:pt x="209" y="122"/>
                    <a:pt x="209" y="122"/>
                  </a:cubicBezTo>
                  <a:cubicBezTo>
                    <a:pt x="233" y="101"/>
                    <a:pt x="233" y="101"/>
                    <a:pt x="233" y="101"/>
                  </a:cubicBezTo>
                  <a:close/>
                  <a:moveTo>
                    <a:pt x="418" y="399"/>
                  </a:moveTo>
                  <a:cubicBezTo>
                    <a:pt x="402" y="399"/>
                    <a:pt x="402" y="399"/>
                    <a:pt x="402" y="399"/>
                  </a:cubicBezTo>
                  <a:cubicBezTo>
                    <a:pt x="402" y="215"/>
                    <a:pt x="402" y="215"/>
                    <a:pt x="402" y="215"/>
                  </a:cubicBezTo>
                  <a:cubicBezTo>
                    <a:pt x="433" y="215"/>
                    <a:pt x="433" y="215"/>
                    <a:pt x="433" y="215"/>
                  </a:cubicBezTo>
                  <a:cubicBezTo>
                    <a:pt x="446" y="215"/>
                    <a:pt x="458" y="206"/>
                    <a:pt x="462" y="194"/>
                  </a:cubicBezTo>
                  <a:cubicBezTo>
                    <a:pt x="466" y="181"/>
                    <a:pt x="462" y="168"/>
                    <a:pt x="452" y="160"/>
                  </a:cubicBezTo>
                  <a:cubicBezTo>
                    <a:pt x="263" y="7"/>
                    <a:pt x="263" y="7"/>
                    <a:pt x="263" y="7"/>
                  </a:cubicBezTo>
                  <a:cubicBezTo>
                    <a:pt x="253" y="2"/>
                    <a:pt x="243" y="0"/>
                    <a:pt x="233" y="0"/>
                  </a:cubicBezTo>
                  <a:cubicBezTo>
                    <a:pt x="223" y="0"/>
                    <a:pt x="213" y="2"/>
                    <a:pt x="204" y="7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4" y="168"/>
                    <a:pt x="0" y="181"/>
                    <a:pt x="4" y="194"/>
                  </a:cubicBezTo>
                  <a:cubicBezTo>
                    <a:pt x="9" y="206"/>
                    <a:pt x="20" y="215"/>
                    <a:pt x="34" y="215"/>
                  </a:cubicBezTo>
                  <a:cubicBezTo>
                    <a:pt x="64" y="215"/>
                    <a:pt x="64" y="215"/>
                    <a:pt x="64" y="215"/>
                  </a:cubicBezTo>
                  <a:cubicBezTo>
                    <a:pt x="64" y="399"/>
                    <a:pt x="64" y="399"/>
                    <a:pt x="64" y="399"/>
                  </a:cubicBezTo>
                  <a:cubicBezTo>
                    <a:pt x="49" y="399"/>
                    <a:pt x="49" y="399"/>
                    <a:pt x="49" y="399"/>
                  </a:cubicBezTo>
                  <a:cubicBezTo>
                    <a:pt x="23" y="399"/>
                    <a:pt x="3" y="420"/>
                    <a:pt x="3" y="445"/>
                  </a:cubicBezTo>
                  <a:cubicBezTo>
                    <a:pt x="3" y="470"/>
                    <a:pt x="23" y="491"/>
                    <a:pt x="49" y="491"/>
                  </a:cubicBezTo>
                  <a:cubicBezTo>
                    <a:pt x="418" y="491"/>
                    <a:pt x="418" y="491"/>
                    <a:pt x="418" y="491"/>
                  </a:cubicBezTo>
                  <a:cubicBezTo>
                    <a:pt x="443" y="491"/>
                    <a:pt x="464" y="470"/>
                    <a:pt x="464" y="445"/>
                  </a:cubicBezTo>
                  <a:cubicBezTo>
                    <a:pt x="464" y="420"/>
                    <a:pt x="443" y="399"/>
                    <a:pt x="418" y="399"/>
                  </a:cubicBezTo>
                  <a:close/>
                  <a:moveTo>
                    <a:pt x="34" y="183"/>
                  </a:moveTo>
                  <a:cubicBezTo>
                    <a:pt x="221" y="33"/>
                    <a:pt x="221" y="33"/>
                    <a:pt x="221" y="33"/>
                  </a:cubicBezTo>
                  <a:cubicBezTo>
                    <a:pt x="224" y="31"/>
                    <a:pt x="229" y="30"/>
                    <a:pt x="233" y="30"/>
                  </a:cubicBezTo>
                  <a:cubicBezTo>
                    <a:pt x="238" y="30"/>
                    <a:pt x="242" y="31"/>
                    <a:pt x="246" y="33"/>
                  </a:cubicBezTo>
                  <a:cubicBezTo>
                    <a:pt x="433" y="184"/>
                    <a:pt x="433" y="184"/>
                    <a:pt x="433" y="184"/>
                  </a:cubicBezTo>
                  <a:cubicBezTo>
                    <a:pt x="34" y="183"/>
                    <a:pt x="34" y="183"/>
                    <a:pt x="34" y="183"/>
                  </a:cubicBezTo>
                  <a:close/>
                  <a:moveTo>
                    <a:pt x="371" y="215"/>
                  </a:moveTo>
                  <a:cubicBezTo>
                    <a:pt x="371" y="399"/>
                    <a:pt x="371" y="399"/>
                    <a:pt x="371" y="399"/>
                  </a:cubicBezTo>
                  <a:cubicBezTo>
                    <a:pt x="341" y="399"/>
                    <a:pt x="341" y="399"/>
                    <a:pt x="341" y="399"/>
                  </a:cubicBezTo>
                  <a:cubicBezTo>
                    <a:pt x="341" y="215"/>
                    <a:pt x="341" y="215"/>
                    <a:pt x="341" y="215"/>
                  </a:cubicBezTo>
                  <a:cubicBezTo>
                    <a:pt x="371" y="215"/>
                    <a:pt x="371" y="215"/>
                    <a:pt x="371" y="215"/>
                  </a:cubicBezTo>
                  <a:close/>
                  <a:moveTo>
                    <a:pt x="310" y="215"/>
                  </a:moveTo>
                  <a:cubicBezTo>
                    <a:pt x="310" y="399"/>
                    <a:pt x="310" y="399"/>
                    <a:pt x="310" y="399"/>
                  </a:cubicBezTo>
                  <a:cubicBezTo>
                    <a:pt x="279" y="399"/>
                    <a:pt x="279" y="399"/>
                    <a:pt x="279" y="399"/>
                  </a:cubicBezTo>
                  <a:cubicBezTo>
                    <a:pt x="279" y="215"/>
                    <a:pt x="279" y="215"/>
                    <a:pt x="279" y="215"/>
                  </a:cubicBezTo>
                  <a:cubicBezTo>
                    <a:pt x="310" y="215"/>
                    <a:pt x="310" y="215"/>
                    <a:pt x="310" y="215"/>
                  </a:cubicBezTo>
                  <a:close/>
                  <a:moveTo>
                    <a:pt x="249" y="215"/>
                  </a:moveTo>
                  <a:cubicBezTo>
                    <a:pt x="249" y="399"/>
                    <a:pt x="249" y="399"/>
                    <a:pt x="249" y="399"/>
                  </a:cubicBezTo>
                  <a:cubicBezTo>
                    <a:pt x="218" y="399"/>
                    <a:pt x="218" y="399"/>
                    <a:pt x="218" y="399"/>
                  </a:cubicBezTo>
                  <a:cubicBezTo>
                    <a:pt x="218" y="215"/>
                    <a:pt x="218" y="215"/>
                    <a:pt x="218" y="215"/>
                  </a:cubicBezTo>
                  <a:cubicBezTo>
                    <a:pt x="249" y="215"/>
                    <a:pt x="249" y="215"/>
                    <a:pt x="249" y="215"/>
                  </a:cubicBezTo>
                  <a:close/>
                  <a:moveTo>
                    <a:pt x="187" y="215"/>
                  </a:moveTo>
                  <a:cubicBezTo>
                    <a:pt x="187" y="399"/>
                    <a:pt x="187" y="399"/>
                    <a:pt x="187" y="399"/>
                  </a:cubicBezTo>
                  <a:cubicBezTo>
                    <a:pt x="156" y="399"/>
                    <a:pt x="156" y="399"/>
                    <a:pt x="156" y="399"/>
                  </a:cubicBezTo>
                  <a:cubicBezTo>
                    <a:pt x="156" y="215"/>
                    <a:pt x="156" y="215"/>
                    <a:pt x="156" y="215"/>
                  </a:cubicBezTo>
                  <a:cubicBezTo>
                    <a:pt x="187" y="215"/>
                    <a:pt x="187" y="215"/>
                    <a:pt x="187" y="215"/>
                  </a:cubicBezTo>
                  <a:close/>
                  <a:moveTo>
                    <a:pt x="126" y="215"/>
                  </a:moveTo>
                  <a:cubicBezTo>
                    <a:pt x="126" y="399"/>
                    <a:pt x="126" y="399"/>
                    <a:pt x="126" y="399"/>
                  </a:cubicBezTo>
                  <a:cubicBezTo>
                    <a:pt x="95" y="399"/>
                    <a:pt x="95" y="399"/>
                    <a:pt x="95" y="399"/>
                  </a:cubicBezTo>
                  <a:cubicBezTo>
                    <a:pt x="95" y="215"/>
                    <a:pt x="95" y="215"/>
                    <a:pt x="95" y="215"/>
                  </a:cubicBezTo>
                  <a:cubicBezTo>
                    <a:pt x="126" y="215"/>
                    <a:pt x="126" y="215"/>
                    <a:pt x="126" y="215"/>
                  </a:cubicBezTo>
                  <a:close/>
                  <a:moveTo>
                    <a:pt x="418" y="460"/>
                  </a:moveTo>
                  <a:cubicBezTo>
                    <a:pt x="49" y="460"/>
                    <a:pt x="49" y="460"/>
                    <a:pt x="49" y="460"/>
                  </a:cubicBezTo>
                  <a:cubicBezTo>
                    <a:pt x="40" y="460"/>
                    <a:pt x="34" y="453"/>
                    <a:pt x="34" y="445"/>
                  </a:cubicBezTo>
                  <a:cubicBezTo>
                    <a:pt x="34" y="437"/>
                    <a:pt x="40" y="430"/>
                    <a:pt x="49" y="430"/>
                  </a:cubicBezTo>
                  <a:cubicBezTo>
                    <a:pt x="418" y="430"/>
                    <a:pt x="418" y="430"/>
                    <a:pt x="418" y="430"/>
                  </a:cubicBezTo>
                  <a:cubicBezTo>
                    <a:pt x="426" y="430"/>
                    <a:pt x="433" y="437"/>
                    <a:pt x="433" y="445"/>
                  </a:cubicBezTo>
                  <a:cubicBezTo>
                    <a:pt x="433" y="453"/>
                    <a:pt x="426" y="460"/>
                    <a:pt x="418" y="4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îṧḷîďê"/>
            <p:cNvSpPr/>
            <p:nvPr/>
          </p:nvSpPr>
          <p:spPr bwMode="auto">
            <a:xfrm>
              <a:off x="7188675" y="3184210"/>
              <a:ext cx="370293" cy="390105"/>
            </a:xfrm>
            <a:custGeom>
              <a:avLst/>
              <a:gdLst>
                <a:gd name="T0" fmla="*/ 126 w 466"/>
                <a:gd name="T1" fmla="*/ 153 h 491"/>
                <a:gd name="T2" fmla="*/ 233 w 466"/>
                <a:gd name="T3" fmla="*/ 61 h 491"/>
                <a:gd name="T4" fmla="*/ 258 w 466"/>
                <a:gd name="T5" fmla="*/ 122 h 491"/>
                <a:gd name="T6" fmla="*/ 233 w 466"/>
                <a:gd name="T7" fmla="*/ 101 h 491"/>
                <a:gd name="T8" fmla="*/ 402 w 466"/>
                <a:gd name="T9" fmla="*/ 399 h 491"/>
                <a:gd name="T10" fmla="*/ 433 w 466"/>
                <a:gd name="T11" fmla="*/ 215 h 491"/>
                <a:gd name="T12" fmla="*/ 452 w 466"/>
                <a:gd name="T13" fmla="*/ 160 h 491"/>
                <a:gd name="T14" fmla="*/ 233 w 466"/>
                <a:gd name="T15" fmla="*/ 0 h 491"/>
                <a:gd name="T16" fmla="*/ 15 w 466"/>
                <a:gd name="T17" fmla="*/ 160 h 491"/>
                <a:gd name="T18" fmla="*/ 34 w 466"/>
                <a:gd name="T19" fmla="*/ 215 h 491"/>
                <a:gd name="T20" fmla="*/ 64 w 466"/>
                <a:gd name="T21" fmla="*/ 399 h 491"/>
                <a:gd name="T22" fmla="*/ 3 w 466"/>
                <a:gd name="T23" fmla="*/ 445 h 491"/>
                <a:gd name="T24" fmla="*/ 418 w 466"/>
                <a:gd name="T25" fmla="*/ 491 h 491"/>
                <a:gd name="T26" fmla="*/ 418 w 466"/>
                <a:gd name="T27" fmla="*/ 399 h 491"/>
                <a:gd name="T28" fmla="*/ 221 w 466"/>
                <a:gd name="T29" fmla="*/ 33 h 491"/>
                <a:gd name="T30" fmla="*/ 246 w 466"/>
                <a:gd name="T31" fmla="*/ 33 h 491"/>
                <a:gd name="T32" fmla="*/ 34 w 466"/>
                <a:gd name="T33" fmla="*/ 183 h 491"/>
                <a:gd name="T34" fmla="*/ 371 w 466"/>
                <a:gd name="T35" fmla="*/ 399 h 491"/>
                <a:gd name="T36" fmla="*/ 341 w 466"/>
                <a:gd name="T37" fmla="*/ 215 h 491"/>
                <a:gd name="T38" fmla="*/ 310 w 466"/>
                <a:gd name="T39" fmla="*/ 215 h 491"/>
                <a:gd name="T40" fmla="*/ 279 w 466"/>
                <a:gd name="T41" fmla="*/ 399 h 491"/>
                <a:gd name="T42" fmla="*/ 310 w 466"/>
                <a:gd name="T43" fmla="*/ 215 h 491"/>
                <a:gd name="T44" fmla="*/ 249 w 466"/>
                <a:gd name="T45" fmla="*/ 399 h 491"/>
                <a:gd name="T46" fmla="*/ 218 w 466"/>
                <a:gd name="T47" fmla="*/ 215 h 491"/>
                <a:gd name="T48" fmla="*/ 187 w 466"/>
                <a:gd name="T49" fmla="*/ 215 h 491"/>
                <a:gd name="T50" fmla="*/ 156 w 466"/>
                <a:gd name="T51" fmla="*/ 399 h 491"/>
                <a:gd name="T52" fmla="*/ 187 w 466"/>
                <a:gd name="T53" fmla="*/ 215 h 491"/>
                <a:gd name="T54" fmla="*/ 126 w 466"/>
                <a:gd name="T55" fmla="*/ 399 h 491"/>
                <a:gd name="T56" fmla="*/ 95 w 466"/>
                <a:gd name="T57" fmla="*/ 215 h 491"/>
                <a:gd name="T58" fmla="*/ 418 w 466"/>
                <a:gd name="T59" fmla="*/ 460 h 491"/>
                <a:gd name="T60" fmla="*/ 34 w 466"/>
                <a:gd name="T61" fmla="*/ 445 h 491"/>
                <a:gd name="T62" fmla="*/ 418 w 466"/>
                <a:gd name="T63" fmla="*/ 430 h 491"/>
                <a:gd name="T64" fmla="*/ 418 w 466"/>
                <a:gd name="T65" fmla="*/ 46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66" h="491">
                  <a:moveTo>
                    <a:pt x="233" y="61"/>
                  </a:moveTo>
                  <a:cubicBezTo>
                    <a:pt x="126" y="153"/>
                    <a:pt x="126" y="153"/>
                    <a:pt x="126" y="153"/>
                  </a:cubicBezTo>
                  <a:cubicBezTo>
                    <a:pt x="341" y="153"/>
                    <a:pt x="341" y="153"/>
                    <a:pt x="341" y="153"/>
                  </a:cubicBezTo>
                  <a:cubicBezTo>
                    <a:pt x="233" y="61"/>
                    <a:pt x="233" y="61"/>
                    <a:pt x="233" y="61"/>
                  </a:cubicBezTo>
                  <a:close/>
                  <a:moveTo>
                    <a:pt x="233" y="101"/>
                  </a:moveTo>
                  <a:cubicBezTo>
                    <a:pt x="258" y="122"/>
                    <a:pt x="258" y="122"/>
                    <a:pt x="258" y="122"/>
                  </a:cubicBezTo>
                  <a:cubicBezTo>
                    <a:pt x="209" y="122"/>
                    <a:pt x="209" y="122"/>
                    <a:pt x="209" y="122"/>
                  </a:cubicBezTo>
                  <a:cubicBezTo>
                    <a:pt x="233" y="101"/>
                    <a:pt x="233" y="101"/>
                    <a:pt x="233" y="101"/>
                  </a:cubicBezTo>
                  <a:close/>
                  <a:moveTo>
                    <a:pt x="418" y="399"/>
                  </a:moveTo>
                  <a:cubicBezTo>
                    <a:pt x="402" y="399"/>
                    <a:pt x="402" y="399"/>
                    <a:pt x="402" y="399"/>
                  </a:cubicBezTo>
                  <a:cubicBezTo>
                    <a:pt x="402" y="215"/>
                    <a:pt x="402" y="215"/>
                    <a:pt x="402" y="215"/>
                  </a:cubicBezTo>
                  <a:cubicBezTo>
                    <a:pt x="433" y="215"/>
                    <a:pt x="433" y="215"/>
                    <a:pt x="433" y="215"/>
                  </a:cubicBezTo>
                  <a:cubicBezTo>
                    <a:pt x="446" y="215"/>
                    <a:pt x="458" y="206"/>
                    <a:pt x="462" y="194"/>
                  </a:cubicBezTo>
                  <a:cubicBezTo>
                    <a:pt x="466" y="181"/>
                    <a:pt x="462" y="168"/>
                    <a:pt x="452" y="160"/>
                  </a:cubicBezTo>
                  <a:cubicBezTo>
                    <a:pt x="263" y="7"/>
                    <a:pt x="263" y="7"/>
                    <a:pt x="263" y="7"/>
                  </a:cubicBezTo>
                  <a:cubicBezTo>
                    <a:pt x="253" y="2"/>
                    <a:pt x="243" y="0"/>
                    <a:pt x="233" y="0"/>
                  </a:cubicBezTo>
                  <a:cubicBezTo>
                    <a:pt x="223" y="0"/>
                    <a:pt x="213" y="2"/>
                    <a:pt x="204" y="7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4" y="168"/>
                    <a:pt x="0" y="181"/>
                    <a:pt x="4" y="194"/>
                  </a:cubicBezTo>
                  <a:cubicBezTo>
                    <a:pt x="9" y="206"/>
                    <a:pt x="20" y="215"/>
                    <a:pt x="34" y="215"/>
                  </a:cubicBezTo>
                  <a:cubicBezTo>
                    <a:pt x="64" y="215"/>
                    <a:pt x="64" y="215"/>
                    <a:pt x="64" y="215"/>
                  </a:cubicBezTo>
                  <a:cubicBezTo>
                    <a:pt x="64" y="399"/>
                    <a:pt x="64" y="399"/>
                    <a:pt x="64" y="399"/>
                  </a:cubicBezTo>
                  <a:cubicBezTo>
                    <a:pt x="49" y="399"/>
                    <a:pt x="49" y="399"/>
                    <a:pt x="49" y="399"/>
                  </a:cubicBezTo>
                  <a:cubicBezTo>
                    <a:pt x="23" y="399"/>
                    <a:pt x="3" y="420"/>
                    <a:pt x="3" y="445"/>
                  </a:cubicBezTo>
                  <a:cubicBezTo>
                    <a:pt x="3" y="470"/>
                    <a:pt x="23" y="491"/>
                    <a:pt x="49" y="491"/>
                  </a:cubicBezTo>
                  <a:cubicBezTo>
                    <a:pt x="418" y="491"/>
                    <a:pt x="418" y="491"/>
                    <a:pt x="418" y="491"/>
                  </a:cubicBezTo>
                  <a:cubicBezTo>
                    <a:pt x="443" y="491"/>
                    <a:pt x="464" y="470"/>
                    <a:pt x="464" y="445"/>
                  </a:cubicBezTo>
                  <a:cubicBezTo>
                    <a:pt x="464" y="420"/>
                    <a:pt x="443" y="399"/>
                    <a:pt x="418" y="399"/>
                  </a:cubicBezTo>
                  <a:close/>
                  <a:moveTo>
                    <a:pt x="34" y="183"/>
                  </a:moveTo>
                  <a:cubicBezTo>
                    <a:pt x="221" y="33"/>
                    <a:pt x="221" y="33"/>
                    <a:pt x="221" y="33"/>
                  </a:cubicBezTo>
                  <a:cubicBezTo>
                    <a:pt x="224" y="31"/>
                    <a:pt x="229" y="30"/>
                    <a:pt x="233" y="30"/>
                  </a:cubicBezTo>
                  <a:cubicBezTo>
                    <a:pt x="238" y="30"/>
                    <a:pt x="242" y="31"/>
                    <a:pt x="246" y="33"/>
                  </a:cubicBezTo>
                  <a:cubicBezTo>
                    <a:pt x="433" y="184"/>
                    <a:pt x="433" y="184"/>
                    <a:pt x="433" y="184"/>
                  </a:cubicBezTo>
                  <a:cubicBezTo>
                    <a:pt x="34" y="183"/>
                    <a:pt x="34" y="183"/>
                    <a:pt x="34" y="183"/>
                  </a:cubicBezTo>
                  <a:close/>
                  <a:moveTo>
                    <a:pt x="371" y="215"/>
                  </a:moveTo>
                  <a:cubicBezTo>
                    <a:pt x="371" y="399"/>
                    <a:pt x="371" y="399"/>
                    <a:pt x="371" y="399"/>
                  </a:cubicBezTo>
                  <a:cubicBezTo>
                    <a:pt x="341" y="399"/>
                    <a:pt x="341" y="399"/>
                    <a:pt x="341" y="399"/>
                  </a:cubicBezTo>
                  <a:cubicBezTo>
                    <a:pt x="341" y="215"/>
                    <a:pt x="341" y="215"/>
                    <a:pt x="341" y="215"/>
                  </a:cubicBezTo>
                  <a:cubicBezTo>
                    <a:pt x="371" y="215"/>
                    <a:pt x="371" y="215"/>
                    <a:pt x="371" y="215"/>
                  </a:cubicBezTo>
                  <a:close/>
                  <a:moveTo>
                    <a:pt x="310" y="215"/>
                  </a:moveTo>
                  <a:cubicBezTo>
                    <a:pt x="310" y="399"/>
                    <a:pt x="310" y="399"/>
                    <a:pt x="310" y="399"/>
                  </a:cubicBezTo>
                  <a:cubicBezTo>
                    <a:pt x="279" y="399"/>
                    <a:pt x="279" y="399"/>
                    <a:pt x="279" y="399"/>
                  </a:cubicBezTo>
                  <a:cubicBezTo>
                    <a:pt x="279" y="215"/>
                    <a:pt x="279" y="215"/>
                    <a:pt x="279" y="215"/>
                  </a:cubicBezTo>
                  <a:cubicBezTo>
                    <a:pt x="310" y="215"/>
                    <a:pt x="310" y="215"/>
                    <a:pt x="310" y="215"/>
                  </a:cubicBezTo>
                  <a:close/>
                  <a:moveTo>
                    <a:pt x="249" y="215"/>
                  </a:moveTo>
                  <a:cubicBezTo>
                    <a:pt x="249" y="399"/>
                    <a:pt x="249" y="399"/>
                    <a:pt x="249" y="399"/>
                  </a:cubicBezTo>
                  <a:cubicBezTo>
                    <a:pt x="218" y="399"/>
                    <a:pt x="218" y="399"/>
                    <a:pt x="218" y="399"/>
                  </a:cubicBezTo>
                  <a:cubicBezTo>
                    <a:pt x="218" y="215"/>
                    <a:pt x="218" y="215"/>
                    <a:pt x="218" y="215"/>
                  </a:cubicBezTo>
                  <a:cubicBezTo>
                    <a:pt x="249" y="215"/>
                    <a:pt x="249" y="215"/>
                    <a:pt x="249" y="215"/>
                  </a:cubicBezTo>
                  <a:close/>
                  <a:moveTo>
                    <a:pt x="187" y="215"/>
                  </a:moveTo>
                  <a:cubicBezTo>
                    <a:pt x="187" y="399"/>
                    <a:pt x="187" y="399"/>
                    <a:pt x="187" y="399"/>
                  </a:cubicBezTo>
                  <a:cubicBezTo>
                    <a:pt x="156" y="399"/>
                    <a:pt x="156" y="399"/>
                    <a:pt x="156" y="399"/>
                  </a:cubicBezTo>
                  <a:cubicBezTo>
                    <a:pt x="156" y="215"/>
                    <a:pt x="156" y="215"/>
                    <a:pt x="156" y="215"/>
                  </a:cubicBezTo>
                  <a:cubicBezTo>
                    <a:pt x="187" y="215"/>
                    <a:pt x="187" y="215"/>
                    <a:pt x="187" y="215"/>
                  </a:cubicBezTo>
                  <a:close/>
                  <a:moveTo>
                    <a:pt x="126" y="215"/>
                  </a:moveTo>
                  <a:cubicBezTo>
                    <a:pt x="126" y="399"/>
                    <a:pt x="126" y="399"/>
                    <a:pt x="126" y="399"/>
                  </a:cubicBezTo>
                  <a:cubicBezTo>
                    <a:pt x="95" y="399"/>
                    <a:pt x="95" y="399"/>
                    <a:pt x="95" y="399"/>
                  </a:cubicBezTo>
                  <a:cubicBezTo>
                    <a:pt x="95" y="215"/>
                    <a:pt x="95" y="215"/>
                    <a:pt x="95" y="215"/>
                  </a:cubicBezTo>
                  <a:cubicBezTo>
                    <a:pt x="126" y="215"/>
                    <a:pt x="126" y="215"/>
                    <a:pt x="126" y="215"/>
                  </a:cubicBezTo>
                  <a:close/>
                  <a:moveTo>
                    <a:pt x="418" y="460"/>
                  </a:moveTo>
                  <a:cubicBezTo>
                    <a:pt x="49" y="460"/>
                    <a:pt x="49" y="460"/>
                    <a:pt x="49" y="460"/>
                  </a:cubicBezTo>
                  <a:cubicBezTo>
                    <a:pt x="40" y="460"/>
                    <a:pt x="34" y="453"/>
                    <a:pt x="34" y="445"/>
                  </a:cubicBezTo>
                  <a:cubicBezTo>
                    <a:pt x="34" y="437"/>
                    <a:pt x="40" y="430"/>
                    <a:pt x="49" y="430"/>
                  </a:cubicBezTo>
                  <a:cubicBezTo>
                    <a:pt x="418" y="430"/>
                    <a:pt x="418" y="430"/>
                    <a:pt x="418" y="430"/>
                  </a:cubicBezTo>
                  <a:cubicBezTo>
                    <a:pt x="426" y="430"/>
                    <a:pt x="433" y="437"/>
                    <a:pt x="433" y="445"/>
                  </a:cubicBezTo>
                  <a:cubicBezTo>
                    <a:pt x="433" y="453"/>
                    <a:pt x="426" y="460"/>
                    <a:pt x="418" y="4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iṣľíde"/>
            <p:cNvSpPr/>
            <p:nvPr/>
          </p:nvSpPr>
          <p:spPr bwMode="auto">
            <a:xfrm>
              <a:off x="5098221" y="4348994"/>
              <a:ext cx="370293" cy="390105"/>
            </a:xfrm>
            <a:custGeom>
              <a:avLst/>
              <a:gdLst>
                <a:gd name="T0" fmla="*/ 126 w 466"/>
                <a:gd name="T1" fmla="*/ 153 h 491"/>
                <a:gd name="T2" fmla="*/ 233 w 466"/>
                <a:gd name="T3" fmla="*/ 61 h 491"/>
                <a:gd name="T4" fmla="*/ 258 w 466"/>
                <a:gd name="T5" fmla="*/ 122 h 491"/>
                <a:gd name="T6" fmla="*/ 233 w 466"/>
                <a:gd name="T7" fmla="*/ 101 h 491"/>
                <a:gd name="T8" fmla="*/ 402 w 466"/>
                <a:gd name="T9" fmla="*/ 399 h 491"/>
                <a:gd name="T10" fmla="*/ 433 w 466"/>
                <a:gd name="T11" fmla="*/ 215 h 491"/>
                <a:gd name="T12" fmla="*/ 452 w 466"/>
                <a:gd name="T13" fmla="*/ 160 h 491"/>
                <a:gd name="T14" fmla="*/ 233 w 466"/>
                <a:gd name="T15" fmla="*/ 0 h 491"/>
                <a:gd name="T16" fmla="*/ 15 w 466"/>
                <a:gd name="T17" fmla="*/ 160 h 491"/>
                <a:gd name="T18" fmla="*/ 34 w 466"/>
                <a:gd name="T19" fmla="*/ 215 h 491"/>
                <a:gd name="T20" fmla="*/ 64 w 466"/>
                <a:gd name="T21" fmla="*/ 399 h 491"/>
                <a:gd name="T22" fmla="*/ 3 w 466"/>
                <a:gd name="T23" fmla="*/ 445 h 491"/>
                <a:gd name="T24" fmla="*/ 418 w 466"/>
                <a:gd name="T25" fmla="*/ 491 h 491"/>
                <a:gd name="T26" fmla="*/ 418 w 466"/>
                <a:gd name="T27" fmla="*/ 399 h 491"/>
                <a:gd name="T28" fmla="*/ 221 w 466"/>
                <a:gd name="T29" fmla="*/ 33 h 491"/>
                <a:gd name="T30" fmla="*/ 246 w 466"/>
                <a:gd name="T31" fmla="*/ 33 h 491"/>
                <a:gd name="T32" fmla="*/ 34 w 466"/>
                <a:gd name="T33" fmla="*/ 183 h 491"/>
                <a:gd name="T34" fmla="*/ 371 w 466"/>
                <a:gd name="T35" fmla="*/ 399 h 491"/>
                <a:gd name="T36" fmla="*/ 341 w 466"/>
                <a:gd name="T37" fmla="*/ 215 h 491"/>
                <a:gd name="T38" fmla="*/ 310 w 466"/>
                <a:gd name="T39" fmla="*/ 215 h 491"/>
                <a:gd name="T40" fmla="*/ 279 w 466"/>
                <a:gd name="T41" fmla="*/ 399 h 491"/>
                <a:gd name="T42" fmla="*/ 310 w 466"/>
                <a:gd name="T43" fmla="*/ 215 h 491"/>
                <a:gd name="T44" fmla="*/ 249 w 466"/>
                <a:gd name="T45" fmla="*/ 399 h 491"/>
                <a:gd name="T46" fmla="*/ 218 w 466"/>
                <a:gd name="T47" fmla="*/ 215 h 491"/>
                <a:gd name="T48" fmla="*/ 187 w 466"/>
                <a:gd name="T49" fmla="*/ 215 h 491"/>
                <a:gd name="T50" fmla="*/ 156 w 466"/>
                <a:gd name="T51" fmla="*/ 399 h 491"/>
                <a:gd name="T52" fmla="*/ 187 w 466"/>
                <a:gd name="T53" fmla="*/ 215 h 491"/>
                <a:gd name="T54" fmla="*/ 126 w 466"/>
                <a:gd name="T55" fmla="*/ 399 h 491"/>
                <a:gd name="T56" fmla="*/ 95 w 466"/>
                <a:gd name="T57" fmla="*/ 215 h 491"/>
                <a:gd name="T58" fmla="*/ 418 w 466"/>
                <a:gd name="T59" fmla="*/ 460 h 491"/>
                <a:gd name="T60" fmla="*/ 34 w 466"/>
                <a:gd name="T61" fmla="*/ 445 h 491"/>
                <a:gd name="T62" fmla="*/ 418 w 466"/>
                <a:gd name="T63" fmla="*/ 430 h 491"/>
                <a:gd name="T64" fmla="*/ 418 w 466"/>
                <a:gd name="T65" fmla="*/ 46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66" h="491">
                  <a:moveTo>
                    <a:pt x="233" y="61"/>
                  </a:moveTo>
                  <a:cubicBezTo>
                    <a:pt x="126" y="153"/>
                    <a:pt x="126" y="153"/>
                    <a:pt x="126" y="153"/>
                  </a:cubicBezTo>
                  <a:cubicBezTo>
                    <a:pt x="341" y="153"/>
                    <a:pt x="341" y="153"/>
                    <a:pt x="341" y="153"/>
                  </a:cubicBezTo>
                  <a:cubicBezTo>
                    <a:pt x="233" y="61"/>
                    <a:pt x="233" y="61"/>
                    <a:pt x="233" y="61"/>
                  </a:cubicBezTo>
                  <a:close/>
                  <a:moveTo>
                    <a:pt x="233" y="101"/>
                  </a:moveTo>
                  <a:cubicBezTo>
                    <a:pt x="258" y="122"/>
                    <a:pt x="258" y="122"/>
                    <a:pt x="258" y="122"/>
                  </a:cubicBezTo>
                  <a:cubicBezTo>
                    <a:pt x="209" y="122"/>
                    <a:pt x="209" y="122"/>
                    <a:pt x="209" y="122"/>
                  </a:cubicBezTo>
                  <a:cubicBezTo>
                    <a:pt x="233" y="101"/>
                    <a:pt x="233" y="101"/>
                    <a:pt x="233" y="101"/>
                  </a:cubicBezTo>
                  <a:close/>
                  <a:moveTo>
                    <a:pt x="418" y="399"/>
                  </a:moveTo>
                  <a:cubicBezTo>
                    <a:pt x="402" y="399"/>
                    <a:pt x="402" y="399"/>
                    <a:pt x="402" y="399"/>
                  </a:cubicBezTo>
                  <a:cubicBezTo>
                    <a:pt x="402" y="215"/>
                    <a:pt x="402" y="215"/>
                    <a:pt x="402" y="215"/>
                  </a:cubicBezTo>
                  <a:cubicBezTo>
                    <a:pt x="433" y="215"/>
                    <a:pt x="433" y="215"/>
                    <a:pt x="433" y="215"/>
                  </a:cubicBezTo>
                  <a:cubicBezTo>
                    <a:pt x="446" y="215"/>
                    <a:pt x="458" y="206"/>
                    <a:pt x="462" y="194"/>
                  </a:cubicBezTo>
                  <a:cubicBezTo>
                    <a:pt x="466" y="181"/>
                    <a:pt x="462" y="168"/>
                    <a:pt x="452" y="160"/>
                  </a:cubicBezTo>
                  <a:cubicBezTo>
                    <a:pt x="263" y="7"/>
                    <a:pt x="263" y="7"/>
                    <a:pt x="263" y="7"/>
                  </a:cubicBezTo>
                  <a:cubicBezTo>
                    <a:pt x="253" y="2"/>
                    <a:pt x="243" y="0"/>
                    <a:pt x="233" y="0"/>
                  </a:cubicBezTo>
                  <a:cubicBezTo>
                    <a:pt x="223" y="0"/>
                    <a:pt x="213" y="2"/>
                    <a:pt x="204" y="7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4" y="168"/>
                    <a:pt x="0" y="181"/>
                    <a:pt x="4" y="194"/>
                  </a:cubicBezTo>
                  <a:cubicBezTo>
                    <a:pt x="9" y="206"/>
                    <a:pt x="20" y="215"/>
                    <a:pt x="34" y="215"/>
                  </a:cubicBezTo>
                  <a:cubicBezTo>
                    <a:pt x="64" y="215"/>
                    <a:pt x="64" y="215"/>
                    <a:pt x="64" y="215"/>
                  </a:cubicBezTo>
                  <a:cubicBezTo>
                    <a:pt x="64" y="399"/>
                    <a:pt x="64" y="399"/>
                    <a:pt x="64" y="399"/>
                  </a:cubicBezTo>
                  <a:cubicBezTo>
                    <a:pt x="49" y="399"/>
                    <a:pt x="49" y="399"/>
                    <a:pt x="49" y="399"/>
                  </a:cubicBezTo>
                  <a:cubicBezTo>
                    <a:pt x="23" y="399"/>
                    <a:pt x="3" y="420"/>
                    <a:pt x="3" y="445"/>
                  </a:cubicBezTo>
                  <a:cubicBezTo>
                    <a:pt x="3" y="470"/>
                    <a:pt x="23" y="491"/>
                    <a:pt x="49" y="491"/>
                  </a:cubicBezTo>
                  <a:cubicBezTo>
                    <a:pt x="418" y="491"/>
                    <a:pt x="418" y="491"/>
                    <a:pt x="418" y="491"/>
                  </a:cubicBezTo>
                  <a:cubicBezTo>
                    <a:pt x="443" y="491"/>
                    <a:pt x="464" y="470"/>
                    <a:pt x="464" y="445"/>
                  </a:cubicBezTo>
                  <a:cubicBezTo>
                    <a:pt x="464" y="420"/>
                    <a:pt x="443" y="399"/>
                    <a:pt x="418" y="399"/>
                  </a:cubicBezTo>
                  <a:close/>
                  <a:moveTo>
                    <a:pt x="34" y="183"/>
                  </a:moveTo>
                  <a:cubicBezTo>
                    <a:pt x="221" y="33"/>
                    <a:pt x="221" y="33"/>
                    <a:pt x="221" y="33"/>
                  </a:cubicBezTo>
                  <a:cubicBezTo>
                    <a:pt x="224" y="31"/>
                    <a:pt x="229" y="30"/>
                    <a:pt x="233" y="30"/>
                  </a:cubicBezTo>
                  <a:cubicBezTo>
                    <a:pt x="238" y="30"/>
                    <a:pt x="242" y="31"/>
                    <a:pt x="246" y="33"/>
                  </a:cubicBezTo>
                  <a:cubicBezTo>
                    <a:pt x="433" y="184"/>
                    <a:pt x="433" y="184"/>
                    <a:pt x="433" y="184"/>
                  </a:cubicBezTo>
                  <a:cubicBezTo>
                    <a:pt x="34" y="183"/>
                    <a:pt x="34" y="183"/>
                    <a:pt x="34" y="183"/>
                  </a:cubicBezTo>
                  <a:close/>
                  <a:moveTo>
                    <a:pt x="371" y="215"/>
                  </a:moveTo>
                  <a:cubicBezTo>
                    <a:pt x="371" y="399"/>
                    <a:pt x="371" y="399"/>
                    <a:pt x="371" y="399"/>
                  </a:cubicBezTo>
                  <a:cubicBezTo>
                    <a:pt x="341" y="399"/>
                    <a:pt x="341" y="399"/>
                    <a:pt x="341" y="399"/>
                  </a:cubicBezTo>
                  <a:cubicBezTo>
                    <a:pt x="341" y="215"/>
                    <a:pt x="341" y="215"/>
                    <a:pt x="341" y="215"/>
                  </a:cubicBezTo>
                  <a:cubicBezTo>
                    <a:pt x="371" y="215"/>
                    <a:pt x="371" y="215"/>
                    <a:pt x="371" y="215"/>
                  </a:cubicBezTo>
                  <a:close/>
                  <a:moveTo>
                    <a:pt x="310" y="215"/>
                  </a:moveTo>
                  <a:cubicBezTo>
                    <a:pt x="310" y="399"/>
                    <a:pt x="310" y="399"/>
                    <a:pt x="310" y="399"/>
                  </a:cubicBezTo>
                  <a:cubicBezTo>
                    <a:pt x="279" y="399"/>
                    <a:pt x="279" y="399"/>
                    <a:pt x="279" y="399"/>
                  </a:cubicBezTo>
                  <a:cubicBezTo>
                    <a:pt x="279" y="215"/>
                    <a:pt x="279" y="215"/>
                    <a:pt x="279" y="215"/>
                  </a:cubicBezTo>
                  <a:cubicBezTo>
                    <a:pt x="310" y="215"/>
                    <a:pt x="310" y="215"/>
                    <a:pt x="310" y="215"/>
                  </a:cubicBezTo>
                  <a:close/>
                  <a:moveTo>
                    <a:pt x="249" y="215"/>
                  </a:moveTo>
                  <a:cubicBezTo>
                    <a:pt x="249" y="399"/>
                    <a:pt x="249" y="399"/>
                    <a:pt x="249" y="399"/>
                  </a:cubicBezTo>
                  <a:cubicBezTo>
                    <a:pt x="218" y="399"/>
                    <a:pt x="218" y="399"/>
                    <a:pt x="218" y="399"/>
                  </a:cubicBezTo>
                  <a:cubicBezTo>
                    <a:pt x="218" y="215"/>
                    <a:pt x="218" y="215"/>
                    <a:pt x="218" y="215"/>
                  </a:cubicBezTo>
                  <a:cubicBezTo>
                    <a:pt x="249" y="215"/>
                    <a:pt x="249" y="215"/>
                    <a:pt x="249" y="215"/>
                  </a:cubicBezTo>
                  <a:close/>
                  <a:moveTo>
                    <a:pt x="187" y="215"/>
                  </a:moveTo>
                  <a:cubicBezTo>
                    <a:pt x="187" y="399"/>
                    <a:pt x="187" y="399"/>
                    <a:pt x="187" y="399"/>
                  </a:cubicBezTo>
                  <a:cubicBezTo>
                    <a:pt x="156" y="399"/>
                    <a:pt x="156" y="399"/>
                    <a:pt x="156" y="399"/>
                  </a:cubicBezTo>
                  <a:cubicBezTo>
                    <a:pt x="156" y="215"/>
                    <a:pt x="156" y="215"/>
                    <a:pt x="156" y="215"/>
                  </a:cubicBezTo>
                  <a:cubicBezTo>
                    <a:pt x="187" y="215"/>
                    <a:pt x="187" y="215"/>
                    <a:pt x="187" y="215"/>
                  </a:cubicBezTo>
                  <a:close/>
                  <a:moveTo>
                    <a:pt x="126" y="215"/>
                  </a:moveTo>
                  <a:cubicBezTo>
                    <a:pt x="126" y="399"/>
                    <a:pt x="126" y="399"/>
                    <a:pt x="126" y="399"/>
                  </a:cubicBezTo>
                  <a:cubicBezTo>
                    <a:pt x="95" y="399"/>
                    <a:pt x="95" y="399"/>
                    <a:pt x="95" y="399"/>
                  </a:cubicBezTo>
                  <a:cubicBezTo>
                    <a:pt x="95" y="215"/>
                    <a:pt x="95" y="215"/>
                    <a:pt x="95" y="215"/>
                  </a:cubicBezTo>
                  <a:cubicBezTo>
                    <a:pt x="126" y="215"/>
                    <a:pt x="126" y="215"/>
                    <a:pt x="126" y="215"/>
                  </a:cubicBezTo>
                  <a:close/>
                  <a:moveTo>
                    <a:pt x="418" y="460"/>
                  </a:moveTo>
                  <a:cubicBezTo>
                    <a:pt x="49" y="460"/>
                    <a:pt x="49" y="460"/>
                    <a:pt x="49" y="460"/>
                  </a:cubicBezTo>
                  <a:cubicBezTo>
                    <a:pt x="40" y="460"/>
                    <a:pt x="34" y="453"/>
                    <a:pt x="34" y="445"/>
                  </a:cubicBezTo>
                  <a:cubicBezTo>
                    <a:pt x="34" y="437"/>
                    <a:pt x="40" y="430"/>
                    <a:pt x="49" y="430"/>
                  </a:cubicBezTo>
                  <a:cubicBezTo>
                    <a:pt x="418" y="430"/>
                    <a:pt x="418" y="430"/>
                    <a:pt x="418" y="430"/>
                  </a:cubicBezTo>
                  <a:cubicBezTo>
                    <a:pt x="426" y="430"/>
                    <a:pt x="433" y="437"/>
                    <a:pt x="433" y="445"/>
                  </a:cubicBezTo>
                  <a:cubicBezTo>
                    <a:pt x="433" y="453"/>
                    <a:pt x="426" y="460"/>
                    <a:pt x="418" y="4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îşḷïde"/>
            <p:cNvSpPr/>
            <p:nvPr/>
          </p:nvSpPr>
          <p:spPr bwMode="auto">
            <a:xfrm>
              <a:off x="6822280" y="4335024"/>
              <a:ext cx="370293" cy="390105"/>
            </a:xfrm>
            <a:custGeom>
              <a:avLst/>
              <a:gdLst>
                <a:gd name="T0" fmla="*/ 126 w 466"/>
                <a:gd name="T1" fmla="*/ 153 h 491"/>
                <a:gd name="T2" fmla="*/ 233 w 466"/>
                <a:gd name="T3" fmla="*/ 61 h 491"/>
                <a:gd name="T4" fmla="*/ 258 w 466"/>
                <a:gd name="T5" fmla="*/ 122 h 491"/>
                <a:gd name="T6" fmla="*/ 233 w 466"/>
                <a:gd name="T7" fmla="*/ 101 h 491"/>
                <a:gd name="T8" fmla="*/ 402 w 466"/>
                <a:gd name="T9" fmla="*/ 399 h 491"/>
                <a:gd name="T10" fmla="*/ 433 w 466"/>
                <a:gd name="T11" fmla="*/ 215 h 491"/>
                <a:gd name="T12" fmla="*/ 452 w 466"/>
                <a:gd name="T13" fmla="*/ 160 h 491"/>
                <a:gd name="T14" fmla="*/ 233 w 466"/>
                <a:gd name="T15" fmla="*/ 0 h 491"/>
                <a:gd name="T16" fmla="*/ 15 w 466"/>
                <a:gd name="T17" fmla="*/ 160 h 491"/>
                <a:gd name="T18" fmla="*/ 34 w 466"/>
                <a:gd name="T19" fmla="*/ 215 h 491"/>
                <a:gd name="T20" fmla="*/ 64 w 466"/>
                <a:gd name="T21" fmla="*/ 399 h 491"/>
                <a:gd name="T22" fmla="*/ 3 w 466"/>
                <a:gd name="T23" fmla="*/ 445 h 491"/>
                <a:gd name="T24" fmla="*/ 418 w 466"/>
                <a:gd name="T25" fmla="*/ 491 h 491"/>
                <a:gd name="T26" fmla="*/ 418 w 466"/>
                <a:gd name="T27" fmla="*/ 399 h 491"/>
                <a:gd name="T28" fmla="*/ 221 w 466"/>
                <a:gd name="T29" fmla="*/ 33 h 491"/>
                <a:gd name="T30" fmla="*/ 246 w 466"/>
                <a:gd name="T31" fmla="*/ 33 h 491"/>
                <a:gd name="T32" fmla="*/ 34 w 466"/>
                <a:gd name="T33" fmla="*/ 183 h 491"/>
                <a:gd name="T34" fmla="*/ 371 w 466"/>
                <a:gd name="T35" fmla="*/ 399 h 491"/>
                <a:gd name="T36" fmla="*/ 341 w 466"/>
                <a:gd name="T37" fmla="*/ 215 h 491"/>
                <a:gd name="T38" fmla="*/ 310 w 466"/>
                <a:gd name="T39" fmla="*/ 215 h 491"/>
                <a:gd name="T40" fmla="*/ 279 w 466"/>
                <a:gd name="T41" fmla="*/ 399 h 491"/>
                <a:gd name="T42" fmla="*/ 310 w 466"/>
                <a:gd name="T43" fmla="*/ 215 h 491"/>
                <a:gd name="T44" fmla="*/ 249 w 466"/>
                <a:gd name="T45" fmla="*/ 399 h 491"/>
                <a:gd name="T46" fmla="*/ 218 w 466"/>
                <a:gd name="T47" fmla="*/ 215 h 491"/>
                <a:gd name="T48" fmla="*/ 187 w 466"/>
                <a:gd name="T49" fmla="*/ 215 h 491"/>
                <a:gd name="T50" fmla="*/ 156 w 466"/>
                <a:gd name="T51" fmla="*/ 399 h 491"/>
                <a:gd name="T52" fmla="*/ 187 w 466"/>
                <a:gd name="T53" fmla="*/ 215 h 491"/>
                <a:gd name="T54" fmla="*/ 126 w 466"/>
                <a:gd name="T55" fmla="*/ 399 h 491"/>
                <a:gd name="T56" fmla="*/ 95 w 466"/>
                <a:gd name="T57" fmla="*/ 215 h 491"/>
                <a:gd name="T58" fmla="*/ 418 w 466"/>
                <a:gd name="T59" fmla="*/ 460 h 491"/>
                <a:gd name="T60" fmla="*/ 34 w 466"/>
                <a:gd name="T61" fmla="*/ 445 h 491"/>
                <a:gd name="T62" fmla="*/ 418 w 466"/>
                <a:gd name="T63" fmla="*/ 430 h 491"/>
                <a:gd name="T64" fmla="*/ 418 w 466"/>
                <a:gd name="T65" fmla="*/ 46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66" h="491">
                  <a:moveTo>
                    <a:pt x="233" y="61"/>
                  </a:moveTo>
                  <a:cubicBezTo>
                    <a:pt x="126" y="153"/>
                    <a:pt x="126" y="153"/>
                    <a:pt x="126" y="153"/>
                  </a:cubicBezTo>
                  <a:cubicBezTo>
                    <a:pt x="341" y="153"/>
                    <a:pt x="341" y="153"/>
                    <a:pt x="341" y="153"/>
                  </a:cubicBezTo>
                  <a:cubicBezTo>
                    <a:pt x="233" y="61"/>
                    <a:pt x="233" y="61"/>
                    <a:pt x="233" y="61"/>
                  </a:cubicBezTo>
                  <a:close/>
                  <a:moveTo>
                    <a:pt x="233" y="101"/>
                  </a:moveTo>
                  <a:cubicBezTo>
                    <a:pt x="258" y="122"/>
                    <a:pt x="258" y="122"/>
                    <a:pt x="258" y="122"/>
                  </a:cubicBezTo>
                  <a:cubicBezTo>
                    <a:pt x="209" y="122"/>
                    <a:pt x="209" y="122"/>
                    <a:pt x="209" y="122"/>
                  </a:cubicBezTo>
                  <a:cubicBezTo>
                    <a:pt x="233" y="101"/>
                    <a:pt x="233" y="101"/>
                    <a:pt x="233" y="101"/>
                  </a:cubicBezTo>
                  <a:close/>
                  <a:moveTo>
                    <a:pt x="418" y="399"/>
                  </a:moveTo>
                  <a:cubicBezTo>
                    <a:pt x="402" y="399"/>
                    <a:pt x="402" y="399"/>
                    <a:pt x="402" y="399"/>
                  </a:cubicBezTo>
                  <a:cubicBezTo>
                    <a:pt x="402" y="215"/>
                    <a:pt x="402" y="215"/>
                    <a:pt x="402" y="215"/>
                  </a:cubicBezTo>
                  <a:cubicBezTo>
                    <a:pt x="433" y="215"/>
                    <a:pt x="433" y="215"/>
                    <a:pt x="433" y="215"/>
                  </a:cubicBezTo>
                  <a:cubicBezTo>
                    <a:pt x="446" y="215"/>
                    <a:pt x="458" y="206"/>
                    <a:pt x="462" y="194"/>
                  </a:cubicBezTo>
                  <a:cubicBezTo>
                    <a:pt x="466" y="181"/>
                    <a:pt x="462" y="168"/>
                    <a:pt x="452" y="160"/>
                  </a:cubicBezTo>
                  <a:cubicBezTo>
                    <a:pt x="263" y="7"/>
                    <a:pt x="263" y="7"/>
                    <a:pt x="263" y="7"/>
                  </a:cubicBezTo>
                  <a:cubicBezTo>
                    <a:pt x="253" y="2"/>
                    <a:pt x="243" y="0"/>
                    <a:pt x="233" y="0"/>
                  </a:cubicBezTo>
                  <a:cubicBezTo>
                    <a:pt x="223" y="0"/>
                    <a:pt x="213" y="2"/>
                    <a:pt x="204" y="7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4" y="168"/>
                    <a:pt x="0" y="181"/>
                    <a:pt x="4" y="194"/>
                  </a:cubicBezTo>
                  <a:cubicBezTo>
                    <a:pt x="9" y="206"/>
                    <a:pt x="20" y="215"/>
                    <a:pt x="34" y="215"/>
                  </a:cubicBezTo>
                  <a:cubicBezTo>
                    <a:pt x="64" y="215"/>
                    <a:pt x="64" y="215"/>
                    <a:pt x="64" y="215"/>
                  </a:cubicBezTo>
                  <a:cubicBezTo>
                    <a:pt x="64" y="399"/>
                    <a:pt x="64" y="399"/>
                    <a:pt x="64" y="399"/>
                  </a:cubicBezTo>
                  <a:cubicBezTo>
                    <a:pt x="49" y="399"/>
                    <a:pt x="49" y="399"/>
                    <a:pt x="49" y="399"/>
                  </a:cubicBezTo>
                  <a:cubicBezTo>
                    <a:pt x="23" y="399"/>
                    <a:pt x="3" y="420"/>
                    <a:pt x="3" y="445"/>
                  </a:cubicBezTo>
                  <a:cubicBezTo>
                    <a:pt x="3" y="470"/>
                    <a:pt x="23" y="491"/>
                    <a:pt x="49" y="491"/>
                  </a:cubicBezTo>
                  <a:cubicBezTo>
                    <a:pt x="418" y="491"/>
                    <a:pt x="418" y="491"/>
                    <a:pt x="418" y="491"/>
                  </a:cubicBezTo>
                  <a:cubicBezTo>
                    <a:pt x="443" y="491"/>
                    <a:pt x="464" y="470"/>
                    <a:pt x="464" y="445"/>
                  </a:cubicBezTo>
                  <a:cubicBezTo>
                    <a:pt x="464" y="420"/>
                    <a:pt x="443" y="399"/>
                    <a:pt x="418" y="399"/>
                  </a:cubicBezTo>
                  <a:close/>
                  <a:moveTo>
                    <a:pt x="34" y="183"/>
                  </a:moveTo>
                  <a:cubicBezTo>
                    <a:pt x="221" y="33"/>
                    <a:pt x="221" y="33"/>
                    <a:pt x="221" y="33"/>
                  </a:cubicBezTo>
                  <a:cubicBezTo>
                    <a:pt x="224" y="31"/>
                    <a:pt x="229" y="30"/>
                    <a:pt x="233" y="30"/>
                  </a:cubicBezTo>
                  <a:cubicBezTo>
                    <a:pt x="238" y="30"/>
                    <a:pt x="242" y="31"/>
                    <a:pt x="246" y="33"/>
                  </a:cubicBezTo>
                  <a:cubicBezTo>
                    <a:pt x="433" y="184"/>
                    <a:pt x="433" y="184"/>
                    <a:pt x="433" y="184"/>
                  </a:cubicBezTo>
                  <a:cubicBezTo>
                    <a:pt x="34" y="183"/>
                    <a:pt x="34" y="183"/>
                    <a:pt x="34" y="183"/>
                  </a:cubicBezTo>
                  <a:close/>
                  <a:moveTo>
                    <a:pt x="371" y="215"/>
                  </a:moveTo>
                  <a:cubicBezTo>
                    <a:pt x="371" y="399"/>
                    <a:pt x="371" y="399"/>
                    <a:pt x="371" y="399"/>
                  </a:cubicBezTo>
                  <a:cubicBezTo>
                    <a:pt x="341" y="399"/>
                    <a:pt x="341" y="399"/>
                    <a:pt x="341" y="399"/>
                  </a:cubicBezTo>
                  <a:cubicBezTo>
                    <a:pt x="341" y="215"/>
                    <a:pt x="341" y="215"/>
                    <a:pt x="341" y="215"/>
                  </a:cubicBezTo>
                  <a:cubicBezTo>
                    <a:pt x="371" y="215"/>
                    <a:pt x="371" y="215"/>
                    <a:pt x="371" y="215"/>
                  </a:cubicBezTo>
                  <a:close/>
                  <a:moveTo>
                    <a:pt x="310" y="215"/>
                  </a:moveTo>
                  <a:cubicBezTo>
                    <a:pt x="310" y="399"/>
                    <a:pt x="310" y="399"/>
                    <a:pt x="310" y="399"/>
                  </a:cubicBezTo>
                  <a:cubicBezTo>
                    <a:pt x="279" y="399"/>
                    <a:pt x="279" y="399"/>
                    <a:pt x="279" y="399"/>
                  </a:cubicBezTo>
                  <a:cubicBezTo>
                    <a:pt x="279" y="215"/>
                    <a:pt x="279" y="215"/>
                    <a:pt x="279" y="215"/>
                  </a:cubicBezTo>
                  <a:cubicBezTo>
                    <a:pt x="310" y="215"/>
                    <a:pt x="310" y="215"/>
                    <a:pt x="310" y="215"/>
                  </a:cubicBezTo>
                  <a:close/>
                  <a:moveTo>
                    <a:pt x="249" y="215"/>
                  </a:moveTo>
                  <a:cubicBezTo>
                    <a:pt x="249" y="399"/>
                    <a:pt x="249" y="399"/>
                    <a:pt x="249" y="399"/>
                  </a:cubicBezTo>
                  <a:cubicBezTo>
                    <a:pt x="218" y="399"/>
                    <a:pt x="218" y="399"/>
                    <a:pt x="218" y="399"/>
                  </a:cubicBezTo>
                  <a:cubicBezTo>
                    <a:pt x="218" y="215"/>
                    <a:pt x="218" y="215"/>
                    <a:pt x="218" y="215"/>
                  </a:cubicBezTo>
                  <a:cubicBezTo>
                    <a:pt x="249" y="215"/>
                    <a:pt x="249" y="215"/>
                    <a:pt x="249" y="215"/>
                  </a:cubicBezTo>
                  <a:close/>
                  <a:moveTo>
                    <a:pt x="187" y="215"/>
                  </a:moveTo>
                  <a:cubicBezTo>
                    <a:pt x="187" y="399"/>
                    <a:pt x="187" y="399"/>
                    <a:pt x="187" y="399"/>
                  </a:cubicBezTo>
                  <a:cubicBezTo>
                    <a:pt x="156" y="399"/>
                    <a:pt x="156" y="399"/>
                    <a:pt x="156" y="399"/>
                  </a:cubicBezTo>
                  <a:cubicBezTo>
                    <a:pt x="156" y="215"/>
                    <a:pt x="156" y="215"/>
                    <a:pt x="156" y="215"/>
                  </a:cubicBezTo>
                  <a:cubicBezTo>
                    <a:pt x="187" y="215"/>
                    <a:pt x="187" y="215"/>
                    <a:pt x="187" y="215"/>
                  </a:cubicBezTo>
                  <a:close/>
                  <a:moveTo>
                    <a:pt x="126" y="215"/>
                  </a:moveTo>
                  <a:cubicBezTo>
                    <a:pt x="126" y="399"/>
                    <a:pt x="126" y="399"/>
                    <a:pt x="126" y="399"/>
                  </a:cubicBezTo>
                  <a:cubicBezTo>
                    <a:pt x="95" y="399"/>
                    <a:pt x="95" y="399"/>
                    <a:pt x="95" y="399"/>
                  </a:cubicBezTo>
                  <a:cubicBezTo>
                    <a:pt x="95" y="215"/>
                    <a:pt x="95" y="215"/>
                    <a:pt x="95" y="215"/>
                  </a:cubicBezTo>
                  <a:cubicBezTo>
                    <a:pt x="126" y="215"/>
                    <a:pt x="126" y="215"/>
                    <a:pt x="126" y="215"/>
                  </a:cubicBezTo>
                  <a:close/>
                  <a:moveTo>
                    <a:pt x="418" y="460"/>
                  </a:moveTo>
                  <a:cubicBezTo>
                    <a:pt x="49" y="460"/>
                    <a:pt x="49" y="460"/>
                    <a:pt x="49" y="460"/>
                  </a:cubicBezTo>
                  <a:cubicBezTo>
                    <a:pt x="40" y="460"/>
                    <a:pt x="34" y="453"/>
                    <a:pt x="34" y="445"/>
                  </a:cubicBezTo>
                  <a:cubicBezTo>
                    <a:pt x="34" y="437"/>
                    <a:pt x="40" y="430"/>
                    <a:pt x="49" y="430"/>
                  </a:cubicBezTo>
                  <a:cubicBezTo>
                    <a:pt x="418" y="430"/>
                    <a:pt x="418" y="430"/>
                    <a:pt x="418" y="430"/>
                  </a:cubicBezTo>
                  <a:cubicBezTo>
                    <a:pt x="426" y="430"/>
                    <a:pt x="433" y="437"/>
                    <a:pt x="433" y="445"/>
                  </a:cubicBezTo>
                  <a:cubicBezTo>
                    <a:pt x="433" y="453"/>
                    <a:pt x="426" y="460"/>
                    <a:pt x="418" y="4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íṥ1íḑé"/>
            <p:cNvSpPr/>
            <p:nvPr/>
          </p:nvSpPr>
          <p:spPr bwMode="auto">
            <a:xfrm>
              <a:off x="773531" y="2120735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en-US" altLang="zh-CN" sz="1100" dirty="0"/>
            </a:p>
          </p:txBody>
        </p:sp>
        <p:sp>
          <p:nvSpPr>
            <p:cNvPr id="27" name="ïṣľíḍe"/>
            <p:cNvSpPr txBox="1"/>
            <p:nvPr/>
          </p:nvSpPr>
          <p:spPr bwMode="auto">
            <a:xfrm>
              <a:off x="773531" y="1707855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zh-CN" sz="1800" b="1" dirty="0"/>
            </a:p>
          </p:txBody>
        </p:sp>
        <p:sp>
          <p:nvSpPr>
            <p:cNvPr id="28" name="işľíḍe"/>
            <p:cNvSpPr/>
            <p:nvPr/>
          </p:nvSpPr>
          <p:spPr bwMode="auto">
            <a:xfrm>
              <a:off x="773531" y="3629959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en-US" altLang="zh-CN" sz="1100" dirty="0"/>
            </a:p>
          </p:txBody>
        </p:sp>
        <p:sp>
          <p:nvSpPr>
            <p:cNvPr id="29" name="iSľiḋê"/>
            <p:cNvSpPr txBox="1"/>
            <p:nvPr/>
          </p:nvSpPr>
          <p:spPr bwMode="auto">
            <a:xfrm>
              <a:off x="773531" y="3217079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zh-CN" sz="1800" b="1" dirty="0"/>
            </a:p>
          </p:txBody>
        </p:sp>
        <p:sp>
          <p:nvSpPr>
            <p:cNvPr id="30" name="íṩľîďê"/>
            <p:cNvSpPr/>
            <p:nvPr/>
          </p:nvSpPr>
          <p:spPr bwMode="auto">
            <a:xfrm>
              <a:off x="773531" y="5138361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en-US" altLang="zh-CN" sz="1100" dirty="0"/>
            </a:p>
          </p:txBody>
        </p:sp>
        <p:sp>
          <p:nvSpPr>
            <p:cNvPr id="31" name="iśḻïḋè"/>
            <p:cNvSpPr txBox="1"/>
            <p:nvPr/>
          </p:nvSpPr>
          <p:spPr bwMode="auto">
            <a:xfrm>
              <a:off x="773531" y="4677221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zh-CN" sz="1800" b="1" dirty="0"/>
            </a:p>
          </p:txBody>
        </p:sp>
        <p:sp>
          <p:nvSpPr>
            <p:cNvPr id="34" name="ïš1ïḑè"/>
            <p:cNvSpPr/>
            <p:nvPr/>
          </p:nvSpPr>
          <p:spPr bwMode="auto">
            <a:xfrm>
              <a:off x="9317376" y="2120735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endParaRPr lang="en-US" altLang="zh-CN" sz="1100" dirty="0"/>
            </a:p>
          </p:txBody>
        </p:sp>
        <p:sp>
          <p:nvSpPr>
            <p:cNvPr id="35" name="îṩļîḑe"/>
            <p:cNvSpPr txBox="1"/>
            <p:nvPr/>
          </p:nvSpPr>
          <p:spPr bwMode="auto">
            <a:xfrm>
              <a:off x="9317376" y="1707855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zh-CN" sz="1800" b="1" dirty="0"/>
            </a:p>
          </p:txBody>
        </p:sp>
        <p:sp>
          <p:nvSpPr>
            <p:cNvPr id="36" name="îṧľídé"/>
            <p:cNvSpPr/>
            <p:nvPr/>
          </p:nvSpPr>
          <p:spPr bwMode="auto">
            <a:xfrm>
              <a:off x="9317376" y="3629959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endParaRPr lang="en-US" altLang="zh-CN" sz="1100" dirty="0"/>
            </a:p>
          </p:txBody>
        </p:sp>
        <p:sp>
          <p:nvSpPr>
            <p:cNvPr id="37" name="í$liďe"/>
            <p:cNvSpPr txBox="1"/>
            <p:nvPr/>
          </p:nvSpPr>
          <p:spPr bwMode="auto">
            <a:xfrm>
              <a:off x="9317376" y="3217079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zh-CN" sz="1800" b="1" dirty="0"/>
            </a:p>
          </p:txBody>
        </p:sp>
        <p:sp>
          <p:nvSpPr>
            <p:cNvPr id="38" name="íśļíde"/>
            <p:cNvSpPr/>
            <p:nvPr/>
          </p:nvSpPr>
          <p:spPr bwMode="auto">
            <a:xfrm>
              <a:off x="9317376" y="5138361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endParaRPr lang="en-US" altLang="zh-CN" sz="1100" dirty="0"/>
            </a:p>
          </p:txBody>
        </p:sp>
        <p:sp>
          <p:nvSpPr>
            <p:cNvPr id="39" name="iśḷiḍé"/>
            <p:cNvSpPr txBox="1"/>
            <p:nvPr/>
          </p:nvSpPr>
          <p:spPr bwMode="auto">
            <a:xfrm>
              <a:off x="9317376" y="4725481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zh-CN" sz="1800" b="1" dirty="0"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616710" y="1355725"/>
            <a:ext cx="8489950" cy="509905"/>
          </a:xfrm>
        </p:spPr>
        <p:txBody>
          <a:bodyPr>
            <a:normAutofit/>
          </a:bodyPr>
          <a:lstStyle/>
          <a:p>
            <a:r>
              <a:rPr lang="en-US" altLang="zh-CN" dirty="0"/>
              <a:t>Pioneer 3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2" name="ï$ļiďé"/>
          <p:cNvSpPr/>
          <p:nvPr/>
        </p:nvSpPr>
        <p:spPr>
          <a:xfrm>
            <a:off x="793946" y="1267117"/>
            <a:ext cx="675011" cy="675015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53" name="ïṡḷiḋè"/>
          <p:cNvSpPr/>
          <p:nvPr/>
        </p:nvSpPr>
        <p:spPr bwMode="auto">
          <a:xfrm>
            <a:off x="959991" y="1442234"/>
            <a:ext cx="344191" cy="337479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200" dirty="0"/>
          </a:p>
        </p:txBody>
      </p:sp>
      <p:sp>
        <p:nvSpPr>
          <p:cNvPr id="54" name="ï$ļiďé"/>
          <p:cNvSpPr/>
          <p:nvPr/>
        </p:nvSpPr>
        <p:spPr>
          <a:xfrm>
            <a:off x="793311" y="4271302"/>
            <a:ext cx="675011" cy="675015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55" name="ïṡḷiḋè"/>
          <p:cNvSpPr/>
          <p:nvPr/>
        </p:nvSpPr>
        <p:spPr bwMode="auto">
          <a:xfrm>
            <a:off x="958721" y="4440069"/>
            <a:ext cx="344191" cy="337479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200" dirty="0"/>
          </a:p>
        </p:txBody>
      </p:sp>
      <p:pic>
        <p:nvPicPr>
          <p:cNvPr id="39" name="Picture 5"/>
          <p:cNvPicPr/>
          <p:nvPr/>
        </p:nvPicPr>
        <p:blipFill>
          <a:blip r:embed="rId1"/>
          <a:stretch>
            <a:fillRect/>
          </a:stretch>
        </p:blipFill>
        <p:spPr>
          <a:xfrm>
            <a:off x="2535450" y="2021355"/>
            <a:ext cx="2942280" cy="1765440"/>
          </a:xfrm>
          <a:prstGeom prst="rect">
            <a:avLst/>
          </a:prstGeom>
          <a:ln>
            <a:noFill/>
          </a:ln>
        </p:spPr>
      </p:pic>
      <p:sp>
        <p:nvSpPr>
          <p:cNvPr id="46" name="Text Box 45"/>
          <p:cNvSpPr txBox="1"/>
          <p:nvPr/>
        </p:nvSpPr>
        <p:spPr>
          <a:xfrm>
            <a:off x="1783080" y="4347210"/>
            <a:ext cx="161417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sz="2800" b="1"/>
              <a:t>Speaker</a:t>
            </a:r>
            <a:endParaRPr lang="en-US" sz="2800" b="1"/>
          </a:p>
        </p:txBody>
      </p:sp>
      <p:sp>
        <p:nvSpPr>
          <p:cNvPr id="57" name="Text Box 56"/>
          <p:cNvSpPr txBox="1"/>
          <p:nvPr/>
        </p:nvSpPr>
        <p:spPr>
          <a:xfrm>
            <a:off x="2098675" y="4946015"/>
            <a:ext cx="6946900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00000"/>
              </a:lnSpc>
            </a:pPr>
            <a:r>
              <a:rPr lang="en-US">
                <a:solidFill>
                  <a:srgbClr val="000000"/>
                </a:solidFill>
                <a:latin typeface="Times New Roman" panose="02020503050405090304"/>
                <a:ea typeface="微软雅黑"/>
                <a:sym typeface="+mn-ea"/>
              </a:rPr>
              <a:t>To make our service look better, we added a speaker to report the current statement while leading customers to the room. We record the voice and add it into the library.</a:t>
            </a:r>
            <a:endParaRPr lang="en-US">
              <a:solidFill>
                <a:srgbClr val="000000"/>
              </a:solidFill>
              <a:latin typeface="Times New Roman" panose="02020503050405090304"/>
              <a:ea typeface="微软雅黑"/>
            </a:endParaRPr>
          </a:p>
          <a:p>
            <a:pPr>
              <a:lnSpc>
                <a:spcPct val="100000"/>
              </a:lnSpc>
            </a:pPr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45310" y="1266825"/>
            <a:ext cx="8248650" cy="588010"/>
          </a:xfrm>
        </p:spPr>
        <p:txBody>
          <a:bodyPr/>
          <a:p>
            <a:r>
              <a:rPr lang="en-US"/>
              <a:t>Radar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2" name="ï$ļiďé"/>
          <p:cNvSpPr/>
          <p:nvPr/>
        </p:nvSpPr>
        <p:spPr>
          <a:xfrm>
            <a:off x="793946" y="1267117"/>
            <a:ext cx="675011" cy="675015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53" name="ïṡḷiḋè"/>
          <p:cNvSpPr/>
          <p:nvPr/>
        </p:nvSpPr>
        <p:spPr bwMode="auto">
          <a:xfrm>
            <a:off x="959991" y="1442234"/>
            <a:ext cx="344191" cy="337479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200" dirty="0"/>
          </a:p>
        </p:txBody>
      </p:sp>
      <p:sp>
        <p:nvSpPr>
          <p:cNvPr id="5" name="Text Box 4"/>
          <p:cNvSpPr txBox="1"/>
          <p:nvPr/>
        </p:nvSpPr>
        <p:spPr>
          <a:xfrm>
            <a:off x="2345055" y="2146300"/>
            <a:ext cx="3256280" cy="64516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ctr">
              <a:lnSpc>
                <a:spcPct val="100000"/>
              </a:lnSpc>
            </a:pPr>
            <a:r>
              <a:rPr lang="en-US" b="1">
                <a:solidFill>
                  <a:srgbClr val="000000"/>
                </a:solidFill>
                <a:latin typeface="Arial" panose="020B0604020202090204"/>
                <a:ea typeface="微软雅黑"/>
                <a:sym typeface="+mn-ea"/>
              </a:rPr>
              <a:t>Hokuyo UST-10LX Scanning</a:t>
            </a:r>
            <a:endParaRPr lang="en-US" b="1">
              <a:solidFill>
                <a:srgbClr val="000000"/>
              </a:solidFill>
              <a:latin typeface="Arial" panose="020B0604020202090204"/>
              <a:ea typeface="微软雅黑"/>
              <a:sym typeface="+mn-ea"/>
            </a:endParaRPr>
          </a:p>
          <a:p>
            <a:pPr algn="ctr">
              <a:lnSpc>
                <a:spcPct val="100000"/>
              </a:lnSpc>
            </a:pPr>
            <a:r>
              <a:rPr lang="en-US" b="1">
                <a:solidFill>
                  <a:srgbClr val="000000"/>
                </a:solidFill>
                <a:latin typeface="Arial" panose="020B0604020202090204"/>
                <a:ea typeface="微软雅黑"/>
                <a:sym typeface="+mn-ea"/>
              </a:rPr>
              <a:t> Laser Rangefinder</a:t>
            </a:r>
            <a:endParaRPr lang="en-US"/>
          </a:p>
        </p:txBody>
      </p:sp>
      <p:sp>
        <p:nvSpPr>
          <p:cNvPr id="241" name="CustomShape 1"/>
          <p:cNvSpPr/>
          <p:nvPr/>
        </p:nvSpPr>
        <p:spPr>
          <a:xfrm>
            <a:off x="2094930" y="3142690"/>
            <a:ext cx="2715480" cy="1194120"/>
          </a:xfrm>
          <a:prstGeom prst="flowChartAlternateProcess">
            <a:avLst/>
          </a:prstGeom>
          <a:solidFill>
            <a:srgbClr val="FFFFFF"/>
          </a:solidFill>
          <a:ln w="12600">
            <a:solidFill>
              <a:srgbClr val="605250"/>
            </a:solidFill>
            <a:miter/>
          </a:ln>
        </p:spPr>
      </p:sp>
      <p:sp>
        <p:nvSpPr>
          <p:cNvPr id="244" name="CustomShape 4"/>
          <p:cNvSpPr/>
          <p:nvPr/>
        </p:nvSpPr>
        <p:spPr>
          <a:xfrm>
            <a:off x="2217330" y="3265090"/>
            <a:ext cx="2908440" cy="91332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p>
            <a:pPr>
              <a:lnSpc>
                <a:spcPct val="100000"/>
              </a:lnSpc>
            </a:pPr>
            <a:r>
              <a:rPr lang="en-US">
                <a:solidFill>
                  <a:srgbClr val="C03D2B"/>
                </a:solidFill>
                <a:latin typeface="Arial" panose="020B0604020202090204"/>
                <a:ea typeface="微软雅黑"/>
              </a:rPr>
              <a:t>10 meters</a:t>
            </a:r>
            <a:endParaRPr lang="en-US">
              <a:solidFill>
                <a:srgbClr val="C03D2B"/>
              </a:solidFill>
              <a:latin typeface="Arial" panose="020B0604020202090204"/>
              <a:ea typeface="微软雅黑"/>
            </a:endParaRPr>
          </a:p>
          <a:p>
            <a:pPr>
              <a:lnSpc>
                <a:spcPct val="100000"/>
              </a:lnSpc>
            </a:pPr>
          </a:p>
          <a:p>
            <a:pPr>
              <a:lnSpc>
                <a:spcPct val="100000"/>
              </a:lnSpc>
            </a:pPr>
            <a:r>
              <a:rPr lang="en-US">
                <a:solidFill>
                  <a:srgbClr val="C03D2B"/>
                </a:solidFill>
                <a:latin typeface="Arial" panose="020B0604020202090204"/>
                <a:ea typeface="微软雅黑"/>
              </a:rPr>
              <a:t>scan 270° field of view</a:t>
            </a:r>
            <a:endParaRPr lang="en-US">
              <a:solidFill>
                <a:srgbClr val="C03D2B"/>
              </a:solidFill>
              <a:latin typeface="Arial" panose="020B0604020202090204"/>
              <a:ea typeface="微软雅黑"/>
            </a:endParaRPr>
          </a:p>
        </p:txBody>
      </p:sp>
      <p:pic>
        <p:nvPicPr>
          <p:cNvPr id="240" name="图片 13"/>
          <p:cNvPicPr/>
          <p:nvPr/>
        </p:nvPicPr>
        <p:blipFill>
          <a:blip r:embed="rId1"/>
          <a:stretch>
            <a:fillRect/>
          </a:stretch>
        </p:blipFill>
        <p:spPr>
          <a:xfrm>
            <a:off x="8427220" y="1550100"/>
            <a:ext cx="2300760" cy="3068640"/>
          </a:xfrm>
          <a:prstGeom prst="rect">
            <a:avLst/>
          </a:prstGeom>
          <a:ln>
            <a:noFill/>
          </a:ln>
        </p:spPr>
      </p:pic>
      <p:sp>
        <p:nvSpPr>
          <p:cNvPr id="6" name="Text Box 5"/>
          <p:cNvSpPr txBox="1"/>
          <p:nvPr/>
        </p:nvSpPr>
        <p:spPr>
          <a:xfrm>
            <a:off x="1845310" y="4618990"/>
            <a:ext cx="6165850" cy="1476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00000"/>
              </a:lnSpc>
              <a:buFont typeface="Arial" panose="020B0604020202090204"/>
              <a:buChar char="•"/>
            </a:pPr>
            <a:r>
              <a:rPr lang="en-US">
                <a:solidFill>
                  <a:srgbClr val="7C593D"/>
                </a:solidFill>
                <a:latin typeface="Arial" panose="020B0604020202090204"/>
                <a:ea typeface="微软雅黑"/>
                <a:sym typeface="+mn-ea"/>
              </a:rPr>
              <a:t>Small, accurate, high-speed scanning laser range finder</a:t>
            </a:r>
            <a:endParaRPr lang="en-US">
              <a:solidFill>
                <a:srgbClr val="7C593D"/>
              </a:solidFill>
              <a:latin typeface="Arial" panose="020B0604020202090204"/>
              <a:ea typeface="微软雅黑"/>
            </a:endParaRPr>
          </a:p>
          <a:p>
            <a:pPr>
              <a:lnSpc>
                <a:spcPct val="100000"/>
              </a:lnSpc>
              <a:buFont typeface="Arial" panose="020B0604020202090204"/>
              <a:buChar char="•"/>
            </a:pPr>
            <a:r>
              <a:rPr lang="en-US">
                <a:solidFill>
                  <a:srgbClr val="7C593D"/>
                </a:solidFill>
                <a:latin typeface="Arial" panose="020B0604020202090204"/>
                <a:ea typeface="微软雅黑"/>
                <a:sym typeface="+mn-ea"/>
              </a:rPr>
              <a:t>Obstacle detection and localization of autonomous robots</a:t>
            </a:r>
            <a:endParaRPr lang="en-US">
              <a:solidFill>
                <a:srgbClr val="7C593D"/>
              </a:solidFill>
              <a:latin typeface="Arial" panose="020B0604020202090204"/>
              <a:ea typeface="微软雅黑"/>
            </a:endParaRPr>
          </a:p>
          <a:p>
            <a:pPr>
              <a:lnSpc>
                <a:spcPct val="100000"/>
              </a:lnSpc>
              <a:buFont typeface="Arial" panose="020B0604020202090204"/>
              <a:buChar char="•"/>
            </a:pPr>
            <a:r>
              <a:rPr lang="en-US">
                <a:solidFill>
                  <a:srgbClr val="7C593D"/>
                </a:solidFill>
                <a:latin typeface="Arial" panose="020B0604020202090204"/>
                <a:ea typeface="微软雅黑"/>
                <a:sym typeface="+mn-ea"/>
              </a:rPr>
              <a:t>Detection distance (maximum): 30m</a:t>
            </a:r>
            <a:endParaRPr lang="en-US">
              <a:solidFill>
                <a:srgbClr val="7C593D"/>
              </a:solidFill>
              <a:latin typeface="Arial" panose="020B0604020202090204"/>
              <a:ea typeface="微软雅黑"/>
            </a:endParaRPr>
          </a:p>
          <a:p>
            <a:pPr>
              <a:lnSpc>
                <a:spcPct val="100000"/>
              </a:lnSpc>
              <a:buFont typeface="Arial" panose="020B0604020202090204"/>
              <a:buChar char="•"/>
            </a:pPr>
            <a:r>
              <a:rPr lang="en-US">
                <a:solidFill>
                  <a:srgbClr val="7C593D"/>
                </a:solidFill>
                <a:latin typeface="Arial" panose="020B0604020202090204"/>
                <a:ea typeface="微软雅黑"/>
                <a:sym typeface="+mn-ea"/>
              </a:rPr>
              <a:t>Light source: Laser semiconductor (905nm)</a:t>
            </a:r>
            <a:endParaRPr lang="en-US">
              <a:solidFill>
                <a:srgbClr val="7C593D"/>
              </a:solidFill>
              <a:latin typeface="Arial" panose="020B0604020202090204"/>
              <a:ea typeface="微软雅黑"/>
            </a:endParaRPr>
          </a:p>
          <a:p>
            <a:pPr>
              <a:lnSpc>
                <a:spcPct val="100000"/>
              </a:lnSpc>
              <a:buFont typeface="Arial" panose="020B0604020202090204"/>
              <a:buChar char="•"/>
            </a:pPr>
            <a:r>
              <a:rPr lang="en-US">
                <a:solidFill>
                  <a:srgbClr val="7C593D"/>
                </a:solidFill>
                <a:latin typeface="Arial" panose="020B0604020202090204"/>
                <a:ea typeface="微软雅黑"/>
                <a:sym typeface="+mn-ea"/>
              </a:rPr>
              <a:t>Scan speed: 25ms (Motor speed 2400rpm)</a:t>
            </a:r>
            <a:endParaRPr lang="en-US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ISLIDE.DIAGRAM" val="4c536999-aee8-4c7f-a1f0-8894fd67c07b"/>
</p:tagLst>
</file>

<file path=ppt/tags/tag11.xml><?xml version="1.0" encoding="utf-8"?>
<p:tagLst xmlns:p="http://schemas.openxmlformats.org/presentationml/2006/main">
  <p:tag name="ISLIDE.DIAGRAM" val="44ed5567-af30-4640-90b3-39865954905f"/>
</p:tagLst>
</file>

<file path=ppt/tags/tag12.xml><?xml version="1.0" encoding="utf-8"?>
<p:tagLst xmlns:p="http://schemas.openxmlformats.org/presentationml/2006/main">
  <p:tag name="ISLIDE.DIAGRAM" val="5f8ddc0b-6e9a-4720-90a3-ca5dda9eabb0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1Smkff3fSzGMOuItfjj3Fw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DIAGRAM" val="2b751056-6b97-492c-b763-340acee7e99d"/>
</p:tagLst>
</file>

<file path=ppt/tags/tag4.xml><?xml version="1.0" encoding="utf-8"?>
<p:tagLst xmlns:p="http://schemas.openxmlformats.org/presentationml/2006/main">
  <p:tag name="ISLIDE.DIAGRAM" val="7013c409-171c-425f-8986-d5ef29caa6b0"/>
</p:tagLst>
</file>

<file path=ppt/tags/tag5.xml><?xml version="1.0" encoding="utf-8"?>
<p:tagLst xmlns:p="http://schemas.openxmlformats.org/presentationml/2006/main">
  <p:tag name="ISLIDE.DIAGRAM" val="e387484c-6468-4da9-bc90-b5ff7f67368e"/>
</p:tagLst>
</file>

<file path=ppt/tags/tag6.xml><?xml version="1.0" encoding="utf-8"?>
<p:tagLst xmlns:p="http://schemas.openxmlformats.org/presentationml/2006/main">
  <p:tag name="ISLIDE.DIAGRAM" val="3d38886e-2382-4dbe-abe1-b9c3aaa0a329"/>
</p:tagLst>
</file>

<file path=ppt/tags/tag7.xml><?xml version="1.0" encoding="utf-8"?>
<p:tagLst xmlns:p="http://schemas.openxmlformats.org/presentationml/2006/main">
  <p:tag name="ISLIDE.DIAGRAM" val="e387484c-6468-4da9-bc90-b5ff7f67368e"/>
</p:tagLst>
</file>

<file path=ppt/tags/tag8.xml><?xml version="1.0" encoding="utf-8"?>
<p:tagLst xmlns:p="http://schemas.openxmlformats.org/presentationml/2006/main">
  <p:tag name="ISLIDE.DIAGRAM" val="8402682c-468d-4696-8521-21f368aafe1b"/>
</p:tagLst>
</file>

<file path=ppt/tags/tag9.xml><?xml version="1.0" encoding="utf-8"?>
<p:tagLst xmlns:p="http://schemas.openxmlformats.org/presentationml/2006/main">
  <p:tag name="ISLIDE.DIAGRAM" val="1dfcbc56-e15c-4753-b6d9-324abaf426d5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69AD1"/>
      </a:accent1>
      <a:accent2>
        <a:srgbClr val="86B4D2"/>
      </a:accent2>
      <a:accent3>
        <a:srgbClr val="797979"/>
      </a:accent3>
      <a:accent4>
        <a:srgbClr val="5F5F5F"/>
      </a:accent4>
      <a:accent5>
        <a:srgbClr val="929292"/>
      </a:accent5>
      <a:accent6>
        <a:srgbClr val="45454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AD1"/>
    </a:accent1>
    <a:accent2>
      <a:srgbClr val="86B4D2"/>
    </a:accent2>
    <a:accent3>
      <a:srgbClr val="797979"/>
    </a:accent3>
    <a:accent4>
      <a:srgbClr val="5F5F5F"/>
    </a:accent4>
    <a:accent5>
      <a:srgbClr val="929292"/>
    </a:accent5>
    <a:accent6>
      <a:srgbClr val="454545"/>
    </a:accent6>
    <a:hlink>
      <a:srgbClr val="4276AA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AD1"/>
    </a:accent1>
    <a:accent2>
      <a:srgbClr val="86B4D2"/>
    </a:accent2>
    <a:accent3>
      <a:srgbClr val="797979"/>
    </a:accent3>
    <a:accent4>
      <a:srgbClr val="5F5F5F"/>
    </a:accent4>
    <a:accent5>
      <a:srgbClr val="929292"/>
    </a:accent5>
    <a:accent6>
      <a:srgbClr val="454545"/>
    </a:accent6>
    <a:hlink>
      <a:srgbClr val="4276AA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AD1"/>
    </a:accent1>
    <a:accent2>
      <a:srgbClr val="86B4D2"/>
    </a:accent2>
    <a:accent3>
      <a:srgbClr val="797979"/>
    </a:accent3>
    <a:accent4>
      <a:srgbClr val="5F5F5F"/>
    </a:accent4>
    <a:accent5>
      <a:srgbClr val="929292"/>
    </a:accent5>
    <a:accent6>
      <a:srgbClr val="45454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AD1"/>
    </a:accent1>
    <a:accent2>
      <a:srgbClr val="86B4D2"/>
    </a:accent2>
    <a:accent3>
      <a:srgbClr val="797979"/>
    </a:accent3>
    <a:accent4>
      <a:srgbClr val="5F5F5F"/>
    </a:accent4>
    <a:accent5>
      <a:srgbClr val="929292"/>
    </a:accent5>
    <a:accent6>
      <a:srgbClr val="45454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AD1"/>
    </a:accent1>
    <a:accent2>
      <a:srgbClr val="86B4D2"/>
    </a:accent2>
    <a:accent3>
      <a:srgbClr val="797979"/>
    </a:accent3>
    <a:accent4>
      <a:srgbClr val="5F5F5F"/>
    </a:accent4>
    <a:accent5>
      <a:srgbClr val="929292"/>
    </a:accent5>
    <a:accent6>
      <a:srgbClr val="45454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AD1"/>
    </a:accent1>
    <a:accent2>
      <a:srgbClr val="86B4D2"/>
    </a:accent2>
    <a:accent3>
      <a:srgbClr val="797979"/>
    </a:accent3>
    <a:accent4>
      <a:srgbClr val="5F5F5F"/>
    </a:accent4>
    <a:accent5>
      <a:srgbClr val="929292"/>
    </a:accent5>
    <a:accent6>
      <a:srgbClr val="454545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AD1"/>
    </a:accent1>
    <a:accent2>
      <a:srgbClr val="86B4D2"/>
    </a:accent2>
    <a:accent3>
      <a:srgbClr val="797979"/>
    </a:accent3>
    <a:accent4>
      <a:srgbClr val="5F5F5F"/>
    </a:accent4>
    <a:accent5>
      <a:srgbClr val="929292"/>
    </a:accent5>
    <a:accent6>
      <a:srgbClr val="454545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AD1"/>
    </a:accent1>
    <a:accent2>
      <a:srgbClr val="86B4D2"/>
    </a:accent2>
    <a:accent3>
      <a:srgbClr val="797979"/>
    </a:accent3>
    <a:accent4>
      <a:srgbClr val="5F5F5F"/>
    </a:accent4>
    <a:accent5>
      <a:srgbClr val="929292"/>
    </a:accent5>
    <a:accent6>
      <a:srgbClr val="454545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C03D2B"/>
    </a:accent1>
    <a:accent2>
      <a:srgbClr val="3E4349"/>
    </a:accent2>
    <a:accent3>
      <a:srgbClr val="7C593D"/>
    </a:accent3>
    <a:accent4>
      <a:srgbClr val="835E59"/>
    </a:accent4>
    <a:accent5>
      <a:srgbClr val="686868"/>
    </a:accent5>
    <a:accent6>
      <a:srgbClr val="605250"/>
    </a:accent6>
    <a:hlink>
      <a:srgbClr val="0D4B90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C03D2B"/>
    </a:accent1>
    <a:accent2>
      <a:srgbClr val="3E4349"/>
    </a:accent2>
    <a:accent3>
      <a:srgbClr val="7C593D"/>
    </a:accent3>
    <a:accent4>
      <a:srgbClr val="835E59"/>
    </a:accent4>
    <a:accent5>
      <a:srgbClr val="686868"/>
    </a:accent5>
    <a:accent6>
      <a:srgbClr val="605250"/>
    </a:accent6>
    <a:hlink>
      <a:srgbClr val="0D4B90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C03D2B"/>
    </a:accent1>
    <a:accent2>
      <a:srgbClr val="3E4349"/>
    </a:accent2>
    <a:accent3>
      <a:srgbClr val="7C593D"/>
    </a:accent3>
    <a:accent4>
      <a:srgbClr val="835E59"/>
    </a:accent4>
    <a:accent5>
      <a:srgbClr val="686868"/>
    </a:accent5>
    <a:accent6>
      <a:srgbClr val="605250"/>
    </a:accent6>
    <a:hlink>
      <a:srgbClr val="0D4B90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6025</Words>
  <Application>WPS Presentation</Application>
  <PresentationFormat>宽屏</PresentationFormat>
  <Paragraphs>711</Paragraphs>
  <Slides>21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1</vt:i4>
      </vt:variant>
    </vt:vector>
  </HeadingPairs>
  <TitlesOfParts>
    <vt:vector size="42" baseType="lpstr">
      <vt:lpstr>Arial</vt:lpstr>
      <vt:lpstr>SimSun</vt:lpstr>
      <vt:lpstr>Wingdings</vt:lpstr>
      <vt:lpstr>微软雅黑</vt:lpstr>
      <vt:lpstr>Impact</vt:lpstr>
      <vt:lpstr>黑体</vt:lpstr>
      <vt:lpstr>Arial</vt:lpstr>
      <vt:lpstr>微软雅黑</vt:lpstr>
      <vt:lpstr>Times New Roman</vt:lpstr>
      <vt:lpstr>SimSun</vt:lpstr>
      <vt:lpstr>Times New Roman</vt:lpstr>
      <vt:lpstr>Calibri</vt:lpstr>
      <vt:lpstr>HYQiHeiKW</vt:lpstr>
      <vt:lpstr/>
      <vt:lpstr>Arial Unicode MS</vt:lpstr>
      <vt:lpstr>Helvetica Neue</vt:lpstr>
      <vt:lpstr>HYZhongHeiKW</vt:lpstr>
      <vt:lpstr>HYShuSongErKW</vt:lpstr>
      <vt:lpstr>主题5</vt:lpstr>
      <vt:lpstr>TCLayout.ActiveDocument.1</vt:lpstr>
      <vt:lpstr>TCLayout.ActiveDocument.1</vt:lpstr>
      <vt:lpstr>Intelligent Hotel Robot</vt:lpstr>
      <vt:lpstr>PowerPoint 演示文稿</vt:lpstr>
      <vt:lpstr>Introduction and background</vt:lpstr>
      <vt:lpstr>Introduction and background</vt:lpstr>
      <vt:lpstr>Introduction and background</vt:lpstr>
      <vt:lpstr>Hardware Design</vt:lpstr>
      <vt:lpstr>Hardware' parts</vt:lpstr>
      <vt:lpstr>Pioneer 3</vt:lpstr>
      <vt:lpstr>Radar</vt:lpstr>
      <vt:lpstr>Softawre</vt:lpstr>
      <vt:lpstr>Software</vt:lpstr>
      <vt:lpstr>Software</vt:lpstr>
      <vt:lpstr>Execute and test</vt:lpstr>
      <vt:lpstr>PowerPoint 演示文稿</vt:lpstr>
      <vt:lpstr>PowerPoint 演示文稿</vt:lpstr>
      <vt:lpstr>PowerPoint 演示文稿</vt:lpstr>
      <vt:lpstr>Conclusion</vt:lpstr>
      <vt:lpstr> Completed work</vt:lpstr>
      <vt:lpstr>Uncompleted work：</vt:lpstr>
      <vt:lpstr> PROJECT DIVISION</vt:lpstr>
      <vt:lpstr>Thank you 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anyuzhang</cp:lastModifiedBy>
  <cp:revision>28</cp:revision>
  <cp:lastPrinted>2019-04-11T16:49:28Z</cp:lastPrinted>
  <dcterms:created xsi:type="dcterms:W3CDTF">2019-04-11T16:49:28Z</dcterms:created>
  <dcterms:modified xsi:type="dcterms:W3CDTF">2019-04-11T16:4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t-shyu@microsoft.com</vt:lpwstr>
  </property>
  <property fmtid="{D5CDD505-2E9C-101B-9397-08002B2CF9AE}" pid="6" name="MSIP_Label_f42aa342-8706-4288-bd11-ebb85995028c_SetDate">
    <vt:lpwstr>2018-08-22T09:11:08.4893093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KSOProductBuildVer">
    <vt:lpwstr>1033-1.0.0.1293</vt:lpwstr>
  </property>
</Properties>
</file>